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5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6.xml" ContentType="application/vnd.openxmlformats-officedocument.theme+xml"/>
  <Override PartName="/ppt/tags/tag21.xml" ContentType="application/vnd.openxmlformats-officedocument.presentationml.tags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7.xml" ContentType="application/vnd.openxmlformats-officedocument.theme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8.xml" ContentType="application/vnd.openxmlformats-officedocument.theme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theme/theme9.xml" ContentType="application/vnd.openxmlformats-officedocument.theme+xml"/>
  <Override PartName="/ppt/tags/tag22.xml" ContentType="application/vnd.openxmlformats-officedocument.presentationml.tags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theme/theme10.xml" ContentType="application/vnd.openxmlformats-officedocument.theme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theme/theme11.xml" ContentType="application/vnd.openxmlformats-officedocument.theme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theme/theme12.xml" ContentType="application/vnd.openxmlformats-officedocument.theme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theme/theme13.xml" ContentType="application/vnd.openxmlformats-officedocument.theme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theme/theme14.xml" ContentType="application/vnd.openxmlformats-officedocument.theme+xml"/>
  <Override PartName="/ppt/theme/theme15.xml" ContentType="application/vnd.openxmlformats-officedocument.theme+xml"/>
  <Override PartName="/ppt/tags/tag23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2" r:id="rId5"/>
    <p:sldMasterId id="2147483684" r:id="rId6"/>
    <p:sldMasterId id="2147483696" r:id="rId7"/>
    <p:sldMasterId id="2147483708" r:id="rId8"/>
    <p:sldMasterId id="2147483723" r:id="rId9"/>
    <p:sldMasterId id="2147483735" r:id="rId10"/>
    <p:sldMasterId id="2147483759" r:id="rId11"/>
    <p:sldMasterId id="2147483779" r:id="rId12"/>
    <p:sldMasterId id="2147483792" r:id="rId13"/>
    <p:sldMasterId id="2147483804" r:id="rId14"/>
    <p:sldMasterId id="2147483851" r:id="rId15"/>
    <p:sldMasterId id="2147483898" r:id="rId16"/>
    <p:sldMasterId id="2147483945" r:id="rId17"/>
  </p:sldMasterIdLst>
  <p:notesMasterIdLst>
    <p:notesMasterId r:id="rId27"/>
  </p:notesMasterIdLst>
  <p:sldIdLst>
    <p:sldId id="559" r:id="rId18"/>
    <p:sldId id="408" r:id="rId19"/>
    <p:sldId id="410" r:id="rId20"/>
    <p:sldId id="411" r:id="rId21"/>
    <p:sldId id="412" r:id="rId22"/>
    <p:sldId id="413" r:id="rId23"/>
    <p:sldId id="2134960548" r:id="rId24"/>
    <p:sldId id="2134960546" r:id="rId25"/>
    <p:sldId id="2134960519" r:id="rId26"/>
  </p:sldIdLst>
  <p:sldSz cx="12192000" cy="6858000"/>
  <p:notesSz cx="6858000" cy="9144000"/>
  <p:custDataLst>
    <p:tags r:id="rId28"/>
  </p:custDataLst>
  <p:defaultTextStyle>
    <a:defPPr>
      <a:defRPr lang="fi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Kansidia" id="{9AAD1FFE-7C5E-4AE3-A45B-E63D0890C81A}">
          <p14:sldIdLst>
            <p14:sldId id="559"/>
            <p14:sldId id="408"/>
            <p14:sldId id="410"/>
            <p14:sldId id="411"/>
            <p14:sldId id="412"/>
            <p14:sldId id="413"/>
            <p14:sldId id="2134960548"/>
            <p14:sldId id="2134960546"/>
            <p14:sldId id="2134960519"/>
          </p14:sldIdLst>
        </p14:section>
        <p14:section name="OLD" id="{5F15B628-2E1D-4DCE-8039-7743420FDEFF}">
          <p14:sldIdLst/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Emmi Hakulinen" initials="EH" lastIdx="1" clrIdx="0">
    <p:extLst>
      <p:ext uri="{19B8F6BF-5375-455C-9EA6-DF929625EA0E}">
        <p15:presenceInfo xmlns:p15="http://schemas.microsoft.com/office/powerpoint/2012/main" userId="SMMI.HAKULINEN@NHG.FI" providerId="AD"/>
      </p:ext>
    </p:extLst>
  </p:cmAuthor>
  <p:cmAuthor id="2" name="Helena Tolkki" initials="HT" lastIdx="12" clrIdx="1">
    <p:extLst>
      <p:ext uri="{19B8F6BF-5375-455C-9EA6-DF929625EA0E}">
        <p15:presenceInfo xmlns:p15="http://schemas.microsoft.com/office/powerpoint/2012/main" userId="S::helena.tolkki@nhg.fi::48ec21e0-c384-44d8-8a32-a7344f27084a" providerId="AD"/>
      </p:ext>
    </p:extLst>
  </p:cmAuthor>
  <p:cmAuthor id="3" name="Emmi Hakulinen" initials="EH [2]" lastIdx="7" clrIdx="2">
    <p:extLst>
      <p:ext uri="{19B8F6BF-5375-455C-9EA6-DF929625EA0E}">
        <p15:presenceInfo xmlns:p15="http://schemas.microsoft.com/office/powerpoint/2012/main" userId="S::emmi.hakulinen@nhg.fi::4dad760c-dce6-4447-a9a0-1169edda10c3" providerId="AD"/>
      </p:ext>
    </p:extLst>
  </p:cmAuthor>
  <p:cmAuthor id="4" name="Essi Pitkänen" initials="EP" lastIdx="9" clrIdx="3">
    <p:extLst>
      <p:ext uri="{19B8F6BF-5375-455C-9EA6-DF929625EA0E}">
        <p15:presenceInfo xmlns:p15="http://schemas.microsoft.com/office/powerpoint/2012/main" userId="S::essi.pitkanen@nhg.fi::d01ed1de-d8a0-4944-824f-75c2a3f0bcd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8E7BA"/>
    <a:srgbClr val="F4DB98"/>
    <a:srgbClr val="F2F2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59" d="100"/>
          <a:sy n="59" d="100"/>
        </p:scale>
        <p:origin x="128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1.xml"/><Relationship Id="rId26" Type="http://schemas.openxmlformats.org/officeDocument/2006/relationships/slide" Target="slides/slide9.xml"/><Relationship Id="rId3" Type="http://schemas.openxmlformats.org/officeDocument/2006/relationships/customXml" Target="../customXml/item3.xml"/><Relationship Id="rId21" Type="http://schemas.openxmlformats.org/officeDocument/2006/relationships/slide" Target="slides/slide4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" Target="slides/slide8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" Target="slides/slide3.xml"/><Relationship Id="rId29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7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6.xml"/><Relationship Id="rId28" Type="http://schemas.openxmlformats.org/officeDocument/2006/relationships/tags" Target="tags/tag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2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5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1697070-D0F2-47EA-8516-9DCC10EA8BB9}" type="doc">
      <dgm:prSet loTypeId="urn:microsoft.com/office/officeart/2005/8/layout/hProcess11" loCatId="process" qsTypeId="urn:microsoft.com/office/officeart/2005/8/quickstyle/simple1" qsCatId="simple" csTypeId="urn:microsoft.com/office/officeart/2005/8/colors/colorful4" csCatId="colorful" phldr="1"/>
      <dgm:spPr/>
    </dgm:pt>
    <dgm:pt modelId="{574314FF-888D-4424-84D0-A9224F87AADE}">
      <dgm:prSet phldrT="[Teksti]"/>
      <dgm:spPr/>
      <dgm:t>
        <a:bodyPr/>
        <a:lstStyle/>
        <a:p>
          <a:r>
            <a:rPr lang="fi-FI" b="1" dirty="0"/>
            <a:t>2026</a:t>
          </a:r>
        </a:p>
        <a:p>
          <a:r>
            <a:rPr lang="fi-FI" dirty="0"/>
            <a:t>Kela toteuttaa EQ-5D-5L FHIR-rakenteen Kanta-palveluihin</a:t>
          </a:r>
        </a:p>
      </dgm:t>
    </dgm:pt>
    <dgm:pt modelId="{4D14F8CD-531C-47BB-B0F7-B1A7DFFAF7C4}" type="parTrans" cxnId="{63339451-EF3C-4DE9-AF8D-CB9FA6A05222}">
      <dgm:prSet/>
      <dgm:spPr/>
      <dgm:t>
        <a:bodyPr/>
        <a:lstStyle/>
        <a:p>
          <a:endParaRPr lang="fi-FI"/>
        </a:p>
      </dgm:t>
    </dgm:pt>
    <dgm:pt modelId="{8FB0D64F-6F76-44B0-BA0D-A1EF7206583D}" type="sibTrans" cxnId="{63339451-EF3C-4DE9-AF8D-CB9FA6A05222}">
      <dgm:prSet/>
      <dgm:spPr/>
      <dgm:t>
        <a:bodyPr/>
        <a:lstStyle/>
        <a:p>
          <a:endParaRPr lang="fi-FI"/>
        </a:p>
      </dgm:t>
    </dgm:pt>
    <dgm:pt modelId="{6ACD6C01-6F72-4387-96ED-BE453958B71B}">
      <dgm:prSet/>
      <dgm:spPr/>
      <dgm:t>
        <a:bodyPr/>
        <a:lstStyle/>
        <a:p>
          <a:r>
            <a:rPr lang="fi-FI" b="1" dirty="0"/>
            <a:t>2027 </a:t>
          </a:r>
          <a:br>
            <a:rPr lang="fi-FI" b="1" dirty="0"/>
          </a:br>
          <a:r>
            <a:rPr lang="fi-FI" dirty="0"/>
            <a:t>THL: muutokset tietorakenteisiin mahdollisia </a:t>
          </a:r>
        </a:p>
        <a:p>
          <a:r>
            <a:rPr lang="fi-FI" dirty="0"/>
            <a:t>- mittaritiedot vapaaehtoisella viittauksella</a:t>
          </a:r>
        </a:p>
      </dgm:t>
    </dgm:pt>
    <dgm:pt modelId="{9C61EEAA-B2E8-4C5A-AD52-9D2BED81B81C}" type="parTrans" cxnId="{0A38C968-B2A7-4038-A238-1871F406E326}">
      <dgm:prSet/>
      <dgm:spPr/>
      <dgm:t>
        <a:bodyPr/>
        <a:lstStyle/>
        <a:p>
          <a:endParaRPr lang="fi-FI"/>
        </a:p>
      </dgm:t>
    </dgm:pt>
    <dgm:pt modelId="{4059CBC5-E07F-442B-BAFD-8EAAC8EE6B51}" type="sibTrans" cxnId="{0A38C968-B2A7-4038-A238-1871F406E326}">
      <dgm:prSet/>
      <dgm:spPr/>
      <dgm:t>
        <a:bodyPr/>
        <a:lstStyle/>
        <a:p>
          <a:endParaRPr lang="fi-FI"/>
        </a:p>
      </dgm:t>
    </dgm:pt>
    <dgm:pt modelId="{53EDAA7E-6A24-44AF-AFC9-678C3857AA2E}">
      <dgm:prSet/>
      <dgm:spPr/>
      <dgm:t>
        <a:bodyPr/>
        <a:lstStyle/>
        <a:p>
          <a:r>
            <a:rPr lang="fi-FI" b="1" dirty="0"/>
            <a:t>2028</a:t>
          </a:r>
          <a:r>
            <a:rPr lang="fi-FI" dirty="0"/>
            <a:t> </a:t>
          </a:r>
        </a:p>
        <a:p>
          <a:r>
            <a:rPr lang="fi-FI" dirty="0"/>
            <a:t>THL:n </a:t>
          </a:r>
          <a:r>
            <a:rPr lang="fi-FI" dirty="0" err="1"/>
            <a:t>Toimiameta</a:t>
          </a:r>
          <a:r>
            <a:rPr lang="fi-FI" dirty="0"/>
            <a:t>-palvelu käyttöön: kyselyt FHIR-rakenteilla</a:t>
          </a:r>
        </a:p>
      </dgm:t>
    </dgm:pt>
    <dgm:pt modelId="{0E867E18-F60D-4D8F-8A39-BA922051A617}" type="parTrans" cxnId="{45F7D7A2-708B-4117-B17C-79658C5965F6}">
      <dgm:prSet/>
      <dgm:spPr/>
      <dgm:t>
        <a:bodyPr/>
        <a:lstStyle/>
        <a:p>
          <a:endParaRPr lang="fi-FI"/>
        </a:p>
      </dgm:t>
    </dgm:pt>
    <dgm:pt modelId="{A30B3349-51A4-43E6-8739-82D693B9A9D5}" type="sibTrans" cxnId="{45F7D7A2-708B-4117-B17C-79658C5965F6}">
      <dgm:prSet/>
      <dgm:spPr/>
      <dgm:t>
        <a:bodyPr/>
        <a:lstStyle/>
        <a:p>
          <a:endParaRPr lang="fi-FI"/>
        </a:p>
      </dgm:t>
    </dgm:pt>
    <dgm:pt modelId="{403E84A7-C3FE-4B5E-B6F9-53326583B025}">
      <dgm:prSet/>
      <dgm:spPr/>
      <dgm:t>
        <a:bodyPr/>
        <a:lstStyle/>
        <a:p>
          <a:r>
            <a:rPr lang="fi-FI" b="1" dirty="0"/>
            <a:t>2029</a:t>
          </a:r>
          <a:r>
            <a:rPr lang="fi-FI" dirty="0"/>
            <a:t> </a:t>
          </a:r>
          <a:r>
            <a:rPr lang="fi-FI" b="1" dirty="0"/>
            <a:t>alkaen</a:t>
          </a:r>
        </a:p>
        <a:p>
          <a:r>
            <a:rPr lang="fi-FI" dirty="0"/>
            <a:t>EHDS: Omakantaan PROM-palvelu, MDR-sertifiointi</a:t>
          </a:r>
        </a:p>
      </dgm:t>
      <dgm:extLst>
        <a:ext uri="{E40237B7-FDA0-4F09-8148-C483321AD2D9}">
          <dgm14:cNvPr xmlns:dgm14="http://schemas.microsoft.com/office/drawing/2010/diagram" id="0" name="" descr="Siirtymävaiheen aikataulu. 2026: Kela toteuttaa EQ-5D-5L FHIR-rakenteen Kanta-palveluihin. 2027: THL: muutokset tietorakenteisiin mahdollisia &#10;- mittaritiedot vapaaehtoisella viittauksella. 2028: THL:n Toimiameta-palvelu käyttöön: kyselyt FHIR-rakenteilla. 2029: EHDS: Omakantaan PROM-palvelu, MDR-sertifiointi.&#10;&#10;&#10;"/>
        </a:ext>
      </dgm:extLst>
    </dgm:pt>
    <dgm:pt modelId="{6DC3CD2F-17A4-44A7-9D94-BA1E25A9359B}" type="parTrans" cxnId="{89AFC3AD-7256-4537-9C70-C56716D1B058}">
      <dgm:prSet/>
      <dgm:spPr/>
      <dgm:t>
        <a:bodyPr/>
        <a:lstStyle/>
        <a:p>
          <a:endParaRPr lang="fi-FI"/>
        </a:p>
      </dgm:t>
    </dgm:pt>
    <dgm:pt modelId="{190F6FAD-649F-42B9-956E-72ABC6FD8840}" type="sibTrans" cxnId="{89AFC3AD-7256-4537-9C70-C56716D1B058}">
      <dgm:prSet/>
      <dgm:spPr/>
      <dgm:t>
        <a:bodyPr/>
        <a:lstStyle/>
        <a:p>
          <a:endParaRPr lang="fi-FI"/>
        </a:p>
      </dgm:t>
    </dgm:pt>
    <dgm:pt modelId="{D968618E-376E-4473-8755-A4BDEC51FE77}" type="pres">
      <dgm:prSet presAssocID="{91697070-D0F2-47EA-8516-9DCC10EA8BB9}" presName="Name0" presStyleCnt="0">
        <dgm:presLayoutVars>
          <dgm:dir/>
          <dgm:resizeHandles val="exact"/>
        </dgm:presLayoutVars>
      </dgm:prSet>
      <dgm:spPr/>
    </dgm:pt>
    <dgm:pt modelId="{66F72711-1DAA-48CA-9A06-42CB52242E99}" type="pres">
      <dgm:prSet presAssocID="{91697070-D0F2-47EA-8516-9DCC10EA8BB9}" presName="arrow" presStyleLbl="bgShp" presStyleIdx="0" presStyleCnt="1"/>
      <dgm:spPr/>
    </dgm:pt>
    <dgm:pt modelId="{39A282EC-5DFB-4ABB-B1BA-71A7765A69A1}" type="pres">
      <dgm:prSet presAssocID="{91697070-D0F2-47EA-8516-9DCC10EA8BB9}" presName="points" presStyleCnt="0"/>
      <dgm:spPr/>
    </dgm:pt>
    <dgm:pt modelId="{05EFCD5F-36A6-40B7-B3C1-2AAB4F1B4801}" type="pres">
      <dgm:prSet presAssocID="{574314FF-888D-4424-84D0-A9224F87AADE}" presName="compositeA" presStyleCnt="0"/>
      <dgm:spPr/>
    </dgm:pt>
    <dgm:pt modelId="{D92B3D80-8458-437A-A50B-C09EA025F8F1}" type="pres">
      <dgm:prSet presAssocID="{574314FF-888D-4424-84D0-A9224F87AADE}" presName="textA" presStyleLbl="revTx" presStyleIdx="0" presStyleCnt="4" custScaleX="117769">
        <dgm:presLayoutVars>
          <dgm:bulletEnabled val="1"/>
        </dgm:presLayoutVars>
      </dgm:prSet>
      <dgm:spPr/>
    </dgm:pt>
    <dgm:pt modelId="{3AB0BCEE-E1ED-4F5A-8FF3-F1CEBA0639F3}" type="pres">
      <dgm:prSet presAssocID="{574314FF-888D-4424-84D0-A9224F87AADE}" presName="circleA" presStyleLbl="node1" presStyleIdx="0" presStyleCnt="4"/>
      <dgm:spPr/>
    </dgm:pt>
    <dgm:pt modelId="{115845E0-ADA0-4381-85F7-1624D540EDB1}" type="pres">
      <dgm:prSet presAssocID="{574314FF-888D-4424-84D0-A9224F87AADE}" presName="spaceA" presStyleCnt="0"/>
      <dgm:spPr/>
    </dgm:pt>
    <dgm:pt modelId="{60C56523-178E-4026-9172-414863F2A235}" type="pres">
      <dgm:prSet presAssocID="{8FB0D64F-6F76-44B0-BA0D-A1EF7206583D}" presName="space" presStyleCnt="0"/>
      <dgm:spPr/>
    </dgm:pt>
    <dgm:pt modelId="{3FE049C2-09C0-4A05-B4A1-149B9216CD32}" type="pres">
      <dgm:prSet presAssocID="{6ACD6C01-6F72-4387-96ED-BE453958B71B}" presName="compositeB" presStyleCnt="0"/>
      <dgm:spPr/>
    </dgm:pt>
    <dgm:pt modelId="{9B1E6EE4-D4BA-49A8-AFE8-379A726C1A19}" type="pres">
      <dgm:prSet presAssocID="{6ACD6C01-6F72-4387-96ED-BE453958B71B}" presName="textB" presStyleLbl="revTx" presStyleIdx="1" presStyleCnt="4">
        <dgm:presLayoutVars>
          <dgm:bulletEnabled val="1"/>
        </dgm:presLayoutVars>
      </dgm:prSet>
      <dgm:spPr/>
    </dgm:pt>
    <dgm:pt modelId="{FBE84359-DD18-4559-AD1D-8E717A562868}" type="pres">
      <dgm:prSet presAssocID="{6ACD6C01-6F72-4387-96ED-BE453958B71B}" presName="circleB" presStyleLbl="node1" presStyleIdx="1" presStyleCnt="4"/>
      <dgm:spPr/>
    </dgm:pt>
    <dgm:pt modelId="{617E19A2-8EFA-44FF-9577-BF283D848254}" type="pres">
      <dgm:prSet presAssocID="{6ACD6C01-6F72-4387-96ED-BE453958B71B}" presName="spaceB" presStyleCnt="0"/>
      <dgm:spPr/>
    </dgm:pt>
    <dgm:pt modelId="{8589EB38-03BE-4DAE-B7BB-D9D5D523D3A0}" type="pres">
      <dgm:prSet presAssocID="{4059CBC5-E07F-442B-BAFD-8EAAC8EE6B51}" presName="space" presStyleCnt="0"/>
      <dgm:spPr/>
    </dgm:pt>
    <dgm:pt modelId="{3F4B9B30-A86F-422F-96E0-EB5B3828C33F}" type="pres">
      <dgm:prSet presAssocID="{53EDAA7E-6A24-44AF-AFC9-678C3857AA2E}" presName="compositeA" presStyleCnt="0"/>
      <dgm:spPr/>
    </dgm:pt>
    <dgm:pt modelId="{31F9742B-AD71-4B96-A7CA-D4C97C1B22AB}" type="pres">
      <dgm:prSet presAssocID="{53EDAA7E-6A24-44AF-AFC9-678C3857AA2E}" presName="textA" presStyleLbl="revTx" presStyleIdx="2" presStyleCnt="4">
        <dgm:presLayoutVars>
          <dgm:bulletEnabled val="1"/>
        </dgm:presLayoutVars>
      </dgm:prSet>
      <dgm:spPr/>
    </dgm:pt>
    <dgm:pt modelId="{E1846E95-D5C8-44EC-A9CF-AB9E46F34F58}" type="pres">
      <dgm:prSet presAssocID="{53EDAA7E-6A24-44AF-AFC9-678C3857AA2E}" presName="circleA" presStyleLbl="node1" presStyleIdx="2" presStyleCnt="4"/>
      <dgm:spPr/>
    </dgm:pt>
    <dgm:pt modelId="{8A80322D-9F35-45C9-B5C6-CF312F326562}" type="pres">
      <dgm:prSet presAssocID="{53EDAA7E-6A24-44AF-AFC9-678C3857AA2E}" presName="spaceA" presStyleCnt="0"/>
      <dgm:spPr/>
    </dgm:pt>
    <dgm:pt modelId="{08883572-5C50-4078-A8FA-0B3FA8D5C90D}" type="pres">
      <dgm:prSet presAssocID="{A30B3349-51A4-43E6-8739-82D693B9A9D5}" presName="space" presStyleCnt="0"/>
      <dgm:spPr/>
    </dgm:pt>
    <dgm:pt modelId="{78255F60-A01D-4E38-AE04-EAFF1E4A8782}" type="pres">
      <dgm:prSet presAssocID="{403E84A7-C3FE-4B5E-B6F9-53326583B025}" presName="compositeB" presStyleCnt="0"/>
      <dgm:spPr/>
    </dgm:pt>
    <dgm:pt modelId="{5F956EAB-BF5C-46AC-94C6-B89F576E4A04}" type="pres">
      <dgm:prSet presAssocID="{403E84A7-C3FE-4B5E-B6F9-53326583B025}" presName="textB" presStyleLbl="revTx" presStyleIdx="3" presStyleCnt="4">
        <dgm:presLayoutVars>
          <dgm:bulletEnabled val="1"/>
        </dgm:presLayoutVars>
      </dgm:prSet>
      <dgm:spPr/>
    </dgm:pt>
    <dgm:pt modelId="{E2BB7030-87AD-436B-B14C-72F681146D1B}" type="pres">
      <dgm:prSet presAssocID="{403E84A7-C3FE-4B5E-B6F9-53326583B025}" presName="circleB" presStyleLbl="node1" presStyleIdx="3" presStyleCnt="4"/>
      <dgm:spPr/>
    </dgm:pt>
    <dgm:pt modelId="{498CC4C5-AC7A-4227-8D97-D50A00D3D698}" type="pres">
      <dgm:prSet presAssocID="{403E84A7-C3FE-4B5E-B6F9-53326583B025}" presName="spaceB" presStyleCnt="0"/>
      <dgm:spPr/>
    </dgm:pt>
  </dgm:ptLst>
  <dgm:cxnLst>
    <dgm:cxn modelId="{8CF35B0F-27A7-46E6-9FEF-8A1615A56701}" type="presOf" srcId="{574314FF-888D-4424-84D0-A9224F87AADE}" destId="{D92B3D80-8458-437A-A50B-C09EA025F8F1}" srcOrd="0" destOrd="0" presId="urn:microsoft.com/office/officeart/2005/8/layout/hProcess11"/>
    <dgm:cxn modelId="{0DCD2F32-76CB-424C-9C40-79A772DD84FC}" type="presOf" srcId="{53EDAA7E-6A24-44AF-AFC9-678C3857AA2E}" destId="{31F9742B-AD71-4B96-A7CA-D4C97C1B22AB}" srcOrd="0" destOrd="0" presId="urn:microsoft.com/office/officeart/2005/8/layout/hProcess11"/>
    <dgm:cxn modelId="{AE93865C-0641-45AE-AE1B-7B14BD3202FD}" type="presOf" srcId="{91697070-D0F2-47EA-8516-9DCC10EA8BB9}" destId="{D968618E-376E-4473-8755-A4BDEC51FE77}" srcOrd="0" destOrd="0" presId="urn:microsoft.com/office/officeart/2005/8/layout/hProcess11"/>
    <dgm:cxn modelId="{0A38C968-B2A7-4038-A238-1871F406E326}" srcId="{91697070-D0F2-47EA-8516-9DCC10EA8BB9}" destId="{6ACD6C01-6F72-4387-96ED-BE453958B71B}" srcOrd="1" destOrd="0" parTransId="{9C61EEAA-B2E8-4C5A-AD52-9D2BED81B81C}" sibTransId="{4059CBC5-E07F-442B-BAFD-8EAAC8EE6B51}"/>
    <dgm:cxn modelId="{63339451-EF3C-4DE9-AF8D-CB9FA6A05222}" srcId="{91697070-D0F2-47EA-8516-9DCC10EA8BB9}" destId="{574314FF-888D-4424-84D0-A9224F87AADE}" srcOrd="0" destOrd="0" parTransId="{4D14F8CD-531C-47BB-B0F7-B1A7DFFAF7C4}" sibTransId="{8FB0D64F-6F76-44B0-BA0D-A1EF7206583D}"/>
    <dgm:cxn modelId="{AB02D279-9AB5-4C1B-96D3-02618F925865}" type="presOf" srcId="{403E84A7-C3FE-4B5E-B6F9-53326583B025}" destId="{5F956EAB-BF5C-46AC-94C6-B89F576E4A04}" srcOrd="0" destOrd="0" presId="urn:microsoft.com/office/officeart/2005/8/layout/hProcess11"/>
    <dgm:cxn modelId="{45F7D7A2-708B-4117-B17C-79658C5965F6}" srcId="{91697070-D0F2-47EA-8516-9DCC10EA8BB9}" destId="{53EDAA7E-6A24-44AF-AFC9-678C3857AA2E}" srcOrd="2" destOrd="0" parTransId="{0E867E18-F60D-4D8F-8A39-BA922051A617}" sibTransId="{A30B3349-51A4-43E6-8739-82D693B9A9D5}"/>
    <dgm:cxn modelId="{89AFC3AD-7256-4537-9C70-C56716D1B058}" srcId="{91697070-D0F2-47EA-8516-9DCC10EA8BB9}" destId="{403E84A7-C3FE-4B5E-B6F9-53326583B025}" srcOrd="3" destOrd="0" parTransId="{6DC3CD2F-17A4-44A7-9D94-BA1E25A9359B}" sibTransId="{190F6FAD-649F-42B9-956E-72ABC6FD8840}"/>
    <dgm:cxn modelId="{05B66BE2-14D9-46D0-A168-200B322DDE8B}" type="presOf" srcId="{6ACD6C01-6F72-4387-96ED-BE453958B71B}" destId="{9B1E6EE4-D4BA-49A8-AFE8-379A726C1A19}" srcOrd="0" destOrd="0" presId="urn:microsoft.com/office/officeart/2005/8/layout/hProcess11"/>
    <dgm:cxn modelId="{BD60E8D0-7D5D-44EB-9492-1EE1F5ECB46D}" type="presParOf" srcId="{D968618E-376E-4473-8755-A4BDEC51FE77}" destId="{66F72711-1DAA-48CA-9A06-42CB52242E99}" srcOrd="0" destOrd="0" presId="urn:microsoft.com/office/officeart/2005/8/layout/hProcess11"/>
    <dgm:cxn modelId="{F855E0EB-8849-4E90-B787-3588226D6442}" type="presParOf" srcId="{D968618E-376E-4473-8755-A4BDEC51FE77}" destId="{39A282EC-5DFB-4ABB-B1BA-71A7765A69A1}" srcOrd="1" destOrd="0" presId="urn:microsoft.com/office/officeart/2005/8/layout/hProcess11"/>
    <dgm:cxn modelId="{8D733112-9A64-40B9-8506-69DDA62C044E}" type="presParOf" srcId="{39A282EC-5DFB-4ABB-B1BA-71A7765A69A1}" destId="{05EFCD5F-36A6-40B7-B3C1-2AAB4F1B4801}" srcOrd="0" destOrd="0" presId="urn:microsoft.com/office/officeart/2005/8/layout/hProcess11"/>
    <dgm:cxn modelId="{8115F36C-08A0-4612-9BA2-E23862C7A02F}" type="presParOf" srcId="{05EFCD5F-36A6-40B7-B3C1-2AAB4F1B4801}" destId="{D92B3D80-8458-437A-A50B-C09EA025F8F1}" srcOrd="0" destOrd="0" presId="urn:microsoft.com/office/officeart/2005/8/layout/hProcess11"/>
    <dgm:cxn modelId="{7AF1E84A-1552-43B4-9B10-702D08C50558}" type="presParOf" srcId="{05EFCD5F-36A6-40B7-B3C1-2AAB4F1B4801}" destId="{3AB0BCEE-E1ED-4F5A-8FF3-F1CEBA0639F3}" srcOrd="1" destOrd="0" presId="urn:microsoft.com/office/officeart/2005/8/layout/hProcess11"/>
    <dgm:cxn modelId="{B53E8BAC-162A-446F-9B8B-9385E758F156}" type="presParOf" srcId="{05EFCD5F-36A6-40B7-B3C1-2AAB4F1B4801}" destId="{115845E0-ADA0-4381-85F7-1624D540EDB1}" srcOrd="2" destOrd="0" presId="urn:microsoft.com/office/officeart/2005/8/layout/hProcess11"/>
    <dgm:cxn modelId="{1FD4973B-4ED1-4E1A-95E8-923371E7E7E9}" type="presParOf" srcId="{39A282EC-5DFB-4ABB-B1BA-71A7765A69A1}" destId="{60C56523-178E-4026-9172-414863F2A235}" srcOrd="1" destOrd="0" presId="urn:microsoft.com/office/officeart/2005/8/layout/hProcess11"/>
    <dgm:cxn modelId="{C46748F8-2722-43FD-A121-30513D04EE13}" type="presParOf" srcId="{39A282EC-5DFB-4ABB-B1BA-71A7765A69A1}" destId="{3FE049C2-09C0-4A05-B4A1-149B9216CD32}" srcOrd="2" destOrd="0" presId="urn:microsoft.com/office/officeart/2005/8/layout/hProcess11"/>
    <dgm:cxn modelId="{69156FC6-50A6-49D6-A85A-173419B500BB}" type="presParOf" srcId="{3FE049C2-09C0-4A05-B4A1-149B9216CD32}" destId="{9B1E6EE4-D4BA-49A8-AFE8-379A726C1A19}" srcOrd="0" destOrd="0" presId="urn:microsoft.com/office/officeart/2005/8/layout/hProcess11"/>
    <dgm:cxn modelId="{8A3E8E25-880A-49D9-A30E-39F6DB767B27}" type="presParOf" srcId="{3FE049C2-09C0-4A05-B4A1-149B9216CD32}" destId="{FBE84359-DD18-4559-AD1D-8E717A562868}" srcOrd="1" destOrd="0" presId="urn:microsoft.com/office/officeart/2005/8/layout/hProcess11"/>
    <dgm:cxn modelId="{3CF1CBE0-F8B7-4977-9034-B179541B722C}" type="presParOf" srcId="{3FE049C2-09C0-4A05-B4A1-149B9216CD32}" destId="{617E19A2-8EFA-44FF-9577-BF283D848254}" srcOrd="2" destOrd="0" presId="urn:microsoft.com/office/officeart/2005/8/layout/hProcess11"/>
    <dgm:cxn modelId="{61529B96-4E6D-46D2-B6C3-FD1DFB0051E5}" type="presParOf" srcId="{39A282EC-5DFB-4ABB-B1BA-71A7765A69A1}" destId="{8589EB38-03BE-4DAE-B7BB-D9D5D523D3A0}" srcOrd="3" destOrd="0" presId="urn:microsoft.com/office/officeart/2005/8/layout/hProcess11"/>
    <dgm:cxn modelId="{6DBF433A-FF33-4AAC-A948-8678F96C92E5}" type="presParOf" srcId="{39A282EC-5DFB-4ABB-B1BA-71A7765A69A1}" destId="{3F4B9B30-A86F-422F-96E0-EB5B3828C33F}" srcOrd="4" destOrd="0" presId="urn:microsoft.com/office/officeart/2005/8/layout/hProcess11"/>
    <dgm:cxn modelId="{A69D8483-555A-4C54-A47B-45507AE18918}" type="presParOf" srcId="{3F4B9B30-A86F-422F-96E0-EB5B3828C33F}" destId="{31F9742B-AD71-4B96-A7CA-D4C97C1B22AB}" srcOrd="0" destOrd="0" presId="urn:microsoft.com/office/officeart/2005/8/layout/hProcess11"/>
    <dgm:cxn modelId="{04DDDBC6-4C92-4DE7-BE8D-182042BE14DD}" type="presParOf" srcId="{3F4B9B30-A86F-422F-96E0-EB5B3828C33F}" destId="{E1846E95-D5C8-44EC-A9CF-AB9E46F34F58}" srcOrd="1" destOrd="0" presId="urn:microsoft.com/office/officeart/2005/8/layout/hProcess11"/>
    <dgm:cxn modelId="{01857F06-70FF-4F5C-B899-1BC5C61BF33E}" type="presParOf" srcId="{3F4B9B30-A86F-422F-96E0-EB5B3828C33F}" destId="{8A80322D-9F35-45C9-B5C6-CF312F326562}" srcOrd="2" destOrd="0" presId="urn:microsoft.com/office/officeart/2005/8/layout/hProcess11"/>
    <dgm:cxn modelId="{BF43FFF9-1F56-419E-9297-25BBAE7376C3}" type="presParOf" srcId="{39A282EC-5DFB-4ABB-B1BA-71A7765A69A1}" destId="{08883572-5C50-4078-A8FA-0B3FA8D5C90D}" srcOrd="5" destOrd="0" presId="urn:microsoft.com/office/officeart/2005/8/layout/hProcess11"/>
    <dgm:cxn modelId="{BCEE109D-6D10-421E-83D3-8C7D0E75E887}" type="presParOf" srcId="{39A282EC-5DFB-4ABB-B1BA-71A7765A69A1}" destId="{78255F60-A01D-4E38-AE04-EAFF1E4A8782}" srcOrd="6" destOrd="0" presId="urn:microsoft.com/office/officeart/2005/8/layout/hProcess11"/>
    <dgm:cxn modelId="{08B73E4F-9843-4643-A9B1-B1BAC82EF9D7}" type="presParOf" srcId="{78255F60-A01D-4E38-AE04-EAFF1E4A8782}" destId="{5F956EAB-BF5C-46AC-94C6-B89F576E4A04}" srcOrd="0" destOrd="0" presId="urn:microsoft.com/office/officeart/2005/8/layout/hProcess11"/>
    <dgm:cxn modelId="{2A3712ED-DEBC-48BB-A2CA-964285428B17}" type="presParOf" srcId="{78255F60-A01D-4E38-AE04-EAFF1E4A8782}" destId="{E2BB7030-87AD-436B-B14C-72F681146D1B}" srcOrd="1" destOrd="0" presId="urn:microsoft.com/office/officeart/2005/8/layout/hProcess11"/>
    <dgm:cxn modelId="{FF82F282-52E5-49DB-A736-7FE65E7A46CB}" type="presParOf" srcId="{78255F60-A01D-4E38-AE04-EAFF1E4A8782}" destId="{498CC4C5-AC7A-4227-8D97-D50A00D3D698}" srcOrd="2" destOrd="0" presId="urn:microsoft.com/office/officeart/2005/8/layout/hProcess1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6F72711-1DAA-48CA-9A06-42CB52242E99}">
      <dsp:nvSpPr>
        <dsp:cNvPr id="0" name=""/>
        <dsp:cNvSpPr/>
      </dsp:nvSpPr>
      <dsp:spPr>
        <a:xfrm>
          <a:off x="0" y="1369897"/>
          <a:ext cx="11303949" cy="1826530"/>
        </a:xfrm>
        <a:prstGeom prst="notchedRightArrow">
          <a:avLst/>
        </a:prstGeom>
        <a:solidFill>
          <a:schemeClr val="accent4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92B3D80-8458-437A-A50B-C09EA025F8F1}">
      <dsp:nvSpPr>
        <dsp:cNvPr id="0" name=""/>
        <dsp:cNvSpPr/>
      </dsp:nvSpPr>
      <dsp:spPr>
        <a:xfrm>
          <a:off x="2490" y="0"/>
          <a:ext cx="2767163" cy="182653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13792" rIns="113792" bIns="113792" numCol="1" spcCol="1270" anchor="b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600" b="1" kern="1200" dirty="0"/>
            <a:t>2026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600" kern="1200" dirty="0"/>
            <a:t>Kela toteuttaa EQ-5D-5L FHIR-rakenteen Kanta-palveluihin</a:t>
          </a:r>
        </a:p>
      </dsp:txBody>
      <dsp:txXfrm>
        <a:off x="2490" y="0"/>
        <a:ext cx="2767163" cy="1826530"/>
      </dsp:txXfrm>
    </dsp:sp>
    <dsp:sp modelId="{3AB0BCEE-E1ED-4F5A-8FF3-F1CEBA0639F3}">
      <dsp:nvSpPr>
        <dsp:cNvPr id="0" name=""/>
        <dsp:cNvSpPr/>
      </dsp:nvSpPr>
      <dsp:spPr>
        <a:xfrm>
          <a:off x="1157755" y="2054846"/>
          <a:ext cx="456632" cy="456632"/>
        </a:xfrm>
        <a:prstGeom prst="ellips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B1E6EE4-D4BA-49A8-AFE8-379A726C1A19}">
      <dsp:nvSpPr>
        <dsp:cNvPr id="0" name=""/>
        <dsp:cNvSpPr/>
      </dsp:nvSpPr>
      <dsp:spPr>
        <a:xfrm>
          <a:off x="2887136" y="2739795"/>
          <a:ext cx="2349653" cy="182653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13792" rIns="113792" bIns="113792" numCol="1" spcCol="1270" anchor="t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600" b="1" kern="1200" dirty="0"/>
            <a:t>2027 </a:t>
          </a:r>
          <a:br>
            <a:rPr lang="fi-FI" sz="1600" b="1" kern="1200" dirty="0"/>
          </a:br>
          <a:r>
            <a:rPr lang="fi-FI" sz="1600" kern="1200" dirty="0"/>
            <a:t>THL: muutokset tietorakenteisiin mahdollisia 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600" kern="1200" dirty="0"/>
            <a:t>- mittaritiedot vapaaehtoisella viittauksella</a:t>
          </a:r>
        </a:p>
      </dsp:txBody>
      <dsp:txXfrm>
        <a:off x="2887136" y="2739795"/>
        <a:ext cx="2349653" cy="1826530"/>
      </dsp:txXfrm>
    </dsp:sp>
    <dsp:sp modelId="{FBE84359-DD18-4559-AD1D-8E717A562868}">
      <dsp:nvSpPr>
        <dsp:cNvPr id="0" name=""/>
        <dsp:cNvSpPr/>
      </dsp:nvSpPr>
      <dsp:spPr>
        <a:xfrm>
          <a:off x="3833647" y="2054846"/>
          <a:ext cx="456632" cy="456632"/>
        </a:xfrm>
        <a:prstGeom prst="ellipse">
          <a:avLst/>
        </a:prstGeom>
        <a:solidFill>
          <a:schemeClr val="accent4">
            <a:hueOff val="2921318"/>
            <a:satOff val="12149"/>
            <a:lumOff val="4967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1F9742B-AD71-4B96-A7CA-D4C97C1B22AB}">
      <dsp:nvSpPr>
        <dsp:cNvPr id="0" name=""/>
        <dsp:cNvSpPr/>
      </dsp:nvSpPr>
      <dsp:spPr>
        <a:xfrm>
          <a:off x="5354273" y="0"/>
          <a:ext cx="2349653" cy="182653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13792" rIns="113792" bIns="113792" numCol="1" spcCol="1270" anchor="b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600" b="1" kern="1200" dirty="0"/>
            <a:t>2028</a:t>
          </a:r>
          <a:r>
            <a:rPr lang="fi-FI" sz="1600" kern="1200" dirty="0"/>
            <a:t> 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600" kern="1200" dirty="0"/>
            <a:t>THL:n </a:t>
          </a:r>
          <a:r>
            <a:rPr lang="fi-FI" sz="1600" kern="1200" dirty="0" err="1"/>
            <a:t>Toimiameta</a:t>
          </a:r>
          <a:r>
            <a:rPr lang="fi-FI" sz="1600" kern="1200" dirty="0"/>
            <a:t>-palvelu käyttöön: kyselyt FHIR-rakenteilla</a:t>
          </a:r>
        </a:p>
      </dsp:txBody>
      <dsp:txXfrm>
        <a:off x="5354273" y="0"/>
        <a:ext cx="2349653" cy="1826530"/>
      </dsp:txXfrm>
    </dsp:sp>
    <dsp:sp modelId="{E1846E95-D5C8-44EC-A9CF-AB9E46F34F58}">
      <dsp:nvSpPr>
        <dsp:cNvPr id="0" name=""/>
        <dsp:cNvSpPr/>
      </dsp:nvSpPr>
      <dsp:spPr>
        <a:xfrm>
          <a:off x="6300784" y="2054846"/>
          <a:ext cx="456632" cy="456632"/>
        </a:xfrm>
        <a:prstGeom prst="ellipse">
          <a:avLst/>
        </a:prstGeom>
        <a:solidFill>
          <a:schemeClr val="accent4">
            <a:hueOff val="5842635"/>
            <a:satOff val="24297"/>
            <a:lumOff val="9934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F956EAB-BF5C-46AC-94C6-B89F576E4A04}">
      <dsp:nvSpPr>
        <dsp:cNvPr id="0" name=""/>
        <dsp:cNvSpPr/>
      </dsp:nvSpPr>
      <dsp:spPr>
        <a:xfrm>
          <a:off x="7821409" y="2739795"/>
          <a:ext cx="2349653" cy="182653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13792" rIns="113792" bIns="113792" numCol="1" spcCol="1270" anchor="t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600" b="1" kern="1200" dirty="0"/>
            <a:t>2029</a:t>
          </a:r>
          <a:r>
            <a:rPr lang="fi-FI" sz="1600" kern="1200" dirty="0"/>
            <a:t> </a:t>
          </a:r>
          <a:r>
            <a:rPr lang="fi-FI" sz="1600" b="1" kern="1200" dirty="0"/>
            <a:t>alkaen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600" kern="1200" dirty="0"/>
            <a:t>EHDS: Omakantaan PROM-palvelu, MDR-sertifiointi</a:t>
          </a:r>
        </a:p>
      </dsp:txBody>
      <dsp:txXfrm>
        <a:off x="7821409" y="2739795"/>
        <a:ext cx="2349653" cy="1826530"/>
      </dsp:txXfrm>
    </dsp:sp>
    <dsp:sp modelId="{E2BB7030-87AD-436B-B14C-72F681146D1B}">
      <dsp:nvSpPr>
        <dsp:cNvPr id="0" name=""/>
        <dsp:cNvSpPr/>
      </dsp:nvSpPr>
      <dsp:spPr>
        <a:xfrm>
          <a:off x="8767920" y="2054846"/>
          <a:ext cx="456632" cy="456632"/>
        </a:xfrm>
        <a:prstGeom prst="ellipse">
          <a:avLst/>
        </a:prstGeom>
        <a:solidFill>
          <a:schemeClr val="accent4">
            <a:hueOff val="8763953"/>
            <a:satOff val="36446"/>
            <a:lumOff val="14901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11">
  <dgm:title val=""/>
  <dgm:desc val=""/>
  <dgm:catLst>
    <dgm:cat type="process" pri="8000"/>
    <dgm:cat type="convert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onstrLst>
          <dgm:constr type="w" for="ch" forName="arrow" refType="w"/>
          <dgm:constr type="h" for="ch" forName="arrow" refType="h" fact="0.4"/>
          <dgm:constr type="ctrY" for="ch" forName="arrow" refType="h" fact="0.5"/>
          <dgm:constr type="l" for="ch" forName="arrow"/>
          <dgm:constr type="w" for="ch" forName="points" refType="w" fact="0.9"/>
          <dgm:constr type="h" for="ch" forName="points" refType="h"/>
          <dgm:constr type="t" for="ch" forName="points"/>
          <dgm:constr type="l" for="ch" forName="points"/>
        </dgm:constrLst>
      </dgm:if>
      <dgm:else name="Name3">
        <dgm:constrLst>
          <dgm:constr type="w" for="ch" forName="arrow" refType="w"/>
          <dgm:constr type="h" for="ch" forName="arrow" refType="h" fact="0.4"/>
          <dgm:constr type="ctrY" for="ch" forName="arrow" refType="h" fact="0.5"/>
          <dgm:constr type="r" for="ch" forName="arrow" refType="w"/>
          <dgm:constr type="w" for="ch" forName="points" refType="w" fact="0.9"/>
          <dgm:constr type="h" for="ch" forName="points" refType="h"/>
          <dgm:constr type="t" for="ch" forName="points"/>
          <dgm:constr type="r" for="ch" forName="points" refType="w"/>
        </dgm:constrLst>
      </dgm:else>
    </dgm:choose>
    <dgm:ruleLst/>
    <dgm:layoutNode name="arrow" styleLbl="bgShp">
      <dgm:alg type="sp"/>
      <dgm:choose name="Name4">
        <dgm:if name="Name5" func="var" arg="dir" op="equ" val="norm">
          <dgm:shape xmlns:r="http://schemas.openxmlformats.org/officeDocument/2006/relationships" type="notchedRightArrow" r:blip="">
            <dgm:adjLst/>
          </dgm:shape>
        </dgm:if>
        <dgm:else name="Name6">
          <dgm:shape xmlns:r="http://schemas.openxmlformats.org/officeDocument/2006/relationships" rot="180" type="notchedRightArrow" r:blip="">
            <dgm:adjLst/>
          </dgm:shape>
        </dgm:else>
      </dgm:choose>
      <dgm:presOf/>
      <dgm:constrLst/>
      <dgm:ruleLst/>
    </dgm:layoutNode>
    <dgm:layoutNode name="points">
      <dgm:choose name="Name7">
        <dgm:if name="Name8" func="var" arg="dir" op="equ" val="norm">
          <dgm:alg type="lin">
            <dgm:param type="linDir" val="fromL"/>
          </dgm:alg>
        </dgm:if>
        <dgm:else name="Name9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A" refType="w"/>
        <dgm:constr type="h" for="ch" forName="compositeA" refType="h"/>
        <dgm:constr type="w" for="ch" forName="compositeB" refType="w" refFor="ch" refForName="compositeA" op="equ"/>
        <dgm:constr type="h" for="ch" forName="compositeB" refType="h" refFor="ch" refForName="compositeA" op="equ"/>
        <dgm:constr type="primFontSz" for="des" ptType="node" op="equ" val="65"/>
        <dgm:constr type="w" for="ch" forName="space" refType="w" refFor="ch" refForName="compositeA" op="equ" fact="0.05"/>
      </dgm:constrLst>
      <dgm:ruleLst/>
      <dgm:forEach name="Name10" axis="ch" ptType="node">
        <dgm:choose name="Name11">
          <dgm:if name="Name12" axis="self" ptType="node" func="posOdd" op="equ" val="1">
            <dgm:layoutNode name="compositeA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extA" refType="w"/>
                <dgm:constr type="h" for="ch" forName="textA" refType="h" fact="0.4"/>
                <dgm:constr type="t" for="ch" forName="textA"/>
                <dgm:constr type="l" for="ch" forName="textA"/>
                <dgm:constr type="h" for="ch" forName="circleA" refType="h" fact="0.1"/>
                <dgm:constr type="h" for="ch" forName="circleA" refType="w" op="lte"/>
                <dgm:constr type="w" for="ch" forName="circleA" refType="h" refFor="ch" refForName="circleA" op="equ"/>
                <dgm:constr type="ctrY" for="ch" forName="circleA" refType="h" fact="0.5"/>
                <dgm:constr type="ctrX" for="ch" forName="circleA" refType="w" refFor="ch" refForName="textA" fact="0.5"/>
                <dgm:constr type="w" for="ch" forName="spaceA" refType="w"/>
                <dgm:constr type="h" for="ch" forName="spaceA" refType="h" fact="0.4"/>
                <dgm:constr type="b" for="ch" forName="spaceA" refType="h"/>
                <dgm:constr type="l" for="ch" forName="spaceA"/>
              </dgm:constrLst>
              <dgm:ruleLst/>
              <dgm:layoutNode name="textA" styleLbl="revTx">
                <dgm:varLst>
                  <dgm:bulletEnabled val="1"/>
                </dgm:varLst>
                <dgm:alg type="tx">
                  <dgm:param type="txAnchorVert" val="b"/>
                  <dgm:param type="txAnchorVertCh" val="b"/>
                  <dgm:param type="txAnchorHorzCh" val="ctr"/>
                </dgm:alg>
                <dgm:shape xmlns:r="http://schemas.openxmlformats.org/officeDocument/2006/relationships" type="rect" r:blip="">
                  <dgm:adjLst/>
                </dgm:shape>
                <dgm:presOf axis="desOrSelf" ptType="node"/>
                <dgm:constrLst/>
                <dgm:ruleLst>
                  <dgm:rule type="primFontSz" val="5" fact="NaN" max="NaN"/>
                </dgm:ruleLst>
              </dgm:layoutNode>
              <dgm:layoutNode name="circleA">
                <dgm:alg type="sp"/>
                <dgm:shape xmlns:r="http://schemas.openxmlformats.org/officeDocument/2006/relationships" type="ellipse" r:blip="">
                  <dgm:adjLst/>
                </dgm:shape>
                <dgm:presOf/>
                <dgm:constrLst/>
                <dgm:ruleLst/>
              </dgm:layoutNode>
              <dgm:layoutNode name="spaceA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13">
            <dgm:layoutNode name="compositeB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extB" refType="w"/>
                <dgm:constr type="h" for="ch" forName="textB" refType="h" fact="0.4"/>
                <dgm:constr type="b" for="ch" forName="textB" refType="h"/>
                <dgm:constr type="l" for="ch" forName="textB"/>
                <dgm:constr type="h" for="ch" forName="circleB" refType="h" fact="0.1"/>
                <dgm:constr type="w" for="ch" forName="circleB" refType="h" refFor="ch" refForName="circleB" op="equ"/>
                <dgm:constr type="h" for="ch" forName="circleB" refType="w" op="lte"/>
                <dgm:constr type="ctrY" for="ch" forName="circleB" refType="h" fact="0.5"/>
                <dgm:constr type="ctrX" for="ch" forName="circleB" refType="w" refFor="ch" refForName="textB" fact="0.5"/>
                <dgm:constr type="w" for="ch" forName="spaceB" refType="w"/>
                <dgm:constr type="h" for="ch" forName="spaceB" refType="h" fact="0.4"/>
                <dgm:constr type="t" for="ch" forName="spaceB"/>
                <dgm:constr type="l" for="ch" forName="spaceB"/>
              </dgm:constrLst>
              <dgm:ruleLst/>
              <dgm:layoutNode name="textB" styleLbl="revTx">
                <dgm:varLst>
                  <dgm:bulletEnabled val="1"/>
                </dgm:varLst>
                <dgm:alg type="tx">
                  <dgm:param type="txAnchorVert" val="t"/>
                  <dgm:param type="txAnchorVertCh" val="t"/>
                  <dgm:param type="txAnchorHorzCh" val="ctr"/>
                </dgm:alg>
                <dgm:shape xmlns:r="http://schemas.openxmlformats.org/officeDocument/2006/relationships" type="rect" r:blip="">
                  <dgm:adjLst/>
                </dgm:shape>
                <dgm:presOf axis="desOrSelf" ptType="node"/>
                <dgm:constrLst/>
                <dgm:ruleLst>
                  <dgm:rule type="primFontSz" val="5" fact="NaN" max="NaN"/>
                </dgm:ruleLst>
              </dgm:layoutNode>
              <dgm:layoutNode name="circleB">
                <dgm:alg type="sp"/>
                <dgm:shape xmlns:r="http://schemas.openxmlformats.org/officeDocument/2006/relationships" type="ellipse" r:blip="">
                  <dgm:adjLst/>
                </dgm:shape>
                <dgm:presOf/>
                <dgm:constrLst/>
                <dgm:ruleLst/>
              </dgm:layoutNode>
              <dgm:layoutNode name="spaceB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else>
        </dgm:choose>
        <dgm:forEach name="Name14" axis="followSib" ptType="sibTrans" cnt="1">
          <dgm:layoutNode name="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2CB7580-957B-4CA3-A738-24831F9D7559}" type="datetimeFigureOut">
              <a:rPr lang="fi-FI" smtClean="0"/>
              <a:t>12.3.2026</a:t>
            </a:fld>
            <a:endParaRPr lang="fi-FI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i-FI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A2EA6C2-EBBF-4592-BCE9-1C9523C81176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922876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4.png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0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0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0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11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11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11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11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11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11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11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1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2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12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1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12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12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12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12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12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12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3.xml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13.xml"/></Relationships>
</file>

<file path=ppt/slideLayouts/_rels/slideLayout2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13.xml"/></Relationships>
</file>

<file path=ppt/slideLayouts/_rels/slideLayout2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13.xml"/></Relationships>
</file>

<file path=ppt/slideLayouts/_rels/slideLayout2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13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13.xml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1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13.xml"/></Relationships>
</file>

<file path=ppt/slideLayouts/_rels/slideLayout2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13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png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4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4.xml"/></Relationships>
</file>

<file path=ppt/slideLayouts/_rels/slideLayout2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4.xml"/><Relationship Id="rId4" Type="http://schemas.openxmlformats.org/officeDocument/2006/relationships/image" Target="../media/image21.png"/></Relationships>
</file>

<file path=ppt/slideLayouts/_rels/slideLayout2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4.xml"/></Relationships>
</file>

<file path=ppt/slideLayouts/_rels/slideLayout2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4.xml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4.xml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4.xml"/></Relationships>
</file>

<file path=ppt/slideLayouts/_rels/slideLayout2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4.xml"/></Relationships>
</file>

<file path=ppt/slideLayouts/_rels/slideLayout2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4.xml"/></Relationships>
</file>

<file path=ppt/slideLayouts/_rels/slideLayout2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4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8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8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8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9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8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0.xml"/><Relationship Id="rId6" Type="http://schemas.openxmlformats.org/officeDocument/2006/relationships/image" Target="../media/image18.svg"/><Relationship Id="rId5" Type="http://schemas.openxmlformats.org/officeDocument/2006/relationships/image" Target="../media/image17.png"/><Relationship Id="rId4" Type="http://schemas.openxmlformats.org/officeDocument/2006/relationships/image" Target="../media/image8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1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8.emf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2.xml"/><Relationship Id="rId4" Type="http://schemas.openxmlformats.org/officeDocument/2006/relationships/image" Target="../media/image8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3.xml"/><Relationship Id="rId4" Type="http://schemas.openxmlformats.org/officeDocument/2006/relationships/image" Target="../media/image8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4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8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5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8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6.xml"/><Relationship Id="rId6" Type="http://schemas.openxmlformats.org/officeDocument/2006/relationships/image" Target="../media/image20.svg"/><Relationship Id="rId5" Type="http://schemas.openxmlformats.org/officeDocument/2006/relationships/image" Target="../media/image19.png"/><Relationship Id="rId4" Type="http://schemas.openxmlformats.org/officeDocument/2006/relationships/image" Target="../media/image8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7.xml"/><Relationship Id="rId6" Type="http://schemas.openxmlformats.org/officeDocument/2006/relationships/image" Target="../media/image20.svg"/><Relationship Id="rId5" Type="http://schemas.openxmlformats.org/officeDocument/2006/relationships/image" Target="../media/image19.png"/><Relationship Id="rId4" Type="http://schemas.openxmlformats.org/officeDocument/2006/relationships/image" Target="../media/image8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8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8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9.xml"/><Relationship Id="rId6" Type="http://schemas.openxmlformats.org/officeDocument/2006/relationships/image" Target="../media/image20.svg"/><Relationship Id="rId5" Type="http://schemas.openxmlformats.org/officeDocument/2006/relationships/image" Target="../media/image19.png"/><Relationship Id="rId4" Type="http://schemas.openxmlformats.org/officeDocument/2006/relationships/image" Target="../media/image8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0.xml"/><Relationship Id="rId4" Type="http://schemas.openxmlformats.org/officeDocument/2006/relationships/image" Target="../media/image8.emf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21.png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1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raphic 24">
            <a:extLst>
              <a:ext uri="{FF2B5EF4-FFF2-40B4-BE49-F238E27FC236}">
                <a16:creationId xmlns:a16="http://schemas.microsoft.com/office/drawing/2014/main" id="{412E2FC6-3DC7-A5C6-CB76-702A1185B2EA}"/>
              </a:ext>
            </a:extLst>
          </p:cNvPr>
          <p:cNvSpPr/>
          <p:nvPr/>
        </p:nvSpPr>
        <p:spPr>
          <a:xfrm>
            <a:off x="0" y="-3"/>
            <a:ext cx="12191877" cy="6858000"/>
          </a:xfrm>
          <a:custGeom>
            <a:avLst/>
            <a:gdLst>
              <a:gd name="connsiteX0" fmla="*/ 0 w 12191877"/>
              <a:gd name="connsiteY0" fmla="*/ 6858000 h 6858000"/>
              <a:gd name="connsiteX1" fmla="*/ 8102520 w 12191877"/>
              <a:gd name="connsiteY1" fmla="*/ 6858000 h 6858000"/>
              <a:gd name="connsiteX2" fmla="*/ 8102520 w 12191877"/>
              <a:gd name="connsiteY2" fmla="*/ 6051708 h 6858000"/>
              <a:gd name="connsiteX3" fmla="*/ 12191878 w 12191877"/>
              <a:gd name="connsiteY3" fmla="*/ 1962310 h 6858000"/>
              <a:gd name="connsiteX4" fmla="*/ 12191878 w 12191877"/>
              <a:gd name="connsiteY4" fmla="*/ 1850371 h 6858000"/>
              <a:gd name="connsiteX5" fmla="*/ 8102520 w 12191877"/>
              <a:gd name="connsiteY5" fmla="*/ 5939766 h 6858000"/>
              <a:gd name="connsiteX6" fmla="*/ 8102520 w 12191877"/>
              <a:gd name="connsiteY6" fmla="*/ 4931057 h 6858000"/>
              <a:gd name="connsiteX7" fmla="*/ 12191878 w 12191877"/>
              <a:gd name="connsiteY7" fmla="*/ 841658 h 6858000"/>
              <a:gd name="connsiteX8" fmla="*/ 12191878 w 12191877"/>
              <a:gd name="connsiteY8" fmla="*/ 729724 h 6858000"/>
              <a:gd name="connsiteX9" fmla="*/ 8102520 w 12191877"/>
              <a:gd name="connsiteY9" fmla="*/ 4819122 h 6858000"/>
              <a:gd name="connsiteX10" fmla="*/ 8102520 w 12191877"/>
              <a:gd name="connsiteY10" fmla="*/ 3810409 h 6858000"/>
              <a:gd name="connsiteX11" fmla="*/ 11912894 w 12191877"/>
              <a:gd name="connsiteY11" fmla="*/ 0 h 6858000"/>
              <a:gd name="connsiteX12" fmla="*/ 11800954 w 12191877"/>
              <a:gd name="connsiteY12" fmla="*/ 0 h 6858000"/>
              <a:gd name="connsiteX13" fmla="*/ 8102520 w 12191877"/>
              <a:gd name="connsiteY13" fmla="*/ 3698475 h 6858000"/>
              <a:gd name="connsiteX14" fmla="*/ 8102520 w 12191877"/>
              <a:gd name="connsiteY14" fmla="*/ 2689762 h 6858000"/>
              <a:gd name="connsiteX15" fmla="*/ 10792254 w 12191877"/>
              <a:gd name="connsiteY15" fmla="*/ 0 h 6858000"/>
              <a:gd name="connsiteX16" fmla="*/ 10680314 w 12191877"/>
              <a:gd name="connsiteY16" fmla="*/ 0 h 6858000"/>
              <a:gd name="connsiteX17" fmla="*/ 8102520 w 12191877"/>
              <a:gd name="connsiteY17" fmla="*/ 2577820 h 6858000"/>
              <a:gd name="connsiteX18" fmla="*/ 8102520 w 12191877"/>
              <a:gd name="connsiteY18" fmla="*/ 1569100 h 6858000"/>
              <a:gd name="connsiteX19" fmla="*/ 9671614 w 12191877"/>
              <a:gd name="connsiteY19" fmla="*/ 0 h 6858000"/>
              <a:gd name="connsiteX20" fmla="*/ 9559677 w 12191877"/>
              <a:gd name="connsiteY20" fmla="*/ 0 h 6858000"/>
              <a:gd name="connsiteX21" fmla="*/ 8102520 w 12191877"/>
              <a:gd name="connsiteY21" fmla="*/ 1457172 h 6858000"/>
              <a:gd name="connsiteX22" fmla="*/ 8102520 w 12191877"/>
              <a:gd name="connsiteY22" fmla="*/ 560902 h 6858000"/>
              <a:gd name="connsiteX23" fmla="*/ 8644717 w 12191877"/>
              <a:gd name="connsiteY23" fmla="*/ 0 h 6858000"/>
              <a:gd name="connsiteX24" fmla="*/ 8536632 w 12191877"/>
              <a:gd name="connsiteY24" fmla="*/ 0 h 6858000"/>
              <a:gd name="connsiteX25" fmla="*/ 8102520 w 12191877"/>
              <a:gd name="connsiteY25" fmla="*/ 448970 h 6858000"/>
              <a:gd name="connsiteX26" fmla="*/ 8102520 w 12191877"/>
              <a:gd name="connsiteY26" fmla="*/ 0 h 6858000"/>
              <a:gd name="connsiteX27" fmla="*/ 0 w 12191877"/>
              <a:gd name="connsiteY27" fmla="*/ 0 h 6858000"/>
              <a:gd name="connsiteX28" fmla="*/ 0 w 12191877"/>
              <a:gd name="connsiteY28" fmla="*/ 6857997 h 6858000"/>
              <a:gd name="connsiteX29" fmla="*/ 8304935 w 12191877"/>
              <a:gd name="connsiteY29" fmla="*/ 6858000 h 6858000"/>
              <a:gd name="connsiteX30" fmla="*/ 8416875 w 12191877"/>
              <a:gd name="connsiteY30" fmla="*/ 6858000 h 6858000"/>
              <a:gd name="connsiteX31" fmla="*/ 12191878 w 12191877"/>
              <a:gd name="connsiteY31" fmla="*/ 3082961 h 6858000"/>
              <a:gd name="connsiteX32" fmla="*/ 12191878 w 12191877"/>
              <a:gd name="connsiteY32" fmla="*/ 2971019 h 6858000"/>
              <a:gd name="connsiteX33" fmla="*/ 8304935 w 12191877"/>
              <a:gd name="connsiteY33" fmla="*/ 6858000 h 6858000"/>
              <a:gd name="connsiteX34" fmla="*/ 9425589 w 12191877"/>
              <a:gd name="connsiteY34" fmla="*/ 6858000 h 6858000"/>
              <a:gd name="connsiteX35" fmla="*/ 9537516 w 12191877"/>
              <a:gd name="connsiteY35" fmla="*/ 6858000 h 6858000"/>
              <a:gd name="connsiteX36" fmla="*/ 12191878 w 12191877"/>
              <a:gd name="connsiteY36" fmla="*/ 4203612 h 6858000"/>
              <a:gd name="connsiteX37" fmla="*/ 12191878 w 12191877"/>
              <a:gd name="connsiteY37" fmla="*/ 4091670 h 6858000"/>
              <a:gd name="connsiteX38" fmla="*/ 9425589 w 12191877"/>
              <a:gd name="connsiteY38" fmla="*/ 6858000 h 6858000"/>
              <a:gd name="connsiteX39" fmla="*/ 10544933 w 12191877"/>
              <a:gd name="connsiteY39" fmla="*/ 6858000 h 6858000"/>
              <a:gd name="connsiteX40" fmla="*/ 10658156 w 12191877"/>
              <a:gd name="connsiteY40" fmla="*/ 6858000 h 6858000"/>
              <a:gd name="connsiteX41" fmla="*/ 12191878 w 12191877"/>
              <a:gd name="connsiteY41" fmla="*/ 5324264 h 6858000"/>
              <a:gd name="connsiteX42" fmla="*/ 12191878 w 12191877"/>
              <a:gd name="connsiteY42" fmla="*/ 5211040 h 6858000"/>
              <a:gd name="connsiteX43" fmla="*/ 10544933 w 12191877"/>
              <a:gd name="connsiteY43" fmla="*/ 6858000 h 6858000"/>
              <a:gd name="connsiteX44" fmla="*/ 11665573 w 12191877"/>
              <a:gd name="connsiteY44" fmla="*/ 6858000 h 6858000"/>
              <a:gd name="connsiteX45" fmla="*/ 11777507 w 12191877"/>
              <a:gd name="connsiteY45" fmla="*/ 6858000 h 6858000"/>
              <a:gd name="connsiteX46" fmla="*/ 12191878 w 12191877"/>
              <a:gd name="connsiteY46" fmla="*/ 6443630 h 6858000"/>
              <a:gd name="connsiteX47" fmla="*/ 12191878 w 12191877"/>
              <a:gd name="connsiteY47" fmla="*/ 6331691 h 6858000"/>
              <a:gd name="connsiteX48" fmla="*/ 11665573 w 12191877"/>
              <a:gd name="connsiteY4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2191877" h="6858000">
                <a:moveTo>
                  <a:pt x="0" y="6858000"/>
                </a:moveTo>
                <a:lnTo>
                  <a:pt x="8102520" y="6858000"/>
                </a:lnTo>
                <a:lnTo>
                  <a:pt x="8102520" y="6051708"/>
                </a:lnTo>
                <a:lnTo>
                  <a:pt x="12191878" y="1962310"/>
                </a:lnTo>
                <a:lnTo>
                  <a:pt x="12191878" y="1850371"/>
                </a:lnTo>
                <a:lnTo>
                  <a:pt x="8102520" y="5939766"/>
                </a:lnTo>
                <a:lnTo>
                  <a:pt x="8102520" y="4931057"/>
                </a:lnTo>
                <a:lnTo>
                  <a:pt x="12191878" y="841658"/>
                </a:lnTo>
                <a:lnTo>
                  <a:pt x="12191878" y="729724"/>
                </a:lnTo>
                <a:lnTo>
                  <a:pt x="8102520" y="4819122"/>
                </a:lnTo>
                <a:lnTo>
                  <a:pt x="8102520" y="3810409"/>
                </a:lnTo>
                <a:lnTo>
                  <a:pt x="11912894" y="0"/>
                </a:lnTo>
                <a:lnTo>
                  <a:pt x="11800954" y="0"/>
                </a:lnTo>
                <a:lnTo>
                  <a:pt x="8102520" y="3698475"/>
                </a:lnTo>
                <a:lnTo>
                  <a:pt x="8102520" y="2689762"/>
                </a:lnTo>
                <a:lnTo>
                  <a:pt x="10792254" y="0"/>
                </a:lnTo>
                <a:lnTo>
                  <a:pt x="10680314" y="0"/>
                </a:lnTo>
                <a:lnTo>
                  <a:pt x="8102520" y="2577820"/>
                </a:lnTo>
                <a:lnTo>
                  <a:pt x="8102520" y="1569100"/>
                </a:lnTo>
                <a:lnTo>
                  <a:pt x="9671614" y="0"/>
                </a:lnTo>
                <a:lnTo>
                  <a:pt x="9559677" y="0"/>
                </a:lnTo>
                <a:lnTo>
                  <a:pt x="8102520" y="1457172"/>
                </a:lnTo>
                <a:lnTo>
                  <a:pt x="8102520" y="560902"/>
                </a:lnTo>
                <a:lnTo>
                  <a:pt x="8644717" y="0"/>
                </a:lnTo>
                <a:lnTo>
                  <a:pt x="8536632" y="0"/>
                </a:lnTo>
                <a:lnTo>
                  <a:pt x="8102520" y="448970"/>
                </a:lnTo>
                <a:lnTo>
                  <a:pt x="8102520" y="0"/>
                </a:lnTo>
                <a:lnTo>
                  <a:pt x="0" y="0"/>
                </a:lnTo>
                <a:lnTo>
                  <a:pt x="0" y="6857997"/>
                </a:lnTo>
                <a:close/>
                <a:moveTo>
                  <a:pt x="8304935" y="6858000"/>
                </a:moveTo>
                <a:lnTo>
                  <a:pt x="8416875" y="6858000"/>
                </a:lnTo>
                <a:lnTo>
                  <a:pt x="12191878" y="3082961"/>
                </a:lnTo>
                <a:lnTo>
                  <a:pt x="12191878" y="2971019"/>
                </a:lnTo>
                <a:lnTo>
                  <a:pt x="8304935" y="6858000"/>
                </a:lnTo>
                <a:close/>
                <a:moveTo>
                  <a:pt x="9425589" y="6858000"/>
                </a:moveTo>
                <a:lnTo>
                  <a:pt x="9537516" y="6858000"/>
                </a:lnTo>
                <a:lnTo>
                  <a:pt x="12191878" y="4203612"/>
                </a:lnTo>
                <a:lnTo>
                  <a:pt x="12191878" y="4091670"/>
                </a:lnTo>
                <a:lnTo>
                  <a:pt x="9425589" y="6858000"/>
                </a:lnTo>
                <a:close/>
                <a:moveTo>
                  <a:pt x="10544933" y="6858000"/>
                </a:moveTo>
                <a:lnTo>
                  <a:pt x="10658156" y="6858000"/>
                </a:lnTo>
                <a:lnTo>
                  <a:pt x="12191878" y="5324264"/>
                </a:lnTo>
                <a:lnTo>
                  <a:pt x="12191878" y="5211040"/>
                </a:lnTo>
                <a:lnTo>
                  <a:pt x="10544933" y="6858000"/>
                </a:lnTo>
                <a:close/>
                <a:moveTo>
                  <a:pt x="11665573" y="6858000"/>
                </a:moveTo>
                <a:lnTo>
                  <a:pt x="11777507" y="6858000"/>
                </a:lnTo>
                <a:lnTo>
                  <a:pt x="12191878" y="6443630"/>
                </a:lnTo>
                <a:lnTo>
                  <a:pt x="12191878" y="6331691"/>
                </a:lnTo>
                <a:lnTo>
                  <a:pt x="11665573" y="6858000"/>
                </a:lnTo>
                <a:close/>
              </a:path>
            </a:pathLst>
          </a:custGeom>
          <a:solidFill>
            <a:srgbClr val="F0EBE1"/>
          </a:solidFill>
          <a:ln w="36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6E6260-E36C-484A-9F25-1346EC50A8D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5508" y="2196783"/>
            <a:ext cx="6839712" cy="1876869"/>
          </a:xfrm>
        </p:spPr>
        <p:txBody>
          <a:bodyPr anchor="t" anchorCtr="0"/>
          <a:lstStyle>
            <a:lvl1pPr algn="l">
              <a:lnSpc>
                <a:spcPct val="95000"/>
              </a:lnSpc>
              <a:defRPr sz="4000"/>
            </a:lvl1pPr>
          </a:lstStyle>
          <a:p>
            <a:r>
              <a:rPr lang="fi-FI"/>
              <a:t>Muokkaa perustyyl. napsautt.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1FDDA9F-DC3B-4803-9730-F564F287AC8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35508" y="5070348"/>
            <a:ext cx="6839712" cy="1220724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24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D7FCCBE-EE77-5D47-8CE2-1B409B5E09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915" y="565286"/>
            <a:ext cx="2090175" cy="703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222811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DE34914-B5F2-4084-8552-6153E3BFA8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19.5.2021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3C69628-CCBB-4581-842C-07AC1724D7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etra Kokko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414EFF0-E9E2-364E-9793-DF62BACE2D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76380" y="596151"/>
            <a:ext cx="516294" cy="631026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0E5EEC2F-8885-4741-92AA-E21ECE47D5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940" y="484094"/>
            <a:ext cx="9894939" cy="1075323"/>
          </a:xfrm>
        </p:spPr>
        <p:txBody>
          <a:bodyPr anchor="b"/>
          <a:lstStyle/>
          <a:p>
            <a:r>
              <a:rPr lang="fi-FI"/>
              <a:t>Muokkaa perustyyl. napsautt.</a:t>
            </a:r>
            <a:endParaRPr lang="en-GB"/>
          </a:p>
        </p:txBody>
      </p:sp>
      <p:pic>
        <p:nvPicPr>
          <p:cNvPr id="11" name="Kuva 10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9409" y="6079993"/>
            <a:ext cx="1783265" cy="4990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5957867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AF55F463-6573-FC45-BA45-C38E511134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F6E6260-E36C-484A-9F25-1346EC50A8D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5508" y="2196783"/>
            <a:ext cx="6839712" cy="1876869"/>
          </a:xfrm>
        </p:spPr>
        <p:txBody>
          <a:bodyPr anchor="t" anchorCtr="0"/>
          <a:lstStyle>
            <a:lvl1pPr algn="l">
              <a:lnSpc>
                <a:spcPct val="95000"/>
              </a:lnSpc>
              <a:defRPr sz="4000"/>
            </a:lvl1pPr>
          </a:lstStyle>
          <a:p>
            <a:r>
              <a:rPr lang="fi-FI"/>
              <a:t>Muokkaa perustyyl. napsautt.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1FDDA9F-DC3B-4803-9730-F564F287AC8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35508" y="4073652"/>
            <a:ext cx="5819080" cy="1220724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24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</a:t>
            </a:r>
            <a:r>
              <a:rPr lang="fi-FI" err="1"/>
              <a:t>napsautt</a:t>
            </a:r>
            <a:r>
              <a:rPr lang="fi-FI"/>
              <a:t>.</a:t>
            </a:r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3EE9307-AB79-3247-82BD-37685692FA2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915" y="565286"/>
            <a:ext cx="2090175" cy="703499"/>
          </a:xfrm>
          <a:prstGeom prst="rect">
            <a:avLst/>
          </a:prstGeom>
        </p:spPr>
      </p:pic>
      <p:pic>
        <p:nvPicPr>
          <p:cNvPr id="4" name="Kuva 3"/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915" y="5755340"/>
            <a:ext cx="2272533" cy="6360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44653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 2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AF55F463-6573-FC45-BA45-C38E511134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F6E6260-E36C-484A-9F25-1346EC50A8D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5508" y="2196783"/>
            <a:ext cx="6839712" cy="1876869"/>
          </a:xfrm>
        </p:spPr>
        <p:txBody>
          <a:bodyPr anchor="t" anchorCtr="0"/>
          <a:lstStyle>
            <a:lvl1pPr algn="l">
              <a:lnSpc>
                <a:spcPct val="95000"/>
              </a:lnSpc>
              <a:defRPr sz="4000"/>
            </a:lvl1pPr>
          </a:lstStyle>
          <a:p>
            <a:r>
              <a:rPr lang="fi-FI"/>
              <a:t>Muokkaa perustyyl. napsautt.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1FDDA9F-DC3B-4803-9730-F564F287AC8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35508" y="5070348"/>
            <a:ext cx="6839712" cy="1220724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24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3EE9307-AB79-3247-82BD-37685692FA2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915" y="565286"/>
            <a:ext cx="2090175" cy="703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2690188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0DB878-8E84-426A-BEF0-AF1AAFA1F9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940" y="484094"/>
            <a:ext cx="9894939" cy="1075323"/>
          </a:xfrm>
        </p:spPr>
        <p:txBody>
          <a:bodyPr anchor="b"/>
          <a:lstStyle/>
          <a:p>
            <a:r>
              <a:rPr lang="fi-FI"/>
              <a:t>Muokkaa perustyyl. napsautt.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E3B6CAA-4767-42B4-A19C-0CFD9AFC822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E996DCA-8E68-4F4A-A4A6-ACE6BC7F24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DC7B94-042D-44C2-B7B2-1128AAFA57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FAA53A2-04A4-784B-8533-1BE5B6ED6EB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76380" y="596151"/>
            <a:ext cx="516294" cy="631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7302920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0DB878-8E84-426A-BEF0-AF1AAFA1F9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940" y="484094"/>
            <a:ext cx="9894939" cy="1075323"/>
          </a:xfrm>
        </p:spPr>
        <p:txBody>
          <a:bodyPr anchor="b"/>
          <a:lstStyle/>
          <a:p>
            <a:r>
              <a:rPr lang="fi-FI"/>
              <a:t>Muokkaa perustyyl. napsautt.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E3B6CAA-4767-42B4-A19C-0CFD9AFC822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E996DCA-8E68-4F4A-A4A6-ACE6BC7F24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DC7B94-042D-44C2-B7B2-1128AAFA57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FAA53A2-04A4-784B-8533-1BE5B6ED6EB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76380" y="596151"/>
            <a:ext cx="516294" cy="631026"/>
          </a:xfrm>
          <a:prstGeom prst="rect">
            <a:avLst/>
          </a:prstGeom>
        </p:spPr>
      </p:pic>
      <p:pic>
        <p:nvPicPr>
          <p:cNvPr id="10" name="Kuva 9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9409" y="6079993"/>
            <a:ext cx="1783265" cy="4990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4448240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E3B6CAA-4767-42B4-A19C-0CFD9AFC82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9940" y="2021541"/>
            <a:ext cx="5311126" cy="4155422"/>
          </a:xfrm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E996DCA-8E68-4F4A-A4A6-ACE6BC7F24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DC7B94-042D-44C2-B7B2-1128AAFA57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F604C65-0022-A10B-E75C-3BC0B3B9636F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230933" y="2021541"/>
            <a:ext cx="5311126" cy="4155422"/>
          </a:xfrm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6363DDC-C97A-194B-98DF-CA51F0A3D35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76380" y="596151"/>
            <a:ext cx="516294" cy="631026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85789431-5CDA-8F47-85A4-31FC69C174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940" y="484094"/>
            <a:ext cx="9894939" cy="1075323"/>
          </a:xfrm>
        </p:spPr>
        <p:txBody>
          <a:bodyPr anchor="b"/>
          <a:lstStyle/>
          <a:p>
            <a:r>
              <a:rPr lang="fi-FI"/>
              <a:t>Muokkaa perustyyl. napsautt.</a:t>
            </a:r>
            <a:endParaRPr lang="en-GB"/>
          </a:p>
        </p:txBody>
      </p:sp>
      <p:pic>
        <p:nvPicPr>
          <p:cNvPr id="13" name="Kuva 12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9409" y="6079993"/>
            <a:ext cx="1783265" cy="4990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2794773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san ylätunnist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orakulmio 2">
            <a:extLst>
              <a:ext uri="{FF2B5EF4-FFF2-40B4-BE49-F238E27FC236}">
                <a16:creationId xmlns:a16="http://schemas.microsoft.com/office/drawing/2014/main" id="{DCD8BB72-B7B2-E8EB-24B6-FE4ECB31BE5A}"/>
              </a:ext>
            </a:extLst>
          </p:cNvPr>
          <p:cNvSpPr/>
          <p:nvPr userDrawn="1"/>
        </p:nvSpPr>
        <p:spPr>
          <a:xfrm>
            <a:off x="-1" y="4570190"/>
            <a:ext cx="12192001" cy="2287810"/>
          </a:xfrm>
          <a:prstGeom prst="rect">
            <a:avLst/>
          </a:prstGeom>
          <a:solidFill>
            <a:srgbClr val="F0EB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4" name="Free-form: Shape 28">
            <a:extLst>
              <a:ext uri="{FF2B5EF4-FFF2-40B4-BE49-F238E27FC236}">
                <a16:creationId xmlns:a16="http://schemas.microsoft.com/office/drawing/2014/main" id="{09403F87-9585-6CA0-7F3B-A0CDE2652619}"/>
              </a:ext>
            </a:extLst>
          </p:cNvPr>
          <p:cNvSpPr/>
          <p:nvPr userDrawn="1"/>
        </p:nvSpPr>
        <p:spPr>
          <a:xfrm>
            <a:off x="-122" y="0"/>
            <a:ext cx="12192122" cy="387240"/>
          </a:xfrm>
          <a:custGeom>
            <a:avLst/>
            <a:gdLst>
              <a:gd name="connsiteX0" fmla="*/ 0 w 12185437"/>
              <a:gd name="connsiteY0" fmla="*/ 0 h 380838"/>
              <a:gd name="connsiteX1" fmla="*/ 12185437 w 12185437"/>
              <a:gd name="connsiteY1" fmla="*/ 0 h 380838"/>
              <a:gd name="connsiteX2" fmla="*/ 12185437 w 12185437"/>
              <a:gd name="connsiteY2" fmla="*/ 380839 h 380838"/>
              <a:gd name="connsiteX3" fmla="*/ 0 w 12185437"/>
              <a:gd name="connsiteY3" fmla="*/ 380839 h 380838"/>
              <a:gd name="connsiteX4" fmla="*/ 0 w 12185437"/>
              <a:gd name="connsiteY4" fmla="*/ 0 h 380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85437" h="380838">
                <a:moveTo>
                  <a:pt x="0" y="0"/>
                </a:moveTo>
                <a:lnTo>
                  <a:pt x="12185437" y="0"/>
                </a:lnTo>
                <a:lnTo>
                  <a:pt x="12185437" y="380839"/>
                </a:lnTo>
                <a:lnTo>
                  <a:pt x="0" y="380839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36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5" name="Free-form: Shape 29">
            <a:extLst>
              <a:ext uri="{FF2B5EF4-FFF2-40B4-BE49-F238E27FC236}">
                <a16:creationId xmlns:a16="http://schemas.microsoft.com/office/drawing/2014/main" id="{B4E4D196-B8D5-48B6-626D-89C042D57B9C}"/>
              </a:ext>
            </a:extLst>
          </p:cNvPr>
          <p:cNvSpPr/>
          <p:nvPr userDrawn="1"/>
        </p:nvSpPr>
        <p:spPr>
          <a:xfrm>
            <a:off x="-122" y="768193"/>
            <a:ext cx="12192122" cy="380702"/>
          </a:xfrm>
          <a:custGeom>
            <a:avLst/>
            <a:gdLst>
              <a:gd name="connsiteX0" fmla="*/ 0 w 12185437"/>
              <a:gd name="connsiteY0" fmla="*/ 0 h 380702"/>
              <a:gd name="connsiteX1" fmla="*/ 12185437 w 12185437"/>
              <a:gd name="connsiteY1" fmla="*/ 0 h 380702"/>
              <a:gd name="connsiteX2" fmla="*/ 12185437 w 12185437"/>
              <a:gd name="connsiteY2" fmla="*/ 380703 h 380702"/>
              <a:gd name="connsiteX3" fmla="*/ 0 w 12185437"/>
              <a:gd name="connsiteY3" fmla="*/ 380703 h 380702"/>
              <a:gd name="connsiteX4" fmla="*/ 0 w 12185437"/>
              <a:gd name="connsiteY4" fmla="*/ 0 h 380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85437" h="380702">
                <a:moveTo>
                  <a:pt x="0" y="0"/>
                </a:moveTo>
                <a:lnTo>
                  <a:pt x="12185437" y="0"/>
                </a:lnTo>
                <a:lnTo>
                  <a:pt x="12185437" y="380703"/>
                </a:lnTo>
                <a:lnTo>
                  <a:pt x="0" y="380703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36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6" name="Free-form: Shape 30">
            <a:extLst>
              <a:ext uri="{FF2B5EF4-FFF2-40B4-BE49-F238E27FC236}">
                <a16:creationId xmlns:a16="http://schemas.microsoft.com/office/drawing/2014/main" id="{89FD2A67-C5A0-8597-A631-E79F1FDC2375}"/>
              </a:ext>
            </a:extLst>
          </p:cNvPr>
          <p:cNvSpPr/>
          <p:nvPr userDrawn="1"/>
        </p:nvSpPr>
        <p:spPr>
          <a:xfrm>
            <a:off x="-122" y="1529863"/>
            <a:ext cx="12192122" cy="380838"/>
          </a:xfrm>
          <a:custGeom>
            <a:avLst/>
            <a:gdLst>
              <a:gd name="connsiteX0" fmla="*/ 0 w 12185437"/>
              <a:gd name="connsiteY0" fmla="*/ 0 h 380838"/>
              <a:gd name="connsiteX1" fmla="*/ 12185437 w 12185437"/>
              <a:gd name="connsiteY1" fmla="*/ 0 h 380838"/>
              <a:gd name="connsiteX2" fmla="*/ 12185437 w 12185437"/>
              <a:gd name="connsiteY2" fmla="*/ 380839 h 380838"/>
              <a:gd name="connsiteX3" fmla="*/ 0 w 12185437"/>
              <a:gd name="connsiteY3" fmla="*/ 380839 h 380838"/>
              <a:gd name="connsiteX4" fmla="*/ 0 w 12185437"/>
              <a:gd name="connsiteY4" fmla="*/ 0 h 380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85437" h="380838">
                <a:moveTo>
                  <a:pt x="0" y="0"/>
                </a:moveTo>
                <a:lnTo>
                  <a:pt x="12185437" y="0"/>
                </a:lnTo>
                <a:lnTo>
                  <a:pt x="12185437" y="380839"/>
                </a:lnTo>
                <a:lnTo>
                  <a:pt x="0" y="380839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36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0" name="Free-form: Shape 31">
            <a:extLst>
              <a:ext uri="{FF2B5EF4-FFF2-40B4-BE49-F238E27FC236}">
                <a16:creationId xmlns:a16="http://schemas.microsoft.com/office/drawing/2014/main" id="{E7831AEF-0633-77AB-EA0E-DB68A5A08C6C}"/>
              </a:ext>
            </a:extLst>
          </p:cNvPr>
          <p:cNvSpPr/>
          <p:nvPr userDrawn="1"/>
        </p:nvSpPr>
        <p:spPr>
          <a:xfrm>
            <a:off x="-122" y="2291655"/>
            <a:ext cx="12192122" cy="380842"/>
          </a:xfrm>
          <a:custGeom>
            <a:avLst/>
            <a:gdLst>
              <a:gd name="connsiteX0" fmla="*/ 0 w 12185437"/>
              <a:gd name="connsiteY0" fmla="*/ 0 h 380842"/>
              <a:gd name="connsiteX1" fmla="*/ 12185437 w 12185437"/>
              <a:gd name="connsiteY1" fmla="*/ 0 h 380842"/>
              <a:gd name="connsiteX2" fmla="*/ 12185437 w 12185437"/>
              <a:gd name="connsiteY2" fmla="*/ 380842 h 380842"/>
              <a:gd name="connsiteX3" fmla="*/ 0 w 12185437"/>
              <a:gd name="connsiteY3" fmla="*/ 380842 h 380842"/>
              <a:gd name="connsiteX4" fmla="*/ 0 w 12185437"/>
              <a:gd name="connsiteY4" fmla="*/ 0 h 380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85437" h="380842">
                <a:moveTo>
                  <a:pt x="0" y="0"/>
                </a:moveTo>
                <a:lnTo>
                  <a:pt x="12185437" y="0"/>
                </a:lnTo>
                <a:lnTo>
                  <a:pt x="12185437" y="380842"/>
                </a:lnTo>
                <a:lnTo>
                  <a:pt x="0" y="380842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36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1" name="Free-form: Shape 32">
            <a:extLst>
              <a:ext uri="{FF2B5EF4-FFF2-40B4-BE49-F238E27FC236}">
                <a16:creationId xmlns:a16="http://schemas.microsoft.com/office/drawing/2014/main" id="{20B1B5C3-36C4-6C96-F052-EC7C50FC54AC}"/>
              </a:ext>
            </a:extLst>
          </p:cNvPr>
          <p:cNvSpPr/>
          <p:nvPr userDrawn="1"/>
        </p:nvSpPr>
        <p:spPr>
          <a:xfrm>
            <a:off x="-122" y="3053449"/>
            <a:ext cx="12192122" cy="380702"/>
          </a:xfrm>
          <a:custGeom>
            <a:avLst/>
            <a:gdLst>
              <a:gd name="connsiteX0" fmla="*/ 0 w 12185437"/>
              <a:gd name="connsiteY0" fmla="*/ 0 h 380702"/>
              <a:gd name="connsiteX1" fmla="*/ 12185437 w 12185437"/>
              <a:gd name="connsiteY1" fmla="*/ 0 h 380702"/>
              <a:gd name="connsiteX2" fmla="*/ 12185437 w 12185437"/>
              <a:gd name="connsiteY2" fmla="*/ 380703 h 380702"/>
              <a:gd name="connsiteX3" fmla="*/ 0 w 12185437"/>
              <a:gd name="connsiteY3" fmla="*/ 380703 h 380702"/>
              <a:gd name="connsiteX4" fmla="*/ 0 w 12185437"/>
              <a:gd name="connsiteY4" fmla="*/ 0 h 380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85437" h="380702">
                <a:moveTo>
                  <a:pt x="0" y="0"/>
                </a:moveTo>
                <a:lnTo>
                  <a:pt x="12185437" y="0"/>
                </a:lnTo>
                <a:lnTo>
                  <a:pt x="12185437" y="380703"/>
                </a:lnTo>
                <a:lnTo>
                  <a:pt x="0" y="380703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36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2" name="Free-form: Shape 33">
            <a:extLst>
              <a:ext uri="{FF2B5EF4-FFF2-40B4-BE49-F238E27FC236}">
                <a16:creationId xmlns:a16="http://schemas.microsoft.com/office/drawing/2014/main" id="{1D2A1DAB-145A-5F7B-9954-6987015EB4B4}"/>
              </a:ext>
            </a:extLst>
          </p:cNvPr>
          <p:cNvSpPr/>
          <p:nvPr userDrawn="1"/>
        </p:nvSpPr>
        <p:spPr>
          <a:xfrm>
            <a:off x="-122" y="3815119"/>
            <a:ext cx="12192122" cy="380838"/>
          </a:xfrm>
          <a:custGeom>
            <a:avLst/>
            <a:gdLst>
              <a:gd name="connsiteX0" fmla="*/ 0 w 12185437"/>
              <a:gd name="connsiteY0" fmla="*/ 0 h 380838"/>
              <a:gd name="connsiteX1" fmla="*/ 12185437 w 12185437"/>
              <a:gd name="connsiteY1" fmla="*/ 0 h 380838"/>
              <a:gd name="connsiteX2" fmla="*/ 12185437 w 12185437"/>
              <a:gd name="connsiteY2" fmla="*/ 380839 h 380838"/>
              <a:gd name="connsiteX3" fmla="*/ 0 w 12185437"/>
              <a:gd name="connsiteY3" fmla="*/ 380839 h 380838"/>
              <a:gd name="connsiteX4" fmla="*/ 0 w 12185437"/>
              <a:gd name="connsiteY4" fmla="*/ 0 h 380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85437" h="380838">
                <a:moveTo>
                  <a:pt x="0" y="0"/>
                </a:moveTo>
                <a:lnTo>
                  <a:pt x="12185437" y="0"/>
                </a:lnTo>
                <a:lnTo>
                  <a:pt x="12185437" y="380839"/>
                </a:lnTo>
                <a:lnTo>
                  <a:pt x="0" y="380839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36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FA2F872-5FC5-D94D-9E89-698A2F01408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39507" y="5596332"/>
            <a:ext cx="2090175" cy="703499"/>
          </a:xfrm>
          <a:prstGeom prst="rect">
            <a:avLst/>
          </a:prstGeom>
        </p:spPr>
      </p:pic>
      <p:pic>
        <p:nvPicPr>
          <p:cNvPr id="13" name="Kuva 12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589" y="5596332"/>
            <a:ext cx="2513704" cy="703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5830450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Pictur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orakulmio 2">
            <a:extLst>
              <a:ext uri="{FF2B5EF4-FFF2-40B4-BE49-F238E27FC236}">
                <a16:creationId xmlns:a16="http://schemas.microsoft.com/office/drawing/2014/main" id="{483FB58F-61FC-B125-47DF-7A1E6819B7A4}"/>
              </a:ext>
            </a:extLst>
          </p:cNvPr>
          <p:cNvSpPr/>
          <p:nvPr userDrawn="1"/>
        </p:nvSpPr>
        <p:spPr>
          <a:xfrm>
            <a:off x="-1" y="4570190"/>
            <a:ext cx="12192001" cy="2287810"/>
          </a:xfrm>
          <a:prstGeom prst="rect">
            <a:avLst/>
          </a:prstGeom>
          <a:solidFill>
            <a:srgbClr val="F0EB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4" name="Picture Placeholder 7">
            <a:extLst>
              <a:ext uri="{FF2B5EF4-FFF2-40B4-BE49-F238E27FC236}">
                <a16:creationId xmlns:a16="http://schemas.microsoft.com/office/drawing/2014/main" id="{5E70779E-03A6-C3DE-E92E-DA3EBF19B8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" y="-1"/>
            <a:ext cx="8105774" cy="4570191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None/>
              <a:defRPr sz="1800"/>
            </a:lvl1pPr>
          </a:lstStyle>
          <a:p>
            <a:r>
              <a:rPr lang="fi-FI"/>
              <a:t>Lisää kuva napsauttamalla kuvaketta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C1DC208-0BC6-4780-8569-0CCC5C8BCB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941" y="5170932"/>
            <a:ext cx="6756699" cy="1143000"/>
          </a:xfrm>
        </p:spPr>
        <p:txBody>
          <a:bodyPr anchor="t"/>
          <a:lstStyle>
            <a:lvl1pPr>
              <a:defRPr sz="3200"/>
            </a:lvl1pPr>
          </a:lstStyle>
          <a:p>
            <a:r>
              <a:rPr lang="fi-FI"/>
              <a:t>Muokkaa perustyyl. napsautt.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D1212A6-DA8E-4A60-A5F2-8DAE3B39E0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2766CB0-43A1-4E89-83D2-9E67BAD632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E2AEE1E-B285-4162-ABF0-E898A0AD68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160B98-140E-4345-B1A3-2A7247C42973}" type="slidenum">
              <a:rPr lang="fi-FI" smtClean="0"/>
              <a:t>‹#›</a:t>
            </a:fld>
            <a:endParaRPr lang="fi-FI"/>
          </a:p>
        </p:txBody>
      </p:sp>
      <p:sp>
        <p:nvSpPr>
          <p:cNvPr id="12" name="Free-form: Shape 11">
            <a:extLst>
              <a:ext uri="{FF2B5EF4-FFF2-40B4-BE49-F238E27FC236}">
                <a16:creationId xmlns:a16="http://schemas.microsoft.com/office/drawing/2014/main" id="{16E5BBD8-3D18-CC13-B42D-BA6270086E42}"/>
              </a:ext>
            </a:extLst>
          </p:cNvPr>
          <p:cNvSpPr/>
          <p:nvPr/>
        </p:nvSpPr>
        <p:spPr>
          <a:xfrm>
            <a:off x="8105775" y="0"/>
            <a:ext cx="378679" cy="4568336"/>
          </a:xfrm>
          <a:custGeom>
            <a:avLst/>
            <a:gdLst>
              <a:gd name="connsiteX0" fmla="*/ 378679 w 378679"/>
              <a:gd name="connsiteY0" fmla="*/ 0 h 4570191"/>
              <a:gd name="connsiteX1" fmla="*/ 378679 w 378679"/>
              <a:gd name="connsiteY1" fmla="*/ 4570191 h 4570191"/>
              <a:gd name="connsiteX2" fmla="*/ 0 w 378679"/>
              <a:gd name="connsiteY2" fmla="*/ 4570191 h 4570191"/>
              <a:gd name="connsiteX3" fmla="*/ 0 w 378679"/>
              <a:gd name="connsiteY3" fmla="*/ 0 h 4570191"/>
              <a:gd name="connsiteX4" fmla="*/ 378679 w 378679"/>
              <a:gd name="connsiteY4" fmla="*/ 0 h 45701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8679" h="4570191">
                <a:moveTo>
                  <a:pt x="378679" y="0"/>
                </a:moveTo>
                <a:lnTo>
                  <a:pt x="378679" y="4570191"/>
                </a:lnTo>
                <a:lnTo>
                  <a:pt x="0" y="4570191"/>
                </a:lnTo>
                <a:lnTo>
                  <a:pt x="0" y="0"/>
                </a:lnTo>
                <a:lnTo>
                  <a:pt x="378679" y="0"/>
                </a:lnTo>
                <a:close/>
              </a:path>
            </a:pathLst>
          </a:custGeom>
          <a:solidFill>
            <a:schemeClr val="accent2"/>
          </a:solidFill>
          <a:ln w="35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3" name="Free-form: Shape 12">
            <a:extLst>
              <a:ext uri="{FF2B5EF4-FFF2-40B4-BE49-F238E27FC236}">
                <a16:creationId xmlns:a16="http://schemas.microsoft.com/office/drawing/2014/main" id="{F88FF5DF-8F63-E6E6-5985-36E7158CDBC7}"/>
              </a:ext>
            </a:extLst>
          </p:cNvPr>
          <p:cNvSpPr/>
          <p:nvPr/>
        </p:nvSpPr>
        <p:spPr>
          <a:xfrm>
            <a:off x="8869551" y="0"/>
            <a:ext cx="385100" cy="4568336"/>
          </a:xfrm>
          <a:custGeom>
            <a:avLst/>
            <a:gdLst>
              <a:gd name="connsiteX0" fmla="*/ 385101 w 385100"/>
              <a:gd name="connsiteY0" fmla="*/ 0 h 4570191"/>
              <a:gd name="connsiteX1" fmla="*/ 385101 w 385100"/>
              <a:gd name="connsiteY1" fmla="*/ 4570191 h 4570191"/>
              <a:gd name="connsiteX2" fmla="*/ 0 w 385100"/>
              <a:gd name="connsiteY2" fmla="*/ 4570191 h 4570191"/>
              <a:gd name="connsiteX3" fmla="*/ 0 w 385100"/>
              <a:gd name="connsiteY3" fmla="*/ 0 h 4570191"/>
              <a:gd name="connsiteX4" fmla="*/ 385101 w 385100"/>
              <a:gd name="connsiteY4" fmla="*/ 0 h 45701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5100" h="4570191">
                <a:moveTo>
                  <a:pt x="385101" y="0"/>
                </a:moveTo>
                <a:lnTo>
                  <a:pt x="385101" y="4570191"/>
                </a:lnTo>
                <a:lnTo>
                  <a:pt x="0" y="4570191"/>
                </a:lnTo>
                <a:lnTo>
                  <a:pt x="0" y="0"/>
                </a:lnTo>
                <a:lnTo>
                  <a:pt x="385101" y="0"/>
                </a:lnTo>
                <a:close/>
              </a:path>
            </a:pathLst>
          </a:custGeom>
          <a:solidFill>
            <a:schemeClr val="accent2"/>
          </a:solidFill>
          <a:ln w="35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4" name="Free-form: Shape 13">
            <a:extLst>
              <a:ext uri="{FF2B5EF4-FFF2-40B4-BE49-F238E27FC236}">
                <a16:creationId xmlns:a16="http://schemas.microsoft.com/office/drawing/2014/main" id="{B2086361-D08C-2A10-C9AC-F7580BD19271}"/>
              </a:ext>
            </a:extLst>
          </p:cNvPr>
          <p:cNvSpPr/>
          <p:nvPr/>
        </p:nvSpPr>
        <p:spPr>
          <a:xfrm>
            <a:off x="9639735" y="0"/>
            <a:ext cx="385100" cy="4568336"/>
          </a:xfrm>
          <a:custGeom>
            <a:avLst/>
            <a:gdLst>
              <a:gd name="connsiteX0" fmla="*/ 385101 w 385100"/>
              <a:gd name="connsiteY0" fmla="*/ 0 h 4570191"/>
              <a:gd name="connsiteX1" fmla="*/ 385101 w 385100"/>
              <a:gd name="connsiteY1" fmla="*/ 4570191 h 4570191"/>
              <a:gd name="connsiteX2" fmla="*/ 0 w 385100"/>
              <a:gd name="connsiteY2" fmla="*/ 4570191 h 4570191"/>
              <a:gd name="connsiteX3" fmla="*/ 0 w 385100"/>
              <a:gd name="connsiteY3" fmla="*/ 0 h 4570191"/>
              <a:gd name="connsiteX4" fmla="*/ 385101 w 385100"/>
              <a:gd name="connsiteY4" fmla="*/ 0 h 45701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5100" h="4570191">
                <a:moveTo>
                  <a:pt x="385101" y="0"/>
                </a:moveTo>
                <a:lnTo>
                  <a:pt x="385101" y="4570191"/>
                </a:lnTo>
                <a:lnTo>
                  <a:pt x="0" y="4570191"/>
                </a:lnTo>
                <a:lnTo>
                  <a:pt x="0" y="0"/>
                </a:lnTo>
                <a:lnTo>
                  <a:pt x="385101" y="0"/>
                </a:lnTo>
                <a:close/>
              </a:path>
            </a:pathLst>
          </a:custGeom>
          <a:solidFill>
            <a:schemeClr val="accent2"/>
          </a:solidFill>
          <a:ln w="35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5" name="Free-form: Shape 14">
            <a:extLst>
              <a:ext uri="{FF2B5EF4-FFF2-40B4-BE49-F238E27FC236}">
                <a16:creationId xmlns:a16="http://schemas.microsoft.com/office/drawing/2014/main" id="{C86574D7-D6D6-EF56-FB66-14F53A064D5B}"/>
              </a:ext>
            </a:extLst>
          </p:cNvPr>
          <p:cNvSpPr/>
          <p:nvPr/>
        </p:nvSpPr>
        <p:spPr>
          <a:xfrm>
            <a:off x="10409932" y="0"/>
            <a:ext cx="385100" cy="4568336"/>
          </a:xfrm>
          <a:custGeom>
            <a:avLst/>
            <a:gdLst>
              <a:gd name="connsiteX0" fmla="*/ 385101 w 385100"/>
              <a:gd name="connsiteY0" fmla="*/ 0 h 4570191"/>
              <a:gd name="connsiteX1" fmla="*/ 385101 w 385100"/>
              <a:gd name="connsiteY1" fmla="*/ 4570191 h 4570191"/>
              <a:gd name="connsiteX2" fmla="*/ 0 w 385100"/>
              <a:gd name="connsiteY2" fmla="*/ 4570191 h 4570191"/>
              <a:gd name="connsiteX3" fmla="*/ 0 w 385100"/>
              <a:gd name="connsiteY3" fmla="*/ 0 h 4570191"/>
              <a:gd name="connsiteX4" fmla="*/ 385101 w 385100"/>
              <a:gd name="connsiteY4" fmla="*/ 0 h 45701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5100" h="4570191">
                <a:moveTo>
                  <a:pt x="385101" y="0"/>
                </a:moveTo>
                <a:lnTo>
                  <a:pt x="385101" y="4570191"/>
                </a:lnTo>
                <a:lnTo>
                  <a:pt x="0" y="4570191"/>
                </a:lnTo>
                <a:lnTo>
                  <a:pt x="0" y="0"/>
                </a:lnTo>
                <a:lnTo>
                  <a:pt x="385101" y="0"/>
                </a:lnTo>
                <a:close/>
              </a:path>
            </a:pathLst>
          </a:custGeom>
          <a:solidFill>
            <a:schemeClr val="accent2"/>
          </a:solidFill>
          <a:ln w="35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6" name="Free-form: Shape 15">
            <a:extLst>
              <a:ext uri="{FF2B5EF4-FFF2-40B4-BE49-F238E27FC236}">
                <a16:creationId xmlns:a16="http://schemas.microsoft.com/office/drawing/2014/main" id="{294352AE-8336-96CB-B1E6-4E7E7F5C772A}"/>
              </a:ext>
            </a:extLst>
          </p:cNvPr>
          <p:cNvSpPr/>
          <p:nvPr/>
        </p:nvSpPr>
        <p:spPr>
          <a:xfrm>
            <a:off x="11180116" y="0"/>
            <a:ext cx="385100" cy="4568336"/>
          </a:xfrm>
          <a:custGeom>
            <a:avLst/>
            <a:gdLst>
              <a:gd name="connsiteX0" fmla="*/ 385100 w 385100"/>
              <a:gd name="connsiteY0" fmla="*/ 0 h 4570191"/>
              <a:gd name="connsiteX1" fmla="*/ 385100 w 385100"/>
              <a:gd name="connsiteY1" fmla="*/ 4570191 h 4570191"/>
              <a:gd name="connsiteX2" fmla="*/ 0 w 385100"/>
              <a:gd name="connsiteY2" fmla="*/ 4570191 h 4570191"/>
              <a:gd name="connsiteX3" fmla="*/ 0 w 385100"/>
              <a:gd name="connsiteY3" fmla="*/ 0 h 4570191"/>
              <a:gd name="connsiteX4" fmla="*/ 385100 w 385100"/>
              <a:gd name="connsiteY4" fmla="*/ 0 h 45701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5100" h="4570191">
                <a:moveTo>
                  <a:pt x="385100" y="0"/>
                </a:moveTo>
                <a:lnTo>
                  <a:pt x="385100" y="4570191"/>
                </a:lnTo>
                <a:lnTo>
                  <a:pt x="0" y="4570191"/>
                </a:lnTo>
                <a:lnTo>
                  <a:pt x="0" y="0"/>
                </a:lnTo>
                <a:lnTo>
                  <a:pt x="385100" y="0"/>
                </a:lnTo>
                <a:close/>
              </a:path>
            </a:pathLst>
          </a:custGeom>
          <a:solidFill>
            <a:schemeClr val="accent2"/>
          </a:solidFill>
          <a:ln w="35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7" name="Free-form: Shape 16">
            <a:extLst>
              <a:ext uri="{FF2B5EF4-FFF2-40B4-BE49-F238E27FC236}">
                <a16:creationId xmlns:a16="http://schemas.microsoft.com/office/drawing/2014/main" id="{005D8EB3-53B4-CC5F-7972-88D5D8352E6C}"/>
              </a:ext>
            </a:extLst>
          </p:cNvPr>
          <p:cNvSpPr/>
          <p:nvPr userDrawn="1"/>
        </p:nvSpPr>
        <p:spPr>
          <a:xfrm>
            <a:off x="11950317" y="0"/>
            <a:ext cx="241724" cy="4568336"/>
          </a:xfrm>
          <a:custGeom>
            <a:avLst/>
            <a:gdLst>
              <a:gd name="connsiteX0" fmla="*/ 0 w 241724"/>
              <a:gd name="connsiteY0" fmla="*/ 4570191 h 4570191"/>
              <a:gd name="connsiteX1" fmla="*/ 0 w 241724"/>
              <a:gd name="connsiteY1" fmla="*/ 0 h 4570191"/>
              <a:gd name="connsiteX2" fmla="*/ 241725 w 241724"/>
              <a:gd name="connsiteY2" fmla="*/ 0 h 4570191"/>
              <a:gd name="connsiteX3" fmla="*/ 241725 w 241724"/>
              <a:gd name="connsiteY3" fmla="*/ 4570191 h 4570191"/>
              <a:gd name="connsiteX4" fmla="*/ 0 w 241724"/>
              <a:gd name="connsiteY4" fmla="*/ 4570191 h 45701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1724" h="4570191">
                <a:moveTo>
                  <a:pt x="0" y="4570191"/>
                </a:moveTo>
                <a:lnTo>
                  <a:pt x="0" y="0"/>
                </a:lnTo>
                <a:lnTo>
                  <a:pt x="241725" y="0"/>
                </a:lnTo>
                <a:lnTo>
                  <a:pt x="241725" y="4570191"/>
                </a:lnTo>
                <a:lnTo>
                  <a:pt x="0" y="4570191"/>
                </a:lnTo>
                <a:close/>
              </a:path>
            </a:pathLst>
          </a:custGeom>
          <a:solidFill>
            <a:schemeClr val="accent2"/>
          </a:solidFill>
          <a:ln w="35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A24A5D3F-B208-9740-8F43-58C8D911A4A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39507" y="5596332"/>
            <a:ext cx="2090175" cy="703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972030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DE34914-B5F2-4084-8552-6153E3BFA8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3C69628-CCBB-4581-842C-07AC1724D7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414EFF0-E9E2-364E-9793-DF62BACE2D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76380" y="596151"/>
            <a:ext cx="516294" cy="631026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0E5EEC2F-8885-4741-92AA-E21ECE47D5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940" y="484094"/>
            <a:ext cx="9894939" cy="1075323"/>
          </a:xfrm>
        </p:spPr>
        <p:txBody>
          <a:bodyPr anchor="b"/>
          <a:lstStyle/>
          <a:p>
            <a:r>
              <a:rPr lang="fi-FI"/>
              <a:t>Muokkaa perustyyl. napsautt.</a:t>
            </a:r>
            <a:endParaRPr lang="en-GB"/>
          </a:p>
        </p:txBody>
      </p:sp>
      <p:pic>
        <p:nvPicPr>
          <p:cNvPr id="11" name="Kuva 10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9409" y="6079993"/>
            <a:ext cx="1783265" cy="4990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4853919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7C8C091-C242-4851-9826-ECBA43530F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5B64547-60FB-4F82-B034-DC7F10F48F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7519037-54EE-46F6-8610-A2A8D9E613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160B98-140E-4345-B1A3-2A7247C42973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364543244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5A2C256-48C1-C245-998A-D7A2CF1BED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7EB178E-AE4B-9E4E-829F-B50E365C89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20DB95B-9D99-B948-B3F0-A1E3541EDC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975956-C45A-444E-9050-E8F36A744109}" type="slidenum">
              <a:rPr lang="fi-FI" smtClean="0"/>
              <a:t>‹#›</a:t>
            </a:fld>
            <a:endParaRPr lang="fi-FI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FD3A2109-DA11-3742-983D-F38B49A201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6651" y="365124"/>
            <a:ext cx="9679743" cy="1325563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fi-FI"/>
              <a:t>Muokkaa perustyyl. napsautt.</a:t>
            </a:r>
            <a:endParaRPr lang="fi-FI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67B765B0-6361-C04D-ADC5-B6CEF6BA18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6652" y="1825625"/>
            <a:ext cx="10807148" cy="4320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spcBef>
                <a:spcPts val="600"/>
              </a:spcBef>
              <a:spcAft>
                <a:spcPts val="0"/>
              </a:spcAft>
              <a:defRPr/>
            </a:lvl1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75202764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7C8C091-C242-4851-9826-ECBA43530F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19.5.2021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5B64547-60FB-4F82-B034-DC7F10F48F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etra Kokko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7519037-54EE-46F6-8610-A2A8D9E613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160B98-140E-4345-B1A3-2A7247C42973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057809931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1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raphic 24">
            <a:extLst>
              <a:ext uri="{FF2B5EF4-FFF2-40B4-BE49-F238E27FC236}">
                <a16:creationId xmlns:a16="http://schemas.microsoft.com/office/drawing/2014/main" id="{412E2FC6-3DC7-A5C6-CB76-702A1185B2EA}"/>
              </a:ext>
            </a:extLst>
          </p:cNvPr>
          <p:cNvSpPr/>
          <p:nvPr/>
        </p:nvSpPr>
        <p:spPr>
          <a:xfrm>
            <a:off x="0" y="-3"/>
            <a:ext cx="12191877" cy="6858000"/>
          </a:xfrm>
          <a:custGeom>
            <a:avLst/>
            <a:gdLst>
              <a:gd name="connsiteX0" fmla="*/ 0 w 12191877"/>
              <a:gd name="connsiteY0" fmla="*/ 6858000 h 6858000"/>
              <a:gd name="connsiteX1" fmla="*/ 8102520 w 12191877"/>
              <a:gd name="connsiteY1" fmla="*/ 6858000 h 6858000"/>
              <a:gd name="connsiteX2" fmla="*/ 8102520 w 12191877"/>
              <a:gd name="connsiteY2" fmla="*/ 6051708 h 6858000"/>
              <a:gd name="connsiteX3" fmla="*/ 12191878 w 12191877"/>
              <a:gd name="connsiteY3" fmla="*/ 1962310 h 6858000"/>
              <a:gd name="connsiteX4" fmla="*/ 12191878 w 12191877"/>
              <a:gd name="connsiteY4" fmla="*/ 1850371 h 6858000"/>
              <a:gd name="connsiteX5" fmla="*/ 8102520 w 12191877"/>
              <a:gd name="connsiteY5" fmla="*/ 5939766 h 6858000"/>
              <a:gd name="connsiteX6" fmla="*/ 8102520 w 12191877"/>
              <a:gd name="connsiteY6" fmla="*/ 4931057 h 6858000"/>
              <a:gd name="connsiteX7" fmla="*/ 12191878 w 12191877"/>
              <a:gd name="connsiteY7" fmla="*/ 841658 h 6858000"/>
              <a:gd name="connsiteX8" fmla="*/ 12191878 w 12191877"/>
              <a:gd name="connsiteY8" fmla="*/ 729724 h 6858000"/>
              <a:gd name="connsiteX9" fmla="*/ 8102520 w 12191877"/>
              <a:gd name="connsiteY9" fmla="*/ 4819122 h 6858000"/>
              <a:gd name="connsiteX10" fmla="*/ 8102520 w 12191877"/>
              <a:gd name="connsiteY10" fmla="*/ 3810409 h 6858000"/>
              <a:gd name="connsiteX11" fmla="*/ 11912894 w 12191877"/>
              <a:gd name="connsiteY11" fmla="*/ 0 h 6858000"/>
              <a:gd name="connsiteX12" fmla="*/ 11800954 w 12191877"/>
              <a:gd name="connsiteY12" fmla="*/ 0 h 6858000"/>
              <a:gd name="connsiteX13" fmla="*/ 8102520 w 12191877"/>
              <a:gd name="connsiteY13" fmla="*/ 3698475 h 6858000"/>
              <a:gd name="connsiteX14" fmla="*/ 8102520 w 12191877"/>
              <a:gd name="connsiteY14" fmla="*/ 2689762 h 6858000"/>
              <a:gd name="connsiteX15" fmla="*/ 10792254 w 12191877"/>
              <a:gd name="connsiteY15" fmla="*/ 0 h 6858000"/>
              <a:gd name="connsiteX16" fmla="*/ 10680314 w 12191877"/>
              <a:gd name="connsiteY16" fmla="*/ 0 h 6858000"/>
              <a:gd name="connsiteX17" fmla="*/ 8102520 w 12191877"/>
              <a:gd name="connsiteY17" fmla="*/ 2577820 h 6858000"/>
              <a:gd name="connsiteX18" fmla="*/ 8102520 w 12191877"/>
              <a:gd name="connsiteY18" fmla="*/ 1569100 h 6858000"/>
              <a:gd name="connsiteX19" fmla="*/ 9671614 w 12191877"/>
              <a:gd name="connsiteY19" fmla="*/ 0 h 6858000"/>
              <a:gd name="connsiteX20" fmla="*/ 9559677 w 12191877"/>
              <a:gd name="connsiteY20" fmla="*/ 0 h 6858000"/>
              <a:gd name="connsiteX21" fmla="*/ 8102520 w 12191877"/>
              <a:gd name="connsiteY21" fmla="*/ 1457172 h 6858000"/>
              <a:gd name="connsiteX22" fmla="*/ 8102520 w 12191877"/>
              <a:gd name="connsiteY22" fmla="*/ 560902 h 6858000"/>
              <a:gd name="connsiteX23" fmla="*/ 8644717 w 12191877"/>
              <a:gd name="connsiteY23" fmla="*/ 0 h 6858000"/>
              <a:gd name="connsiteX24" fmla="*/ 8536632 w 12191877"/>
              <a:gd name="connsiteY24" fmla="*/ 0 h 6858000"/>
              <a:gd name="connsiteX25" fmla="*/ 8102520 w 12191877"/>
              <a:gd name="connsiteY25" fmla="*/ 448970 h 6858000"/>
              <a:gd name="connsiteX26" fmla="*/ 8102520 w 12191877"/>
              <a:gd name="connsiteY26" fmla="*/ 0 h 6858000"/>
              <a:gd name="connsiteX27" fmla="*/ 0 w 12191877"/>
              <a:gd name="connsiteY27" fmla="*/ 0 h 6858000"/>
              <a:gd name="connsiteX28" fmla="*/ 0 w 12191877"/>
              <a:gd name="connsiteY28" fmla="*/ 6857997 h 6858000"/>
              <a:gd name="connsiteX29" fmla="*/ 8304935 w 12191877"/>
              <a:gd name="connsiteY29" fmla="*/ 6858000 h 6858000"/>
              <a:gd name="connsiteX30" fmla="*/ 8416875 w 12191877"/>
              <a:gd name="connsiteY30" fmla="*/ 6858000 h 6858000"/>
              <a:gd name="connsiteX31" fmla="*/ 12191878 w 12191877"/>
              <a:gd name="connsiteY31" fmla="*/ 3082961 h 6858000"/>
              <a:gd name="connsiteX32" fmla="*/ 12191878 w 12191877"/>
              <a:gd name="connsiteY32" fmla="*/ 2971019 h 6858000"/>
              <a:gd name="connsiteX33" fmla="*/ 8304935 w 12191877"/>
              <a:gd name="connsiteY33" fmla="*/ 6858000 h 6858000"/>
              <a:gd name="connsiteX34" fmla="*/ 9425589 w 12191877"/>
              <a:gd name="connsiteY34" fmla="*/ 6858000 h 6858000"/>
              <a:gd name="connsiteX35" fmla="*/ 9537516 w 12191877"/>
              <a:gd name="connsiteY35" fmla="*/ 6858000 h 6858000"/>
              <a:gd name="connsiteX36" fmla="*/ 12191878 w 12191877"/>
              <a:gd name="connsiteY36" fmla="*/ 4203612 h 6858000"/>
              <a:gd name="connsiteX37" fmla="*/ 12191878 w 12191877"/>
              <a:gd name="connsiteY37" fmla="*/ 4091670 h 6858000"/>
              <a:gd name="connsiteX38" fmla="*/ 9425589 w 12191877"/>
              <a:gd name="connsiteY38" fmla="*/ 6858000 h 6858000"/>
              <a:gd name="connsiteX39" fmla="*/ 10544933 w 12191877"/>
              <a:gd name="connsiteY39" fmla="*/ 6858000 h 6858000"/>
              <a:gd name="connsiteX40" fmla="*/ 10658156 w 12191877"/>
              <a:gd name="connsiteY40" fmla="*/ 6858000 h 6858000"/>
              <a:gd name="connsiteX41" fmla="*/ 12191878 w 12191877"/>
              <a:gd name="connsiteY41" fmla="*/ 5324264 h 6858000"/>
              <a:gd name="connsiteX42" fmla="*/ 12191878 w 12191877"/>
              <a:gd name="connsiteY42" fmla="*/ 5211040 h 6858000"/>
              <a:gd name="connsiteX43" fmla="*/ 10544933 w 12191877"/>
              <a:gd name="connsiteY43" fmla="*/ 6858000 h 6858000"/>
              <a:gd name="connsiteX44" fmla="*/ 11665573 w 12191877"/>
              <a:gd name="connsiteY44" fmla="*/ 6858000 h 6858000"/>
              <a:gd name="connsiteX45" fmla="*/ 11777507 w 12191877"/>
              <a:gd name="connsiteY45" fmla="*/ 6858000 h 6858000"/>
              <a:gd name="connsiteX46" fmla="*/ 12191878 w 12191877"/>
              <a:gd name="connsiteY46" fmla="*/ 6443630 h 6858000"/>
              <a:gd name="connsiteX47" fmla="*/ 12191878 w 12191877"/>
              <a:gd name="connsiteY47" fmla="*/ 6331691 h 6858000"/>
              <a:gd name="connsiteX48" fmla="*/ 11665573 w 12191877"/>
              <a:gd name="connsiteY4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2191877" h="6858000">
                <a:moveTo>
                  <a:pt x="0" y="6858000"/>
                </a:moveTo>
                <a:lnTo>
                  <a:pt x="8102520" y="6858000"/>
                </a:lnTo>
                <a:lnTo>
                  <a:pt x="8102520" y="6051708"/>
                </a:lnTo>
                <a:lnTo>
                  <a:pt x="12191878" y="1962310"/>
                </a:lnTo>
                <a:lnTo>
                  <a:pt x="12191878" y="1850371"/>
                </a:lnTo>
                <a:lnTo>
                  <a:pt x="8102520" y="5939766"/>
                </a:lnTo>
                <a:lnTo>
                  <a:pt x="8102520" y="4931057"/>
                </a:lnTo>
                <a:lnTo>
                  <a:pt x="12191878" y="841658"/>
                </a:lnTo>
                <a:lnTo>
                  <a:pt x="12191878" y="729724"/>
                </a:lnTo>
                <a:lnTo>
                  <a:pt x="8102520" y="4819122"/>
                </a:lnTo>
                <a:lnTo>
                  <a:pt x="8102520" y="3810409"/>
                </a:lnTo>
                <a:lnTo>
                  <a:pt x="11912894" y="0"/>
                </a:lnTo>
                <a:lnTo>
                  <a:pt x="11800954" y="0"/>
                </a:lnTo>
                <a:lnTo>
                  <a:pt x="8102520" y="3698475"/>
                </a:lnTo>
                <a:lnTo>
                  <a:pt x="8102520" y="2689762"/>
                </a:lnTo>
                <a:lnTo>
                  <a:pt x="10792254" y="0"/>
                </a:lnTo>
                <a:lnTo>
                  <a:pt x="10680314" y="0"/>
                </a:lnTo>
                <a:lnTo>
                  <a:pt x="8102520" y="2577820"/>
                </a:lnTo>
                <a:lnTo>
                  <a:pt x="8102520" y="1569100"/>
                </a:lnTo>
                <a:lnTo>
                  <a:pt x="9671614" y="0"/>
                </a:lnTo>
                <a:lnTo>
                  <a:pt x="9559677" y="0"/>
                </a:lnTo>
                <a:lnTo>
                  <a:pt x="8102520" y="1457172"/>
                </a:lnTo>
                <a:lnTo>
                  <a:pt x="8102520" y="560902"/>
                </a:lnTo>
                <a:lnTo>
                  <a:pt x="8644717" y="0"/>
                </a:lnTo>
                <a:lnTo>
                  <a:pt x="8536632" y="0"/>
                </a:lnTo>
                <a:lnTo>
                  <a:pt x="8102520" y="448970"/>
                </a:lnTo>
                <a:lnTo>
                  <a:pt x="8102520" y="0"/>
                </a:lnTo>
                <a:lnTo>
                  <a:pt x="0" y="0"/>
                </a:lnTo>
                <a:lnTo>
                  <a:pt x="0" y="6857997"/>
                </a:lnTo>
                <a:close/>
                <a:moveTo>
                  <a:pt x="8304935" y="6858000"/>
                </a:moveTo>
                <a:lnTo>
                  <a:pt x="8416875" y="6858000"/>
                </a:lnTo>
                <a:lnTo>
                  <a:pt x="12191878" y="3082961"/>
                </a:lnTo>
                <a:lnTo>
                  <a:pt x="12191878" y="2971019"/>
                </a:lnTo>
                <a:lnTo>
                  <a:pt x="8304935" y="6858000"/>
                </a:lnTo>
                <a:close/>
                <a:moveTo>
                  <a:pt x="9425589" y="6858000"/>
                </a:moveTo>
                <a:lnTo>
                  <a:pt x="9537516" y="6858000"/>
                </a:lnTo>
                <a:lnTo>
                  <a:pt x="12191878" y="4203612"/>
                </a:lnTo>
                <a:lnTo>
                  <a:pt x="12191878" y="4091670"/>
                </a:lnTo>
                <a:lnTo>
                  <a:pt x="9425589" y="6858000"/>
                </a:lnTo>
                <a:close/>
                <a:moveTo>
                  <a:pt x="10544933" y="6858000"/>
                </a:moveTo>
                <a:lnTo>
                  <a:pt x="10658156" y="6858000"/>
                </a:lnTo>
                <a:lnTo>
                  <a:pt x="12191878" y="5324264"/>
                </a:lnTo>
                <a:lnTo>
                  <a:pt x="12191878" y="5211040"/>
                </a:lnTo>
                <a:lnTo>
                  <a:pt x="10544933" y="6858000"/>
                </a:lnTo>
                <a:close/>
                <a:moveTo>
                  <a:pt x="11665573" y="6858000"/>
                </a:moveTo>
                <a:lnTo>
                  <a:pt x="11777507" y="6858000"/>
                </a:lnTo>
                <a:lnTo>
                  <a:pt x="12191878" y="6443630"/>
                </a:lnTo>
                <a:lnTo>
                  <a:pt x="12191878" y="6331691"/>
                </a:lnTo>
                <a:lnTo>
                  <a:pt x="11665573" y="6858000"/>
                </a:lnTo>
                <a:close/>
              </a:path>
            </a:pathLst>
          </a:custGeom>
          <a:solidFill>
            <a:srgbClr val="F0EBE1"/>
          </a:solidFill>
          <a:ln w="36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6E6260-E36C-484A-9F25-1346EC50A8D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5508" y="2196783"/>
            <a:ext cx="6839712" cy="1876869"/>
          </a:xfrm>
        </p:spPr>
        <p:txBody>
          <a:bodyPr anchor="t" anchorCtr="0"/>
          <a:lstStyle>
            <a:lvl1pPr algn="l">
              <a:lnSpc>
                <a:spcPct val="95000"/>
              </a:lnSpc>
              <a:defRPr sz="4000"/>
            </a:lvl1pPr>
          </a:lstStyle>
          <a:p>
            <a:r>
              <a:rPr lang="fi-FI"/>
              <a:t>Muokkaa perustyyl. napsautt.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1FDDA9F-DC3B-4803-9730-F564F287AC8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35508" y="5070348"/>
            <a:ext cx="6839712" cy="1220724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24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D7FCCBE-EE77-5D47-8CE2-1B409B5E09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915" y="565286"/>
            <a:ext cx="2090175" cy="703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1444920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raphic 24">
            <a:extLst>
              <a:ext uri="{FF2B5EF4-FFF2-40B4-BE49-F238E27FC236}">
                <a16:creationId xmlns:a16="http://schemas.microsoft.com/office/drawing/2014/main" id="{412E2FC6-3DC7-A5C6-CB76-702A1185B2EA}"/>
              </a:ext>
            </a:extLst>
          </p:cNvPr>
          <p:cNvSpPr/>
          <p:nvPr/>
        </p:nvSpPr>
        <p:spPr>
          <a:xfrm>
            <a:off x="0" y="-3"/>
            <a:ext cx="12191877" cy="6858000"/>
          </a:xfrm>
          <a:custGeom>
            <a:avLst/>
            <a:gdLst>
              <a:gd name="connsiteX0" fmla="*/ 0 w 12191877"/>
              <a:gd name="connsiteY0" fmla="*/ 6858000 h 6858000"/>
              <a:gd name="connsiteX1" fmla="*/ 8102520 w 12191877"/>
              <a:gd name="connsiteY1" fmla="*/ 6858000 h 6858000"/>
              <a:gd name="connsiteX2" fmla="*/ 8102520 w 12191877"/>
              <a:gd name="connsiteY2" fmla="*/ 6051708 h 6858000"/>
              <a:gd name="connsiteX3" fmla="*/ 12191878 w 12191877"/>
              <a:gd name="connsiteY3" fmla="*/ 1962310 h 6858000"/>
              <a:gd name="connsiteX4" fmla="*/ 12191878 w 12191877"/>
              <a:gd name="connsiteY4" fmla="*/ 1850371 h 6858000"/>
              <a:gd name="connsiteX5" fmla="*/ 8102520 w 12191877"/>
              <a:gd name="connsiteY5" fmla="*/ 5939766 h 6858000"/>
              <a:gd name="connsiteX6" fmla="*/ 8102520 w 12191877"/>
              <a:gd name="connsiteY6" fmla="*/ 4931057 h 6858000"/>
              <a:gd name="connsiteX7" fmla="*/ 12191878 w 12191877"/>
              <a:gd name="connsiteY7" fmla="*/ 841658 h 6858000"/>
              <a:gd name="connsiteX8" fmla="*/ 12191878 w 12191877"/>
              <a:gd name="connsiteY8" fmla="*/ 729724 h 6858000"/>
              <a:gd name="connsiteX9" fmla="*/ 8102520 w 12191877"/>
              <a:gd name="connsiteY9" fmla="*/ 4819122 h 6858000"/>
              <a:gd name="connsiteX10" fmla="*/ 8102520 w 12191877"/>
              <a:gd name="connsiteY10" fmla="*/ 3810409 h 6858000"/>
              <a:gd name="connsiteX11" fmla="*/ 11912894 w 12191877"/>
              <a:gd name="connsiteY11" fmla="*/ 0 h 6858000"/>
              <a:gd name="connsiteX12" fmla="*/ 11800954 w 12191877"/>
              <a:gd name="connsiteY12" fmla="*/ 0 h 6858000"/>
              <a:gd name="connsiteX13" fmla="*/ 8102520 w 12191877"/>
              <a:gd name="connsiteY13" fmla="*/ 3698475 h 6858000"/>
              <a:gd name="connsiteX14" fmla="*/ 8102520 w 12191877"/>
              <a:gd name="connsiteY14" fmla="*/ 2689762 h 6858000"/>
              <a:gd name="connsiteX15" fmla="*/ 10792254 w 12191877"/>
              <a:gd name="connsiteY15" fmla="*/ 0 h 6858000"/>
              <a:gd name="connsiteX16" fmla="*/ 10680314 w 12191877"/>
              <a:gd name="connsiteY16" fmla="*/ 0 h 6858000"/>
              <a:gd name="connsiteX17" fmla="*/ 8102520 w 12191877"/>
              <a:gd name="connsiteY17" fmla="*/ 2577820 h 6858000"/>
              <a:gd name="connsiteX18" fmla="*/ 8102520 w 12191877"/>
              <a:gd name="connsiteY18" fmla="*/ 1569100 h 6858000"/>
              <a:gd name="connsiteX19" fmla="*/ 9671614 w 12191877"/>
              <a:gd name="connsiteY19" fmla="*/ 0 h 6858000"/>
              <a:gd name="connsiteX20" fmla="*/ 9559677 w 12191877"/>
              <a:gd name="connsiteY20" fmla="*/ 0 h 6858000"/>
              <a:gd name="connsiteX21" fmla="*/ 8102520 w 12191877"/>
              <a:gd name="connsiteY21" fmla="*/ 1457172 h 6858000"/>
              <a:gd name="connsiteX22" fmla="*/ 8102520 w 12191877"/>
              <a:gd name="connsiteY22" fmla="*/ 560902 h 6858000"/>
              <a:gd name="connsiteX23" fmla="*/ 8644717 w 12191877"/>
              <a:gd name="connsiteY23" fmla="*/ 0 h 6858000"/>
              <a:gd name="connsiteX24" fmla="*/ 8536632 w 12191877"/>
              <a:gd name="connsiteY24" fmla="*/ 0 h 6858000"/>
              <a:gd name="connsiteX25" fmla="*/ 8102520 w 12191877"/>
              <a:gd name="connsiteY25" fmla="*/ 448970 h 6858000"/>
              <a:gd name="connsiteX26" fmla="*/ 8102520 w 12191877"/>
              <a:gd name="connsiteY26" fmla="*/ 0 h 6858000"/>
              <a:gd name="connsiteX27" fmla="*/ 0 w 12191877"/>
              <a:gd name="connsiteY27" fmla="*/ 0 h 6858000"/>
              <a:gd name="connsiteX28" fmla="*/ 0 w 12191877"/>
              <a:gd name="connsiteY28" fmla="*/ 6857997 h 6858000"/>
              <a:gd name="connsiteX29" fmla="*/ 8304935 w 12191877"/>
              <a:gd name="connsiteY29" fmla="*/ 6858000 h 6858000"/>
              <a:gd name="connsiteX30" fmla="*/ 8416875 w 12191877"/>
              <a:gd name="connsiteY30" fmla="*/ 6858000 h 6858000"/>
              <a:gd name="connsiteX31" fmla="*/ 12191878 w 12191877"/>
              <a:gd name="connsiteY31" fmla="*/ 3082961 h 6858000"/>
              <a:gd name="connsiteX32" fmla="*/ 12191878 w 12191877"/>
              <a:gd name="connsiteY32" fmla="*/ 2971019 h 6858000"/>
              <a:gd name="connsiteX33" fmla="*/ 8304935 w 12191877"/>
              <a:gd name="connsiteY33" fmla="*/ 6858000 h 6858000"/>
              <a:gd name="connsiteX34" fmla="*/ 9425589 w 12191877"/>
              <a:gd name="connsiteY34" fmla="*/ 6858000 h 6858000"/>
              <a:gd name="connsiteX35" fmla="*/ 9537516 w 12191877"/>
              <a:gd name="connsiteY35" fmla="*/ 6858000 h 6858000"/>
              <a:gd name="connsiteX36" fmla="*/ 12191878 w 12191877"/>
              <a:gd name="connsiteY36" fmla="*/ 4203612 h 6858000"/>
              <a:gd name="connsiteX37" fmla="*/ 12191878 w 12191877"/>
              <a:gd name="connsiteY37" fmla="*/ 4091670 h 6858000"/>
              <a:gd name="connsiteX38" fmla="*/ 9425589 w 12191877"/>
              <a:gd name="connsiteY38" fmla="*/ 6858000 h 6858000"/>
              <a:gd name="connsiteX39" fmla="*/ 10544933 w 12191877"/>
              <a:gd name="connsiteY39" fmla="*/ 6858000 h 6858000"/>
              <a:gd name="connsiteX40" fmla="*/ 10658156 w 12191877"/>
              <a:gd name="connsiteY40" fmla="*/ 6858000 h 6858000"/>
              <a:gd name="connsiteX41" fmla="*/ 12191878 w 12191877"/>
              <a:gd name="connsiteY41" fmla="*/ 5324264 h 6858000"/>
              <a:gd name="connsiteX42" fmla="*/ 12191878 w 12191877"/>
              <a:gd name="connsiteY42" fmla="*/ 5211040 h 6858000"/>
              <a:gd name="connsiteX43" fmla="*/ 10544933 w 12191877"/>
              <a:gd name="connsiteY43" fmla="*/ 6858000 h 6858000"/>
              <a:gd name="connsiteX44" fmla="*/ 11665573 w 12191877"/>
              <a:gd name="connsiteY44" fmla="*/ 6858000 h 6858000"/>
              <a:gd name="connsiteX45" fmla="*/ 11777507 w 12191877"/>
              <a:gd name="connsiteY45" fmla="*/ 6858000 h 6858000"/>
              <a:gd name="connsiteX46" fmla="*/ 12191878 w 12191877"/>
              <a:gd name="connsiteY46" fmla="*/ 6443630 h 6858000"/>
              <a:gd name="connsiteX47" fmla="*/ 12191878 w 12191877"/>
              <a:gd name="connsiteY47" fmla="*/ 6331691 h 6858000"/>
              <a:gd name="connsiteX48" fmla="*/ 11665573 w 12191877"/>
              <a:gd name="connsiteY4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2191877" h="6858000">
                <a:moveTo>
                  <a:pt x="0" y="6858000"/>
                </a:moveTo>
                <a:lnTo>
                  <a:pt x="8102520" y="6858000"/>
                </a:lnTo>
                <a:lnTo>
                  <a:pt x="8102520" y="6051708"/>
                </a:lnTo>
                <a:lnTo>
                  <a:pt x="12191878" y="1962310"/>
                </a:lnTo>
                <a:lnTo>
                  <a:pt x="12191878" y="1850371"/>
                </a:lnTo>
                <a:lnTo>
                  <a:pt x="8102520" y="5939766"/>
                </a:lnTo>
                <a:lnTo>
                  <a:pt x="8102520" y="4931057"/>
                </a:lnTo>
                <a:lnTo>
                  <a:pt x="12191878" y="841658"/>
                </a:lnTo>
                <a:lnTo>
                  <a:pt x="12191878" y="729724"/>
                </a:lnTo>
                <a:lnTo>
                  <a:pt x="8102520" y="4819122"/>
                </a:lnTo>
                <a:lnTo>
                  <a:pt x="8102520" y="3810409"/>
                </a:lnTo>
                <a:lnTo>
                  <a:pt x="11912894" y="0"/>
                </a:lnTo>
                <a:lnTo>
                  <a:pt x="11800954" y="0"/>
                </a:lnTo>
                <a:lnTo>
                  <a:pt x="8102520" y="3698475"/>
                </a:lnTo>
                <a:lnTo>
                  <a:pt x="8102520" y="2689762"/>
                </a:lnTo>
                <a:lnTo>
                  <a:pt x="10792254" y="0"/>
                </a:lnTo>
                <a:lnTo>
                  <a:pt x="10680314" y="0"/>
                </a:lnTo>
                <a:lnTo>
                  <a:pt x="8102520" y="2577820"/>
                </a:lnTo>
                <a:lnTo>
                  <a:pt x="8102520" y="1569100"/>
                </a:lnTo>
                <a:lnTo>
                  <a:pt x="9671614" y="0"/>
                </a:lnTo>
                <a:lnTo>
                  <a:pt x="9559677" y="0"/>
                </a:lnTo>
                <a:lnTo>
                  <a:pt x="8102520" y="1457172"/>
                </a:lnTo>
                <a:lnTo>
                  <a:pt x="8102520" y="560902"/>
                </a:lnTo>
                <a:lnTo>
                  <a:pt x="8644717" y="0"/>
                </a:lnTo>
                <a:lnTo>
                  <a:pt x="8536632" y="0"/>
                </a:lnTo>
                <a:lnTo>
                  <a:pt x="8102520" y="448970"/>
                </a:lnTo>
                <a:lnTo>
                  <a:pt x="8102520" y="0"/>
                </a:lnTo>
                <a:lnTo>
                  <a:pt x="0" y="0"/>
                </a:lnTo>
                <a:lnTo>
                  <a:pt x="0" y="6857997"/>
                </a:lnTo>
                <a:close/>
                <a:moveTo>
                  <a:pt x="8304935" y="6858000"/>
                </a:moveTo>
                <a:lnTo>
                  <a:pt x="8416875" y="6858000"/>
                </a:lnTo>
                <a:lnTo>
                  <a:pt x="12191878" y="3082961"/>
                </a:lnTo>
                <a:lnTo>
                  <a:pt x="12191878" y="2971019"/>
                </a:lnTo>
                <a:lnTo>
                  <a:pt x="8304935" y="6858000"/>
                </a:lnTo>
                <a:close/>
                <a:moveTo>
                  <a:pt x="9425589" y="6858000"/>
                </a:moveTo>
                <a:lnTo>
                  <a:pt x="9537516" y="6858000"/>
                </a:lnTo>
                <a:lnTo>
                  <a:pt x="12191878" y="4203612"/>
                </a:lnTo>
                <a:lnTo>
                  <a:pt x="12191878" y="4091670"/>
                </a:lnTo>
                <a:lnTo>
                  <a:pt x="9425589" y="6858000"/>
                </a:lnTo>
                <a:close/>
                <a:moveTo>
                  <a:pt x="10544933" y="6858000"/>
                </a:moveTo>
                <a:lnTo>
                  <a:pt x="10658156" y="6858000"/>
                </a:lnTo>
                <a:lnTo>
                  <a:pt x="12191878" y="5324264"/>
                </a:lnTo>
                <a:lnTo>
                  <a:pt x="12191878" y="5211040"/>
                </a:lnTo>
                <a:lnTo>
                  <a:pt x="10544933" y="6858000"/>
                </a:lnTo>
                <a:close/>
                <a:moveTo>
                  <a:pt x="11665573" y="6858000"/>
                </a:moveTo>
                <a:lnTo>
                  <a:pt x="11777507" y="6858000"/>
                </a:lnTo>
                <a:lnTo>
                  <a:pt x="12191878" y="6443630"/>
                </a:lnTo>
                <a:lnTo>
                  <a:pt x="12191878" y="6331691"/>
                </a:lnTo>
                <a:lnTo>
                  <a:pt x="11665573" y="6858000"/>
                </a:lnTo>
                <a:close/>
              </a:path>
            </a:pathLst>
          </a:custGeom>
          <a:solidFill>
            <a:srgbClr val="F0EBE1"/>
          </a:solidFill>
          <a:ln w="36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6E6260-E36C-484A-9F25-1346EC50A8D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5508" y="2196783"/>
            <a:ext cx="6839712" cy="1876869"/>
          </a:xfrm>
        </p:spPr>
        <p:txBody>
          <a:bodyPr anchor="t" anchorCtr="0"/>
          <a:lstStyle>
            <a:lvl1pPr algn="l">
              <a:lnSpc>
                <a:spcPct val="95000"/>
              </a:lnSpc>
              <a:defRPr sz="4000"/>
            </a:lvl1pPr>
          </a:lstStyle>
          <a:p>
            <a:r>
              <a:rPr lang="fi-FI"/>
              <a:t>Muokkaa perustyyl. napsautt.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1FDDA9F-DC3B-4803-9730-F564F287AC8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35508" y="5070348"/>
            <a:ext cx="6839712" cy="1220724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24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D7FCCBE-EE77-5D47-8CE2-1B409B5E09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915" y="565286"/>
            <a:ext cx="2090175" cy="703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8268866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AF55F463-6573-FC45-BA45-C38E511134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F6E6260-E36C-484A-9F25-1346EC50A8D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5508" y="2196783"/>
            <a:ext cx="6839712" cy="1876869"/>
          </a:xfrm>
        </p:spPr>
        <p:txBody>
          <a:bodyPr anchor="t" anchorCtr="0"/>
          <a:lstStyle>
            <a:lvl1pPr algn="l">
              <a:lnSpc>
                <a:spcPct val="95000"/>
              </a:lnSpc>
              <a:defRPr sz="4000"/>
            </a:lvl1pPr>
          </a:lstStyle>
          <a:p>
            <a:r>
              <a:rPr lang="fi-FI"/>
              <a:t>Muokkaa perustyyl. napsautt.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1FDDA9F-DC3B-4803-9730-F564F287AC8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35508" y="5070348"/>
            <a:ext cx="6839712" cy="1220724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24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3EE9307-AB79-3247-82BD-37685692FA2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915" y="565286"/>
            <a:ext cx="2090175" cy="703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1323689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 2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AF55F463-6573-FC45-BA45-C38E511134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F6E6260-E36C-484A-9F25-1346EC50A8D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5508" y="2196783"/>
            <a:ext cx="6839712" cy="1876869"/>
          </a:xfrm>
        </p:spPr>
        <p:txBody>
          <a:bodyPr anchor="t" anchorCtr="0"/>
          <a:lstStyle>
            <a:lvl1pPr algn="l">
              <a:lnSpc>
                <a:spcPct val="95000"/>
              </a:lnSpc>
              <a:defRPr sz="4000"/>
            </a:lvl1pPr>
          </a:lstStyle>
          <a:p>
            <a:r>
              <a:rPr lang="fi-FI"/>
              <a:t>Muokkaa perustyyl. napsautt.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1FDDA9F-DC3B-4803-9730-F564F287AC8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35508" y="5070348"/>
            <a:ext cx="6839712" cy="1220724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24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3EE9307-AB79-3247-82BD-37685692FA2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915" y="565286"/>
            <a:ext cx="2090175" cy="703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9668956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0DB878-8E84-426A-BEF0-AF1AAFA1F9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940" y="484094"/>
            <a:ext cx="9894939" cy="1075323"/>
          </a:xfrm>
        </p:spPr>
        <p:txBody>
          <a:bodyPr anchor="b"/>
          <a:lstStyle/>
          <a:p>
            <a:r>
              <a:rPr lang="fi-FI"/>
              <a:t>Muokkaa perustyyl. napsautt.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E3B6CAA-4767-42B4-A19C-0CFD9AFC822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E996DCA-8E68-4F4A-A4A6-ACE6BC7F24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408733-3F8E-45BE-8526-0E0F500B8042}" type="datetimeFigureOut">
              <a:rPr lang="fi-FI" smtClean="0"/>
              <a:t>12.3.2026</a:t>
            </a:fld>
            <a:endParaRPr lang="fi-FI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DC7B94-042D-44C2-B7B2-1128AAFA57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160B98-140E-4345-B1A3-2A7247C42973}" type="slidenum">
              <a:rPr lang="fi-FI" smtClean="0"/>
              <a:t>‹#›</a:t>
            </a:fld>
            <a:endParaRPr lang="fi-FI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FAA53A2-04A4-784B-8533-1BE5B6ED6EB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76380" y="596151"/>
            <a:ext cx="516294" cy="631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8964062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E3B6CAA-4767-42B4-A19C-0CFD9AFC82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9940" y="2021541"/>
            <a:ext cx="5311126" cy="4155422"/>
          </a:xfrm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E996DCA-8E68-4F4A-A4A6-ACE6BC7F24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408733-3F8E-45BE-8526-0E0F500B8042}" type="datetimeFigureOut">
              <a:rPr lang="fi-FI" smtClean="0"/>
              <a:t>12.3.2026</a:t>
            </a:fld>
            <a:endParaRPr lang="fi-FI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DC7B94-042D-44C2-B7B2-1128AAFA57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160B98-140E-4345-B1A3-2A7247C42973}" type="slidenum">
              <a:rPr lang="fi-FI" smtClean="0"/>
              <a:t>‹#›</a:t>
            </a:fld>
            <a:endParaRPr lang="fi-FI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F604C65-0022-A10B-E75C-3BC0B3B9636F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230933" y="2021541"/>
            <a:ext cx="5311126" cy="4155422"/>
          </a:xfrm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6363DDC-C97A-194B-98DF-CA51F0A3D35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76380" y="596151"/>
            <a:ext cx="516294" cy="631026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85789431-5CDA-8F47-85A4-31FC69C174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940" y="484094"/>
            <a:ext cx="9894939" cy="1075323"/>
          </a:xfrm>
        </p:spPr>
        <p:txBody>
          <a:bodyPr anchor="b"/>
          <a:lstStyle/>
          <a:p>
            <a:r>
              <a:rPr lang="fi-FI"/>
              <a:t>Muokkaa perustyyl. napsautt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97722586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san ylätunnis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orakulmio 2">
            <a:extLst>
              <a:ext uri="{FF2B5EF4-FFF2-40B4-BE49-F238E27FC236}">
                <a16:creationId xmlns:a16="http://schemas.microsoft.com/office/drawing/2014/main" id="{DCD8BB72-B7B2-E8EB-24B6-FE4ECB31BE5A}"/>
              </a:ext>
            </a:extLst>
          </p:cNvPr>
          <p:cNvSpPr/>
          <p:nvPr userDrawn="1"/>
        </p:nvSpPr>
        <p:spPr>
          <a:xfrm>
            <a:off x="-1" y="4570190"/>
            <a:ext cx="12192001" cy="2287810"/>
          </a:xfrm>
          <a:prstGeom prst="rect">
            <a:avLst/>
          </a:prstGeom>
          <a:solidFill>
            <a:srgbClr val="F0EB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C1DC208-0BC6-4780-8569-0CCC5C8BCB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941" y="5170932"/>
            <a:ext cx="6756699" cy="1143000"/>
          </a:xfrm>
        </p:spPr>
        <p:txBody>
          <a:bodyPr anchor="t"/>
          <a:lstStyle>
            <a:lvl1pPr>
              <a:defRPr sz="3200"/>
            </a:lvl1pPr>
          </a:lstStyle>
          <a:p>
            <a:r>
              <a:rPr lang="fi-FI"/>
              <a:t>Muokkaa perustyyl. napsautt.</a:t>
            </a:r>
            <a:endParaRPr lang="en-GB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D1212A6-DA8E-4A60-A5F2-8DAE3B39E0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408733-3F8E-45BE-8526-0E0F500B8042}" type="datetimeFigureOut">
              <a:rPr lang="fi-FI" smtClean="0"/>
              <a:t>12.3.2026</a:t>
            </a:fld>
            <a:endParaRPr lang="fi-FI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2766CB0-43A1-4E89-83D2-9E67BAD632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E2AEE1E-B285-4162-ABF0-E898A0AD68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160B98-140E-4345-B1A3-2A7247C42973}" type="slidenum">
              <a:rPr lang="fi-FI" smtClean="0"/>
              <a:t>‹#›</a:t>
            </a:fld>
            <a:endParaRPr lang="fi-FI"/>
          </a:p>
        </p:txBody>
      </p:sp>
      <p:sp>
        <p:nvSpPr>
          <p:cNvPr id="4" name="Free-form: Shape 28">
            <a:extLst>
              <a:ext uri="{FF2B5EF4-FFF2-40B4-BE49-F238E27FC236}">
                <a16:creationId xmlns:a16="http://schemas.microsoft.com/office/drawing/2014/main" id="{09403F87-9585-6CA0-7F3B-A0CDE2652619}"/>
              </a:ext>
            </a:extLst>
          </p:cNvPr>
          <p:cNvSpPr/>
          <p:nvPr userDrawn="1"/>
        </p:nvSpPr>
        <p:spPr>
          <a:xfrm>
            <a:off x="-122" y="0"/>
            <a:ext cx="12192122" cy="387240"/>
          </a:xfrm>
          <a:custGeom>
            <a:avLst/>
            <a:gdLst>
              <a:gd name="connsiteX0" fmla="*/ 0 w 12185437"/>
              <a:gd name="connsiteY0" fmla="*/ 0 h 380838"/>
              <a:gd name="connsiteX1" fmla="*/ 12185437 w 12185437"/>
              <a:gd name="connsiteY1" fmla="*/ 0 h 380838"/>
              <a:gd name="connsiteX2" fmla="*/ 12185437 w 12185437"/>
              <a:gd name="connsiteY2" fmla="*/ 380839 h 380838"/>
              <a:gd name="connsiteX3" fmla="*/ 0 w 12185437"/>
              <a:gd name="connsiteY3" fmla="*/ 380839 h 380838"/>
              <a:gd name="connsiteX4" fmla="*/ 0 w 12185437"/>
              <a:gd name="connsiteY4" fmla="*/ 0 h 380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85437" h="380838">
                <a:moveTo>
                  <a:pt x="0" y="0"/>
                </a:moveTo>
                <a:lnTo>
                  <a:pt x="12185437" y="0"/>
                </a:lnTo>
                <a:lnTo>
                  <a:pt x="12185437" y="380839"/>
                </a:lnTo>
                <a:lnTo>
                  <a:pt x="0" y="38083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36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5" name="Free-form: Shape 29">
            <a:extLst>
              <a:ext uri="{FF2B5EF4-FFF2-40B4-BE49-F238E27FC236}">
                <a16:creationId xmlns:a16="http://schemas.microsoft.com/office/drawing/2014/main" id="{B4E4D196-B8D5-48B6-626D-89C042D57B9C}"/>
              </a:ext>
            </a:extLst>
          </p:cNvPr>
          <p:cNvSpPr/>
          <p:nvPr userDrawn="1"/>
        </p:nvSpPr>
        <p:spPr>
          <a:xfrm>
            <a:off x="-122" y="768193"/>
            <a:ext cx="12192122" cy="380702"/>
          </a:xfrm>
          <a:custGeom>
            <a:avLst/>
            <a:gdLst>
              <a:gd name="connsiteX0" fmla="*/ 0 w 12185437"/>
              <a:gd name="connsiteY0" fmla="*/ 0 h 380702"/>
              <a:gd name="connsiteX1" fmla="*/ 12185437 w 12185437"/>
              <a:gd name="connsiteY1" fmla="*/ 0 h 380702"/>
              <a:gd name="connsiteX2" fmla="*/ 12185437 w 12185437"/>
              <a:gd name="connsiteY2" fmla="*/ 380703 h 380702"/>
              <a:gd name="connsiteX3" fmla="*/ 0 w 12185437"/>
              <a:gd name="connsiteY3" fmla="*/ 380703 h 380702"/>
              <a:gd name="connsiteX4" fmla="*/ 0 w 12185437"/>
              <a:gd name="connsiteY4" fmla="*/ 0 h 380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85437" h="380702">
                <a:moveTo>
                  <a:pt x="0" y="0"/>
                </a:moveTo>
                <a:lnTo>
                  <a:pt x="12185437" y="0"/>
                </a:lnTo>
                <a:lnTo>
                  <a:pt x="12185437" y="380703"/>
                </a:lnTo>
                <a:lnTo>
                  <a:pt x="0" y="38070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36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6" name="Free-form: Shape 30">
            <a:extLst>
              <a:ext uri="{FF2B5EF4-FFF2-40B4-BE49-F238E27FC236}">
                <a16:creationId xmlns:a16="http://schemas.microsoft.com/office/drawing/2014/main" id="{89FD2A67-C5A0-8597-A631-E79F1FDC2375}"/>
              </a:ext>
            </a:extLst>
          </p:cNvPr>
          <p:cNvSpPr/>
          <p:nvPr userDrawn="1"/>
        </p:nvSpPr>
        <p:spPr>
          <a:xfrm>
            <a:off x="-122" y="1529863"/>
            <a:ext cx="12192122" cy="380838"/>
          </a:xfrm>
          <a:custGeom>
            <a:avLst/>
            <a:gdLst>
              <a:gd name="connsiteX0" fmla="*/ 0 w 12185437"/>
              <a:gd name="connsiteY0" fmla="*/ 0 h 380838"/>
              <a:gd name="connsiteX1" fmla="*/ 12185437 w 12185437"/>
              <a:gd name="connsiteY1" fmla="*/ 0 h 380838"/>
              <a:gd name="connsiteX2" fmla="*/ 12185437 w 12185437"/>
              <a:gd name="connsiteY2" fmla="*/ 380839 h 380838"/>
              <a:gd name="connsiteX3" fmla="*/ 0 w 12185437"/>
              <a:gd name="connsiteY3" fmla="*/ 380839 h 380838"/>
              <a:gd name="connsiteX4" fmla="*/ 0 w 12185437"/>
              <a:gd name="connsiteY4" fmla="*/ 0 h 380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85437" h="380838">
                <a:moveTo>
                  <a:pt x="0" y="0"/>
                </a:moveTo>
                <a:lnTo>
                  <a:pt x="12185437" y="0"/>
                </a:lnTo>
                <a:lnTo>
                  <a:pt x="12185437" y="380839"/>
                </a:lnTo>
                <a:lnTo>
                  <a:pt x="0" y="38083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36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0" name="Free-form: Shape 31">
            <a:extLst>
              <a:ext uri="{FF2B5EF4-FFF2-40B4-BE49-F238E27FC236}">
                <a16:creationId xmlns:a16="http://schemas.microsoft.com/office/drawing/2014/main" id="{E7831AEF-0633-77AB-EA0E-DB68A5A08C6C}"/>
              </a:ext>
            </a:extLst>
          </p:cNvPr>
          <p:cNvSpPr/>
          <p:nvPr userDrawn="1"/>
        </p:nvSpPr>
        <p:spPr>
          <a:xfrm>
            <a:off x="-122" y="2291655"/>
            <a:ext cx="12192122" cy="380842"/>
          </a:xfrm>
          <a:custGeom>
            <a:avLst/>
            <a:gdLst>
              <a:gd name="connsiteX0" fmla="*/ 0 w 12185437"/>
              <a:gd name="connsiteY0" fmla="*/ 0 h 380842"/>
              <a:gd name="connsiteX1" fmla="*/ 12185437 w 12185437"/>
              <a:gd name="connsiteY1" fmla="*/ 0 h 380842"/>
              <a:gd name="connsiteX2" fmla="*/ 12185437 w 12185437"/>
              <a:gd name="connsiteY2" fmla="*/ 380842 h 380842"/>
              <a:gd name="connsiteX3" fmla="*/ 0 w 12185437"/>
              <a:gd name="connsiteY3" fmla="*/ 380842 h 380842"/>
              <a:gd name="connsiteX4" fmla="*/ 0 w 12185437"/>
              <a:gd name="connsiteY4" fmla="*/ 0 h 380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85437" h="380842">
                <a:moveTo>
                  <a:pt x="0" y="0"/>
                </a:moveTo>
                <a:lnTo>
                  <a:pt x="12185437" y="0"/>
                </a:lnTo>
                <a:lnTo>
                  <a:pt x="12185437" y="380842"/>
                </a:lnTo>
                <a:lnTo>
                  <a:pt x="0" y="38084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36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1" name="Free-form: Shape 32">
            <a:extLst>
              <a:ext uri="{FF2B5EF4-FFF2-40B4-BE49-F238E27FC236}">
                <a16:creationId xmlns:a16="http://schemas.microsoft.com/office/drawing/2014/main" id="{20B1B5C3-36C4-6C96-F052-EC7C50FC54AC}"/>
              </a:ext>
            </a:extLst>
          </p:cNvPr>
          <p:cNvSpPr/>
          <p:nvPr userDrawn="1"/>
        </p:nvSpPr>
        <p:spPr>
          <a:xfrm>
            <a:off x="-122" y="3053449"/>
            <a:ext cx="12192122" cy="380702"/>
          </a:xfrm>
          <a:custGeom>
            <a:avLst/>
            <a:gdLst>
              <a:gd name="connsiteX0" fmla="*/ 0 w 12185437"/>
              <a:gd name="connsiteY0" fmla="*/ 0 h 380702"/>
              <a:gd name="connsiteX1" fmla="*/ 12185437 w 12185437"/>
              <a:gd name="connsiteY1" fmla="*/ 0 h 380702"/>
              <a:gd name="connsiteX2" fmla="*/ 12185437 w 12185437"/>
              <a:gd name="connsiteY2" fmla="*/ 380703 h 380702"/>
              <a:gd name="connsiteX3" fmla="*/ 0 w 12185437"/>
              <a:gd name="connsiteY3" fmla="*/ 380703 h 380702"/>
              <a:gd name="connsiteX4" fmla="*/ 0 w 12185437"/>
              <a:gd name="connsiteY4" fmla="*/ 0 h 380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85437" h="380702">
                <a:moveTo>
                  <a:pt x="0" y="0"/>
                </a:moveTo>
                <a:lnTo>
                  <a:pt x="12185437" y="0"/>
                </a:lnTo>
                <a:lnTo>
                  <a:pt x="12185437" y="380703"/>
                </a:lnTo>
                <a:lnTo>
                  <a:pt x="0" y="38070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36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2" name="Free-form: Shape 33">
            <a:extLst>
              <a:ext uri="{FF2B5EF4-FFF2-40B4-BE49-F238E27FC236}">
                <a16:creationId xmlns:a16="http://schemas.microsoft.com/office/drawing/2014/main" id="{1D2A1DAB-145A-5F7B-9954-6987015EB4B4}"/>
              </a:ext>
            </a:extLst>
          </p:cNvPr>
          <p:cNvSpPr/>
          <p:nvPr userDrawn="1"/>
        </p:nvSpPr>
        <p:spPr>
          <a:xfrm>
            <a:off x="-122" y="3815119"/>
            <a:ext cx="12192122" cy="380838"/>
          </a:xfrm>
          <a:custGeom>
            <a:avLst/>
            <a:gdLst>
              <a:gd name="connsiteX0" fmla="*/ 0 w 12185437"/>
              <a:gd name="connsiteY0" fmla="*/ 0 h 380838"/>
              <a:gd name="connsiteX1" fmla="*/ 12185437 w 12185437"/>
              <a:gd name="connsiteY1" fmla="*/ 0 h 380838"/>
              <a:gd name="connsiteX2" fmla="*/ 12185437 w 12185437"/>
              <a:gd name="connsiteY2" fmla="*/ 380839 h 380838"/>
              <a:gd name="connsiteX3" fmla="*/ 0 w 12185437"/>
              <a:gd name="connsiteY3" fmla="*/ 380839 h 380838"/>
              <a:gd name="connsiteX4" fmla="*/ 0 w 12185437"/>
              <a:gd name="connsiteY4" fmla="*/ 0 h 380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85437" h="380838">
                <a:moveTo>
                  <a:pt x="0" y="0"/>
                </a:moveTo>
                <a:lnTo>
                  <a:pt x="12185437" y="0"/>
                </a:lnTo>
                <a:lnTo>
                  <a:pt x="12185437" y="380839"/>
                </a:lnTo>
                <a:lnTo>
                  <a:pt x="0" y="38083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36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FA2F872-5FC5-D94D-9E89-698A2F01408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39507" y="5596332"/>
            <a:ext cx="2090175" cy="703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0881895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Pictur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orakulmio 2">
            <a:extLst>
              <a:ext uri="{FF2B5EF4-FFF2-40B4-BE49-F238E27FC236}">
                <a16:creationId xmlns:a16="http://schemas.microsoft.com/office/drawing/2014/main" id="{483FB58F-61FC-B125-47DF-7A1E6819B7A4}"/>
              </a:ext>
            </a:extLst>
          </p:cNvPr>
          <p:cNvSpPr/>
          <p:nvPr userDrawn="1"/>
        </p:nvSpPr>
        <p:spPr>
          <a:xfrm>
            <a:off x="-1" y="4570190"/>
            <a:ext cx="12192001" cy="2287810"/>
          </a:xfrm>
          <a:prstGeom prst="rect">
            <a:avLst/>
          </a:prstGeom>
          <a:solidFill>
            <a:srgbClr val="F0EB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4" name="Picture Placeholder 7">
            <a:extLst>
              <a:ext uri="{FF2B5EF4-FFF2-40B4-BE49-F238E27FC236}">
                <a16:creationId xmlns:a16="http://schemas.microsoft.com/office/drawing/2014/main" id="{5E70779E-03A6-C3DE-E92E-DA3EBF19B8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" y="-1"/>
            <a:ext cx="8105774" cy="4570191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None/>
              <a:defRPr sz="1800"/>
            </a:lvl1pPr>
          </a:lstStyle>
          <a:p>
            <a:r>
              <a:rPr lang="fi-FI"/>
              <a:t>Lisää kuva napsauttamalla kuvaketta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C1DC208-0BC6-4780-8569-0CCC5C8BCB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941" y="5170932"/>
            <a:ext cx="6756699" cy="1143000"/>
          </a:xfrm>
        </p:spPr>
        <p:txBody>
          <a:bodyPr anchor="t"/>
          <a:lstStyle>
            <a:lvl1pPr>
              <a:defRPr sz="3200"/>
            </a:lvl1pPr>
          </a:lstStyle>
          <a:p>
            <a:r>
              <a:rPr lang="fi-FI"/>
              <a:t>Muokkaa perustyyl. napsautt.</a:t>
            </a:r>
            <a:endParaRPr lang="en-GB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D1212A6-DA8E-4A60-A5F2-8DAE3B39E0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408733-3F8E-45BE-8526-0E0F500B8042}" type="datetimeFigureOut">
              <a:rPr lang="fi-FI" smtClean="0"/>
              <a:t>12.3.2026</a:t>
            </a:fld>
            <a:endParaRPr lang="fi-FI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2766CB0-43A1-4E89-83D2-9E67BAD632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E2AEE1E-B285-4162-ABF0-E898A0AD68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160B98-140E-4345-B1A3-2A7247C42973}" type="slidenum">
              <a:rPr lang="fi-FI" smtClean="0"/>
              <a:t>‹#›</a:t>
            </a:fld>
            <a:endParaRPr lang="fi-FI"/>
          </a:p>
        </p:txBody>
      </p:sp>
      <p:sp>
        <p:nvSpPr>
          <p:cNvPr id="12" name="Free-form: Shape 11">
            <a:extLst>
              <a:ext uri="{FF2B5EF4-FFF2-40B4-BE49-F238E27FC236}">
                <a16:creationId xmlns:a16="http://schemas.microsoft.com/office/drawing/2014/main" id="{16E5BBD8-3D18-CC13-B42D-BA6270086E42}"/>
              </a:ext>
            </a:extLst>
          </p:cNvPr>
          <p:cNvSpPr/>
          <p:nvPr/>
        </p:nvSpPr>
        <p:spPr>
          <a:xfrm>
            <a:off x="8105775" y="0"/>
            <a:ext cx="378679" cy="4568336"/>
          </a:xfrm>
          <a:custGeom>
            <a:avLst/>
            <a:gdLst>
              <a:gd name="connsiteX0" fmla="*/ 378679 w 378679"/>
              <a:gd name="connsiteY0" fmla="*/ 0 h 4570191"/>
              <a:gd name="connsiteX1" fmla="*/ 378679 w 378679"/>
              <a:gd name="connsiteY1" fmla="*/ 4570191 h 4570191"/>
              <a:gd name="connsiteX2" fmla="*/ 0 w 378679"/>
              <a:gd name="connsiteY2" fmla="*/ 4570191 h 4570191"/>
              <a:gd name="connsiteX3" fmla="*/ 0 w 378679"/>
              <a:gd name="connsiteY3" fmla="*/ 0 h 4570191"/>
              <a:gd name="connsiteX4" fmla="*/ 378679 w 378679"/>
              <a:gd name="connsiteY4" fmla="*/ 0 h 45701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8679" h="4570191">
                <a:moveTo>
                  <a:pt x="378679" y="0"/>
                </a:moveTo>
                <a:lnTo>
                  <a:pt x="378679" y="4570191"/>
                </a:lnTo>
                <a:lnTo>
                  <a:pt x="0" y="4570191"/>
                </a:lnTo>
                <a:lnTo>
                  <a:pt x="0" y="0"/>
                </a:lnTo>
                <a:lnTo>
                  <a:pt x="378679" y="0"/>
                </a:lnTo>
                <a:close/>
              </a:path>
            </a:pathLst>
          </a:custGeom>
          <a:solidFill>
            <a:schemeClr val="accent3"/>
          </a:solidFill>
          <a:ln w="35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3" name="Free-form: Shape 12">
            <a:extLst>
              <a:ext uri="{FF2B5EF4-FFF2-40B4-BE49-F238E27FC236}">
                <a16:creationId xmlns:a16="http://schemas.microsoft.com/office/drawing/2014/main" id="{F88FF5DF-8F63-E6E6-5985-36E7158CDBC7}"/>
              </a:ext>
            </a:extLst>
          </p:cNvPr>
          <p:cNvSpPr/>
          <p:nvPr/>
        </p:nvSpPr>
        <p:spPr>
          <a:xfrm>
            <a:off x="8869551" y="0"/>
            <a:ext cx="385100" cy="4568336"/>
          </a:xfrm>
          <a:custGeom>
            <a:avLst/>
            <a:gdLst>
              <a:gd name="connsiteX0" fmla="*/ 385101 w 385100"/>
              <a:gd name="connsiteY0" fmla="*/ 0 h 4570191"/>
              <a:gd name="connsiteX1" fmla="*/ 385101 w 385100"/>
              <a:gd name="connsiteY1" fmla="*/ 4570191 h 4570191"/>
              <a:gd name="connsiteX2" fmla="*/ 0 w 385100"/>
              <a:gd name="connsiteY2" fmla="*/ 4570191 h 4570191"/>
              <a:gd name="connsiteX3" fmla="*/ 0 w 385100"/>
              <a:gd name="connsiteY3" fmla="*/ 0 h 4570191"/>
              <a:gd name="connsiteX4" fmla="*/ 385101 w 385100"/>
              <a:gd name="connsiteY4" fmla="*/ 0 h 45701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5100" h="4570191">
                <a:moveTo>
                  <a:pt x="385101" y="0"/>
                </a:moveTo>
                <a:lnTo>
                  <a:pt x="385101" y="4570191"/>
                </a:lnTo>
                <a:lnTo>
                  <a:pt x="0" y="4570191"/>
                </a:lnTo>
                <a:lnTo>
                  <a:pt x="0" y="0"/>
                </a:lnTo>
                <a:lnTo>
                  <a:pt x="385101" y="0"/>
                </a:lnTo>
                <a:close/>
              </a:path>
            </a:pathLst>
          </a:custGeom>
          <a:solidFill>
            <a:schemeClr val="accent3"/>
          </a:solidFill>
          <a:ln w="35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4" name="Free-form: Shape 13">
            <a:extLst>
              <a:ext uri="{FF2B5EF4-FFF2-40B4-BE49-F238E27FC236}">
                <a16:creationId xmlns:a16="http://schemas.microsoft.com/office/drawing/2014/main" id="{B2086361-D08C-2A10-C9AC-F7580BD19271}"/>
              </a:ext>
            </a:extLst>
          </p:cNvPr>
          <p:cNvSpPr/>
          <p:nvPr/>
        </p:nvSpPr>
        <p:spPr>
          <a:xfrm>
            <a:off x="9639735" y="0"/>
            <a:ext cx="385100" cy="4568336"/>
          </a:xfrm>
          <a:custGeom>
            <a:avLst/>
            <a:gdLst>
              <a:gd name="connsiteX0" fmla="*/ 385101 w 385100"/>
              <a:gd name="connsiteY0" fmla="*/ 0 h 4570191"/>
              <a:gd name="connsiteX1" fmla="*/ 385101 w 385100"/>
              <a:gd name="connsiteY1" fmla="*/ 4570191 h 4570191"/>
              <a:gd name="connsiteX2" fmla="*/ 0 w 385100"/>
              <a:gd name="connsiteY2" fmla="*/ 4570191 h 4570191"/>
              <a:gd name="connsiteX3" fmla="*/ 0 w 385100"/>
              <a:gd name="connsiteY3" fmla="*/ 0 h 4570191"/>
              <a:gd name="connsiteX4" fmla="*/ 385101 w 385100"/>
              <a:gd name="connsiteY4" fmla="*/ 0 h 45701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5100" h="4570191">
                <a:moveTo>
                  <a:pt x="385101" y="0"/>
                </a:moveTo>
                <a:lnTo>
                  <a:pt x="385101" y="4570191"/>
                </a:lnTo>
                <a:lnTo>
                  <a:pt x="0" y="4570191"/>
                </a:lnTo>
                <a:lnTo>
                  <a:pt x="0" y="0"/>
                </a:lnTo>
                <a:lnTo>
                  <a:pt x="385101" y="0"/>
                </a:lnTo>
                <a:close/>
              </a:path>
            </a:pathLst>
          </a:custGeom>
          <a:solidFill>
            <a:schemeClr val="accent3"/>
          </a:solidFill>
          <a:ln w="35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5" name="Free-form: Shape 14">
            <a:extLst>
              <a:ext uri="{FF2B5EF4-FFF2-40B4-BE49-F238E27FC236}">
                <a16:creationId xmlns:a16="http://schemas.microsoft.com/office/drawing/2014/main" id="{C86574D7-D6D6-EF56-FB66-14F53A064D5B}"/>
              </a:ext>
            </a:extLst>
          </p:cNvPr>
          <p:cNvSpPr/>
          <p:nvPr/>
        </p:nvSpPr>
        <p:spPr>
          <a:xfrm>
            <a:off x="10409932" y="0"/>
            <a:ext cx="385100" cy="4568336"/>
          </a:xfrm>
          <a:custGeom>
            <a:avLst/>
            <a:gdLst>
              <a:gd name="connsiteX0" fmla="*/ 385101 w 385100"/>
              <a:gd name="connsiteY0" fmla="*/ 0 h 4570191"/>
              <a:gd name="connsiteX1" fmla="*/ 385101 w 385100"/>
              <a:gd name="connsiteY1" fmla="*/ 4570191 h 4570191"/>
              <a:gd name="connsiteX2" fmla="*/ 0 w 385100"/>
              <a:gd name="connsiteY2" fmla="*/ 4570191 h 4570191"/>
              <a:gd name="connsiteX3" fmla="*/ 0 w 385100"/>
              <a:gd name="connsiteY3" fmla="*/ 0 h 4570191"/>
              <a:gd name="connsiteX4" fmla="*/ 385101 w 385100"/>
              <a:gd name="connsiteY4" fmla="*/ 0 h 45701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5100" h="4570191">
                <a:moveTo>
                  <a:pt x="385101" y="0"/>
                </a:moveTo>
                <a:lnTo>
                  <a:pt x="385101" y="4570191"/>
                </a:lnTo>
                <a:lnTo>
                  <a:pt x="0" y="4570191"/>
                </a:lnTo>
                <a:lnTo>
                  <a:pt x="0" y="0"/>
                </a:lnTo>
                <a:lnTo>
                  <a:pt x="385101" y="0"/>
                </a:lnTo>
                <a:close/>
              </a:path>
            </a:pathLst>
          </a:custGeom>
          <a:solidFill>
            <a:schemeClr val="accent3"/>
          </a:solidFill>
          <a:ln w="35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6" name="Free-form: Shape 15">
            <a:extLst>
              <a:ext uri="{FF2B5EF4-FFF2-40B4-BE49-F238E27FC236}">
                <a16:creationId xmlns:a16="http://schemas.microsoft.com/office/drawing/2014/main" id="{294352AE-8336-96CB-B1E6-4E7E7F5C772A}"/>
              </a:ext>
            </a:extLst>
          </p:cNvPr>
          <p:cNvSpPr/>
          <p:nvPr/>
        </p:nvSpPr>
        <p:spPr>
          <a:xfrm>
            <a:off x="11180116" y="0"/>
            <a:ext cx="385100" cy="4568336"/>
          </a:xfrm>
          <a:custGeom>
            <a:avLst/>
            <a:gdLst>
              <a:gd name="connsiteX0" fmla="*/ 385100 w 385100"/>
              <a:gd name="connsiteY0" fmla="*/ 0 h 4570191"/>
              <a:gd name="connsiteX1" fmla="*/ 385100 w 385100"/>
              <a:gd name="connsiteY1" fmla="*/ 4570191 h 4570191"/>
              <a:gd name="connsiteX2" fmla="*/ 0 w 385100"/>
              <a:gd name="connsiteY2" fmla="*/ 4570191 h 4570191"/>
              <a:gd name="connsiteX3" fmla="*/ 0 w 385100"/>
              <a:gd name="connsiteY3" fmla="*/ 0 h 4570191"/>
              <a:gd name="connsiteX4" fmla="*/ 385100 w 385100"/>
              <a:gd name="connsiteY4" fmla="*/ 0 h 45701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5100" h="4570191">
                <a:moveTo>
                  <a:pt x="385100" y="0"/>
                </a:moveTo>
                <a:lnTo>
                  <a:pt x="385100" y="4570191"/>
                </a:lnTo>
                <a:lnTo>
                  <a:pt x="0" y="4570191"/>
                </a:lnTo>
                <a:lnTo>
                  <a:pt x="0" y="0"/>
                </a:lnTo>
                <a:lnTo>
                  <a:pt x="385100" y="0"/>
                </a:lnTo>
                <a:close/>
              </a:path>
            </a:pathLst>
          </a:custGeom>
          <a:solidFill>
            <a:schemeClr val="accent3"/>
          </a:solidFill>
          <a:ln w="35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7" name="Free-form: Shape 16">
            <a:extLst>
              <a:ext uri="{FF2B5EF4-FFF2-40B4-BE49-F238E27FC236}">
                <a16:creationId xmlns:a16="http://schemas.microsoft.com/office/drawing/2014/main" id="{005D8EB3-53B4-CC5F-7972-88D5D8352E6C}"/>
              </a:ext>
            </a:extLst>
          </p:cNvPr>
          <p:cNvSpPr/>
          <p:nvPr userDrawn="1"/>
        </p:nvSpPr>
        <p:spPr>
          <a:xfrm>
            <a:off x="11950317" y="0"/>
            <a:ext cx="241724" cy="4568336"/>
          </a:xfrm>
          <a:custGeom>
            <a:avLst/>
            <a:gdLst>
              <a:gd name="connsiteX0" fmla="*/ 0 w 241724"/>
              <a:gd name="connsiteY0" fmla="*/ 4570191 h 4570191"/>
              <a:gd name="connsiteX1" fmla="*/ 0 w 241724"/>
              <a:gd name="connsiteY1" fmla="*/ 0 h 4570191"/>
              <a:gd name="connsiteX2" fmla="*/ 241725 w 241724"/>
              <a:gd name="connsiteY2" fmla="*/ 0 h 4570191"/>
              <a:gd name="connsiteX3" fmla="*/ 241725 w 241724"/>
              <a:gd name="connsiteY3" fmla="*/ 4570191 h 4570191"/>
              <a:gd name="connsiteX4" fmla="*/ 0 w 241724"/>
              <a:gd name="connsiteY4" fmla="*/ 4570191 h 45701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1724" h="4570191">
                <a:moveTo>
                  <a:pt x="0" y="4570191"/>
                </a:moveTo>
                <a:lnTo>
                  <a:pt x="0" y="0"/>
                </a:lnTo>
                <a:lnTo>
                  <a:pt x="241725" y="0"/>
                </a:lnTo>
                <a:lnTo>
                  <a:pt x="241725" y="4570191"/>
                </a:lnTo>
                <a:lnTo>
                  <a:pt x="0" y="4570191"/>
                </a:lnTo>
                <a:close/>
              </a:path>
            </a:pathLst>
          </a:custGeom>
          <a:solidFill>
            <a:schemeClr val="accent3"/>
          </a:solidFill>
          <a:ln w="35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A24A5D3F-B208-9740-8F43-58C8D911A4A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39507" y="5596332"/>
            <a:ext cx="2090175" cy="703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4506969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DE34914-B5F2-4084-8552-6153E3BFA8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408733-3F8E-45BE-8526-0E0F500B8042}" type="datetimeFigureOut">
              <a:rPr lang="fi-FI" smtClean="0"/>
              <a:t>12.3.2026</a:t>
            </a:fld>
            <a:endParaRPr lang="fi-FI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3C69628-CCBB-4581-842C-07AC1724D7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C581D05-5813-4B50-86D4-96A15B78A2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160B98-140E-4345-B1A3-2A7247C42973}" type="slidenum">
              <a:rPr lang="fi-FI" smtClean="0"/>
              <a:t>‹#›</a:t>
            </a:fld>
            <a:endParaRPr lang="fi-FI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414EFF0-E9E2-364E-9793-DF62BACE2D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76380" y="596151"/>
            <a:ext cx="516294" cy="631026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0E5EEC2F-8885-4741-92AA-E21ECE47D5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940" y="484094"/>
            <a:ext cx="9894939" cy="1075323"/>
          </a:xfrm>
        </p:spPr>
        <p:txBody>
          <a:bodyPr anchor="b"/>
          <a:lstStyle/>
          <a:p>
            <a:r>
              <a:rPr lang="fi-FI"/>
              <a:t>Muokkaa perustyyl. napsautt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87145759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7C8C091-C242-4851-9826-ECBA43530F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408733-3F8E-45BE-8526-0E0F500B8042}" type="datetimeFigureOut">
              <a:rPr lang="fi-FI" smtClean="0"/>
              <a:t>12.3.2026</a:t>
            </a:fld>
            <a:endParaRPr lang="fi-FI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5B64547-60FB-4F82-B034-DC7F10F48F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7519037-54EE-46F6-8610-A2A8D9E613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160B98-140E-4345-B1A3-2A7247C42973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83885161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Otsikko ja 2 palst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0DB878-8E84-426A-BEF0-AF1AAFA1F9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fi-FI" noProof="0" dirty="0"/>
              <a:t>Lisää otsikko tähä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E3B6CAA-4767-42B4-A19C-0CFD9AFC822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76517" y="2272553"/>
            <a:ext cx="5402491" cy="3375893"/>
          </a:xfrm>
        </p:spPr>
        <p:txBody>
          <a:bodyPr/>
          <a:lstStyle/>
          <a:p>
            <a:pPr lvl="0"/>
            <a:r>
              <a:rPr lang="fi-FI" noProof="0" dirty="0"/>
              <a:t>Lisää ensimmäisen tason tekstiä tähän</a:t>
            </a:r>
          </a:p>
          <a:p>
            <a:pPr lvl="1"/>
            <a:r>
              <a:rPr lang="fi-FI" noProof="0" dirty="0"/>
              <a:t>Toisen tason teksti</a:t>
            </a:r>
          </a:p>
          <a:p>
            <a:pPr lvl="2"/>
            <a:r>
              <a:rPr lang="fi-FI" noProof="0" dirty="0"/>
              <a:t>Kolmannen tason teksti</a:t>
            </a:r>
          </a:p>
          <a:p>
            <a:pPr lvl="3"/>
            <a:r>
              <a:rPr lang="fi-FI" noProof="0" dirty="0"/>
              <a:t>Neljännen tason teksti</a:t>
            </a:r>
          </a:p>
          <a:p>
            <a:pPr lvl="4"/>
            <a:r>
              <a:rPr lang="fi-FI" noProof="0" dirty="0"/>
              <a:t>Viidennen tason teksti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8B50D57F-92B8-8C62-9F06-00B251928CA3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05233" y="2272553"/>
            <a:ext cx="5402491" cy="3375893"/>
          </a:xfrm>
        </p:spPr>
        <p:txBody>
          <a:bodyPr/>
          <a:lstStyle/>
          <a:p>
            <a:pPr lvl="0"/>
            <a:r>
              <a:rPr lang="fi-FI" noProof="0" dirty="0"/>
              <a:t>Lisää ensimmäisen tason tekstiä tähän</a:t>
            </a:r>
          </a:p>
          <a:p>
            <a:pPr lvl="1"/>
            <a:r>
              <a:rPr lang="fi-FI" noProof="0" dirty="0"/>
              <a:t>Toisen tason teksti</a:t>
            </a:r>
          </a:p>
          <a:p>
            <a:pPr lvl="2"/>
            <a:r>
              <a:rPr lang="fi-FI" noProof="0" dirty="0"/>
              <a:t>Kolmannen tason teksti</a:t>
            </a:r>
          </a:p>
          <a:p>
            <a:pPr lvl="3"/>
            <a:r>
              <a:rPr lang="fi-FI" noProof="0" dirty="0"/>
              <a:t>Neljännen tason teksti</a:t>
            </a:r>
          </a:p>
          <a:p>
            <a:pPr lvl="4"/>
            <a:r>
              <a:rPr lang="fi-FI" noProof="0" dirty="0"/>
              <a:t>Viidennen tason teksti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E996DCA-8E68-4F4A-A4A6-ACE6BC7F24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593A75-1D0C-4BBF-BE8E-1C65555F6618}" type="datetime1">
              <a:rPr lang="fi-FI" noProof="0" smtClean="0"/>
              <a:t>12.3.2026</a:t>
            </a:fld>
            <a:endParaRPr lang="fi-FI" noProof="0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DC7B94-042D-44C2-B7B2-1128AAFA57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 noProof="0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160B98-140E-4345-B1A3-2A7247C42973}" type="slidenum">
              <a:rPr lang="fi-FI" noProof="0" smtClean="0"/>
              <a:t>‹#›</a:t>
            </a:fld>
            <a:endParaRPr lang="fi-FI" noProof="0" dirty="0"/>
          </a:p>
        </p:txBody>
      </p:sp>
    </p:spTree>
    <p:extLst>
      <p:ext uri="{BB962C8B-B14F-4D97-AF65-F5344CB8AC3E}">
        <p14:creationId xmlns:p14="http://schemas.microsoft.com/office/powerpoint/2010/main" val="3728948862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5A2C256-48C1-C245-998A-D7A2CF1BED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8EEBEC-4B45-41C9-B2A7-254BDE7FE2B4}" type="datetime1">
              <a:rPr lang="fi-FI" smtClean="0"/>
              <a:t>12.3.2026</a:t>
            </a:fld>
            <a:endParaRPr lang="fi-FI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7EB178E-AE4B-9E4E-829F-B50E365C89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Etunimi Sukunimi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20DB95B-9D99-B948-B3F0-A1E3541EDC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975956-C45A-444E-9050-E8F36A744109}" type="slidenum">
              <a:rPr lang="fi-FI" smtClean="0"/>
              <a:t>‹#›</a:t>
            </a:fld>
            <a:endParaRPr lang="fi-FI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FD3A2109-DA11-3742-983D-F38B49A201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6651" y="365124"/>
            <a:ext cx="9679743" cy="1325563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fi-FI"/>
              <a:t>Muokkaa perustyyl. napsautt.</a:t>
            </a:r>
            <a:endParaRPr lang="fi-FI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67B765B0-6361-C04D-ADC5-B6CEF6BA18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6652" y="1825625"/>
            <a:ext cx="10807148" cy="4320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104015785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nsi kuvalla vauhdissa">
    <p:bg>
      <p:bgPr>
        <a:solidFill>
          <a:srgbClr val="FFE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Kuvan paikkamerkki 8">
            <a:extLst>
              <a:ext uri="{FF2B5EF4-FFF2-40B4-BE49-F238E27FC236}">
                <a16:creationId xmlns:a16="http://schemas.microsoft.com/office/drawing/2014/main" id="{4F5851F0-8A4C-E2B6-B7E8-F18419363F84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33572" y="0"/>
            <a:ext cx="8758428" cy="6858000"/>
          </a:xfrm>
          <a:prstGeom prst="rect">
            <a:avLst/>
          </a:prstGeom>
        </p:spPr>
      </p:pic>
      <p:sp>
        <p:nvSpPr>
          <p:cNvPr id="3" name="Suorakulmio 21">
            <a:extLst>
              <a:ext uri="{FF2B5EF4-FFF2-40B4-BE49-F238E27FC236}">
                <a16:creationId xmlns:a16="http://schemas.microsoft.com/office/drawing/2014/main" id="{0414F822-80E9-F7F3-5E9B-3F51D8AE44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3433570" y="3429000"/>
            <a:ext cx="3433571" cy="3429000"/>
          </a:xfrm>
          <a:prstGeom prst="rect">
            <a:avLst/>
          </a:prstGeom>
          <a:solidFill>
            <a:srgbClr val="FFE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/>
          </a:p>
        </p:txBody>
      </p:sp>
      <p:sp>
        <p:nvSpPr>
          <p:cNvPr id="22" name="Suorakulmio 21">
            <a:extLst>
              <a:ext uri="{FF2B5EF4-FFF2-40B4-BE49-F238E27FC236}">
                <a16:creationId xmlns:a16="http://schemas.microsoft.com/office/drawing/2014/main" id="{73767DC7-ABA0-F4CA-4D56-4A6E892E25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3429000"/>
            <a:ext cx="3433571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/>
          </a:p>
        </p:txBody>
      </p:sp>
      <p:grpSp>
        <p:nvGrpSpPr>
          <p:cNvPr id="10" name="Ryhmä 9">
            <a:extLst>
              <a:ext uri="{FF2B5EF4-FFF2-40B4-BE49-F238E27FC236}">
                <a16:creationId xmlns:a16="http://schemas.microsoft.com/office/drawing/2014/main" id="{6B17C079-3319-DC26-44A9-380683636D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163835" y="237701"/>
            <a:ext cx="3105897" cy="2953599"/>
            <a:chOff x="203203" y="203198"/>
            <a:chExt cx="1117587" cy="1062785"/>
          </a:xfrm>
        </p:grpSpPr>
        <p:sp>
          <p:nvSpPr>
            <p:cNvPr id="11" name="Vapaamuotoinen: Muoto 10">
              <a:extLst>
                <a:ext uri="{FF2B5EF4-FFF2-40B4-BE49-F238E27FC236}">
                  <a16:creationId xmlns:a16="http://schemas.microsoft.com/office/drawing/2014/main" id="{BCABC861-8524-85F9-F756-A6ED24CB82EB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2" name="Vapaamuotoinen: Muoto 11">
              <a:extLst>
                <a:ext uri="{FF2B5EF4-FFF2-40B4-BE49-F238E27FC236}">
                  <a16:creationId xmlns:a16="http://schemas.microsoft.com/office/drawing/2014/main" id="{527BBF29-0D7D-E7D2-0C6B-F52CED370805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3" name="Vapaamuotoinen: Muoto 12">
              <a:extLst>
                <a:ext uri="{FF2B5EF4-FFF2-40B4-BE49-F238E27FC236}">
                  <a16:creationId xmlns:a16="http://schemas.microsoft.com/office/drawing/2014/main" id="{6891EF07-6FE5-932D-5471-6AB8430B2877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4" name="Vapaamuotoinen: Muoto 13">
              <a:extLst>
                <a:ext uri="{FF2B5EF4-FFF2-40B4-BE49-F238E27FC236}">
                  <a16:creationId xmlns:a16="http://schemas.microsoft.com/office/drawing/2014/main" id="{BA895791-B656-59A9-01FB-C88134131A15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5" name="Vapaamuotoinen: Muoto 14">
              <a:extLst>
                <a:ext uri="{FF2B5EF4-FFF2-40B4-BE49-F238E27FC236}">
                  <a16:creationId xmlns:a16="http://schemas.microsoft.com/office/drawing/2014/main" id="{CC5BF34A-D3C5-29AF-0507-491580995DE1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6" name="Vapaamuotoinen: Muoto 15">
              <a:extLst>
                <a:ext uri="{FF2B5EF4-FFF2-40B4-BE49-F238E27FC236}">
                  <a16:creationId xmlns:a16="http://schemas.microsoft.com/office/drawing/2014/main" id="{5312F966-2A5D-80FA-E0C6-78D5AC981A34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7" name="Vapaamuotoinen: Muoto 16">
              <a:extLst>
                <a:ext uri="{FF2B5EF4-FFF2-40B4-BE49-F238E27FC236}">
                  <a16:creationId xmlns:a16="http://schemas.microsoft.com/office/drawing/2014/main" id="{530F09BF-1A2D-B1DC-9B9F-1171E3E2DBB2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8" name="Vapaamuotoinen: Muoto 17">
              <a:extLst>
                <a:ext uri="{FF2B5EF4-FFF2-40B4-BE49-F238E27FC236}">
                  <a16:creationId xmlns:a16="http://schemas.microsoft.com/office/drawing/2014/main" id="{B1EFF7B6-19DF-63BA-8D9F-AAC3119D0AE8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</p:grpSp>
      <p:sp>
        <p:nvSpPr>
          <p:cNvPr id="6" name="Title 1">
            <a:extLst>
              <a:ext uri="{FF2B5EF4-FFF2-40B4-BE49-F238E27FC236}">
                <a16:creationId xmlns:a16="http://schemas.microsoft.com/office/drawing/2014/main" id="{EC5E043E-0D3C-A52B-0B43-14E6B80179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4785" y="3671398"/>
            <a:ext cx="3089059" cy="2883185"/>
          </a:xfrm>
        </p:spPr>
        <p:txBody>
          <a:bodyPr/>
          <a:lstStyle>
            <a:lvl1pPr>
              <a:defRPr sz="4000" spc="-100" baseline="0">
                <a:latin typeface="Work Sans Light" pitchFamily="2" charset="0"/>
              </a:defRPr>
            </a:lvl1pPr>
          </a:lstStyle>
          <a:p>
            <a:r>
              <a:rPr lang="fi-FI" noProof="0"/>
              <a:t>Lisää otsikko tähän</a:t>
            </a:r>
          </a:p>
        </p:txBody>
      </p:sp>
      <p:sp>
        <p:nvSpPr>
          <p:cNvPr id="2" name="Tekstin paikkamerkki 22">
            <a:extLst>
              <a:ext uri="{FF2B5EF4-FFF2-40B4-BE49-F238E27FC236}">
                <a16:creationId xmlns:a16="http://schemas.microsoft.com/office/drawing/2014/main" id="{FA7B5BB6-94B5-1508-6DA2-074BA5581F4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36000" y="3693599"/>
            <a:ext cx="3006000" cy="1929600"/>
          </a:xfrm>
        </p:spPr>
        <p:txBody>
          <a:bodyPr anchor="t" anchorCtr="0"/>
          <a:lstStyle>
            <a:lvl1pPr marL="0" indent="0" algn="l">
              <a:lnSpc>
                <a:spcPct val="95000"/>
              </a:lnSpc>
              <a:buNone/>
              <a:defRPr spc="-50" baseline="0"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fi-FI" noProof="0"/>
              <a:t>Lisää tekstiä tähän</a:t>
            </a:r>
          </a:p>
        </p:txBody>
      </p:sp>
      <p:sp>
        <p:nvSpPr>
          <p:cNvPr id="4" name="Tekstiruutu 18">
            <a:extLst>
              <a:ext uri="{FF2B5EF4-FFF2-40B4-BE49-F238E27FC236}">
                <a16:creationId xmlns:a16="http://schemas.microsoft.com/office/drawing/2014/main" id="{A52EB042-77D2-65F1-CF36-CBD6264658D4}"/>
              </a:ext>
            </a:extLst>
          </p:cNvPr>
          <p:cNvSpPr txBox="1"/>
          <p:nvPr userDrawn="1"/>
        </p:nvSpPr>
        <p:spPr>
          <a:xfrm>
            <a:off x="3636000" y="5704241"/>
            <a:ext cx="3006000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i-FI" sz="1600" spc="-20" baseline="0" noProof="0"/>
              <a:t>Terveyden ja </a:t>
            </a:r>
          </a:p>
          <a:p>
            <a:r>
              <a:rPr lang="fi-FI" sz="1600" spc="-20" baseline="0" noProof="0"/>
              <a:t>hyvinvoinnin laito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3233A35-B1A9-F45B-88B5-3FCB5F4370F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635451" y="6269995"/>
            <a:ext cx="1972568" cy="28481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 spc="-40" baseline="0">
                <a:solidFill>
                  <a:schemeClr val="tx1"/>
                </a:solidFill>
              </a:defRPr>
            </a:lvl1pPr>
          </a:lstStyle>
          <a:p>
            <a:r>
              <a:rPr lang="fi-FI" noProof="0"/>
              <a:t>15.5.2024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2536821302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nsi kuvalla pipo">
    <p:bg>
      <p:bgPr>
        <a:solidFill>
          <a:srgbClr val="B4FFA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Kuvan paikkamerkki 8">
            <a:extLst>
              <a:ext uri="{FF2B5EF4-FFF2-40B4-BE49-F238E27FC236}">
                <a16:creationId xmlns:a16="http://schemas.microsoft.com/office/drawing/2014/main" id="{81052C35-1278-CF9B-90CE-2492735AD73B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33572" y="0"/>
            <a:ext cx="8758428" cy="6858000"/>
          </a:xfrm>
          <a:prstGeom prst="rect">
            <a:avLst/>
          </a:prstGeom>
        </p:spPr>
      </p:pic>
      <p:sp>
        <p:nvSpPr>
          <p:cNvPr id="3" name="Suorakulmio 21">
            <a:extLst>
              <a:ext uri="{FF2B5EF4-FFF2-40B4-BE49-F238E27FC236}">
                <a16:creationId xmlns:a16="http://schemas.microsoft.com/office/drawing/2014/main" id="{CC14B373-2F5E-D127-4F6D-B77258845C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3433570" y="3429000"/>
            <a:ext cx="3433571" cy="3429000"/>
          </a:xfrm>
          <a:prstGeom prst="rect">
            <a:avLst/>
          </a:prstGeom>
          <a:solidFill>
            <a:srgbClr val="B4FF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/>
          </a:p>
        </p:txBody>
      </p:sp>
      <p:sp>
        <p:nvSpPr>
          <p:cNvPr id="22" name="Suorakulmio 21">
            <a:extLst>
              <a:ext uri="{FF2B5EF4-FFF2-40B4-BE49-F238E27FC236}">
                <a16:creationId xmlns:a16="http://schemas.microsoft.com/office/drawing/2014/main" id="{73767DC7-ABA0-F4CA-4D56-4A6E892E25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3429000"/>
            <a:ext cx="3433571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/>
          </a:p>
        </p:txBody>
      </p:sp>
      <p:grpSp>
        <p:nvGrpSpPr>
          <p:cNvPr id="10" name="Ryhmä 9">
            <a:extLst>
              <a:ext uri="{FF2B5EF4-FFF2-40B4-BE49-F238E27FC236}">
                <a16:creationId xmlns:a16="http://schemas.microsoft.com/office/drawing/2014/main" id="{6B17C079-3319-DC26-44A9-380683636D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163835" y="237701"/>
            <a:ext cx="3105897" cy="2953599"/>
            <a:chOff x="203203" y="203198"/>
            <a:chExt cx="1117587" cy="1062785"/>
          </a:xfrm>
        </p:grpSpPr>
        <p:sp>
          <p:nvSpPr>
            <p:cNvPr id="11" name="Vapaamuotoinen: Muoto 10">
              <a:extLst>
                <a:ext uri="{FF2B5EF4-FFF2-40B4-BE49-F238E27FC236}">
                  <a16:creationId xmlns:a16="http://schemas.microsoft.com/office/drawing/2014/main" id="{BCABC861-8524-85F9-F756-A6ED24CB82EB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2" name="Vapaamuotoinen: Muoto 11">
              <a:extLst>
                <a:ext uri="{FF2B5EF4-FFF2-40B4-BE49-F238E27FC236}">
                  <a16:creationId xmlns:a16="http://schemas.microsoft.com/office/drawing/2014/main" id="{527BBF29-0D7D-E7D2-0C6B-F52CED370805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3" name="Vapaamuotoinen: Muoto 12">
              <a:extLst>
                <a:ext uri="{FF2B5EF4-FFF2-40B4-BE49-F238E27FC236}">
                  <a16:creationId xmlns:a16="http://schemas.microsoft.com/office/drawing/2014/main" id="{6891EF07-6FE5-932D-5471-6AB8430B2877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4" name="Vapaamuotoinen: Muoto 13">
              <a:extLst>
                <a:ext uri="{FF2B5EF4-FFF2-40B4-BE49-F238E27FC236}">
                  <a16:creationId xmlns:a16="http://schemas.microsoft.com/office/drawing/2014/main" id="{BA895791-B656-59A9-01FB-C88134131A15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5" name="Vapaamuotoinen: Muoto 14">
              <a:extLst>
                <a:ext uri="{FF2B5EF4-FFF2-40B4-BE49-F238E27FC236}">
                  <a16:creationId xmlns:a16="http://schemas.microsoft.com/office/drawing/2014/main" id="{CC5BF34A-D3C5-29AF-0507-491580995DE1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6" name="Vapaamuotoinen: Muoto 15">
              <a:extLst>
                <a:ext uri="{FF2B5EF4-FFF2-40B4-BE49-F238E27FC236}">
                  <a16:creationId xmlns:a16="http://schemas.microsoft.com/office/drawing/2014/main" id="{5312F966-2A5D-80FA-E0C6-78D5AC981A34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7" name="Vapaamuotoinen: Muoto 16">
              <a:extLst>
                <a:ext uri="{FF2B5EF4-FFF2-40B4-BE49-F238E27FC236}">
                  <a16:creationId xmlns:a16="http://schemas.microsoft.com/office/drawing/2014/main" id="{530F09BF-1A2D-B1DC-9B9F-1171E3E2DBB2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8" name="Vapaamuotoinen: Muoto 17">
              <a:extLst>
                <a:ext uri="{FF2B5EF4-FFF2-40B4-BE49-F238E27FC236}">
                  <a16:creationId xmlns:a16="http://schemas.microsoft.com/office/drawing/2014/main" id="{B1EFF7B6-19DF-63BA-8D9F-AAC3119D0AE8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</p:grpSp>
      <p:sp>
        <p:nvSpPr>
          <p:cNvPr id="5" name="Title 1">
            <a:extLst>
              <a:ext uri="{FF2B5EF4-FFF2-40B4-BE49-F238E27FC236}">
                <a16:creationId xmlns:a16="http://schemas.microsoft.com/office/drawing/2014/main" id="{D5BF6AD2-2A55-712D-15E3-5CD600E766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4785" y="3671398"/>
            <a:ext cx="3089059" cy="2883185"/>
          </a:xfrm>
        </p:spPr>
        <p:txBody>
          <a:bodyPr/>
          <a:lstStyle>
            <a:lvl1pPr>
              <a:defRPr sz="4000" spc="-100" baseline="0">
                <a:latin typeface="Work Sans Light" pitchFamily="2" charset="0"/>
              </a:defRPr>
            </a:lvl1pPr>
          </a:lstStyle>
          <a:p>
            <a:r>
              <a:rPr lang="fi-FI" noProof="0"/>
              <a:t>Lisää otsikko tähän</a:t>
            </a:r>
          </a:p>
        </p:txBody>
      </p:sp>
      <p:sp>
        <p:nvSpPr>
          <p:cNvPr id="2" name="Tekstin paikkamerkki 22">
            <a:extLst>
              <a:ext uri="{FF2B5EF4-FFF2-40B4-BE49-F238E27FC236}">
                <a16:creationId xmlns:a16="http://schemas.microsoft.com/office/drawing/2014/main" id="{F2A26BBC-33CA-82E8-66E2-053FAE1A049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36000" y="3693599"/>
            <a:ext cx="3006000" cy="1929600"/>
          </a:xfrm>
        </p:spPr>
        <p:txBody>
          <a:bodyPr anchor="t" anchorCtr="0"/>
          <a:lstStyle>
            <a:lvl1pPr marL="0" indent="0" algn="l">
              <a:lnSpc>
                <a:spcPct val="95000"/>
              </a:lnSpc>
              <a:buNone/>
              <a:defRPr spc="-50" baseline="0"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fi-FI" noProof="0"/>
              <a:t>Lisää tekstiä tähän</a:t>
            </a:r>
          </a:p>
        </p:txBody>
      </p:sp>
      <p:sp>
        <p:nvSpPr>
          <p:cNvPr id="4" name="Tekstiruutu 18">
            <a:extLst>
              <a:ext uri="{FF2B5EF4-FFF2-40B4-BE49-F238E27FC236}">
                <a16:creationId xmlns:a16="http://schemas.microsoft.com/office/drawing/2014/main" id="{F8225031-91D1-86EF-B16A-D2E576D371DD}"/>
              </a:ext>
            </a:extLst>
          </p:cNvPr>
          <p:cNvSpPr txBox="1"/>
          <p:nvPr userDrawn="1"/>
        </p:nvSpPr>
        <p:spPr>
          <a:xfrm>
            <a:off x="3636000" y="5704241"/>
            <a:ext cx="3006000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i-FI" sz="1600" spc="-20" baseline="0" noProof="0"/>
              <a:t>Terveyden ja </a:t>
            </a:r>
          </a:p>
          <a:p>
            <a:r>
              <a:rPr lang="fi-FI" sz="1600" spc="-20" baseline="0" noProof="0"/>
              <a:t>hyvinvoinnin laito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791CE8C-75CC-8BC9-581D-B06FBA83B48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635451" y="6269995"/>
            <a:ext cx="1972568" cy="28481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 spc="-40" baseline="0">
                <a:solidFill>
                  <a:schemeClr val="tx1"/>
                </a:solidFill>
              </a:defRPr>
            </a:lvl1pPr>
          </a:lstStyle>
          <a:p>
            <a:r>
              <a:rPr lang="fi-FI" noProof="0"/>
              <a:t>15.5.2024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3368347192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nsi kuvalla avanto">
    <p:bg>
      <p:bgPr>
        <a:solidFill>
          <a:srgbClr val="DCEFF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Kuvan paikkamerkki 7">
            <a:extLst>
              <a:ext uri="{FF2B5EF4-FFF2-40B4-BE49-F238E27FC236}">
                <a16:creationId xmlns:a16="http://schemas.microsoft.com/office/drawing/2014/main" id="{6251BA80-83BB-CE85-E7FC-BE02853F7B8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33572" y="0"/>
            <a:ext cx="8758428" cy="6858000"/>
          </a:xfrm>
          <a:prstGeom prst="rect">
            <a:avLst/>
          </a:prstGeom>
        </p:spPr>
      </p:pic>
      <p:sp>
        <p:nvSpPr>
          <p:cNvPr id="3" name="Suorakulmio 21">
            <a:extLst>
              <a:ext uri="{FF2B5EF4-FFF2-40B4-BE49-F238E27FC236}">
                <a16:creationId xmlns:a16="http://schemas.microsoft.com/office/drawing/2014/main" id="{08CD8FCD-475F-BA79-3521-10CE36F63B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3433570" y="3429000"/>
            <a:ext cx="3433571" cy="3429000"/>
          </a:xfrm>
          <a:prstGeom prst="rect">
            <a:avLst/>
          </a:prstGeom>
          <a:solidFill>
            <a:srgbClr val="DCEF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/>
          </a:p>
        </p:txBody>
      </p:sp>
      <p:sp>
        <p:nvSpPr>
          <p:cNvPr id="22" name="Suorakulmio 21">
            <a:extLst>
              <a:ext uri="{FF2B5EF4-FFF2-40B4-BE49-F238E27FC236}">
                <a16:creationId xmlns:a16="http://schemas.microsoft.com/office/drawing/2014/main" id="{73767DC7-ABA0-F4CA-4D56-4A6E892E25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3429000"/>
            <a:ext cx="3433571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/>
          </a:p>
        </p:txBody>
      </p:sp>
      <p:grpSp>
        <p:nvGrpSpPr>
          <p:cNvPr id="10" name="Ryhmä 9">
            <a:extLst>
              <a:ext uri="{FF2B5EF4-FFF2-40B4-BE49-F238E27FC236}">
                <a16:creationId xmlns:a16="http://schemas.microsoft.com/office/drawing/2014/main" id="{6B17C079-3319-DC26-44A9-380683636D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163835" y="237701"/>
            <a:ext cx="3105897" cy="2953599"/>
            <a:chOff x="203203" y="203198"/>
            <a:chExt cx="1117587" cy="1062785"/>
          </a:xfrm>
        </p:grpSpPr>
        <p:sp>
          <p:nvSpPr>
            <p:cNvPr id="11" name="Vapaamuotoinen: Muoto 10">
              <a:extLst>
                <a:ext uri="{FF2B5EF4-FFF2-40B4-BE49-F238E27FC236}">
                  <a16:creationId xmlns:a16="http://schemas.microsoft.com/office/drawing/2014/main" id="{BCABC861-8524-85F9-F756-A6ED24CB82EB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2" name="Vapaamuotoinen: Muoto 11">
              <a:extLst>
                <a:ext uri="{FF2B5EF4-FFF2-40B4-BE49-F238E27FC236}">
                  <a16:creationId xmlns:a16="http://schemas.microsoft.com/office/drawing/2014/main" id="{527BBF29-0D7D-E7D2-0C6B-F52CED370805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3" name="Vapaamuotoinen: Muoto 12">
              <a:extLst>
                <a:ext uri="{FF2B5EF4-FFF2-40B4-BE49-F238E27FC236}">
                  <a16:creationId xmlns:a16="http://schemas.microsoft.com/office/drawing/2014/main" id="{6891EF07-6FE5-932D-5471-6AB8430B2877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4" name="Vapaamuotoinen: Muoto 13">
              <a:extLst>
                <a:ext uri="{FF2B5EF4-FFF2-40B4-BE49-F238E27FC236}">
                  <a16:creationId xmlns:a16="http://schemas.microsoft.com/office/drawing/2014/main" id="{BA895791-B656-59A9-01FB-C88134131A15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5" name="Vapaamuotoinen: Muoto 14">
              <a:extLst>
                <a:ext uri="{FF2B5EF4-FFF2-40B4-BE49-F238E27FC236}">
                  <a16:creationId xmlns:a16="http://schemas.microsoft.com/office/drawing/2014/main" id="{CC5BF34A-D3C5-29AF-0507-491580995DE1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6" name="Vapaamuotoinen: Muoto 15">
              <a:extLst>
                <a:ext uri="{FF2B5EF4-FFF2-40B4-BE49-F238E27FC236}">
                  <a16:creationId xmlns:a16="http://schemas.microsoft.com/office/drawing/2014/main" id="{5312F966-2A5D-80FA-E0C6-78D5AC981A34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7" name="Vapaamuotoinen: Muoto 16">
              <a:extLst>
                <a:ext uri="{FF2B5EF4-FFF2-40B4-BE49-F238E27FC236}">
                  <a16:creationId xmlns:a16="http://schemas.microsoft.com/office/drawing/2014/main" id="{530F09BF-1A2D-B1DC-9B9F-1171E3E2DBB2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8" name="Vapaamuotoinen: Muoto 17">
              <a:extLst>
                <a:ext uri="{FF2B5EF4-FFF2-40B4-BE49-F238E27FC236}">
                  <a16:creationId xmlns:a16="http://schemas.microsoft.com/office/drawing/2014/main" id="{B1EFF7B6-19DF-63BA-8D9F-AAC3119D0AE8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</p:grpSp>
      <p:sp>
        <p:nvSpPr>
          <p:cNvPr id="5" name="Title 1">
            <a:extLst>
              <a:ext uri="{FF2B5EF4-FFF2-40B4-BE49-F238E27FC236}">
                <a16:creationId xmlns:a16="http://schemas.microsoft.com/office/drawing/2014/main" id="{0937D4D6-1194-C3B0-5D17-C1DA48C12C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4785" y="3671398"/>
            <a:ext cx="3089059" cy="2883185"/>
          </a:xfrm>
        </p:spPr>
        <p:txBody>
          <a:bodyPr/>
          <a:lstStyle>
            <a:lvl1pPr>
              <a:defRPr sz="4000" spc="-100" baseline="0">
                <a:latin typeface="Work Sans Light" pitchFamily="2" charset="0"/>
              </a:defRPr>
            </a:lvl1pPr>
          </a:lstStyle>
          <a:p>
            <a:r>
              <a:rPr lang="fi-FI" noProof="0"/>
              <a:t>Lisää otsikko tähän</a:t>
            </a:r>
          </a:p>
        </p:txBody>
      </p:sp>
      <p:sp>
        <p:nvSpPr>
          <p:cNvPr id="2" name="Tekstin paikkamerkki 22">
            <a:extLst>
              <a:ext uri="{FF2B5EF4-FFF2-40B4-BE49-F238E27FC236}">
                <a16:creationId xmlns:a16="http://schemas.microsoft.com/office/drawing/2014/main" id="{E261E14C-AD68-080D-C81D-A51E8AF17C2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36000" y="3693599"/>
            <a:ext cx="3006000" cy="1929600"/>
          </a:xfrm>
        </p:spPr>
        <p:txBody>
          <a:bodyPr anchor="t" anchorCtr="0"/>
          <a:lstStyle>
            <a:lvl1pPr marL="0" indent="0" algn="l">
              <a:lnSpc>
                <a:spcPct val="95000"/>
              </a:lnSpc>
              <a:buNone/>
              <a:defRPr spc="-50" baseline="0"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fi-FI" noProof="0"/>
              <a:t>Lisää tekstiä tähän</a:t>
            </a:r>
          </a:p>
        </p:txBody>
      </p:sp>
      <p:sp>
        <p:nvSpPr>
          <p:cNvPr id="4" name="Tekstiruutu 18">
            <a:extLst>
              <a:ext uri="{FF2B5EF4-FFF2-40B4-BE49-F238E27FC236}">
                <a16:creationId xmlns:a16="http://schemas.microsoft.com/office/drawing/2014/main" id="{17CD63AC-2C7E-7B24-69A8-0BE3D405D685}"/>
              </a:ext>
            </a:extLst>
          </p:cNvPr>
          <p:cNvSpPr txBox="1"/>
          <p:nvPr userDrawn="1"/>
        </p:nvSpPr>
        <p:spPr>
          <a:xfrm>
            <a:off x="3636000" y="5704241"/>
            <a:ext cx="3006000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i-FI" sz="1600" spc="-20" baseline="0" noProof="0"/>
              <a:t>Terveyden ja </a:t>
            </a:r>
          </a:p>
          <a:p>
            <a:r>
              <a:rPr lang="fi-FI" sz="1600" spc="-20" baseline="0" noProof="0"/>
              <a:t>hyvinvoinnin laito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3FE2FC8-3CB7-BD74-6299-38CB1EBD3A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635451" y="6269995"/>
            <a:ext cx="1972568" cy="28481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 spc="-40" baseline="0">
                <a:solidFill>
                  <a:schemeClr val="tx1"/>
                </a:solidFill>
              </a:defRPr>
            </a:lvl1pPr>
          </a:lstStyle>
          <a:p>
            <a:r>
              <a:rPr lang="fi-FI" noProof="0"/>
              <a:t>15.5.2024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2864526879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nsi kuvalla valo">
    <p:bg>
      <p:bgPr>
        <a:solidFill>
          <a:srgbClr val="FE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Kuvan paikkamerkki 7">
            <a:extLst>
              <a:ext uri="{FF2B5EF4-FFF2-40B4-BE49-F238E27FC236}">
                <a16:creationId xmlns:a16="http://schemas.microsoft.com/office/drawing/2014/main" id="{A650E2AC-0029-9DD5-5B33-21A35810ADDD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3433569" y="0"/>
            <a:ext cx="8758429" cy="6858000"/>
          </a:xfrm>
          <a:prstGeom prst="rect">
            <a:avLst/>
          </a:prstGeom>
        </p:spPr>
      </p:pic>
      <p:sp>
        <p:nvSpPr>
          <p:cNvPr id="5" name="Suorakulmio 21">
            <a:extLst>
              <a:ext uri="{FF2B5EF4-FFF2-40B4-BE49-F238E27FC236}">
                <a16:creationId xmlns:a16="http://schemas.microsoft.com/office/drawing/2014/main" id="{3510C498-F38C-7B9D-F21B-6BFA425A44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3433570" y="3429000"/>
            <a:ext cx="3433571" cy="3429000"/>
          </a:xfrm>
          <a:prstGeom prst="rect">
            <a:avLst/>
          </a:prstGeom>
          <a:solidFill>
            <a:srgbClr val="FF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/>
          </a:p>
        </p:txBody>
      </p:sp>
      <p:sp>
        <p:nvSpPr>
          <p:cNvPr id="22" name="Suorakulmio 21">
            <a:extLst>
              <a:ext uri="{FF2B5EF4-FFF2-40B4-BE49-F238E27FC236}">
                <a16:creationId xmlns:a16="http://schemas.microsoft.com/office/drawing/2014/main" id="{73767DC7-ABA0-F4CA-4D56-4A6E892E25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3429000"/>
            <a:ext cx="3433571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0DB878-8E84-426A-BEF0-AF1AAFA1F9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4785" y="3671398"/>
            <a:ext cx="3089059" cy="2883185"/>
          </a:xfrm>
        </p:spPr>
        <p:txBody>
          <a:bodyPr/>
          <a:lstStyle>
            <a:lvl1pPr>
              <a:defRPr sz="4000" spc="-100" baseline="0">
                <a:latin typeface="Work Sans Light" pitchFamily="2" charset="0"/>
              </a:defRPr>
            </a:lvl1pPr>
          </a:lstStyle>
          <a:p>
            <a:r>
              <a:rPr lang="fi-FI" noProof="0"/>
              <a:t>Lisää otsikko tähän</a:t>
            </a:r>
          </a:p>
        </p:txBody>
      </p:sp>
      <p:grpSp>
        <p:nvGrpSpPr>
          <p:cNvPr id="10" name="Ryhmä 9">
            <a:extLst>
              <a:ext uri="{FF2B5EF4-FFF2-40B4-BE49-F238E27FC236}">
                <a16:creationId xmlns:a16="http://schemas.microsoft.com/office/drawing/2014/main" id="{6B17C079-3319-DC26-44A9-380683636D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163835" y="237701"/>
            <a:ext cx="3105897" cy="2953599"/>
            <a:chOff x="203203" y="203198"/>
            <a:chExt cx="1117587" cy="1062785"/>
          </a:xfrm>
        </p:grpSpPr>
        <p:sp>
          <p:nvSpPr>
            <p:cNvPr id="11" name="Vapaamuotoinen: Muoto 10">
              <a:extLst>
                <a:ext uri="{FF2B5EF4-FFF2-40B4-BE49-F238E27FC236}">
                  <a16:creationId xmlns:a16="http://schemas.microsoft.com/office/drawing/2014/main" id="{BCABC861-8524-85F9-F756-A6ED24CB82EB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2" name="Vapaamuotoinen: Muoto 11">
              <a:extLst>
                <a:ext uri="{FF2B5EF4-FFF2-40B4-BE49-F238E27FC236}">
                  <a16:creationId xmlns:a16="http://schemas.microsoft.com/office/drawing/2014/main" id="{527BBF29-0D7D-E7D2-0C6B-F52CED370805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3" name="Vapaamuotoinen: Muoto 12">
              <a:extLst>
                <a:ext uri="{FF2B5EF4-FFF2-40B4-BE49-F238E27FC236}">
                  <a16:creationId xmlns:a16="http://schemas.microsoft.com/office/drawing/2014/main" id="{6891EF07-6FE5-932D-5471-6AB8430B2877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4" name="Vapaamuotoinen: Muoto 13">
              <a:extLst>
                <a:ext uri="{FF2B5EF4-FFF2-40B4-BE49-F238E27FC236}">
                  <a16:creationId xmlns:a16="http://schemas.microsoft.com/office/drawing/2014/main" id="{BA895791-B656-59A9-01FB-C88134131A15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5" name="Vapaamuotoinen: Muoto 14">
              <a:extLst>
                <a:ext uri="{FF2B5EF4-FFF2-40B4-BE49-F238E27FC236}">
                  <a16:creationId xmlns:a16="http://schemas.microsoft.com/office/drawing/2014/main" id="{CC5BF34A-D3C5-29AF-0507-491580995DE1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6" name="Vapaamuotoinen: Muoto 15">
              <a:extLst>
                <a:ext uri="{FF2B5EF4-FFF2-40B4-BE49-F238E27FC236}">
                  <a16:creationId xmlns:a16="http://schemas.microsoft.com/office/drawing/2014/main" id="{5312F966-2A5D-80FA-E0C6-78D5AC981A34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7" name="Vapaamuotoinen: Muoto 16">
              <a:extLst>
                <a:ext uri="{FF2B5EF4-FFF2-40B4-BE49-F238E27FC236}">
                  <a16:creationId xmlns:a16="http://schemas.microsoft.com/office/drawing/2014/main" id="{530F09BF-1A2D-B1DC-9B9F-1171E3E2DBB2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8" name="Vapaamuotoinen: Muoto 17">
              <a:extLst>
                <a:ext uri="{FF2B5EF4-FFF2-40B4-BE49-F238E27FC236}">
                  <a16:creationId xmlns:a16="http://schemas.microsoft.com/office/drawing/2014/main" id="{B1EFF7B6-19DF-63BA-8D9F-AAC3119D0AE8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</p:grpSp>
      <p:sp>
        <p:nvSpPr>
          <p:cNvPr id="8" name="Tekstin paikkamerkki 22">
            <a:extLst>
              <a:ext uri="{FF2B5EF4-FFF2-40B4-BE49-F238E27FC236}">
                <a16:creationId xmlns:a16="http://schemas.microsoft.com/office/drawing/2014/main" id="{9841F321-700A-DC0D-37B6-F4726675171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36000" y="3693599"/>
            <a:ext cx="3006000" cy="1929600"/>
          </a:xfrm>
        </p:spPr>
        <p:txBody>
          <a:bodyPr anchor="t" anchorCtr="0"/>
          <a:lstStyle>
            <a:lvl1pPr marL="0" indent="0" algn="l">
              <a:lnSpc>
                <a:spcPct val="95000"/>
              </a:lnSpc>
              <a:buNone/>
              <a:defRPr spc="-50" baseline="0"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fi-FI" noProof="0"/>
              <a:t>Lisää tekstiä tähän</a:t>
            </a:r>
          </a:p>
        </p:txBody>
      </p:sp>
      <p:sp>
        <p:nvSpPr>
          <p:cNvPr id="19" name="Tekstiruutu 18">
            <a:extLst>
              <a:ext uri="{FF2B5EF4-FFF2-40B4-BE49-F238E27FC236}">
                <a16:creationId xmlns:a16="http://schemas.microsoft.com/office/drawing/2014/main" id="{C1BEDD40-AE69-848D-2013-5C2CA932513A}"/>
              </a:ext>
            </a:extLst>
          </p:cNvPr>
          <p:cNvSpPr txBox="1"/>
          <p:nvPr userDrawn="1"/>
        </p:nvSpPr>
        <p:spPr>
          <a:xfrm>
            <a:off x="3636000" y="5704241"/>
            <a:ext cx="3006000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i-FI" sz="1600" spc="-20" baseline="0" noProof="0"/>
              <a:t>Terveyden ja </a:t>
            </a:r>
          </a:p>
          <a:p>
            <a:r>
              <a:rPr lang="fi-FI" sz="1600" spc="-20" baseline="0" noProof="0"/>
              <a:t>hyvinvoinnin laitos</a:t>
            </a:r>
          </a:p>
        </p:txBody>
      </p:sp>
      <p:sp>
        <p:nvSpPr>
          <p:cNvPr id="4" name="Date Placeholder 6">
            <a:extLst>
              <a:ext uri="{FF2B5EF4-FFF2-40B4-BE49-F238E27FC236}">
                <a16:creationId xmlns:a16="http://schemas.microsoft.com/office/drawing/2014/main" id="{E1B1335E-3BFF-D71E-95F5-1D1ED69D57B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635451" y="6269995"/>
            <a:ext cx="1972568" cy="28481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 spc="-40" baseline="0">
                <a:solidFill>
                  <a:schemeClr val="tx1"/>
                </a:solidFill>
              </a:defRPr>
            </a:lvl1pPr>
          </a:lstStyle>
          <a:p>
            <a:r>
              <a:rPr lang="fi-FI" noProof="0"/>
              <a:t>15.5.2024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1689879434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nsi kuvalla silmä">
    <p:bg>
      <p:bgPr>
        <a:solidFill>
          <a:srgbClr val="B4FFA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Kuvan paikkamerkki 7">
            <a:extLst>
              <a:ext uri="{FF2B5EF4-FFF2-40B4-BE49-F238E27FC236}">
                <a16:creationId xmlns:a16="http://schemas.microsoft.com/office/drawing/2014/main" id="{B4D1090D-3E0E-1D6C-BF6F-79D888D9CEB9}"/>
              </a:ext>
            </a:extLst>
          </p:cNvPr>
          <p:cNvPicPr/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8" r="17776"/>
          <a:stretch/>
        </p:blipFill>
        <p:spPr>
          <a:xfrm>
            <a:off x="3433572" y="-23547"/>
            <a:ext cx="8758428" cy="6907056"/>
          </a:xfrm>
          <a:prstGeom prst="rect">
            <a:avLst/>
          </a:prstGeom>
        </p:spPr>
      </p:pic>
      <p:sp>
        <p:nvSpPr>
          <p:cNvPr id="3" name="Suorakulmio 21">
            <a:extLst>
              <a:ext uri="{FF2B5EF4-FFF2-40B4-BE49-F238E27FC236}">
                <a16:creationId xmlns:a16="http://schemas.microsoft.com/office/drawing/2014/main" id="{CC14B373-2F5E-D127-4F6D-B77258845C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3433570" y="3429000"/>
            <a:ext cx="3433571" cy="3429000"/>
          </a:xfrm>
          <a:prstGeom prst="rect">
            <a:avLst/>
          </a:prstGeom>
          <a:solidFill>
            <a:srgbClr val="B4FF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/>
          </a:p>
        </p:txBody>
      </p:sp>
      <p:sp>
        <p:nvSpPr>
          <p:cNvPr id="22" name="Suorakulmio 21">
            <a:extLst>
              <a:ext uri="{FF2B5EF4-FFF2-40B4-BE49-F238E27FC236}">
                <a16:creationId xmlns:a16="http://schemas.microsoft.com/office/drawing/2014/main" id="{73767DC7-ABA0-F4CA-4D56-4A6E892E25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3429000"/>
            <a:ext cx="3433571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/>
          </a:p>
        </p:txBody>
      </p:sp>
      <p:grpSp>
        <p:nvGrpSpPr>
          <p:cNvPr id="10" name="Ryhmä 9">
            <a:extLst>
              <a:ext uri="{FF2B5EF4-FFF2-40B4-BE49-F238E27FC236}">
                <a16:creationId xmlns:a16="http://schemas.microsoft.com/office/drawing/2014/main" id="{6B17C079-3319-DC26-44A9-380683636D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163835" y="237701"/>
            <a:ext cx="3105897" cy="2953599"/>
            <a:chOff x="203203" y="203198"/>
            <a:chExt cx="1117587" cy="1062785"/>
          </a:xfrm>
        </p:grpSpPr>
        <p:sp>
          <p:nvSpPr>
            <p:cNvPr id="11" name="Vapaamuotoinen: Muoto 10">
              <a:extLst>
                <a:ext uri="{FF2B5EF4-FFF2-40B4-BE49-F238E27FC236}">
                  <a16:creationId xmlns:a16="http://schemas.microsoft.com/office/drawing/2014/main" id="{BCABC861-8524-85F9-F756-A6ED24CB82EB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2" name="Vapaamuotoinen: Muoto 11">
              <a:extLst>
                <a:ext uri="{FF2B5EF4-FFF2-40B4-BE49-F238E27FC236}">
                  <a16:creationId xmlns:a16="http://schemas.microsoft.com/office/drawing/2014/main" id="{527BBF29-0D7D-E7D2-0C6B-F52CED370805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3" name="Vapaamuotoinen: Muoto 12">
              <a:extLst>
                <a:ext uri="{FF2B5EF4-FFF2-40B4-BE49-F238E27FC236}">
                  <a16:creationId xmlns:a16="http://schemas.microsoft.com/office/drawing/2014/main" id="{6891EF07-6FE5-932D-5471-6AB8430B2877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4" name="Vapaamuotoinen: Muoto 13">
              <a:extLst>
                <a:ext uri="{FF2B5EF4-FFF2-40B4-BE49-F238E27FC236}">
                  <a16:creationId xmlns:a16="http://schemas.microsoft.com/office/drawing/2014/main" id="{BA895791-B656-59A9-01FB-C88134131A15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5" name="Vapaamuotoinen: Muoto 14">
              <a:extLst>
                <a:ext uri="{FF2B5EF4-FFF2-40B4-BE49-F238E27FC236}">
                  <a16:creationId xmlns:a16="http://schemas.microsoft.com/office/drawing/2014/main" id="{CC5BF34A-D3C5-29AF-0507-491580995DE1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6" name="Vapaamuotoinen: Muoto 15">
              <a:extLst>
                <a:ext uri="{FF2B5EF4-FFF2-40B4-BE49-F238E27FC236}">
                  <a16:creationId xmlns:a16="http://schemas.microsoft.com/office/drawing/2014/main" id="{5312F966-2A5D-80FA-E0C6-78D5AC981A34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7" name="Vapaamuotoinen: Muoto 16">
              <a:extLst>
                <a:ext uri="{FF2B5EF4-FFF2-40B4-BE49-F238E27FC236}">
                  <a16:creationId xmlns:a16="http://schemas.microsoft.com/office/drawing/2014/main" id="{530F09BF-1A2D-B1DC-9B9F-1171E3E2DBB2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8" name="Vapaamuotoinen: Muoto 17">
              <a:extLst>
                <a:ext uri="{FF2B5EF4-FFF2-40B4-BE49-F238E27FC236}">
                  <a16:creationId xmlns:a16="http://schemas.microsoft.com/office/drawing/2014/main" id="{B1EFF7B6-19DF-63BA-8D9F-AAC3119D0AE8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</p:grpSp>
      <p:sp>
        <p:nvSpPr>
          <p:cNvPr id="5" name="Title 1">
            <a:extLst>
              <a:ext uri="{FF2B5EF4-FFF2-40B4-BE49-F238E27FC236}">
                <a16:creationId xmlns:a16="http://schemas.microsoft.com/office/drawing/2014/main" id="{D5BF6AD2-2A55-712D-15E3-5CD600E766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4785" y="3671398"/>
            <a:ext cx="3089059" cy="2883185"/>
          </a:xfrm>
        </p:spPr>
        <p:txBody>
          <a:bodyPr/>
          <a:lstStyle>
            <a:lvl1pPr>
              <a:defRPr sz="4000" spc="-100" baseline="0">
                <a:latin typeface="Work Sans Light" pitchFamily="2" charset="0"/>
              </a:defRPr>
            </a:lvl1pPr>
          </a:lstStyle>
          <a:p>
            <a:r>
              <a:rPr lang="fi-FI" noProof="0"/>
              <a:t>Lisää otsikko tähän</a:t>
            </a:r>
          </a:p>
        </p:txBody>
      </p:sp>
      <p:sp>
        <p:nvSpPr>
          <p:cNvPr id="2" name="Tekstin paikkamerkki 22">
            <a:extLst>
              <a:ext uri="{FF2B5EF4-FFF2-40B4-BE49-F238E27FC236}">
                <a16:creationId xmlns:a16="http://schemas.microsoft.com/office/drawing/2014/main" id="{F2A26BBC-33CA-82E8-66E2-053FAE1A049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36000" y="3693599"/>
            <a:ext cx="3006000" cy="1929600"/>
          </a:xfrm>
        </p:spPr>
        <p:txBody>
          <a:bodyPr anchor="t" anchorCtr="0"/>
          <a:lstStyle>
            <a:lvl1pPr marL="0" indent="0" algn="l">
              <a:lnSpc>
                <a:spcPct val="95000"/>
              </a:lnSpc>
              <a:buNone/>
              <a:defRPr spc="-50" baseline="0"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fi-FI" noProof="0"/>
              <a:t>Lisää tekstiä tähän</a:t>
            </a:r>
          </a:p>
        </p:txBody>
      </p:sp>
      <p:sp>
        <p:nvSpPr>
          <p:cNvPr id="4" name="Tekstiruutu 18">
            <a:extLst>
              <a:ext uri="{FF2B5EF4-FFF2-40B4-BE49-F238E27FC236}">
                <a16:creationId xmlns:a16="http://schemas.microsoft.com/office/drawing/2014/main" id="{F8225031-91D1-86EF-B16A-D2E576D371DD}"/>
              </a:ext>
            </a:extLst>
          </p:cNvPr>
          <p:cNvSpPr txBox="1"/>
          <p:nvPr userDrawn="1"/>
        </p:nvSpPr>
        <p:spPr>
          <a:xfrm>
            <a:off x="3636000" y="5704241"/>
            <a:ext cx="3006000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i-FI" sz="1600" spc="-20" baseline="0" noProof="0"/>
              <a:t>Terveyden ja </a:t>
            </a:r>
          </a:p>
          <a:p>
            <a:r>
              <a:rPr lang="fi-FI" sz="1600" spc="-20" baseline="0" noProof="0"/>
              <a:t>hyvinvoinnin laito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791CE8C-75CC-8BC9-581D-B06FBA83B48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635451" y="6269995"/>
            <a:ext cx="1972568" cy="28481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 spc="-40" baseline="0">
                <a:solidFill>
                  <a:schemeClr val="tx1"/>
                </a:solidFill>
              </a:defRPr>
            </a:lvl1pPr>
          </a:lstStyle>
          <a:p>
            <a:r>
              <a:rPr lang="fi-FI" noProof="0"/>
              <a:t>15.5.2024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688458960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nsi kuvalla lehti">
    <p:bg>
      <p:bgPr>
        <a:solidFill>
          <a:srgbClr val="B4FFA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Kuvan paikkamerkki 7">
            <a:extLst>
              <a:ext uri="{FF2B5EF4-FFF2-40B4-BE49-F238E27FC236}">
                <a16:creationId xmlns:a16="http://schemas.microsoft.com/office/drawing/2014/main" id="{B4D1090D-3E0E-1D6C-BF6F-79D888D9CEB9}"/>
              </a:ext>
            </a:extLst>
          </p:cNvPr>
          <p:cNvPicPr/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" r="173"/>
          <a:stretch/>
        </p:blipFill>
        <p:spPr>
          <a:xfrm>
            <a:off x="3433572" y="0"/>
            <a:ext cx="8758428" cy="6858000"/>
          </a:xfrm>
          <a:prstGeom prst="rect">
            <a:avLst/>
          </a:prstGeom>
        </p:spPr>
      </p:pic>
      <p:sp>
        <p:nvSpPr>
          <p:cNvPr id="3" name="Suorakulmio 21">
            <a:extLst>
              <a:ext uri="{FF2B5EF4-FFF2-40B4-BE49-F238E27FC236}">
                <a16:creationId xmlns:a16="http://schemas.microsoft.com/office/drawing/2014/main" id="{CC14B373-2F5E-D127-4F6D-B77258845C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3433570" y="3429000"/>
            <a:ext cx="3433571" cy="3429000"/>
          </a:xfrm>
          <a:prstGeom prst="rect">
            <a:avLst/>
          </a:prstGeom>
          <a:solidFill>
            <a:srgbClr val="B4FF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/>
          </a:p>
        </p:txBody>
      </p:sp>
      <p:sp>
        <p:nvSpPr>
          <p:cNvPr id="22" name="Suorakulmio 21">
            <a:extLst>
              <a:ext uri="{FF2B5EF4-FFF2-40B4-BE49-F238E27FC236}">
                <a16:creationId xmlns:a16="http://schemas.microsoft.com/office/drawing/2014/main" id="{73767DC7-ABA0-F4CA-4D56-4A6E892E25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3429000"/>
            <a:ext cx="3433571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/>
          </a:p>
        </p:txBody>
      </p:sp>
      <p:grpSp>
        <p:nvGrpSpPr>
          <p:cNvPr id="10" name="Ryhmä 9">
            <a:extLst>
              <a:ext uri="{FF2B5EF4-FFF2-40B4-BE49-F238E27FC236}">
                <a16:creationId xmlns:a16="http://schemas.microsoft.com/office/drawing/2014/main" id="{6B17C079-3319-DC26-44A9-380683636D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163835" y="237701"/>
            <a:ext cx="3105897" cy="2953599"/>
            <a:chOff x="203203" y="203198"/>
            <a:chExt cx="1117587" cy="1062785"/>
          </a:xfrm>
        </p:grpSpPr>
        <p:sp>
          <p:nvSpPr>
            <p:cNvPr id="11" name="Vapaamuotoinen: Muoto 10">
              <a:extLst>
                <a:ext uri="{FF2B5EF4-FFF2-40B4-BE49-F238E27FC236}">
                  <a16:creationId xmlns:a16="http://schemas.microsoft.com/office/drawing/2014/main" id="{BCABC861-8524-85F9-F756-A6ED24CB82EB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2" name="Vapaamuotoinen: Muoto 11">
              <a:extLst>
                <a:ext uri="{FF2B5EF4-FFF2-40B4-BE49-F238E27FC236}">
                  <a16:creationId xmlns:a16="http://schemas.microsoft.com/office/drawing/2014/main" id="{527BBF29-0D7D-E7D2-0C6B-F52CED370805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3" name="Vapaamuotoinen: Muoto 12">
              <a:extLst>
                <a:ext uri="{FF2B5EF4-FFF2-40B4-BE49-F238E27FC236}">
                  <a16:creationId xmlns:a16="http://schemas.microsoft.com/office/drawing/2014/main" id="{6891EF07-6FE5-932D-5471-6AB8430B2877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4" name="Vapaamuotoinen: Muoto 13">
              <a:extLst>
                <a:ext uri="{FF2B5EF4-FFF2-40B4-BE49-F238E27FC236}">
                  <a16:creationId xmlns:a16="http://schemas.microsoft.com/office/drawing/2014/main" id="{BA895791-B656-59A9-01FB-C88134131A15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5" name="Vapaamuotoinen: Muoto 14">
              <a:extLst>
                <a:ext uri="{FF2B5EF4-FFF2-40B4-BE49-F238E27FC236}">
                  <a16:creationId xmlns:a16="http://schemas.microsoft.com/office/drawing/2014/main" id="{CC5BF34A-D3C5-29AF-0507-491580995DE1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6" name="Vapaamuotoinen: Muoto 15">
              <a:extLst>
                <a:ext uri="{FF2B5EF4-FFF2-40B4-BE49-F238E27FC236}">
                  <a16:creationId xmlns:a16="http://schemas.microsoft.com/office/drawing/2014/main" id="{5312F966-2A5D-80FA-E0C6-78D5AC981A34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7" name="Vapaamuotoinen: Muoto 16">
              <a:extLst>
                <a:ext uri="{FF2B5EF4-FFF2-40B4-BE49-F238E27FC236}">
                  <a16:creationId xmlns:a16="http://schemas.microsoft.com/office/drawing/2014/main" id="{530F09BF-1A2D-B1DC-9B9F-1171E3E2DBB2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8" name="Vapaamuotoinen: Muoto 17">
              <a:extLst>
                <a:ext uri="{FF2B5EF4-FFF2-40B4-BE49-F238E27FC236}">
                  <a16:creationId xmlns:a16="http://schemas.microsoft.com/office/drawing/2014/main" id="{B1EFF7B6-19DF-63BA-8D9F-AAC3119D0AE8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</p:grpSp>
      <p:sp>
        <p:nvSpPr>
          <p:cNvPr id="5" name="Title 1">
            <a:extLst>
              <a:ext uri="{FF2B5EF4-FFF2-40B4-BE49-F238E27FC236}">
                <a16:creationId xmlns:a16="http://schemas.microsoft.com/office/drawing/2014/main" id="{D5BF6AD2-2A55-712D-15E3-5CD600E766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4785" y="3671398"/>
            <a:ext cx="3089059" cy="2883185"/>
          </a:xfrm>
        </p:spPr>
        <p:txBody>
          <a:bodyPr/>
          <a:lstStyle>
            <a:lvl1pPr>
              <a:defRPr sz="4000" spc="-100" baseline="0">
                <a:latin typeface="Work Sans Light" pitchFamily="2" charset="0"/>
              </a:defRPr>
            </a:lvl1pPr>
          </a:lstStyle>
          <a:p>
            <a:r>
              <a:rPr lang="fi-FI" noProof="0"/>
              <a:t>Lisää otsikko tähän</a:t>
            </a:r>
          </a:p>
        </p:txBody>
      </p:sp>
      <p:sp>
        <p:nvSpPr>
          <p:cNvPr id="2" name="Tekstin paikkamerkki 22">
            <a:extLst>
              <a:ext uri="{FF2B5EF4-FFF2-40B4-BE49-F238E27FC236}">
                <a16:creationId xmlns:a16="http://schemas.microsoft.com/office/drawing/2014/main" id="{F2A26BBC-33CA-82E8-66E2-053FAE1A049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36000" y="3693599"/>
            <a:ext cx="3006000" cy="1929600"/>
          </a:xfrm>
        </p:spPr>
        <p:txBody>
          <a:bodyPr anchor="t" anchorCtr="0"/>
          <a:lstStyle>
            <a:lvl1pPr marL="0" indent="0" algn="l">
              <a:lnSpc>
                <a:spcPct val="95000"/>
              </a:lnSpc>
              <a:buNone/>
              <a:defRPr spc="-50" baseline="0"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4" name="Tekstiruutu 18">
            <a:extLst>
              <a:ext uri="{FF2B5EF4-FFF2-40B4-BE49-F238E27FC236}">
                <a16:creationId xmlns:a16="http://schemas.microsoft.com/office/drawing/2014/main" id="{F8225031-91D1-86EF-B16A-D2E576D371DD}"/>
              </a:ext>
            </a:extLst>
          </p:cNvPr>
          <p:cNvSpPr txBox="1"/>
          <p:nvPr userDrawn="1"/>
        </p:nvSpPr>
        <p:spPr>
          <a:xfrm>
            <a:off x="3636000" y="5704241"/>
            <a:ext cx="3006000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i-FI" sz="1600" spc="-20" baseline="0" noProof="0"/>
              <a:t>Terveyden ja </a:t>
            </a:r>
          </a:p>
          <a:p>
            <a:r>
              <a:rPr lang="fi-FI" sz="1600" spc="-20" baseline="0" noProof="0"/>
              <a:t>hyvinvoinnin laito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791CE8C-75CC-8BC9-581D-B06FBA83B48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635451" y="6269995"/>
            <a:ext cx="1972568" cy="28481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 spc="-40" baseline="0">
                <a:solidFill>
                  <a:schemeClr val="tx1"/>
                </a:solidFill>
              </a:defRPr>
            </a:lvl1pPr>
          </a:lstStyle>
          <a:p>
            <a:r>
              <a:rPr lang="fi-FI" noProof="0"/>
              <a:t>15.5.2024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3910755294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nsi kuvalla jäälautat">
    <p:bg>
      <p:bgPr>
        <a:solidFill>
          <a:srgbClr val="DCEFF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Kuvan paikkamerkki 7">
            <a:extLst>
              <a:ext uri="{FF2B5EF4-FFF2-40B4-BE49-F238E27FC236}">
                <a16:creationId xmlns:a16="http://schemas.microsoft.com/office/drawing/2014/main" id="{31AEE49C-59D8-1DC0-6D69-F6CCCCA302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435858" y="0"/>
            <a:ext cx="8753856" cy="6858000"/>
          </a:xfrm>
          <a:prstGeom prst="rect">
            <a:avLst/>
          </a:prstGeom>
        </p:spPr>
      </p:pic>
      <p:sp>
        <p:nvSpPr>
          <p:cNvPr id="3" name="Suorakulmio 21">
            <a:extLst>
              <a:ext uri="{FF2B5EF4-FFF2-40B4-BE49-F238E27FC236}">
                <a16:creationId xmlns:a16="http://schemas.microsoft.com/office/drawing/2014/main" id="{08CD8FCD-475F-BA79-3521-10CE36F63B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3433570" y="3429000"/>
            <a:ext cx="3433571" cy="3429000"/>
          </a:xfrm>
          <a:prstGeom prst="rect">
            <a:avLst/>
          </a:prstGeom>
          <a:solidFill>
            <a:srgbClr val="DCEF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/>
          </a:p>
        </p:txBody>
      </p:sp>
      <p:sp>
        <p:nvSpPr>
          <p:cNvPr id="22" name="Suorakulmio 21">
            <a:extLst>
              <a:ext uri="{FF2B5EF4-FFF2-40B4-BE49-F238E27FC236}">
                <a16:creationId xmlns:a16="http://schemas.microsoft.com/office/drawing/2014/main" id="{73767DC7-ABA0-F4CA-4D56-4A6E892E25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3429000"/>
            <a:ext cx="3433571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/>
          </a:p>
        </p:txBody>
      </p:sp>
      <p:grpSp>
        <p:nvGrpSpPr>
          <p:cNvPr id="10" name="Ryhmä 9">
            <a:extLst>
              <a:ext uri="{FF2B5EF4-FFF2-40B4-BE49-F238E27FC236}">
                <a16:creationId xmlns:a16="http://schemas.microsoft.com/office/drawing/2014/main" id="{6B17C079-3319-DC26-44A9-380683636D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163835" y="237701"/>
            <a:ext cx="3105897" cy="2953599"/>
            <a:chOff x="203203" y="203198"/>
            <a:chExt cx="1117587" cy="1062785"/>
          </a:xfrm>
        </p:grpSpPr>
        <p:sp>
          <p:nvSpPr>
            <p:cNvPr id="11" name="Vapaamuotoinen: Muoto 10">
              <a:extLst>
                <a:ext uri="{FF2B5EF4-FFF2-40B4-BE49-F238E27FC236}">
                  <a16:creationId xmlns:a16="http://schemas.microsoft.com/office/drawing/2014/main" id="{BCABC861-8524-85F9-F756-A6ED24CB82EB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2" name="Vapaamuotoinen: Muoto 11">
              <a:extLst>
                <a:ext uri="{FF2B5EF4-FFF2-40B4-BE49-F238E27FC236}">
                  <a16:creationId xmlns:a16="http://schemas.microsoft.com/office/drawing/2014/main" id="{527BBF29-0D7D-E7D2-0C6B-F52CED370805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3" name="Vapaamuotoinen: Muoto 12">
              <a:extLst>
                <a:ext uri="{FF2B5EF4-FFF2-40B4-BE49-F238E27FC236}">
                  <a16:creationId xmlns:a16="http://schemas.microsoft.com/office/drawing/2014/main" id="{6891EF07-6FE5-932D-5471-6AB8430B2877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4" name="Vapaamuotoinen: Muoto 13">
              <a:extLst>
                <a:ext uri="{FF2B5EF4-FFF2-40B4-BE49-F238E27FC236}">
                  <a16:creationId xmlns:a16="http://schemas.microsoft.com/office/drawing/2014/main" id="{BA895791-B656-59A9-01FB-C88134131A15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5" name="Vapaamuotoinen: Muoto 14">
              <a:extLst>
                <a:ext uri="{FF2B5EF4-FFF2-40B4-BE49-F238E27FC236}">
                  <a16:creationId xmlns:a16="http://schemas.microsoft.com/office/drawing/2014/main" id="{CC5BF34A-D3C5-29AF-0507-491580995DE1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6" name="Vapaamuotoinen: Muoto 15">
              <a:extLst>
                <a:ext uri="{FF2B5EF4-FFF2-40B4-BE49-F238E27FC236}">
                  <a16:creationId xmlns:a16="http://schemas.microsoft.com/office/drawing/2014/main" id="{5312F966-2A5D-80FA-E0C6-78D5AC981A34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7" name="Vapaamuotoinen: Muoto 16">
              <a:extLst>
                <a:ext uri="{FF2B5EF4-FFF2-40B4-BE49-F238E27FC236}">
                  <a16:creationId xmlns:a16="http://schemas.microsoft.com/office/drawing/2014/main" id="{530F09BF-1A2D-B1DC-9B9F-1171E3E2DBB2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8" name="Vapaamuotoinen: Muoto 17">
              <a:extLst>
                <a:ext uri="{FF2B5EF4-FFF2-40B4-BE49-F238E27FC236}">
                  <a16:creationId xmlns:a16="http://schemas.microsoft.com/office/drawing/2014/main" id="{B1EFF7B6-19DF-63BA-8D9F-AAC3119D0AE8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</p:grpSp>
      <p:sp>
        <p:nvSpPr>
          <p:cNvPr id="5" name="Title 1">
            <a:extLst>
              <a:ext uri="{FF2B5EF4-FFF2-40B4-BE49-F238E27FC236}">
                <a16:creationId xmlns:a16="http://schemas.microsoft.com/office/drawing/2014/main" id="{0937D4D6-1194-C3B0-5D17-C1DA48C12C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4785" y="3671398"/>
            <a:ext cx="3089059" cy="2883185"/>
          </a:xfrm>
        </p:spPr>
        <p:txBody>
          <a:bodyPr/>
          <a:lstStyle>
            <a:lvl1pPr>
              <a:defRPr sz="4000" spc="-100" baseline="0">
                <a:latin typeface="Work Sans Light" pitchFamily="2" charset="0"/>
              </a:defRPr>
            </a:lvl1pPr>
          </a:lstStyle>
          <a:p>
            <a:r>
              <a:rPr lang="fi-FI" noProof="0"/>
              <a:t>Lisää otsikko tähän</a:t>
            </a:r>
          </a:p>
        </p:txBody>
      </p:sp>
      <p:sp>
        <p:nvSpPr>
          <p:cNvPr id="2" name="Tekstin paikkamerkki 22">
            <a:extLst>
              <a:ext uri="{FF2B5EF4-FFF2-40B4-BE49-F238E27FC236}">
                <a16:creationId xmlns:a16="http://schemas.microsoft.com/office/drawing/2014/main" id="{E261E14C-AD68-080D-C81D-A51E8AF17C2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36000" y="3693599"/>
            <a:ext cx="3006000" cy="1929600"/>
          </a:xfrm>
        </p:spPr>
        <p:txBody>
          <a:bodyPr anchor="t" anchorCtr="0"/>
          <a:lstStyle>
            <a:lvl1pPr marL="0" indent="0" algn="l">
              <a:lnSpc>
                <a:spcPct val="95000"/>
              </a:lnSpc>
              <a:buNone/>
              <a:defRPr spc="-50" baseline="0"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4" name="Tekstiruutu 18">
            <a:extLst>
              <a:ext uri="{FF2B5EF4-FFF2-40B4-BE49-F238E27FC236}">
                <a16:creationId xmlns:a16="http://schemas.microsoft.com/office/drawing/2014/main" id="{17CD63AC-2C7E-7B24-69A8-0BE3D405D685}"/>
              </a:ext>
            </a:extLst>
          </p:cNvPr>
          <p:cNvSpPr txBox="1"/>
          <p:nvPr userDrawn="1"/>
        </p:nvSpPr>
        <p:spPr>
          <a:xfrm>
            <a:off x="3636000" y="5704241"/>
            <a:ext cx="3006000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i-FI" sz="1600" spc="-20" baseline="0" noProof="0"/>
              <a:t>Terveyden ja </a:t>
            </a:r>
          </a:p>
          <a:p>
            <a:r>
              <a:rPr lang="fi-FI" sz="1600" spc="-20" baseline="0" noProof="0"/>
              <a:t>hyvinvoinnin laito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3FE2FC8-3CB7-BD74-6299-38CB1EBD3A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635451" y="6269995"/>
            <a:ext cx="1972568" cy="28481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 spc="-40" baseline="0">
                <a:solidFill>
                  <a:schemeClr val="tx1"/>
                </a:solidFill>
              </a:defRPr>
            </a:lvl1pPr>
          </a:lstStyle>
          <a:p>
            <a:r>
              <a:rPr lang="fi-FI" noProof="0"/>
              <a:t>15.5.2024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1376066103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nsi kuvalla henkilöt">
    <p:bg>
      <p:bgPr>
        <a:solidFill>
          <a:srgbClr val="FFFAC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Kuvan paikkamerkki 7">
            <a:extLst>
              <a:ext uri="{FF2B5EF4-FFF2-40B4-BE49-F238E27FC236}">
                <a16:creationId xmlns:a16="http://schemas.microsoft.com/office/drawing/2014/main" id="{6251BA80-83BB-CE85-E7FC-BE02853F7B8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435858" y="0"/>
            <a:ext cx="8753856" cy="6858000"/>
          </a:xfrm>
          <a:prstGeom prst="rect">
            <a:avLst/>
          </a:prstGeom>
        </p:spPr>
      </p:pic>
      <p:sp>
        <p:nvSpPr>
          <p:cNvPr id="3" name="Suorakulmio 21">
            <a:extLst>
              <a:ext uri="{FF2B5EF4-FFF2-40B4-BE49-F238E27FC236}">
                <a16:creationId xmlns:a16="http://schemas.microsoft.com/office/drawing/2014/main" id="{08CD8FCD-475F-BA79-3521-10CE36F63B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3433570" y="3429000"/>
            <a:ext cx="3433571" cy="3429000"/>
          </a:xfrm>
          <a:prstGeom prst="rect">
            <a:avLst/>
          </a:prstGeom>
          <a:solidFill>
            <a:srgbClr val="FFFA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/>
          </a:p>
        </p:txBody>
      </p:sp>
      <p:sp>
        <p:nvSpPr>
          <p:cNvPr id="22" name="Suorakulmio 21">
            <a:extLst>
              <a:ext uri="{FF2B5EF4-FFF2-40B4-BE49-F238E27FC236}">
                <a16:creationId xmlns:a16="http://schemas.microsoft.com/office/drawing/2014/main" id="{73767DC7-ABA0-F4CA-4D56-4A6E892E25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3429000"/>
            <a:ext cx="3433571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/>
          </a:p>
        </p:txBody>
      </p:sp>
      <p:grpSp>
        <p:nvGrpSpPr>
          <p:cNvPr id="10" name="Ryhmä 9">
            <a:extLst>
              <a:ext uri="{FF2B5EF4-FFF2-40B4-BE49-F238E27FC236}">
                <a16:creationId xmlns:a16="http://schemas.microsoft.com/office/drawing/2014/main" id="{6B17C079-3319-DC26-44A9-380683636D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163835" y="237701"/>
            <a:ext cx="3105897" cy="2953599"/>
            <a:chOff x="203203" y="203198"/>
            <a:chExt cx="1117587" cy="1062785"/>
          </a:xfrm>
        </p:grpSpPr>
        <p:sp>
          <p:nvSpPr>
            <p:cNvPr id="11" name="Vapaamuotoinen: Muoto 10">
              <a:extLst>
                <a:ext uri="{FF2B5EF4-FFF2-40B4-BE49-F238E27FC236}">
                  <a16:creationId xmlns:a16="http://schemas.microsoft.com/office/drawing/2014/main" id="{BCABC861-8524-85F9-F756-A6ED24CB82EB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2" name="Vapaamuotoinen: Muoto 11">
              <a:extLst>
                <a:ext uri="{FF2B5EF4-FFF2-40B4-BE49-F238E27FC236}">
                  <a16:creationId xmlns:a16="http://schemas.microsoft.com/office/drawing/2014/main" id="{527BBF29-0D7D-E7D2-0C6B-F52CED370805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3" name="Vapaamuotoinen: Muoto 12">
              <a:extLst>
                <a:ext uri="{FF2B5EF4-FFF2-40B4-BE49-F238E27FC236}">
                  <a16:creationId xmlns:a16="http://schemas.microsoft.com/office/drawing/2014/main" id="{6891EF07-6FE5-932D-5471-6AB8430B2877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4" name="Vapaamuotoinen: Muoto 13">
              <a:extLst>
                <a:ext uri="{FF2B5EF4-FFF2-40B4-BE49-F238E27FC236}">
                  <a16:creationId xmlns:a16="http://schemas.microsoft.com/office/drawing/2014/main" id="{BA895791-B656-59A9-01FB-C88134131A15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5" name="Vapaamuotoinen: Muoto 14">
              <a:extLst>
                <a:ext uri="{FF2B5EF4-FFF2-40B4-BE49-F238E27FC236}">
                  <a16:creationId xmlns:a16="http://schemas.microsoft.com/office/drawing/2014/main" id="{CC5BF34A-D3C5-29AF-0507-491580995DE1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6" name="Vapaamuotoinen: Muoto 15">
              <a:extLst>
                <a:ext uri="{FF2B5EF4-FFF2-40B4-BE49-F238E27FC236}">
                  <a16:creationId xmlns:a16="http://schemas.microsoft.com/office/drawing/2014/main" id="{5312F966-2A5D-80FA-E0C6-78D5AC981A34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7" name="Vapaamuotoinen: Muoto 16">
              <a:extLst>
                <a:ext uri="{FF2B5EF4-FFF2-40B4-BE49-F238E27FC236}">
                  <a16:creationId xmlns:a16="http://schemas.microsoft.com/office/drawing/2014/main" id="{530F09BF-1A2D-B1DC-9B9F-1171E3E2DBB2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8" name="Vapaamuotoinen: Muoto 17">
              <a:extLst>
                <a:ext uri="{FF2B5EF4-FFF2-40B4-BE49-F238E27FC236}">
                  <a16:creationId xmlns:a16="http://schemas.microsoft.com/office/drawing/2014/main" id="{B1EFF7B6-19DF-63BA-8D9F-AAC3119D0AE8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</p:grpSp>
      <p:sp>
        <p:nvSpPr>
          <p:cNvPr id="5" name="Title 1">
            <a:extLst>
              <a:ext uri="{FF2B5EF4-FFF2-40B4-BE49-F238E27FC236}">
                <a16:creationId xmlns:a16="http://schemas.microsoft.com/office/drawing/2014/main" id="{0937D4D6-1194-C3B0-5D17-C1DA48C12C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4785" y="3671398"/>
            <a:ext cx="3089059" cy="2883185"/>
          </a:xfrm>
        </p:spPr>
        <p:txBody>
          <a:bodyPr/>
          <a:lstStyle>
            <a:lvl1pPr>
              <a:defRPr sz="4000" spc="-100" baseline="0">
                <a:latin typeface="Work Sans Light" pitchFamily="2" charset="0"/>
              </a:defRPr>
            </a:lvl1pPr>
          </a:lstStyle>
          <a:p>
            <a:r>
              <a:rPr lang="fi-FI" noProof="0"/>
              <a:t>Lisää otsikko tähän</a:t>
            </a:r>
          </a:p>
        </p:txBody>
      </p:sp>
      <p:sp>
        <p:nvSpPr>
          <p:cNvPr id="2" name="Tekstin paikkamerkki 22">
            <a:extLst>
              <a:ext uri="{FF2B5EF4-FFF2-40B4-BE49-F238E27FC236}">
                <a16:creationId xmlns:a16="http://schemas.microsoft.com/office/drawing/2014/main" id="{E261E14C-AD68-080D-C81D-A51E8AF17C2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36000" y="3693599"/>
            <a:ext cx="3006000" cy="1929600"/>
          </a:xfrm>
        </p:spPr>
        <p:txBody>
          <a:bodyPr anchor="t" anchorCtr="0"/>
          <a:lstStyle>
            <a:lvl1pPr marL="0" indent="0" algn="l">
              <a:lnSpc>
                <a:spcPct val="95000"/>
              </a:lnSpc>
              <a:buNone/>
              <a:defRPr spc="-50" baseline="0"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4" name="Tekstiruutu 18">
            <a:extLst>
              <a:ext uri="{FF2B5EF4-FFF2-40B4-BE49-F238E27FC236}">
                <a16:creationId xmlns:a16="http://schemas.microsoft.com/office/drawing/2014/main" id="{17CD63AC-2C7E-7B24-69A8-0BE3D405D685}"/>
              </a:ext>
            </a:extLst>
          </p:cNvPr>
          <p:cNvSpPr txBox="1"/>
          <p:nvPr userDrawn="1"/>
        </p:nvSpPr>
        <p:spPr>
          <a:xfrm>
            <a:off x="3636000" y="5704241"/>
            <a:ext cx="3006000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i-FI" sz="1600" spc="-20" baseline="0" noProof="0"/>
              <a:t>Terveyden ja </a:t>
            </a:r>
          </a:p>
          <a:p>
            <a:r>
              <a:rPr lang="fi-FI" sz="1600" spc="-20" baseline="0" noProof="0"/>
              <a:t>hyvinvoinnin laito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3FE2FC8-3CB7-BD74-6299-38CB1EBD3A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635451" y="6269995"/>
            <a:ext cx="1972568" cy="28481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 spc="-40" baseline="0">
                <a:solidFill>
                  <a:schemeClr val="tx1"/>
                </a:solidFill>
              </a:defRPr>
            </a:lvl1pPr>
          </a:lstStyle>
          <a:p>
            <a:r>
              <a:rPr lang="fi-FI" noProof="0"/>
              <a:t>15.5.2024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978653405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nsi kuvalla kaupunkinäkymä">
    <p:bg>
      <p:bgPr>
        <a:solidFill>
          <a:srgbClr val="DCEFF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Kuvan paikkamerkki 7">
            <a:extLst>
              <a:ext uri="{FF2B5EF4-FFF2-40B4-BE49-F238E27FC236}">
                <a16:creationId xmlns:a16="http://schemas.microsoft.com/office/drawing/2014/main" id="{6251BA80-83BB-CE85-E7FC-BE02853F7B8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435858" y="0"/>
            <a:ext cx="8753856" cy="6858000"/>
          </a:xfrm>
          <a:prstGeom prst="rect">
            <a:avLst/>
          </a:prstGeom>
        </p:spPr>
      </p:pic>
      <p:sp>
        <p:nvSpPr>
          <p:cNvPr id="3" name="Suorakulmio 21">
            <a:extLst>
              <a:ext uri="{FF2B5EF4-FFF2-40B4-BE49-F238E27FC236}">
                <a16:creationId xmlns:a16="http://schemas.microsoft.com/office/drawing/2014/main" id="{08CD8FCD-475F-BA79-3521-10CE36F63B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3433570" y="3429000"/>
            <a:ext cx="3433571" cy="3429000"/>
          </a:xfrm>
          <a:prstGeom prst="rect">
            <a:avLst/>
          </a:prstGeom>
          <a:solidFill>
            <a:srgbClr val="DCEF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/>
          </a:p>
        </p:txBody>
      </p:sp>
      <p:sp>
        <p:nvSpPr>
          <p:cNvPr id="22" name="Suorakulmio 21">
            <a:extLst>
              <a:ext uri="{FF2B5EF4-FFF2-40B4-BE49-F238E27FC236}">
                <a16:creationId xmlns:a16="http://schemas.microsoft.com/office/drawing/2014/main" id="{73767DC7-ABA0-F4CA-4D56-4A6E892E25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3429000"/>
            <a:ext cx="3433571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/>
          </a:p>
        </p:txBody>
      </p:sp>
      <p:grpSp>
        <p:nvGrpSpPr>
          <p:cNvPr id="10" name="Ryhmä 9">
            <a:extLst>
              <a:ext uri="{FF2B5EF4-FFF2-40B4-BE49-F238E27FC236}">
                <a16:creationId xmlns:a16="http://schemas.microsoft.com/office/drawing/2014/main" id="{6B17C079-3319-DC26-44A9-380683636D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163835" y="237701"/>
            <a:ext cx="3105897" cy="2953599"/>
            <a:chOff x="203203" y="203198"/>
            <a:chExt cx="1117587" cy="1062785"/>
          </a:xfrm>
        </p:grpSpPr>
        <p:sp>
          <p:nvSpPr>
            <p:cNvPr id="11" name="Vapaamuotoinen: Muoto 10">
              <a:extLst>
                <a:ext uri="{FF2B5EF4-FFF2-40B4-BE49-F238E27FC236}">
                  <a16:creationId xmlns:a16="http://schemas.microsoft.com/office/drawing/2014/main" id="{BCABC861-8524-85F9-F756-A6ED24CB82EB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2" name="Vapaamuotoinen: Muoto 11">
              <a:extLst>
                <a:ext uri="{FF2B5EF4-FFF2-40B4-BE49-F238E27FC236}">
                  <a16:creationId xmlns:a16="http://schemas.microsoft.com/office/drawing/2014/main" id="{527BBF29-0D7D-E7D2-0C6B-F52CED370805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3" name="Vapaamuotoinen: Muoto 12">
              <a:extLst>
                <a:ext uri="{FF2B5EF4-FFF2-40B4-BE49-F238E27FC236}">
                  <a16:creationId xmlns:a16="http://schemas.microsoft.com/office/drawing/2014/main" id="{6891EF07-6FE5-932D-5471-6AB8430B2877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4" name="Vapaamuotoinen: Muoto 13">
              <a:extLst>
                <a:ext uri="{FF2B5EF4-FFF2-40B4-BE49-F238E27FC236}">
                  <a16:creationId xmlns:a16="http://schemas.microsoft.com/office/drawing/2014/main" id="{BA895791-B656-59A9-01FB-C88134131A15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5" name="Vapaamuotoinen: Muoto 14">
              <a:extLst>
                <a:ext uri="{FF2B5EF4-FFF2-40B4-BE49-F238E27FC236}">
                  <a16:creationId xmlns:a16="http://schemas.microsoft.com/office/drawing/2014/main" id="{CC5BF34A-D3C5-29AF-0507-491580995DE1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6" name="Vapaamuotoinen: Muoto 15">
              <a:extLst>
                <a:ext uri="{FF2B5EF4-FFF2-40B4-BE49-F238E27FC236}">
                  <a16:creationId xmlns:a16="http://schemas.microsoft.com/office/drawing/2014/main" id="{5312F966-2A5D-80FA-E0C6-78D5AC981A34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7" name="Vapaamuotoinen: Muoto 16">
              <a:extLst>
                <a:ext uri="{FF2B5EF4-FFF2-40B4-BE49-F238E27FC236}">
                  <a16:creationId xmlns:a16="http://schemas.microsoft.com/office/drawing/2014/main" id="{530F09BF-1A2D-B1DC-9B9F-1171E3E2DBB2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8" name="Vapaamuotoinen: Muoto 17">
              <a:extLst>
                <a:ext uri="{FF2B5EF4-FFF2-40B4-BE49-F238E27FC236}">
                  <a16:creationId xmlns:a16="http://schemas.microsoft.com/office/drawing/2014/main" id="{B1EFF7B6-19DF-63BA-8D9F-AAC3119D0AE8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</p:grpSp>
      <p:sp>
        <p:nvSpPr>
          <p:cNvPr id="5" name="Title 1">
            <a:extLst>
              <a:ext uri="{FF2B5EF4-FFF2-40B4-BE49-F238E27FC236}">
                <a16:creationId xmlns:a16="http://schemas.microsoft.com/office/drawing/2014/main" id="{0937D4D6-1194-C3B0-5D17-C1DA48C12C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4785" y="3671398"/>
            <a:ext cx="3089059" cy="2883185"/>
          </a:xfrm>
        </p:spPr>
        <p:txBody>
          <a:bodyPr/>
          <a:lstStyle>
            <a:lvl1pPr>
              <a:defRPr sz="4000" spc="-100" baseline="0">
                <a:latin typeface="Work Sans Light" pitchFamily="2" charset="0"/>
              </a:defRPr>
            </a:lvl1pPr>
          </a:lstStyle>
          <a:p>
            <a:r>
              <a:rPr lang="fi-FI" noProof="0"/>
              <a:t>Lisää otsikko tähän</a:t>
            </a:r>
          </a:p>
        </p:txBody>
      </p:sp>
      <p:sp>
        <p:nvSpPr>
          <p:cNvPr id="2" name="Tekstin paikkamerkki 22">
            <a:extLst>
              <a:ext uri="{FF2B5EF4-FFF2-40B4-BE49-F238E27FC236}">
                <a16:creationId xmlns:a16="http://schemas.microsoft.com/office/drawing/2014/main" id="{E261E14C-AD68-080D-C81D-A51E8AF17C2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36000" y="3693599"/>
            <a:ext cx="3006000" cy="1929600"/>
          </a:xfrm>
        </p:spPr>
        <p:txBody>
          <a:bodyPr anchor="t" anchorCtr="0"/>
          <a:lstStyle>
            <a:lvl1pPr marL="0" indent="0" algn="l">
              <a:lnSpc>
                <a:spcPct val="95000"/>
              </a:lnSpc>
              <a:buNone/>
              <a:defRPr spc="-50" baseline="0"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4" name="Tekstiruutu 18">
            <a:extLst>
              <a:ext uri="{FF2B5EF4-FFF2-40B4-BE49-F238E27FC236}">
                <a16:creationId xmlns:a16="http://schemas.microsoft.com/office/drawing/2014/main" id="{17CD63AC-2C7E-7B24-69A8-0BE3D405D685}"/>
              </a:ext>
            </a:extLst>
          </p:cNvPr>
          <p:cNvSpPr txBox="1"/>
          <p:nvPr userDrawn="1"/>
        </p:nvSpPr>
        <p:spPr>
          <a:xfrm>
            <a:off x="3636000" y="5704241"/>
            <a:ext cx="3006000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i-FI" sz="1600" spc="-20" baseline="0" noProof="0"/>
              <a:t>Terveyden ja </a:t>
            </a:r>
          </a:p>
          <a:p>
            <a:r>
              <a:rPr lang="fi-FI" sz="1600" spc="-20" baseline="0" noProof="0"/>
              <a:t>hyvinvoinnin laito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3FE2FC8-3CB7-BD74-6299-38CB1EBD3A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635451" y="6269995"/>
            <a:ext cx="1972568" cy="28481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 spc="-40" baseline="0">
                <a:solidFill>
                  <a:schemeClr val="tx1"/>
                </a:solidFill>
              </a:defRPr>
            </a:lvl1pPr>
          </a:lstStyle>
          <a:p>
            <a:r>
              <a:rPr lang="fi-FI" noProof="0"/>
              <a:t>15.5.2024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135842115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sto ilman kuvaa vihreä">
    <p:bg>
      <p:bgPr>
        <a:solidFill>
          <a:srgbClr val="B4FFA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orakulmio 4">
            <a:extLst>
              <a:ext uri="{FF2B5EF4-FFF2-40B4-BE49-F238E27FC236}">
                <a16:creationId xmlns:a16="http://schemas.microsoft.com/office/drawing/2014/main" id="{AC0F3A71-AAB0-F29B-041A-2BC95C03EA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0"/>
            <a:ext cx="6096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0DB878-8E84-426A-BEF0-AF1AAFA1F9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518" y="557866"/>
            <a:ext cx="5231502" cy="1986349"/>
          </a:xfrm>
        </p:spPr>
        <p:txBody>
          <a:bodyPr anchor="b"/>
          <a:lstStyle/>
          <a:p>
            <a:r>
              <a:rPr lang="fi-FI" noProof="0" dirty="0"/>
              <a:t>Lisää otsikko tähän</a:t>
            </a:r>
          </a:p>
        </p:txBody>
      </p:sp>
      <p:sp>
        <p:nvSpPr>
          <p:cNvPr id="11" name="Tekstin paikkamerkki 10">
            <a:extLst>
              <a:ext uri="{FF2B5EF4-FFF2-40B4-BE49-F238E27FC236}">
                <a16:creationId xmlns:a16="http://schemas.microsoft.com/office/drawing/2014/main" id="{7B9F0533-6D2D-7E7F-A366-F9F3682A7B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6238" y="2798064"/>
            <a:ext cx="5232400" cy="2811780"/>
          </a:xfrm>
        </p:spPr>
        <p:txBody>
          <a:bodyPr/>
          <a:lstStyle/>
          <a:p>
            <a:pPr lvl="0"/>
            <a:r>
              <a:rPr lang="fi-FI" noProof="0" dirty="0"/>
              <a:t>Lisää ensimmäisen tason tekstiä tähän</a:t>
            </a:r>
          </a:p>
          <a:p>
            <a:pPr lvl="1"/>
            <a:r>
              <a:rPr lang="fi-FI" noProof="0" dirty="0"/>
              <a:t>Toisen tason teksti</a:t>
            </a:r>
          </a:p>
          <a:p>
            <a:pPr lvl="2"/>
            <a:r>
              <a:rPr lang="fi-FI" noProof="0" dirty="0"/>
              <a:t>Kolmannen tason teksti</a:t>
            </a:r>
          </a:p>
          <a:p>
            <a:pPr lvl="3"/>
            <a:r>
              <a:rPr lang="fi-FI" noProof="0" dirty="0"/>
              <a:t>Neljännen tason teksti</a:t>
            </a:r>
          </a:p>
          <a:p>
            <a:pPr lvl="4"/>
            <a:r>
              <a:rPr lang="fi-FI" noProof="0" dirty="0"/>
              <a:t>Viidennen tason teksti</a:t>
            </a:r>
          </a:p>
        </p:txBody>
      </p:sp>
      <p:sp>
        <p:nvSpPr>
          <p:cNvPr id="12" name="Tekstin paikkamerkki 11">
            <a:extLst>
              <a:ext uri="{FF2B5EF4-FFF2-40B4-BE49-F238E27FC236}">
                <a16:creationId xmlns:a16="http://schemas.microsoft.com/office/drawing/2014/main" id="{4788870C-EEEC-0256-F974-F3A60DD573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87549" y="1594678"/>
            <a:ext cx="5436897" cy="3812207"/>
          </a:xfrm>
          <a:noFill/>
        </p:spPr>
        <p:txBody>
          <a:bodyPr lIns="0" tIns="0" rIns="0" anchor="ctr" anchorCtr="0"/>
          <a:lstStyle>
            <a:lvl1pPr marL="0" indent="0">
              <a:lnSpc>
                <a:spcPct val="90000"/>
              </a:lnSpc>
              <a:buNone/>
              <a:defRPr sz="4000" spc="-130" baseline="0">
                <a:latin typeface="+mj-lt"/>
              </a:defRPr>
            </a:lvl1pPr>
          </a:lstStyle>
          <a:p>
            <a:pPr lvl="0"/>
            <a:r>
              <a:rPr lang="fi-FI" noProof="0" dirty="0"/>
              <a:t>Lisää tekstinosto tähän</a:t>
            </a:r>
          </a:p>
        </p:txBody>
      </p:sp>
      <p:grpSp>
        <p:nvGrpSpPr>
          <p:cNvPr id="6" name="Ryhmä 5">
            <a:extLst>
              <a:ext uri="{FF2B5EF4-FFF2-40B4-BE49-F238E27FC236}">
                <a16:creationId xmlns:a16="http://schemas.microsoft.com/office/drawing/2014/main" id="{E60A3E00-D191-CE2A-0BC2-EC72C60AB5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40807" y="5846175"/>
            <a:ext cx="772691" cy="734802"/>
            <a:chOff x="203203" y="203198"/>
            <a:chExt cx="1117587" cy="1062785"/>
          </a:xfrm>
        </p:grpSpPr>
        <p:sp>
          <p:nvSpPr>
            <p:cNvPr id="8" name="Vapaamuotoinen: Muoto 7">
              <a:extLst>
                <a:ext uri="{FF2B5EF4-FFF2-40B4-BE49-F238E27FC236}">
                  <a16:creationId xmlns:a16="http://schemas.microsoft.com/office/drawing/2014/main" id="{C367D236-C5BC-EDAD-644E-02407316A081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0" name="Vapaamuotoinen: Muoto 9">
              <a:extLst>
                <a:ext uri="{FF2B5EF4-FFF2-40B4-BE49-F238E27FC236}">
                  <a16:creationId xmlns:a16="http://schemas.microsoft.com/office/drawing/2014/main" id="{998FA421-1A05-8E02-D020-1EF1068B695D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3" name="Vapaamuotoinen: Muoto 12">
              <a:extLst>
                <a:ext uri="{FF2B5EF4-FFF2-40B4-BE49-F238E27FC236}">
                  <a16:creationId xmlns:a16="http://schemas.microsoft.com/office/drawing/2014/main" id="{C6151D38-9EC9-128B-B2CE-1668A5845AF5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4" name="Vapaamuotoinen: Muoto 13">
              <a:extLst>
                <a:ext uri="{FF2B5EF4-FFF2-40B4-BE49-F238E27FC236}">
                  <a16:creationId xmlns:a16="http://schemas.microsoft.com/office/drawing/2014/main" id="{4D843E8A-2422-AC1E-8D69-1E8384431E60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5" name="Vapaamuotoinen: Muoto 14">
              <a:extLst>
                <a:ext uri="{FF2B5EF4-FFF2-40B4-BE49-F238E27FC236}">
                  <a16:creationId xmlns:a16="http://schemas.microsoft.com/office/drawing/2014/main" id="{0B90A116-A908-A7DE-5844-944AF402FC7D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6" name="Vapaamuotoinen: Muoto 15">
              <a:extLst>
                <a:ext uri="{FF2B5EF4-FFF2-40B4-BE49-F238E27FC236}">
                  <a16:creationId xmlns:a16="http://schemas.microsoft.com/office/drawing/2014/main" id="{269DC064-0657-5593-56AA-C386F00B51B3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7" name="Vapaamuotoinen: Muoto 16">
              <a:extLst>
                <a:ext uri="{FF2B5EF4-FFF2-40B4-BE49-F238E27FC236}">
                  <a16:creationId xmlns:a16="http://schemas.microsoft.com/office/drawing/2014/main" id="{75EEC3F9-2DC3-521E-9D89-8DDF7C675C95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8" name="Vapaamuotoinen: Muoto 17">
              <a:extLst>
                <a:ext uri="{FF2B5EF4-FFF2-40B4-BE49-F238E27FC236}">
                  <a16:creationId xmlns:a16="http://schemas.microsoft.com/office/drawing/2014/main" id="{F77A7E84-7488-FFF6-C559-5475382FA10C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</p:grp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E996DCA-8E68-4F4A-A4A6-ACE6BC7F24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19F51-E5C9-4EA5-AD5A-0E73BC02374E}" type="datetime1">
              <a:rPr lang="fi-FI" noProof="0" smtClean="0"/>
              <a:t>12.3.2026</a:t>
            </a:fld>
            <a:endParaRPr lang="fi-FI" noProof="0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 dirty="0"/>
          </a:p>
        </p:txBody>
      </p:sp>
    </p:spTree>
    <p:extLst>
      <p:ext uri="{BB962C8B-B14F-4D97-AF65-F5344CB8AC3E}">
        <p14:creationId xmlns:p14="http://schemas.microsoft.com/office/powerpoint/2010/main" val="282750292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nsi THL vihreä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6E6260-E36C-484A-9F25-1346EC50A8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56953" y="1733266"/>
            <a:ext cx="10477035" cy="2914270"/>
          </a:xfrm>
        </p:spPr>
        <p:txBody>
          <a:bodyPr anchor="ctr">
            <a:normAutofit/>
          </a:bodyPr>
          <a:lstStyle>
            <a:lvl1pPr algn="ctr">
              <a:defRPr sz="9200" spc="-250" baseline="0">
                <a:solidFill>
                  <a:srgbClr val="FFF6EF"/>
                </a:solidFill>
                <a:latin typeface="Work Sans Light" pitchFamily="2" charset="0"/>
              </a:defRPr>
            </a:lvl1pPr>
          </a:lstStyle>
          <a:p>
            <a:r>
              <a:rPr lang="fi-FI" noProof="0"/>
              <a:t>Lisää otsikko tähä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1FDDA9F-DC3B-4803-9730-F564F287AC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56953" y="4894614"/>
            <a:ext cx="10477035" cy="77434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4000" spc="-100" baseline="0">
                <a:solidFill>
                  <a:srgbClr val="FFF6E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Lisää alaotsikko tähän</a:t>
            </a:r>
          </a:p>
        </p:txBody>
      </p:sp>
      <p:sp>
        <p:nvSpPr>
          <p:cNvPr id="23" name="Tekstin paikkamerkki 22">
            <a:extLst>
              <a:ext uri="{FF2B5EF4-FFF2-40B4-BE49-F238E27FC236}">
                <a16:creationId xmlns:a16="http://schemas.microsoft.com/office/drawing/2014/main" id="{463699EA-6FB5-11FA-EFF4-9EF634830ED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6953" y="5780868"/>
            <a:ext cx="10477035" cy="423716"/>
          </a:xfrm>
        </p:spPr>
        <p:txBody>
          <a:bodyPr anchor="b" anchorCtr="0"/>
          <a:lstStyle>
            <a:lvl1pPr marL="0" indent="0" algn="ctr">
              <a:buNone/>
              <a:defRPr baseline="0">
                <a:solidFill>
                  <a:srgbClr val="FFF6EF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fi-FI" noProof="0"/>
              <a:t>Lisää tekstiä tähän</a:t>
            </a:r>
          </a:p>
        </p:txBody>
      </p:sp>
      <p:grpSp>
        <p:nvGrpSpPr>
          <p:cNvPr id="12" name="Ryhmä 11">
            <a:extLst>
              <a:ext uri="{FF2B5EF4-FFF2-40B4-BE49-F238E27FC236}">
                <a16:creationId xmlns:a16="http://schemas.microsoft.com/office/drawing/2014/main" id="{D95F8E98-A2D7-E30E-1319-368CDF1FAEE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03203" y="203198"/>
            <a:ext cx="1117587" cy="1062785"/>
            <a:chOff x="203203" y="203198"/>
            <a:chExt cx="1117587" cy="1062785"/>
          </a:xfrm>
        </p:grpSpPr>
        <p:sp>
          <p:nvSpPr>
            <p:cNvPr id="13" name="Vapaamuotoinen: Muoto 12">
              <a:extLst>
                <a:ext uri="{FF2B5EF4-FFF2-40B4-BE49-F238E27FC236}">
                  <a16:creationId xmlns:a16="http://schemas.microsoft.com/office/drawing/2014/main" id="{440C446F-BCAC-7D6F-98A9-A7C2ED4872D4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4" name="Vapaamuotoinen: Muoto 13">
              <a:extLst>
                <a:ext uri="{FF2B5EF4-FFF2-40B4-BE49-F238E27FC236}">
                  <a16:creationId xmlns:a16="http://schemas.microsoft.com/office/drawing/2014/main" id="{4A7ADBEA-CE66-1301-501B-E3F7BAAF2E82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5" name="Vapaamuotoinen: Muoto 14">
              <a:extLst>
                <a:ext uri="{FF2B5EF4-FFF2-40B4-BE49-F238E27FC236}">
                  <a16:creationId xmlns:a16="http://schemas.microsoft.com/office/drawing/2014/main" id="{59A9E6E2-53EA-2E07-7385-4B02839D5454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6" name="Vapaamuotoinen: Muoto 15">
              <a:extLst>
                <a:ext uri="{FF2B5EF4-FFF2-40B4-BE49-F238E27FC236}">
                  <a16:creationId xmlns:a16="http://schemas.microsoft.com/office/drawing/2014/main" id="{5C12932F-FB13-37D4-DC9D-BBEF385C1C8C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7" name="Vapaamuotoinen: Muoto 16">
              <a:extLst>
                <a:ext uri="{FF2B5EF4-FFF2-40B4-BE49-F238E27FC236}">
                  <a16:creationId xmlns:a16="http://schemas.microsoft.com/office/drawing/2014/main" id="{A821A406-3190-93B4-506F-F6D30DD05EA6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8" name="Vapaamuotoinen: Muoto 17">
              <a:extLst>
                <a:ext uri="{FF2B5EF4-FFF2-40B4-BE49-F238E27FC236}">
                  <a16:creationId xmlns:a16="http://schemas.microsoft.com/office/drawing/2014/main" id="{B5B8BA96-4CED-7926-08D7-0E05D61B06AC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9" name="Vapaamuotoinen: Muoto 18">
              <a:extLst>
                <a:ext uri="{FF2B5EF4-FFF2-40B4-BE49-F238E27FC236}">
                  <a16:creationId xmlns:a16="http://schemas.microsoft.com/office/drawing/2014/main" id="{F7DE9934-1616-3AF5-1843-D98F7A954971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0" name="Vapaamuotoinen: Muoto 19">
              <a:extLst>
                <a:ext uri="{FF2B5EF4-FFF2-40B4-BE49-F238E27FC236}">
                  <a16:creationId xmlns:a16="http://schemas.microsoft.com/office/drawing/2014/main" id="{EABD3533-6A1F-7B8F-3045-7145CF403F02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</p:grp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0DD658E-3473-4681-B845-DA52394CB7D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107635" y="6269995"/>
            <a:ext cx="1972568" cy="284816"/>
          </a:xfrm>
        </p:spPr>
        <p:txBody>
          <a:bodyPr/>
          <a:lstStyle>
            <a:lvl1pPr algn="ctr">
              <a:defRPr>
                <a:solidFill>
                  <a:srgbClr val="FFF6EF"/>
                </a:solidFill>
              </a:defRPr>
            </a:lvl1pPr>
          </a:lstStyle>
          <a:p>
            <a:r>
              <a:rPr lang="fi-FI" noProof="0"/>
              <a:t>15.5.2024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FA0F746-8E6A-4C7F-AE36-5BDBE3883D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6EF"/>
                </a:solidFill>
              </a:defRPr>
            </a:lvl1pPr>
          </a:lstStyle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/>
          </a:p>
        </p:txBody>
      </p:sp>
      <p:grpSp>
        <p:nvGrpSpPr>
          <p:cNvPr id="25" name="Ryhmä 9">
            <a:extLst>
              <a:ext uri="{FF2B5EF4-FFF2-40B4-BE49-F238E27FC236}">
                <a16:creationId xmlns:a16="http://schemas.microsoft.com/office/drawing/2014/main" id="{1DB43CB8-F204-3540-9B5A-59F26CB01F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197447" y="200023"/>
            <a:ext cx="1126884" cy="1071627"/>
            <a:chOff x="203203" y="203198"/>
            <a:chExt cx="1117587" cy="1062785"/>
          </a:xfrm>
          <a:solidFill>
            <a:srgbClr val="FFF7F0"/>
          </a:solidFill>
        </p:grpSpPr>
        <p:sp>
          <p:nvSpPr>
            <p:cNvPr id="26" name="Vapaamuotoinen: Muoto 10">
              <a:extLst>
                <a:ext uri="{FF2B5EF4-FFF2-40B4-BE49-F238E27FC236}">
                  <a16:creationId xmlns:a16="http://schemas.microsoft.com/office/drawing/2014/main" id="{ACB09954-4942-1663-F41A-543AF9FA5310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grpFill/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7" name="Vapaamuotoinen: Muoto 11">
              <a:extLst>
                <a:ext uri="{FF2B5EF4-FFF2-40B4-BE49-F238E27FC236}">
                  <a16:creationId xmlns:a16="http://schemas.microsoft.com/office/drawing/2014/main" id="{44690D21-FE7D-9F0F-98C7-8723541DD727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grpFill/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8" name="Vapaamuotoinen: Muoto 12">
              <a:extLst>
                <a:ext uri="{FF2B5EF4-FFF2-40B4-BE49-F238E27FC236}">
                  <a16:creationId xmlns:a16="http://schemas.microsoft.com/office/drawing/2014/main" id="{9BFBFB9C-ABDD-CB8B-E191-3D1FF3C33AE5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grpFill/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9" name="Vapaamuotoinen: Muoto 13">
              <a:extLst>
                <a:ext uri="{FF2B5EF4-FFF2-40B4-BE49-F238E27FC236}">
                  <a16:creationId xmlns:a16="http://schemas.microsoft.com/office/drawing/2014/main" id="{8A668618-49E2-6DBE-54AF-30E80955B726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grpFill/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30" name="Vapaamuotoinen: Muoto 14">
              <a:extLst>
                <a:ext uri="{FF2B5EF4-FFF2-40B4-BE49-F238E27FC236}">
                  <a16:creationId xmlns:a16="http://schemas.microsoft.com/office/drawing/2014/main" id="{8ECFB1E5-3BB2-483F-E1E6-7ED41D07B16A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grpFill/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31" name="Vapaamuotoinen: Muoto 15">
              <a:extLst>
                <a:ext uri="{FF2B5EF4-FFF2-40B4-BE49-F238E27FC236}">
                  <a16:creationId xmlns:a16="http://schemas.microsoft.com/office/drawing/2014/main" id="{4C3973CC-3AE4-8E06-68E9-97C0C6B1D2F8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grpFill/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32" name="Vapaamuotoinen: Muoto 16">
              <a:extLst>
                <a:ext uri="{FF2B5EF4-FFF2-40B4-BE49-F238E27FC236}">
                  <a16:creationId xmlns:a16="http://schemas.microsoft.com/office/drawing/2014/main" id="{9B6C6612-339C-F62F-90DB-F392459C04A8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grpFill/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33" name="Vapaamuotoinen: Muoto 17">
              <a:extLst>
                <a:ext uri="{FF2B5EF4-FFF2-40B4-BE49-F238E27FC236}">
                  <a16:creationId xmlns:a16="http://schemas.microsoft.com/office/drawing/2014/main" id="{733157FA-F941-2BC4-1929-901D2D471212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grpFill/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</p:grpSp>
    </p:spTree>
    <p:extLst>
      <p:ext uri="{BB962C8B-B14F-4D97-AF65-F5344CB8AC3E}">
        <p14:creationId xmlns:p14="http://schemas.microsoft.com/office/powerpoint/2010/main" val="26269909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nsi violetti">
    <p:bg>
      <p:bgPr>
        <a:solidFill>
          <a:srgbClr val="FFE1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6E6260-E36C-484A-9F25-1346EC50A8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56953" y="1733266"/>
            <a:ext cx="10477035" cy="2914270"/>
          </a:xfrm>
        </p:spPr>
        <p:txBody>
          <a:bodyPr anchor="ctr">
            <a:normAutofit/>
          </a:bodyPr>
          <a:lstStyle>
            <a:lvl1pPr algn="ctr">
              <a:defRPr sz="9200" spc="-250" baseline="0">
                <a:latin typeface="Work Sans Light" pitchFamily="2" charset="0"/>
              </a:defRPr>
            </a:lvl1pPr>
          </a:lstStyle>
          <a:p>
            <a:r>
              <a:rPr lang="fi-FI" noProof="0"/>
              <a:t>Lisää otsikko tähä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1FDDA9F-DC3B-4803-9730-F564F287AC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56953" y="4894614"/>
            <a:ext cx="10477035" cy="77434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4000" spc="-10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Lisää alaotsikko tähän</a:t>
            </a:r>
          </a:p>
        </p:txBody>
      </p:sp>
      <p:sp>
        <p:nvSpPr>
          <p:cNvPr id="23" name="Tekstin paikkamerkki 22">
            <a:extLst>
              <a:ext uri="{FF2B5EF4-FFF2-40B4-BE49-F238E27FC236}">
                <a16:creationId xmlns:a16="http://schemas.microsoft.com/office/drawing/2014/main" id="{463699EA-6FB5-11FA-EFF4-9EF634830ED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6953" y="5780868"/>
            <a:ext cx="10477035" cy="423716"/>
          </a:xfrm>
        </p:spPr>
        <p:txBody>
          <a:bodyPr anchor="b" anchorCtr="0"/>
          <a:lstStyle>
            <a:lvl1pPr marL="0" indent="0" algn="ctr">
              <a:buNone/>
              <a:defRPr baseline="0"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fi-FI" noProof="0"/>
              <a:t>Lisää tekstiä tähän</a:t>
            </a:r>
          </a:p>
        </p:txBody>
      </p:sp>
      <p:grpSp>
        <p:nvGrpSpPr>
          <p:cNvPr id="12" name="Ryhmä 11">
            <a:extLst>
              <a:ext uri="{FF2B5EF4-FFF2-40B4-BE49-F238E27FC236}">
                <a16:creationId xmlns:a16="http://schemas.microsoft.com/office/drawing/2014/main" id="{D95F8E98-A2D7-E30E-1319-368CDF1FAEE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03203" y="203198"/>
            <a:ext cx="1117587" cy="1062785"/>
            <a:chOff x="203203" y="203198"/>
            <a:chExt cx="1117587" cy="1062785"/>
          </a:xfrm>
        </p:grpSpPr>
        <p:sp>
          <p:nvSpPr>
            <p:cNvPr id="13" name="Vapaamuotoinen: Muoto 12">
              <a:extLst>
                <a:ext uri="{FF2B5EF4-FFF2-40B4-BE49-F238E27FC236}">
                  <a16:creationId xmlns:a16="http://schemas.microsoft.com/office/drawing/2014/main" id="{440C446F-BCAC-7D6F-98A9-A7C2ED4872D4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4" name="Vapaamuotoinen: Muoto 13">
              <a:extLst>
                <a:ext uri="{FF2B5EF4-FFF2-40B4-BE49-F238E27FC236}">
                  <a16:creationId xmlns:a16="http://schemas.microsoft.com/office/drawing/2014/main" id="{4A7ADBEA-CE66-1301-501B-E3F7BAAF2E82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5" name="Vapaamuotoinen: Muoto 14">
              <a:extLst>
                <a:ext uri="{FF2B5EF4-FFF2-40B4-BE49-F238E27FC236}">
                  <a16:creationId xmlns:a16="http://schemas.microsoft.com/office/drawing/2014/main" id="{59A9E6E2-53EA-2E07-7385-4B02839D5454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6" name="Vapaamuotoinen: Muoto 15">
              <a:extLst>
                <a:ext uri="{FF2B5EF4-FFF2-40B4-BE49-F238E27FC236}">
                  <a16:creationId xmlns:a16="http://schemas.microsoft.com/office/drawing/2014/main" id="{5C12932F-FB13-37D4-DC9D-BBEF385C1C8C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7" name="Vapaamuotoinen: Muoto 16">
              <a:extLst>
                <a:ext uri="{FF2B5EF4-FFF2-40B4-BE49-F238E27FC236}">
                  <a16:creationId xmlns:a16="http://schemas.microsoft.com/office/drawing/2014/main" id="{A821A406-3190-93B4-506F-F6D30DD05EA6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8" name="Vapaamuotoinen: Muoto 17">
              <a:extLst>
                <a:ext uri="{FF2B5EF4-FFF2-40B4-BE49-F238E27FC236}">
                  <a16:creationId xmlns:a16="http://schemas.microsoft.com/office/drawing/2014/main" id="{B5B8BA96-4CED-7926-08D7-0E05D61B06AC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9" name="Vapaamuotoinen: Muoto 18">
              <a:extLst>
                <a:ext uri="{FF2B5EF4-FFF2-40B4-BE49-F238E27FC236}">
                  <a16:creationId xmlns:a16="http://schemas.microsoft.com/office/drawing/2014/main" id="{F7DE9934-1616-3AF5-1843-D98F7A954971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0" name="Vapaamuotoinen: Muoto 19">
              <a:extLst>
                <a:ext uri="{FF2B5EF4-FFF2-40B4-BE49-F238E27FC236}">
                  <a16:creationId xmlns:a16="http://schemas.microsoft.com/office/drawing/2014/main" id="{EABD3533-6A1F-7B8F-3045-7145CF403F02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</p:grp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0DD658E-3473-4681-B845-DA52394CB7D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107635" y="6269995"/>
            <a:ext cx="1972568" cy="284816"/>
          </a:xfrm>
        </p:spPr>
        <p:txBody>
          <a:bodyPr/>
          <a:lstStyle>
            <a:lvl1pPr algn="ctr">
              <a:defRPr/>
            </a:lvl1pPr>
          </a:lstStyle>
          <a:p>
            <a:r>
              <a:rPr lang="fi-FI" noProof="0"/>
              <a:t>15.5.2024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FA0F746-8E6A-4C7F-AE36-5BDBE3883D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160B98-140E-4345-B1A3-2A7247C42973}" type="slidenum">
              <a:rPr lang="fi-FI" noProof="0" smtClean="0"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793535612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nsi vihreä">
    <p:bg>
      <p:bgPr>
        <a:solidFill>
          <a:srgbClr val="B4FFA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6E6260-E36C-484A-9F25-1346EC50A8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56953" y="1733266"/>
            <a:ext cx="10477035" cy="2914270"/>
          </a:xfrm>
        </p:spPr>
        <p:txBody>
          <a:bodyPr anchor="ctr">
            <a:normAutofit/>
          </a:bodyPr>
          <a:lstStyle>
            <a:lvl1pPr algn="ctr">
              <a:defRPr sz="9200" spc="-250" baseline="0">
                <a:latin typeface="Work Sans Light" pitchFamily="2" charset="0"/>
              </a:defRPr>
            </a:lvl1pPr>
          </a:lstStyle>
          <a:p>
            <a:r>
              <a:rPr lang="fi-FI" noProof="0"/>
              <a:t>Lisää otsikko tähä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1FDDA9F-DC3B-4803-9730-F564F287AC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56953" y="4894614"/>
            <a:ext cx="10477035" cy="77434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4000" spc="-10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Lisää alaotsikko tähän</a:t>
            </a:r>
          </a:p>
        </p:txBody>
      </p:sp>
      <p:sp>
        <p:nvSpPr>
          <p:cNvPr id="23" name="Tekstin paikkamerkki 22">
            <a:extLst>
              <a:ext uri="{FF2B5EF4-FFF2-40B4-BE49-F238E27FC236}">
                <a16:creationId xmlns:a16="http://schemas.microsoft.com/office/drawing/2014/main" id="{463699EA-6FB5-11FA-EFF4-9EF634830ED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6953" y="5780868"/>
            <a:ext cx="10477035" cy="423716"/>
          </a:xfrm>
        </p:spPr>
        <p:txBody>
          <a:bodyPr anchor="b" anchorCtr="0"/>
          <a:lstStyle>
            <a:lvl1pPr marL="0" indent="0" algn="ctr">
              <a:buNone/>
              <a:defRPr baseline="0"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fi-FI" noProof="0"/>
              <a:t>Lisää tekstiä tähän</a:t>
            </a:r>
          </a:p>
        </p:txBody>
      </p:sp>
      <p:grpSp>
        <p:nvGrpSpPr>
          <p:cNvPr id="12" name="Ryhmä 11">
            <a:extLst>
              <a:ext uri="{FF2B5EF4-FFF2-40B4-BE49-F238E27FC236}">
                <a16:creationId xmlns:a16="http://schemas.microsoft.com/office/drawing/2014/main" id="{D95F8E98-A2D7-E30E-1319-368CDF1FAEE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03203" y="203198"/>
            <a:ext cx="1117587" cy="1062785"/>
            <a:chOff x="203203" y="203198"/>
            <a:chExt cx="1117587" cy="1062785"/>
          </a:xfrm>
        </p:grpSpPr>
        <p:sp>
          <p:nvSpPr>
            <p:cNvPr id="13" name="Vapaamuotoinen: Muoto 12">
              <a:extLst>
                <a:ext uri="{FF2B5EF4-FFF2-40B4-BE49-F238E27FC236}">
                  <a16:creationId xmlns:a16="http://schemas.microsoft.com/office/drawing/2014/main" id="{440C446F-BCAC-7D6F-98A9-A7C2ED4872D4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4" name="Vapaamuotoinen: Muoto 13">
              <a:extLst>
                <a:ext uri="{FF2B5EF4-FFF2-40B4-BE49-F238E27FC236}">
                  <a16:creationId xmlns:a16="http://schemas.microsoft.com/office/drawing/2014/main" id="{4A7ADBEA-CE66-1301-501B-E3F7BAAF2E82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5" name="Vapaamuotoinen: Muoto 14">
              <a:extLst>
                <a:ext uri="{FF2B5EF4-FFF2-40B4-BE49-F238E27FC236}">
                  <a16:creationId xmlns:a16="http://schemas.microsoft.com/office/drawing/2014/main" id="{59A9E6E2-53EA-2E07-7385-4B02839D5454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6" name="Vapaamuotoinen: Muoto 15">
              <a:extLst>
                <a:ext uri="{FF2B5EF4-FFF2-40B4-BE49-F238E27FC236}">
                  <a16:creationId xmlns:a16="http://schemas.microsoft.com/office/drawing/2014/main" id="{5C12932F-FB13-37D4-DC9D-BBEF385C1C8C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7" name="Vapaamuotoinen: Muoto 16">
              <a:extLst>
                <a:ext uri="{FF2B5EF4-FFF2-40B4-BE49-F238E27FC236}">
                  <a16:creationId xmlns:a16="http://schemas.microsoft.com/office/drawing/2014/main" id="{A821A406-3190-93B4-506F-F6D30DD05EA6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8" name="Vapaamuotoinen: Muoto 17">
              <a:extLst>
                <a:ext uri="{FF2B5EF4-FFF2-40B4-BE49-F238E27FC236}">
                  <a16:creationId xmlns:a16="http://schemas.microsoft.com/office/drawing/2014/main" id="{B5B8BA96-4CED-7926-08D7-0E05D61B06AC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9" name="Vapaamuotoinen: Muoto 18">
              <a:extLst>
                <a:ext uri="{FF2B5EF4-FFF2-40B4-BE49-F238E27FC236}">
                  <a16:creationId xmlns:a16="http://schemas.microsoft.com/office/drawing/2014/main" id="{F7DE9934-1616-3AF5-1843-D98F7A954971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0" name="Vapaamuotoinen: Muoto 19">
              <a:extLst>
                <a:ext uri="{FF2B5EF4-FFF2-40B4-BE49-F238E27FC236}">
                  <a16:creationId xmlns:a16="http://schemas.microsoft.com/office/drawing/2014/main" id="{EABD3533-6A1F-7B8F-3045-7145CF403F02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</p:grp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0DD658E-3473-4681-B845-DA52394CB7D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107635" y="6269995"/>
            <a:ext cx="1972568" cy="284816"/>
          </a:xfrm>
        </p:spPr>
        <p:txBody>
          <a:bodyPr/>
          <a:lstStyle>
            <a:lvl1pPr algn="ctr">
              <a:defRPr/>
            </a:lvl1pPr>
          </a:lstStyle>
          <a:p>
            <a:r>
              <a:rPr lang="fi-FI" noProof="0"/>
              <a:t>15.5.2024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FA0F746-8E6A-4C7F-AE36-5BDBE3883D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160B98-140E-4345-B1A3-2A7247C42973}" type="slidenum">
              <a:rPr lang="fi-FI" noProof="0" smtClean="0"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1681765590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nsi sininen">
    <p:bg>
      <p:bgPr>
        <a:solidFill>
          <a:srgbClr val="DCEFF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6E6260-E36C-484A-9F25-1346EC50A8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56953" y="1733266"/>
            <a:ext cx="10477035" cy="2914270"/>
          </a:xfrm>
        </p:spPr>
        <p:txBody>
          <a:bodyPr anchor="ctr">
            <a:normAutofit/>
          </a:bodyPr>
          <a:lstStyle>
            <a:lvl1pPr algn="ctr">
              <a:defRPr sz="9200" spc="-250" baseline="0">
                <a:latin typeface="Work Sans Light" pitchFamily="2" charset="0"/>
              </a:defRPr>
            </a:lvl1pPr>
          </a:lstStyle>
          <a:p>
            <a:r>
              <a:rPr lang="fi-FI" noProof="0"/>
              <a:t>Lisää otsikko tähä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1FDDA9F-DC3B-4803-9730-F564F287AC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56953" y="4894614"/>
            <a:ext cx="10477035" cy="77434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4000" spc="-10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Lisää alaotsikko tähän</a:t>
            </a:r>
          </a:p>
        </p:txBody>
      </p:sp>
      <p:sp>
        <p:nvSpPr>
          <p:cNvPr id="23" name="Tekstin paikkamerkki 22">
            <a:extLst>
              <a:ext uri="{FF2B5EF4-FFF2-40B4-BE49-F238E27FC236}">
                <a16:creationId xmlns:a16="http://schemas.microsoft.com/office/drawing/2014/main" id="{463699EA-6FB5-11FA-EFF4-9EF634830ED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6953" y="5780868"/>
            <a:ext cx="10477035" cy="423716"/>
          </a:xfrm>
        </p:spPr>
        <p:txBody>
          <a:bodyPr anchor="b" anchorCtr="0"/>
          <a:lstStyle>
            <a:lvl1pPr marL="0" indent="0" algn="ctr">
              <a:buNone/>
              <a:defRPr baseline="0"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fi-FI" noProof="0"/>
              <a:t>Lisää tekstiä tähän</a:t>
            </a:r>
          </a:p>
        </p:txBody>
      </p:sp>
      <p:grpSp>
        <p:nvGrpSpPr>
          <p:cNvPr id="12" name="Ryhmä 11">
            <a:extLst>
              <a:ext uri="{FF2B5EF4-FFF2-40B4-BE49-F238E27FC236}">
                <a16:creationId xmlns:a16="http://schemas.microsoft.com/office/drawing/2014/main" id="{D95F8E98-A2D7-E30E-1319-368CDF1FAEE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03203" y="203198"/>
            <a:ext cx="1117587" cy="1062785"/>
            <a:chOff x="203203" y="203198"/>
            <a:chExt cx="1117587" cy="1062785"/>
          </a:xfrm>
        </p:grpSpPr>
        <p:sp>
          <p:nvSpPr>
            <p:cNvPr id="13" name="Vapaamuotoinen: Muoto 12">
              <a:extLst>
                <a:ext uri="{FF2B5EF4-FFF2-40B4-BE49-F238E27FC236}">
                  <a16:creationId xmlns:a16="http://schemas.microsoft.com/office/drawing/2014/main" id="{440C446F-BCAC-7D6F-98A9-A7C2ED4872D4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4" name="Vapaamuotoinen: Muoto 13">
              <a:extLst>
                <a:ext uri="{FF2B5EF4-FFF2-40B4-BE49-F238E27FC236}">
                  <a16:creationId xmlns:a16="http://schemas.microsoft.com/office/drawing/2014/main" id="{4A7ADBEA-CE66-1301-501B-E3F7BAAF2E82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5" name="Vapaamuotoinen: Muoto 14">
              <a:extLst>
                <a:ext uri="{FF2B5EF4-FFF2-40B4-BE49-F238E27FC236}">
                  <a16:creationId xmlns:a16="http://schemas.microsoft.com/office/drawing/2014/main" id="{59A9E6E2-53EA-2E07-7385-4B02839D5454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6" name="Vapaamuotoinen: Muoto 15">
              <a:extLst>
                <a:ext uri="{FF2B5EF4-FFF2-40B4-BE49-F238E27FC236}">
                  <a16:creationId xmlns:a16="http://schemas.microsoft.com/office/drawing/2014/main" id="{5C12932F-FB13-37D4-DC9D-BBEF385C1C8C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7" name="Vapaamuotoinen: Muoto 16">
              <a:extLst>
                <a:ext uri="{FF2B5EF4-FFF2-40B4-BE49-F238E27FC236}">
                  <a16:creationId xmlns:a16="http://schemas.microsoft.com/office/drawing/2014/main" id="{A821A406-3190-93B4-506F-F6D30DD05EA6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8" name="Vapaamuotoinen: Muoto 17">
              <a:extLst>
                <a:ext uri="{FF2B5EF4-FFF2-40B4-BE49-F238E27FC236}">
                  <a16:creationId xmlns:a16="http://schemas.microsoft.com/office/drawing/2014/main" id="{B5B8BA96-4CED-7926-08D7-0E05D61B06AC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9" name="Vapaamuotoinen: Muoto 18">
              <a:extLst>
                <a:ext uri="{FF2B5EF4-FFF2-40B4-BE49-F238E27FC236}">
                  <a16:creationId xmlns:a16="http://schemas.microsoft.com/office/drawing/2014/main" id="{F7DE9934-1616-3AF5-1843-D98F7A954971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0" name="Vapaamuotoinen: Muoto 19">
              <a:extLst>
                <a:ext uri="{FF2B5EF4-FFF2-40B4-BE49-F238E27FC236}">
                  <a16:creationId xmlns:a16="http://schemas.microsoft.com/office/drawing/2014/main" id="{EABD3533-6A1F-7B8F-3045-7145CF403F02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</p:grp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0DD658E-3473-4681-B845-DA52394CB7D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107635" y="6269995"/>
            <a:ext cx="1972568" cy="284816"/>
          </a:xfrm>
        </p:spPr>
        <p:txBody>
          <a:bodyPr/>
          <a:lstStyle>
            <a:lvl1pPr algn="ctr">
              <a:defRPr/>
            </a:lvl1pPr>
          </a:lstStyle>
          <a:p>
            <a:r>
              <a:rPr lang="fi-FI" noProof="0"/>
              <a:t>15.5.2024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FA0F746-8E6A-4C7F-AE36-5BDBE3883D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160B98-140E-4345-B1A3-2A7247C42973}" type="slidenum">
              <a:rPr lang="fi-FI" noProof="0" smtClean="0"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2872220302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nsi punainen">
    <p:bg>
      <p:bgPr>
        <a:solidFill>
          <a:srgbClr val="FF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6E6260-E36C-484A-9F25-1346EC50A8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56953" y="1733266"/>
            <a:ext cx="10477035" cy="2914270"/>
          </a:xfrm>
        </p:spPr>
        <p:txBody>
          <a:bodyPr anchor="ctr">
            <a:normAutofit/>
          </a:bodyPr>
          <a:lstStyle>
            <a:lvl1pPr algn="ctr">
              <a:defRPr sz="9200" spc="-250" baseline="0">
                <a:latin typeface="Work Sans Light" pitchFamily="2" charset="0"/>
              </a:defRPr>
            </a:lvl1pPr>
          </a:lstStyle>
          <a:p>
            <a:r>
              <a:rPr lang="fi-FI" noProof="0"/>
              <a:t>Lisää otsikko tähä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1FDDA9F-DC3B-4803-9730-F564F287AC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56953" y="4894614"/>
            <a:ext cx="10477035" cy="77434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4000" spc="-10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Lisää alaotsikko tähän</a:t>
            </a:r>
          </a:p>
        </p:txBody>
      </p:sp>
      <p:sp>
        <p:nvSpPr>
          <p:cNvPr id="23" name="Tekstin paikkamerkki 22">
            <a:extLst>
              <a:ext uri="{FF2B5EF4-FFF2-40B4-BE49-F238E27FC236}">
                <a16:creationId xmlns:a16="http://schemas.microsoft.com/office/drawing/2014/main" id="{463699EA-6FB5-11FA-EFF4-9EF634830ED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6953" y="5780868"/>
            <a:ext cx="10477035" cy="423716"/>
          </a:xfrm>
        </p:spPr>
        <p:txBody>
          <a:bodyPr anchor="b" anchorCtr="0"/>
          <a:lstStyle>
            <a:lvl1pPr marL="0" indent="0" algn="ctr">
              <a:buNone/>
              <a:defRPr baseline="0"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fi-FI" noProof="0"/>
              <a:t>Lisää tekstiä tähän</a:t>
            </a:r>
          </a:p>
        </p:txBody>
      </p:sp>
      <p:grpSp>
        <p:nvGrpSpPr>
          <p:cNvPr id="12" name="Ryhmä 11">
            <a:extLst>
              <a:ext uri="{FF2B5EF4-FFF2-40B4-BE49-F238E27FC236}">
                <a16:creationId xmlns:a16="http://schemas.microsoft.com/office/drawing/2014/main" id="{D95F8E98-A2D7-E30E-1319-368CDF1FAEE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03203" y="203198"/>
            <a:ext cx="1117587" cy="1062785"/>
            <a:chOff x="203203" y="203198"/>
            <a:chExt cx="1117587" cy="1062785"/>
          </a:xfrm>
        </p:grpSpPr>
        <p:sp>
          <p:nvSpPr>
            <p:cNvPr id="13" name="Vapaamuotoinen: Muoto 12">
              <a:extLst>
                <a:ext uri="{FF2B5EF4-FFF2-40B4-BE49-F238E27FC236}">
                  <a16:creationId xmlns:a16="http://schemas.microsoft.com/office/drawing/2014/main" id="{440C446F-BCAC-7D6F-98A9-A7C2ED4872D4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4" name="Vapaamuotoinen: Muoto 13">
              <a:extLst>
                <a:ext uri="{FF2B5EF4-FFF2-40B4-BE49-F238E27FC236}">
                  <a16:creationId xmlns:a16="http://schemas.microsoft.com/office/drawing/2014/main" id="{4A7ADBEA-CE66-1301-501B-E3F7BAAF2E82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5" name="Vapaamuotoinen: Muoto 14">
              <a:extLst>
                <a:ext uri="{FF2B5EF4-FFF2-40B4-BE49-F238E27FC236}">
                  <a16:creationId xmlns:a16="http://schemas.microsoft.com/office/drawing/2014/main" id="{59A9E6E2-53EA-2E07-7385-4B02839D5454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6" name="Vapaamuotoinen: Muoto 15">
              <a:extLst>
                <a:ext uri="{FF2B5EF4-FFF2-40B4-BE49-F238E27FC236}">
                  <a16:creationId xmlns:a16="http://schemas.microsoft.com/office/drawing/2014/main" id="{5C12932F-FB13-37D4-DC9D-BBEF385C1C8C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7" name="Vapaamuotoinen: Muoto 16">
              <a:extLst>
                <a:ext uri="{FF2B5EF4-FFF2-40B4-BE49-F238E27FC236}">
                  <a16:creationId xmlns:a16="http://schemas.microsoft.com/office/drawing/2014/main" id="{A821A406-3190-93B4-506F-F6D30DD05EA6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8" name="Vapaamuotoinen: Muoto 17">
              <a:extLst>
                <a:ext uri="{FF2B5EF4-FFF2-40B4-BE49-F238E27FC236}">
                  <a16:creationId xmlns:a16="http://schemas.microsoft.com/office/drawing/2014/main" id="{B5B8BA96-4CED-7926-08D7-0E05D61B06AC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9" name="Vapaamuotoinen: Muoto 18">
              <a:extLst>
                <a:ext uri="{FF2B5EF4-FFF2-40B4-BE49-F238E27FC236}">
                  <a16:creationId xmlns:a16="http://schemas.microsoft.com/office/drawing/2014/main" id="{F7DE9934-1616-3AF5-1843-D98F7A954971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0" name="Vapaamuotoinen: Muoto 19">
              <a:extLst>
                <a:ext uri="{FF2B5EF4-FFF2-40B4-BE49-F238E27FC236}">
                  <a16:creationId xmlns:a16="http://schemas.microsoft.com/office/drawing/2014/main" id="{EABD3533-6A1F-7B8F-3045-7145CF403F02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</p:grp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0DD658E-3473-4681-B845-DA52394CB7D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107635" y="6269995"/>
            <a:ext cx="1972568" cy="284816"/>
          </a:xfrm>
        </p:spPr>
        <p:txBody>
          <a:bodyPr/>
          <a:lstStyle>
            <a:lvl1pPr algn="ctr">
              <a:defRPr/>
            </a:lvl1pPr>
          </a:lstStyle>
          <a:p>
            <a:r>
              <a:rPr lang="fi-FI" noProof="0"/>
              <a:t>15.5.2024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FA0F746-8E6A-4C7F-AE36-5BDBE3883D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160B98-140E-4345-B1A3-2A7247C42973}" type="slidenum">
              <a:rPr lang="fi-FI" noProof="0" smtClean="0"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2770984612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nsi keltainen">
    <p:bg>
      <p:bgPr>
        <a:solidFill>
          <a:srgbClr val="FFFAC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6E6260-E36C-484A-9F25-1346EC50A8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56953" y="1733266"/>
            <a:ext cx="10477035" cy="2914270"/>
          </a:xfrm>
        </p:spPr>
        <p:txBody>
          <a:bodyPr anchor="ctr">
            <a:normAutofit/>
          </a:bodyPr>
          <a:lstStyle>
            <a:lvl1pPr algn="ctr">
              <a:defRPr sz="9200" spc="-250" baseline="0">
                <a:latin typeface="Work Sans Light" pitchFamily="2" charset="0"/>
              </a:defRPr>
            </a:lvl1pPr>
          </a:lstStyle>
          <a:p>
            <a:r>
              <a:rPr lang="fi-FI" noProof="0"/>
              <a:t>Lisää otsikko tähä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1FDDA9F-DC3B-4803-9730-F564F287AC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56953" y="4894614"/>
            <a:ext cx="10477035" cy="77434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4000" spc="-10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Lisää alaotsikko tähän</a:t>
            </a:r>
          </a:p>
        </p:txBody>
      </p:sp>
      <p:sp>
        <p:nvSpPr>
          <p:cNvPr id="23" name="Tekstin paikkamerkki 22">
            <a:extLst>
              <a:ext uri="{FF2B5EF4-FFF2-40B4-BE49-F238E27FC236}">
                <a16:creationId xmlns:a16="http://schemas.microsoft.com/office/drawing/2014/main" id="{463699EA-6FB5-11FA-EFF4-9EF634830ED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6953" y="5780868"/>
            <a:ext cx="10477035" cy="423716"/>
          </a:xfrm>
        </p:spPr>
        <p:txBody>
          <a:bodyPr anchor="b" anchorCtr="0"/>
          <a:lstStyle>
            <a:lvl1pPr marL="0" indent="0" algn="ctr">
              <a:buNone/>
              <a:defRPr baseline="0"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fi-FI" noProof="0"/>
              <a:t>Lisää tekstiä tähän</a:t>
            </a:r>
          </a:p>
        </p:txBody>
      </p:sp>
      <p:grpSp>
        <p:nvGrpSpPr>
          <p:cNvPr id="12" name="Ryhmä 11">
            <a:extLst>
              <a:ext uri="{FF2B5EF4-FFF2-40B4-BE49-F238E27FC236}">
                <a16:creationId xmlns:a16="http://schemas.microsoft.com/office/drawing/2014/main" id="{D95F8E98-A2D7-E30E-1319-368CDF1FAEE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03203" y="203198"/>
            <a:ext cx="1117587" cy="1062785"/>
            <a:chOff x="203203" y="203198"/>
            <a:chExt cx="1117587" cy="1062785"/>
          </a:xfrm>
        </p:grpSpPr>
        <p:sp>
          <p:nvSpPr>
            <p:cNvPr id="13" name="Vapaamuotoinen: Muoto 12">
              <a:extLst>
                <a:ext uri="{FF2B5EF4-FFF2-40B4-BE49-F238E27FC236}">
                  <a16:creationId xmlns:a16="http://schemas.microsoft.com/office/drawing/2014/main" id="{440C446F-BCAC-7D6F-98A9-A7C2ED4872D4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4" name="Vapaamuotoinen: Muoto 13">
              <a:extLst>
                <a:ext uri="{FF2B5EF4-FFF2-40B4-BE49-F238E27FC236}">
                  <a16:creationId xmlns:a16="http://schemas.microsoft.com/office/drawing/2014/main" id="{4A7ADBEA-CE66-1301-501B-E3F7BAAF2E82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5" name="Vapaamuotoinen: Muoto 14">
              <a:extLst>
                <a:ext uri="{FF2B5EF4-FFF2-40B4-BE49-F238E27FC236}">
                  <a16:creationId xmlns:a16="http://schemas.microsoft.com/office/drawing/2014/main" id="{59A9E6E2-53EA-2E07-7385-4B02839D5454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6" name="Vapaamuotoinen: Muoto 15">
              <a:extLst>
                <a:ext uri="{FF2B5EF4-FFF2-40B4-BE49-F238E27FC236}">
                  <a16:creationId xmlns:a16="http://schemas.microsoft.com/office/drawing/2014/main" id="{5C12932F-FB13-37D4-DC9D-BBEF385C1C8C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7" name="Vapaamuotoinen: Muoto 16">
              <a:extLst>
                <a:ext uri="{FF2B5EF4-FFF2-40B4-BE49-F238E27FC236}">
                  <a16:creationId xmlns:a16="http://schemas.microsoft.com/office/drawing/2014/main" id="{A821A406-3190-93B4-506F-F6D30DD05EA6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8" name="Vapaamuotoinen: Muoto 17">
              <a:extLst>
                <a:ext uri="{FF2B5EF4-FFF2-40B4-BE49-F238E27FC236}">
                  <a16:creationId xmlns:a16="http://schemas.microsoft.com/office/drawing/2014/main" id="{B5B8BA96-4CED-7926-08D7-0E05D61B06AC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9" name="Vapaamuotoinen: Muoto 18">
              <a:extLst>
                <a:ext uri="{FF2B5EF4-FFF2-40B4-BE49-F238E27FC236}">
                  <a16:creationId xmlns:a16="http://schemas.microsoft.com/office/drawing/2014/main" id="{F7DE9934-1616-3AF5-1843-D98F7A954971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0" name="Vapaamuotoinen: Muoto 19">
              <a:extLst>
                <a:ext uri="{FF2B5EF4-FFF2-40B4-BE49-F238E27FC236}">
                  <a16:creationId xmlns:a16="http://schemas.microsoft.com/office/drawing/2014/main" id="{EABD3533-6A1F-7B8F-3045-7145CF403F02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</p:grp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0DD658E-3473-4681-B845-DA52394CB7D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107635" y="6269995"/>
            <a:ext cx="1972568" cy="284816"/>
          </a:xfrm>
        </p:spPr>
        <p:txBody>
          <a:bodyPr/>
          <a:lstStyle>
            <a:lvl1pPr algn="ctr">
              <a:defRPr/>
            </a:lvl1pPr>
          </a:lstStyle>
          <a:p>
            <a:r>
              <a:rPr lang="fi-FI" noProof="0"/>
              <a:t>15.5.2024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FA0F746-8E6A-4C7F-AE36-5BDBE3883D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160B98-140E-4345-B1A3-2A7247C42973}" type="slidenum">
              <a:rPr lang="fi-FI" noProof="0" smtClean="0"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2155815565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0DB878-8E84-426A-BEF0-AF1AAFA1F9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i-FI" noProof="0"/>
              <a:t>Lisää otsikko tähä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E3B6CAA-4767-42B4-A19C-0CFD9AFC822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76517" y="2272553"/>
            <a:ext cx="11447929" cy="3375893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i-FI" noProof="0"/>
              <a:t>Lisää ensimmäisen tason tekstiä tähän</a:t>
            </a:r>
          </a:p>
          <a:p>
            <a:pPr lvl="1"/>
            <a:r>
              <a:rPr lang="fi-FI" noProof="0"/>
              <a:t>Toisen tason teksti</a:t>
            </a:r>
          </a:p>
          <a:p>
            <a:pPr lvl="2"/>
            <a:r>
              <a:rPr lang="fi-FI" noProof="0"/>
              <a:t>Kolmannen tason teksti</a:t>
            </a:r>
          </a:p>
          <a:p>
            <a:pPr lvl="3"/>
            <a:r>
              <a:rPr lang="fi-FI" noProof="0"/>
              <a:t>Neljännen tason teksti</a:t>
            </a:r>
          </a:p>
          <a:p>
            <a:pPr lvl="4"/>
            <a:r>
              <a:rPr lang="fi-FI" noProof="0"/>
              <a:t>Viidennen tason teksti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E996DCA-8E68-4F4A-A4A6-ACE6BC7F24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noProof="0"/>
              <a:t>15.5.2024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DC7B94-042D-44C2-B7B2-1128AAFA57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160B98-140E-4345-B1A3-2A7247C42973}" type="slidenum">
              <a:rPr lang="fi-FI" noProof="0" smtClean="0"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357650606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2 palst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0DB878-8E84-426A-BEF0-AF1AAFA1F9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fi-FI" noProof="0"/>
              <a:t>Lisää otsikko tähä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E3B6CAA-4767-42B4-A19C-0CFD9AFC822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76517" y="2272553"/>
            <a:ext cx="5402491" cy="3375893"/>
          </a:xfrm>
        </p:spPr>
        <p:txBody>
          <a:bodyPr/>
          <a:lstStyle/>
          <a:p>
            <a:pPr lvl="0"/>
            <a:r>
              <a:rPr lang="fi-FI" noProof="0"/>
              <a:t>Lisää ensimmäisen tason tekstiä tähän</a:t>
            </a:r>
          </a:p>
          <a:p>
            <a:pPr lvl="1"/>
            <a:r>
              <a:rPr lang="fi-FI" noProof="0"/>
              <a:t>Toisen tason teksti</a:t>
            </a:r>
          </a:p>
          <a:p>
            <a:pPr lvl="2"/>
            <a:r>
              <a:rPr lang="fi-FI" noProof="0"/>
              <a:t>Kolmannen tason teksti</a:t>
            </a:r>
          </a:p>
          <a:p>
            <a:pPr lvl="3"/>
            <a:r>
              <a:rPr lang="fi-FI" noProof="0"/>
              <a:t>Neljännen tason teksti</a:t>
            </a:r>
          </a:p>
          <a:p>
            <a:pPr lvl="4"/>
            <a:r>
              <a:rPr lang="fi-FI" noProof="0"/>
              <a:t>Viidennen tason teksti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8B50D57F-92B8-8C62-9F06-00B251928CA3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05233" y="2272553"/>
            <a:ext cx="5402491" cy="3375893"/>
          </a:xfrm>
        </p:spPr>
        <p:txBody>
          <a:bodyPr/>
          <a:lstStyle/>
          <a:p>
            <a:pPr lvl="0"/>
            <a:r>
              <a:rPr lang="fi-FI" noProof="0"/>
              <a:t>Lisää ensimmäisen tason tekstiä tähän</a:t>
            </a:r>
          </a:p>
          <a:p>
            <a:pPr lvl="1"/>
            <a:r>
              <a:rPr lang="fi-FI" noProof="0"/>
              <a:t>Toisen tason teksti</a:t>
            </a:r>
          </a:p>
          <a:p>
            <a:pPr lvl="2"/>
            <a:r>
              <a:rPr lang="fi-FI" noProof="0"/>
              <a:t>Kolmannen tason teksti</a:t>
            </a:r>
          </a:p>
          <a:p>
            <a:pPr lvl="3"/>
            <a:r>
              <a:rPr lang="fi-FI" noProof="0"/>
              <a:t>Neljännen tason teksti</a:t>
            </a:r>
          </a:p>
          <a:p>
            <a:pPr lvl="4"/>
            <a:r>
              <a:rPr lang="fi-FI" noProof="0"/>
              <a:t>Viidennen tason teksti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E996DCA-8E68-4F4A-A4A6-ACE6BC7F24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noProof="0"/>
              <a:t>15.5.2024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DC7B94-042D-44C2-B7B2-1128AAFA57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160B98-140E-4345-B1A3-2A7247C42973}" type="slidenum">
              <a:rPr lang="fi-FI" noProof="0" smtClean="0"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2424586405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afi tai taulu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0DB878-8E84-426A-BEF0-AF1AAFA1F9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518" y="557865"/>
            <a:ext cx="5317846" cy="1988565"/>
          </a:xfrm>
        </p:spPr>
        <p:txBody>
          <a:bodyPr anchor="b"/>
          <a:lstStyle>
            <a:lvl1pPr>
              <a:defRPr spc="-200" baseline="0"/>
            </a:lvl1pPr>
          </a:lstStyle>
          <a:p>
            <a:r>
              <a:rPr lang="fi-FI" noProof="0"/>
              <a:t>Lisää otsikko tähän</a:t>
            </a:r>
          </a:p>
        </p:txBody>
      </p:sp>
      <p:sp>
        <p:nvSpPr>
          <p:cNvPr id="10" name="Tekstin paikkamerkki 9">
            <a:extLst>
              <a:ext uri="{FF2B5EF4-FFF2-40B4-BE49-F238E27FC236}">
                <a16:creationId xmlns:a16="http://schemas.microsoft.com/office/drawing/2014/main" id="{0F7B559E-6045-F357-12A2-EE12102F2E7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2774122"/>
            <a:ext cx="5318125" cy="2848465"/>
          </a:xfrm>
        </p:spPr>
        <p:txBody>
          <a:bodyPr/>
          <a:lstStyle/>
          <a:p>
            <a:pPr lvl="0"/>
            <a:r>
              <a:rPr lang="fi-FI" noProof="0"/>
              <a:t>Lisää ensimmäisen tason tekstiä tähän</a:t>
            </a:r>
          </a:p>
          <a:p>
            <a:pPr lvl="1"/>
            <a:r>
              <a:rPr lang="fi-FI" noProof="0"/>
              <a:t>Toisen tason teksti</a:t>
            </a:r>
          </a:p>
          <a:p>
            <a:pPr lvl="2"/>
            <a:r>
              <a:rPr lang="fi-FI" noProof="0"/>
              <a:t>Kolmannen tason teksti</a:t>
            </a:r>
          </a:p>
          <a:p>
            <a:pPr lvl="3"/>
            <a:r>
              <a:rPr lang="fi-FI" noProof="0"/>
              <a:t>Neljännen tason teksti</a:t>
            </a:r>
          </a:p>
          <a:p>
            <a:pPr lvl="4"/>
            <a:r>
              <a:rPr lang="fi-FI" noProof="0"/>
              <a:t>Viidennen tason teksti</a:t>
            </a:r>
          </a:p>
        </p:txBody>
      </p:sp>
      <p:sp>
        <p:nvSpPr>
          <p:cNvPr id="14" name="Tekstin paikkamerkki 13">
            <a:extLst>
              <a:ext uri="{FF2B5EF4-FFF2-40B4-BE49-F238E27FC236}">
                <a16:creationId xmlns:a16="http://schemas.microsoft.com/office/drawing/2014/main" id="{4954B59D-6963-E772-85EF-175EAA3F8B5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96000" y="753978"/>
            <a:ext cx="5728446" cy="753979"/>
          </a:xfrm>
        </p:spPr>
        <p:txBody>
          <a:bodyPr anchor="b"/>
          <a:lstStyle>
            <a:lvl1pPr marL="0" indent="0">
              <a:lnSpc>
                <a:spcPct val="90000"/>
              </a:lnSpc>
              <a:buNone/>
              <a:defRPr sz="2800"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fi-FI" noProof="0"/>
              <a:t>Lisää tekstiä tähän</a:t>
            </a:r>
          </a:p>
        </p:txBody>
      </p:sp>
      <p:sp>
        <p:nvSpPr>
          <p:cNvPr id="12" name="Kaavion paikkamerkki 11">
            <a:extLst>
              <a:ext uri="{FF2B5EF4-FFF2-40B4-BE49-F238E27FC236}">
                <a16:creationId xmlns:a16="http://schemas.microsoft.com/office/drawing/2014/main" id="{BB611A4E-DEEE-A0E8-D114-FCFC93862A68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6096000" y="1700463"/>
            <a:ext cx="5719482" cy="3922124"/>
          </a:xfr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fi-FI" noProof="0"/>
              <a:t>Lisää kaavio napsauttamalla kuvaketta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E996DCA-8E68-4F4A-A4A6-ACE6BC7F24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noProof="0"/>
              <a:t>15.5.2024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DC7B94-042D-44C2-B7B2-1128AAFA57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160B98-140E-4345-B1A3-2A7247C42973}" type="slidenum">
              <a:rPr lang="fi-FI" noProof="0" smtClean="0"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3593294186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nkilöesitte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0DB878-8E84-426A-BEF0-AF1AAFA1F9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518" y="545030"/>
            <a:ext cx="11293593" cy="754100"/>
          </a:xfrm>
        </p:spPr>
        <p:txBody>
          <a:bodyPr>
            <a:normAutofit/>
          </a:bodyPr>
          <a:lstStyle>
            <a:lvl1pPr>
              <a:defRPr sz="5000" spc="-200" baseline="0"/>
            </a:lvl1pPr>
          </a:lstStyle>
          <a:p>
            <a:r>
              <a:rPr lang="fi-FI" noProof="0"/>
              <a:t>Lisää otsikko tähän</a:t>
            </a:r>
          </a:p>
        </p:txBody>
      </p:sp>
      <p:sp>
        <p:nvSpPr>
          <p:cNvPr id="6" name="Picture Placeholder 7">
            <a:extLst>
              <a:ext uri="{FF2B5EF4-FFF2-40B4-BE49-F238E27FC236}">
                <a16:creationId xmlns:a16="http://schemas.microsoft.com/office/drawing/2014/main" id="{3C6DFD1E-25B9-3130-78C2-F506DD351C6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76519" y="1462157"/>
            <a:ext cx="2088000" cy="2191026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None/>
              <a:defRPr sz="1800"/>
            </a:lvl1pPr>
          </a:lstStyle>
          <a:p>
            <a:r>
              <a:rPr lang="fi-FI" noProof="0"/>
              <a:t>Lisää kuva napsauttamalla kuvaketta</a:t>
            </a:r>
          </a:p>
        </p:txBody>
      </p:sp>
      <p:sp>
        <p:nvSpPr>
          <p:cNvPr id="11" name="Tekstin paikkamerkki 10">
            <a:extLst>
              <a:ext uri="{FF2B5EF4-FFF2-40B4-BE49-F238E27FC236}">
                <a16:creationId xmlns:a16="http://schemas.microsoft.com/office/drawing/2014/main" id="{2003F933-4036-B73D-C25D-1264A7279CE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5491" y="3816210"/>
            <a:ext cx="2088000" cy="688975"/>
          </a:xfrm>
        </p:spPr>
        <p:txBody>
          <a:bodyPr/>
          <a:lstStyle>
            <a:lvl1pPr marL="0" indent="0">
              <a:lnSpc>
                <a:spcPct val="95000"/>
              </a:lnSpc>
              <a:buNone/>
              <a:defRPr spc="-50" baseline="0">
                <a:latin typeface="+mj-lt"/>
              </a:defRPr>
            </a:lvl1pPr>
          </a:lstStyle>
          <a:p>
            <a:pPr lvl="0"/>
            <a:r>
              <a:rPr lang="fi-FI" noProof="0"/>
              <a:t>Lisää tekstiä tähän</a:t>
            </a:r>
          </a:p>
        </p:txBody>
      </p:sp>
      <p:sp>
        <p:nvSpPr>
          <p:cNvPr id="12" name="Tekstin paikkamerkki 10">
            <a:extLst>
              <a:ext uri="{FF2B5EF4-FFF2-40B4-BE49-F238E27FC236}">
                <a16:creationId xmlns:a16="http://schemas.microsoft.com/office/drawing/2014/main" id="{71D354F0-5E0A-1D3D-B980-867CDBB4737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5491" y="4653121"/>
            <a:ext cx="2088000" cy="963406"/>
          </a:xfrm>
        </p:spPr>
        <p:txBody>
          <a:bodyPr/>
          <a:lstStyle>
            <a:lvl1pPr marL="0" indent="0">
              <a:lnSpc>
                <a:spcPct val="95000"/>
              </a:lnSpc>
              <a:buNone/>
              <a:defRPr sz="1800">
                <a:latin typeface="+mn-lt"/>
              </a:defRPr>
            </a:lvl1pPr>
          </a:lstStyle>
          <a:p>
            <a:pPr lvl="0"/>
            <a:r>
              <a:rPr lang="fi-FI" noProof="0"/>
              <a:t>Lisää tekstiä tähän</a:t>
            </a:r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94025492-7AE0-36A5-8BE4-FAC3F9840C1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677917" y="1462157"/>
            <a:ext cx="2088000" cy="2191026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None/>
              <a:defRPr sz="1800"/>
            </a:lvl1pPr>
          </a:lstStyle>
          <a:p>
            <a:r>
              <a:rPr lang="fi-FI" noProof="0"/>
              <a:t>Lisää kuva napsauttamalla kuvaketta</a:t>
            </a:r>
          </a:p>
        </p:txBody>
      </p:sp>
      <p:sp>
        <p:nvSpPr>
          <p:cNvPr id="14" name="Tekstin paikkamerkki 10">
            <a:extLst>
              <a:ext uri="{FF2B5EF4-FFF2-40B4-BE49-F238E27FC236}">
                <a16:creationId xmlns:a16="http://schemas.microsoft.com/office/drawing/2014/main" id="{9759F812-6A78-B94C-7736-7B1EB6F1FE2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677917" y="3816210"/>
            <a:ext cx="2088000" cy="688975"/>
          </a:xfrm>
        </p:spPr>
        <p:txBody>
          <a:bodyPr/>
          <a:lstStyle>
            <a:lvl1pPr marL="0" indent="0">
              <a:lnSpc>
                <a:spcPct val="95000"/>
              </a:lnSpc>
              <a:buNone/>
              <a:defRPr spc="-50" baseline="0">
                <a:latin typeface="+mj-lt"/>
              </a:defRPr>
            </a:lvl1pPr>
          </a:lstStyle>
          <a:p>
            <a:pPr lvl="0"/>
            <a:r>
              <a:rPr lang="fi-FI" noProof="0"/>
              <a:t>Lisää tekstiä tähän</a:t>
            </a:r>
          </a:p>
        </p:txBody>
      </p:sp>
      <p:sp>
        <p:nvSpPr>
          <p:cNvPr id="15" name="Tekstin paikkamerkki 10">
            <a:extLst>
              <a:ext uri="{FF2B5EF4-FFF2-40B4-BE49-F238E27FC236}">
                <a16:creationId xmlns:a16="http://schemas.microsoft.com/office/drawing/2014/main" id="{F10FC5E0-9C18-ABE4-1C1D-199D3DC17D2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677917" y="4653121"/>
            <a:ext cx="2088000" cy="963406"/>
          </a:xfrm>
        </p:spPr>
        <p:txBody>
          <a:bodyPr/>
          <a:lstStyle>
            <a:lvl1pPr marL="0" indent="0">
              <a:lnSpc>
                <a:spcPct val="95000"/>
              </a:lnSpc>
              <a:buNone/>
              <a:defRPr sz="1800">
                <a:latin typeface="+mn-lt"/>
              </a:defRPr>
            </a:lvl1pPr>
          </a:lstStyle>
          <a:p>
            <a:pPr lvl="0"/>
            <a:r>
              <a:rPr lang="fi-FI" noProof="0"/>
              <a:t>Lisää tekstiä tähän</a:t>
            </a:r>
          </a:p>
        </p:txBody>
      </p:sp>
      <p:sp>
        <p:nvSpPr>
          <p:cNvPr id="16" name="Picture Placeholder 7">
            <a:extLst>
              <a:ext uri="{FF2B5EF4-FFF2-40B4-BE49-F238E27FC236}">
                <a16:creationId xmlns:a16="http://schemas.microsoft.com/office/drawing/2014/main" id="{B9E0C15F-CB46-1A9E-672F-794D125ACECD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979315" y="1462157"/>
            <a:ext cx="2088000" cy="21924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None/>
              <a:defRPr sz="1800"/>
            </a:lvl1pPr>
          </a:lstStyle>
          <a:p>
            <a:r>
              <a:rPr lang="fi-FI" noProof="0"/>
              <a:t>Lisää kuva napsauttamalla kuvaketta</a:t>
            </a:r>
          </a:p>
        </p:txBody>
      </p:sp>
      <p:sp>
        <p:nvSpPr>
          <p:cNvPr id="17" name="Tekstin paikkamerkki 10">
            <a:extLst>
              <a:ext uri="{FF2B5EF4-FFF2-40B4-BE49-F238E27FC236}">
                <a16:creationId xmlns:a16="http://schemas.microsoft.com/office/drawing/2014/main" id="{4056000E-738D-0FB6-B542-9719E2D9789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70343" y="3816210"/>
            <a:ext cx="2096972" cy="688975"/>
          </a:xfrm>
        </p:spPr>
        <p:txBody>
          <a:bodyPr/>
          <a:lstStyle>
            <a:lvl1pPr marL="0" indent="0">
              <a:lnSpc>
                <a:spcPct val="95000"/>
              </a:lnSpc>
              <a:buNone/>
              <a:defRPr spc="-50" baseline="0">
                <a:latin typeface="+mj-lt"/>
              </a:defRPr>
            </a:lvl1pPr>
          </a:lstStyle>
          <a:p>
            <a:pPr lvl="0"/>
            <a:r>
              <a:rPr lang="fi-FI" noProof="0"/>
              <a:t>Lisää tekstiä tähän</a:t>
            </a:r>
          </a:p>
        </p:txBody>
      </p:sp>
      <p:sp>
        <p:nvSpPr>
          <p:cNvPr id="18" name="Tekstin paikkamerkki 10">
            <a:extLst>
              <a:ext uri="{FF2B5EF4-FFF2-40B4-BE49-F238E27FC236}">
                <a16:creationId xmlns:a16="http://schemas.microsoft.com/office/drawing/2014/main" id="{6BD22EF5-9153-5222-D7A5-F62B5427CD1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979315" y="4653121"/>
            <a:ext cx="2096972" cy="963406"/>
          </a:xfrm>
        </p:spPr>
        <p:txBody>
          <a:bodyPr/>
          <a:lstStyle>
            <a:lvl1pPr marL="0" indent="0">
              <a:lnSpc>
                <a:spcPct val="95000"/>
              </a:lnSpc>
              <a:buNone/>
              <a:defRPr sz="1800">
                <a:latin typeface="+mn-lt"/>
              </a:defRPr>
            </a:lvl1pPr>
          </a:lstStyle>
          <a:p>
            <a:pPr lvl="0"/>
            <a:r>
              <a:rPr lang="fi-FI" noProof="0"/>
              <a:t>Lisää tekstiä tähän</a:t>
            </a:r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98DE1965-1677-8A90-2B34-004BAD2FEB6C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80713" y="1462157"/>
            <a:ext cx="2088000" cy="2191026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None/>
              <a:defRPr sz="1800"/>
            </a:lvl1pPr>
          </a:lstStyle>
          <a:p>
            <a:r>
              <a:rPr lang="fi-FI" noProof="0"/>
              <a:t>Lisää kuva napsauttamalla kuvaketta</a:t>
            </a:r>
          </a:p>
        </p:txBody>
      </p:sp>
      <p:sp>
        <p:nvSpPr>
          <p:cNvPr id="20" name="Tekstin paikkamerkki 10">
            <a:extLst>
              <a:ext uri="{FF2B5EF4-FFF2-40B4-BE49-F238E27FC236}">
                <a16:creationId xmlns:a16="http://schemas.microsoft.com/office/drawing/2014/main" id="{9A00C853-70F5-D639-E3A2-2176CA2CED4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271742" y="3816210"/>
            <a:ext cx="2096972" cy="688975"/>
          </a:xfrm>
        </p:spPr>
        <p:txBody>
          <a:bodyPr/>
          <a:lstStyle>
            <a:lvl1pPr marL="0" indent="0">
              <a:lnSpc>
                <a:spcPct val="95000"/>
              </a:lnSpc>
              <a:buNone/>
              <a:defRPr spc="-50" baseline="0">
                <a:latin typeface="+mj-lt"/>
              </a:defRPr>
            </a:lvl1pPr>
          </a:lstStyle>
          <a:p>
            <a:pPr lvl="0"/>
            <a:r>
              <a:rPr lang="fi-FI" noProof="0"/>
              <a:t>Lisää tekstiä tähän</a:t>
            </a:r>
          </a:p>
        </p:txBody>
      </p:sp>
      <p:sp>
        <p:nvSpPr>
          <p:cNvPr id="21" name="Tekstin paikkamerkki 10">
            <a:extLst>
              <a:ext uri="{FF2B5EF4-FFF2-40B4-BE49-F238E27FC236}">
                <a16:creationId xmlns:a16="http://schemas.microsoft.com/office/drawing/2014/main" id="{503FF37F-2F8A-20AF-B309-D0D2E31B243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289685" y="4653121"/>
            <a:ext cx="2088001" cy="963406"/>
          </a:xfrm>
        </p:spPr>
        <p:txBody>
          <a:bodyPr/>
          <a:lstStyle>
            <a:lvl1pPr marL="0" indent="0">
              <a:lnSpc>
                <a:spcPct val="95000"/>
              </a:lnSpc>
              <a:buNone/>
              <a:defRPr sz="1800">
                <a:latin typeface="+mn-lt"/>
              </a:defRPr>
            </a:lvl1pPr>
          </a:lstStyle>
          <a:p>
            <a:pPr lvl="0"/>
            <a:r>
              <a:rPr lang="fi-FI" noProof="0"/>
              <a:t>Lisää tekstiä tähän</a:t>
            </a:r>
          </a:p>
        </p:txBody>
      </p:sp>
      <p:sp>
        <p:nvSpPr>
          <p:cNvPr id="4" name="Picture Placeholder 7">
            <a:extLst>
              <a:ext uri="{FF2B5EF4-FFF2-40B4-BE49-F238E27FC236}">
                <a16:creationId xmlns:a16="http://schemas.microsoft.com/office/drawing/2014/main" id="{9BC5DE80-4959-34E9-2754-7FEBB4109061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9582111" y="1462157"/>
            <a:ext cx="2088000" cy="2191026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None/>
              <a:defRPr sz="1800"/>
            </a:lvl1pPr>
          </a:lstStyle>
          <a:p>
            <a:r>
              <a:rPr lang="fi-FI" noProof="0"/>
              <a:t>Lisää kuva napsauttamalla kuvaketta</a:t>
            </a:r>
          </a:p>
        </p:txBody>
      </p:sp>
      <p:sp>
        <p:nvSpPr>
          <p:cNvPr id="5" name="Tekstin paikkamerkki 10">
            <a:extLst>
              <a:ext uri="{FF2B5EF4-FFF2-40B4-BE49-F238E27FC236}">
                <a16:creationId xmlns:a16="http://schemas.microsoft.com/office/drawing/2014/main" id="{170525FA-72D8-A877-0B0C-64BE3B2121A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582112" y="3816210"/>
            <a:ext cx="2088000" cy="688975"/>
          </a:xfrm>
        </p:spPr>
        <p:txBody>
          <a:bodyPr/>
          <a:lstStyle>
            <a:lvl1pPr marL="0" indent="0">
              <a:lnSpc>
                <a:spcPct val="95000"/>
              </a:lnSpc>
              <a:buNone/>
              <a:defRPr spc="-50" baseline="0">
                <a:latin typeface="+mj-lt"/>
              </a:defRPr>
            </a:lvl1pPr>
          </a:lstStyle>
          <a:p>
            <a:pPr lvl="0"/>
            <a:r>
              <a:rPr lang="fi-FI" noProof="0"/>
              <a:t>Lisää tekstiä tähän</a:t>
            </a:r>
          </a:p>
        </p:txBody>
      </p:sp>
      <p:sp>
        <p:nvSpPr>
          <p:cNvPr id="10" name="Tekstin paikkamerkki 10">
            <a:extLst>
              <a:ext uri="{FF2B5EF4-FFF2-40B4-BE49-F238E27FC236}">
                <a16:creationId xmlns:a16="http://schemas.microsoft.com/office/drawing/2014/main" id="{7F1F6485-99C5-FB54-D191-3C1001269DC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582112" y="4653121"/>
            <a:ext cx="2088000" cy="963406"/>
          </a:xfrm>
        </p:spPr>
        <p:txBody>
          <a:bodyPr/>
          <a:lstStyle>
            <a:lvl1pPr marL="0" indent="0">
              <a:lnSpc>
                <a:spcPct val="95000"/>
              </a:lnSpc>
              <a:buNone/>
              <a:defRPr sz="1800">
                <a:latin typeface="+mn-lt"/>
              </a:defRPr>
            </a:lvl1pPr>
          </a:lstStyle>
          <a:p>
            <a:pPr lvl="0"/>
            <a:r>
              <a:rPr lang="fi-FI" noProof="0"/>
              <a:t>Lisää tekstiä tähän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E996DCA-8E68-4F4A-A4A6-ACE6BC7F24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noProof="0"/>
              <a:t>15.5.2024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DC7B94-042D-44C2-B7B2-1128AAFA57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160B98-140E-4345-B1A3-2A7247C42973}" type="slidenum">
              <a:rPr lang="fi-FI" noProof="0" smtClean="0"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195161985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raphic 24">
            <a:extLst>
              <a:ext uri="{FF2B5EF4-FFF2-40B4-BE49-F238E27FC236}">
                <a16:creationId xmlns:a16="http://schemas.microsoft.com/office/drawing/2014/main" id="{412E2FC6-3DC7-A5C6-CB76-702A1185B2EA}"/>
              </a:ext>
            </a:extLst>
          </p:cNvPr>
          <p:cNvSpPr/>
          <p:nvPr/>
        </p:nvSpPr>
        <p:spPr>
          <a:xfrm>
            <a:off x="0" y="-3"/>
            <a:ext cx="12191877" cy="6858000"/>
          </a:xfrm>
          <a:custGeom>
            <a:avLst/>
            <a:gdLst>
              <a:gd name="connsiteX0" fmla="*/ 0 w 12191877"/>
              <a:gd name="connsiteY0" fmla="*/ 6858000 h 6858000"/>
              <a:gd name="connsiteX1" fmla="*/ 8102520 w 12191877"/>
              <a:gd name="connsiteY1" fmla="*/ 6858000 h 6858000"/>
              <a:gd name="connsiteX2" fmla="*/ 8102520 w 12191877"/>
              <a:gd name="connsiteY2" fmla="*/ 6051708 h 6858000"/>
              <a:gd name="connsiteX3" fmla="*/ 12191878 w 12191877"/>
              <a:gd name="connsiteY3" fmla="*/ 1962310 h 6858000"/>
              <a:gd name="connsiteX4" fmla="*/ 12191878 w 12191877"/>
              <a:gd name="connsiteY4" fmla="*/ 1850371 h 6858000"/>
              <a:gd name="connsiteX5" fmla="*/ 8102520 w 12191877"/>
              <a:gd name="connsiteY5" fmla="*/ 5939766 h 6858000"/>
              <a:gd name="connsiteX6" fmla="*/ 8102520 w 12191877"/>
              <a:gd name="connsiteY6" fmla="*/ 4931057 h 6858000"/>
              <a:gd name="connsiteX7" fmla="*/ 12191878 w 12191877"/>
              <a:gd name="connsiteY7" fmla="*/ 841658 h 6858000"/>
              <a:gd name="connsiteX8" fmla="*/ 12191878 w 12191877"/>
              <a:gd name="connsiteY8" fmla="*/ 729724 h 6858000"/>
              <a:gd name="connsiteX9" fmla="*/ 8102520 w 12191877"/>
              <a:gd name="connsiteY9" fmla="*/ 4819122 h 6858000"/>
              <a:gd name="connsiteX10" fmla="*/ 8102520 w 12191877"/>
              <a:gd name="connsiteY10" fmla="*/ 3810409 h 6858000"/>
              <a:gd name="connsiteX11" fmla="*/ 11912894 w 12191877"/>
              <a:gd name="connsiteY11" fmla="*/ 0 h 6858000"/>
              <a:gd name="connsiteX12" fmla="*/ 11800954 w 12191877"/>
              <a:gd name="connsiteY12" fmla="*/ 0 h 6858000"/>
              <a:gd name="connsiteX13" fmla="*/ 8102520 w 12191877"/>
              <a:gd name="connsiteY13" fmla="*/ 3698475 h 6858000"/>
              <a:gd name="connsiteX14" fmla="*/ 8102520 w 12191877"/>
              <a:gd name="connsiteY14" fmla="*/ 2689762 h 6858000"/>
              <a:gd name="connsiteX15" fmla="*/ 10792254 w 12191877"/>
              <a:gd name="connsiteY15" fmla="*/ 0 h 6858000"/>
              <a:gd name="connsiteX16" fmla="*/ 10680314 w 12191877"/>
              <a:gd name="connsiteY16" fmla="*/ 0 h 6858000"/>
              <a:gd name="connsiteX17" fmla="*/ 8102520 w 12191877"/>
              <a:gd name="connsiteY17" fmla="*/ 2577820 h 6858000"/>
              <a:gd name="connsiteX18" fmla="*/ 8102520 w 12191877"/>
              <a:gd name="connsiteY18" fmla="*/ 1569100 h 6858000"/>
              <a:gd name="connsiteX19" fmla="*/ 9671614 w 12191877"/>
              <a:gd name="connsiteY19" fmla="*/ 0 h 6858000"/>
              <a:gd name="connsiteX20" fmla="*/ 9559677 w 12191877"/>
              <a:gd name="connsiteY20" fmla="*/ 0 h 6858000"/>
              <a:gd name="connsiteX21" fmla="*/ 8102520 w 12191877"/>
              <a:gd name="connsiteY21" fmla="*/ 1457172 h 6858000"/>
              <a:gd name="connsiteX22" fmla="*/ 8102520 w 12191877"/>
              <a:gd name="connsiteY22" fmla="*/ 560902 h 6858000"/>
              <a:gd name="connsiteX23" fmla="*/ 8644717 w 12191877"/>
              <a:gd name="connsiteY23" fmla="*/ 0 h 6858000"/>
              <a:gd name="connsiteX24" fmla="*/ 8536632 w 12191877"/>
              <a:gd name="connsiteY24" fmla="*/ 0 h 6858000"/>
              <a:gd name="connsiteX25" fmla="*/ 8102520 w 12191877"/>
              <a:gd name="connsiteY25" fmla="*/ 448970 h 6858000"/>
              <a:gd name="connsiteX26" fmla="*/ 8102520 w 12191877"/>
              <a:gd name="connsiteY26" fmla="*/ 0 h 6858000"/>
              <a:gd name="connsiteX27" fmla="*/ 0 w 12191877"/>
              <a:gd name="connsiteY27" fmla="*/ 0 h 6858000"/>
              <a:gd name="connsiteX28" fmla="*/ 0 w 12191877"/>
              <a:gd name="connsiteY28" fmla="*/ 6857997 h 6858000"/>
              <a:gd name="connsiteX29" fmla="*/ 8304935 w 12191877"/>
              <a:gd name="connsiteY29" fmla="*/ 6858000 h 6858000"/>
              <a:gd name="connsiteX30" fmla="*/ 8416875 w 12191877"/>
              <a:gd name="connsiteY30" fmla="*/ 6858000 h 6858000"/>
              <a:gd name="connsiteX31" fmla="*/ 12191878 w 12191877"/>
              <a:gd name="connsiteY31" fmla="*/ 3082961 h 6858000"/>
              <a:gd name="connsiteX32" fmla="*/ 12191878 w 12191877"/>
              <a:gd name="connsiteY32" fmla="*/ 2971019 h 6858000"/>
              <a:gd name="connsiteX33" fmla="*/ 8304935 w 12191877"/>
              <a:gd name="connsiteY33" fmla="*/ 6858000 h 6858000"/>
              <a:gd name="connsiteX34" fmla="*/ 9425589 w 12191877"/>
              <a:gd name="connsiteY34" fmla="*/ 6858000 h 6858000"/>
              <a:gd name="connsiteX35" fmla="*/ 9537516 w 12191877"/>
              <a:gd name="connsiteY35" fmla="*/ 6858000 h 6858000"/>
              <a:gd name="connsiteX36" fmla="*/ 12191878 w 12191877"/>
              <a:gd name="connsiteY36" fmla="*/ 4203612 h 6858000"/>
              <a:gd name="connsiteX37" fmla="*/ 12191878 w 12191877"/>
              <a:gd name="connsiteY37" fmla="*/ 4091670 h 6858000"/>
              <a:gd name="connsiteX38" fmla="*/ 9425589 w 12191877"/>
              <a:gd name="connsiteY38" fmla="*/ 6858000 h 6858000"/>
              <a:gd name="connsiteX39" fmla="*/ 10544933 w 12191877"/>
              <a:gd name="connsiteY39" fmla="*/ 6858000 h 6858000"/>
              <a:gd name="connsiteX40" fmla="*/ 10658156 w 12191877"/>
              <a:gd name="connsiteY40" fmla="*/ 6858000 h 6858000"/>
              <a:gd name="connsiteX41" fmla="*/ 12191878 w 12191877"/>
              <a:gd name="connsiteY41" fmla="*/ 5324264 h 6858000"/>
              <a:gd name="connsiteX42" fmla="*/ 12191878 w 12191877"/>
              <a:gd name="connsiteY42" fmla="*/ 5211040 h 6858000"/>
              <a:gd name="connsiteX43" fmla="*/ 10544933 w 12191877"/>
              <a:gd name="connsiteY43" fmla="*/ 6858000 h 6858000"/>
              <a:gd name="connsiteX44" fmla="*/ 11665573 w 12191877"/>
              <a:gd name="connsiteY44" fmla="*/ 6858000 h 6858000"/>
              <a:gd name="connsiteX45" fmla="*/ 11777507 w 12191877"/>
              <a:gd name="connsiteY45" fmla="*/ 6858000 h 6858000"/>
              <a:gd name="connsiteX46" fmla="*/ 12191878 w 12191877"/>
              <a:gd name="connsiteY46" fmla="*/ 6443630 h 6858000"/>
              <a:gd name="connsiteX47" fmla="*/ 12191878 w 12191877"/>
              <a:gd name="connsiteY47" fmla="*/ 6331691 h 6858000"/>
              <a:gd name="connsiteX48" fmla="*/ 11665573 w 12191877"/>
              <a:gd name="connsiteY4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2191877" h="6858000">
                <a:moveTo>
                  <a:pt x="0" y="6858000"/>
                </a:moveTo>
                <a:lnTo>
                  <a:pt x="8102520" y="6858000"/>
                </a:lnTo>
                <a:lnTo>
                  <a:pt x="8102520" y="6051708"/>
                </a:lnTo>
                <a:lnTo>
                  <a:pt x="12191878" y="1962310"/>
                </a:lnTo>
                <a:lnTo>
                  <a:pt x="12191878" y="1850371"/>
                </a:lnTo>
                <a:lnTo>
                  <a:pt x="8102520" y="5939766"/>
                </a:lnTo>
                <a:lnTo>
                  <a:pt x="8102520" y="4931057"/>
                </a:lnTo>
                <a:lnTo>
                  <a:pt x="12191878" y="841658"/>
                </a:lnTo>
                <a:lnTo>
                  <a:pt x="12191878" y="729724"/>
                </a:lnTo>
                <a:lnTo>
                  <a:pt x="8102520" y="4819122"/>
                </a:lnTo>
                <a:lnTo>
                  <a:pt x="8102520" y="3810409"/>
                </a:lnTo>
                <a:lnTo>
                  <a:pt x="11912894" y="0"/>
                </a:lnTo>
                <a:lnTo>
                  <a:pt x="11800954" y="0"/>
                </a:lnTo>
                <a:lnTo>
                  <a:pt x="8102520" y="3698475"/>
                </a:lnTo>
                <a:lnTo>
                  <a:pt x="8102520" y="2689762"/>
                </a:lnTo>
                <a:lnTo>
                  <a:pt x="10792254" y="0"/>
                </a:lnTo>
                <a:lnTo>
                  <a:pt x="10680314" y="0"/>
                </a:lnTo>
                <a:lnTo>
                  <a:pt x="8102520" y="2577820"/>
                </a:lnTo>
                <a:lnTo>
                  <a:pt x="8102520" y="1569100"/>
                </a:lnTo>
                <a:lnTo>
                  <a:pt x="9671614" y="0"/>
                </a:lnTo>
                <a:lnTo>
                  <a:pt x="9559677" y="0"/>
                </a:lnTo>
                <a:lnTo>
                  <a:pt x="8102520" y="1457172"/>
                </a:lnTo>
                <a:lnTo>
                  <a:pt x="8102520" y="560902"/>
                </a:lnTo>
                <a:lnTo>
                  <a:pt x="8644717" y="0"/>
                </a:lnTo>
                <a:lnTo>
                  <a:pt x="8536632" y="0"/>
                </a:lnTo>
                <a:lnTo>
                  <a:pt x="8102520" y="448970"/>
                </a:lnTo>
                <a:lnTo>
                  <a:pt x="8102520" y="0"/>
                </a:lnTo>
                <a:lnTo>
                  <a:pt x="0" y="0"/>
                </a:lnTo>
                <a:lnTo>
                  <a:pt x="0" y="6857997"/>
                </a:lnTo>
                <a:close/>
                <a:moveTo>
                  <a:pt x="8304935" y="6858000"/>
                </a:moveTo>
                <a:lnTo>
                  <a:pt x="8416875" y="6858000"/>
                </a:lnTo>
                <a:lnTo>
                  <a:pt x="12191878" y="3082961"/>
                </a:lnTo>
                <a:lnTo>
                  <a:pt x="12191878" y="2971019"/>
                </a:lnTo>
                <a:lnTo>
                  <a:pt x="8304935" y="6858000"/>
                </a:lnTo>
                <a:close/>
                <a:moveTo>
                  <a:pt x="9425589" y="6858000"/>
                </a:moveTo>
                <a:lnTo>
                  <a:pt x="9537516" y="6858000"/>
                </a:lnTo>
                <a:lnTo>
                  <a:pt x="12191878" y="4203612"/>
                </a:lnTo>
                <a:lnTo>
                  <a:pt x="12191878" y="4091670"/>
                </a:lnTo>
                <a:lnTo>
                  <a:pt x="9425589" y="6858000"/>
                </a:lnTo>
                <a:close/>
                <a:moveTo>
                  <a:pt x="10544933" y="6858000"/>
                </a:moveTo>
                <a:lnTo>
                  <a:pt x="10658156" y="6858000"/>
                </a:lnTo>
                <a:lnTo>
                  <a:pt x="12191878" y="5324264"/>
                </a:lnTo>
                <a:lnTo>
                  <a:pt x="12191878" y="5211040"/>
                </a:lnTo>
                <a:lnTo>
                  <a:pt x="10544933" y="6858000"/>
                </a:lnTo>
                <a:close/>
                <a:moveTo>
                  <a:pt x="11665573" y="6858000"/>
                </a:moveTo>
                <a:lnTo>
                  <a:pt x="11777507" y="6858000"/>
                </a:lnTo>
                <a:lnTo>
                  <a:pt x="12191878" y="6443630"/>
                </a:lnTo>
                <a:lnTo>
                  <a:pt x="12191878" y="6331691"/>
                </a:lnTo>
                <a:lnTo>
                  <a:pt x="11665573" y="6858000"/>
                </a:lnTo>
                <a:close/>
              </a:path>
            </a:pathLst>
          </a:custGeom>
          <a:solidFill>
            <a:srgbClr val="F0EBE1"/>
          </a:solidFill>
          <a:ln w="36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6E6260-E36C-484A-9F25-1346EC50A8D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5508" y="2196783"/>
            <a:ext cx="6839712" cy="1876869"/>
          </a:xfrm>
        </p:spPr>
        <p:txBody>
          <a:bodyPr anchor="t" anchorCtr="0"/>
          <a:lstStyle>
            <a:lvl1pPr algn="l">
              <a:lnSpc>
                <a:spcPct val="95000"/>
              </a:lnSpc>
              <a:defRPr sz="4000"/>
            </a:lvl1pPr>
          </a:lstStyle>
          <a:p>
            <a:r>
              <a:rPr lang="fi-FI"/>
              <a:t>Muokkaa perustyyl. napsautt.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1FDDA9F-DC3B-4803-9730-F564F287AC8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35508" y="5070348"/>
            <a:ext cx="6839712" cy="1220724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24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D7FCCBE-EE77-5D47-8CE2-1B409B5E09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915" y="565286"/>
            <a:ext cx="2090175" cy="703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6201629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ain otsikko 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05B7F3-1215-4921-A314-96E4FC2B12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i-FI" noProof="0"/>
              <a:t>Lisää otsikko tähän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DE34914-B5F2-4084-8552-6153E3BFA8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noProof="0"/>
              <a:t>15.5.2024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3C69628-CCBB-4581-842C-07AC1724D7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C581D05-5813-4B50-86D4-96A15B78A2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160B98-140E-4345-B1A3-2A7247C42973}" type="slidenum">
              <a:rPr lang="fi-FI" noProof="0" smtClean="0"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1111509474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yhjä 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0A614DC4-811D-E732-E1A9-766492F074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517" y="-428169"/>
            <a:ext cx="11447929" cy="301754"/>
          </a:xfrm>
        </p:spPr>
        <p:txBody>
          <a:bodyPr anchor="b" anchorCtr="0"/>
          <a:lstStyle>
            <a:lvl1pPr>
              <a:defRPr sz="1400" spc="-50" baseline="0"/>
            </a:lvl1pPr>
          </a:lstStyle>
          <a:p>
            <a:r>
              <a:rPr lang="fi-FI" noProof="0"/>
              <a:t>Otsikko lukulaitteita varten</a:t>
            </a:r>
          </a:p>
        </p:txBody>
      </p:sp>
    </p:spTree>
    <p:extLst>
      <p:ext uri="{BB962C8B-B14F-4D97-AF65-F5344CB8AC3E}">
        <p14:creationId xmlns:p14="http://schemas.microsoft.com/office/powerpoint/2010/main" val="229550218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ain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0A614DC4-811D-E732-E1A9-766492F074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517" y="-428169"/>
            <a:ext cx="11447929" cy="301754"/>
          </a:xfrm>
        </p:spPr>
        <p:txBody>
          <a:bodyPr anchor="b" anchorCtr="0"/>
          <a:lstStyle>
            <a:lvl1pPr>
              <a:defRPr sz="1400" spc="-50" baseline="0"/>
            </a:lvl1pPr>
          </a:lstStyle>
          <a:p>
            <a:r>
              <a:rPr lang="fi-FI" noProof="0"/>
              <a:t>Otsikko lukulaitteita varten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518D071-2B59-C96E-6104-2A3A83A23A8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i-FI" noProof="0"/>
              <a:t>Lisää kuva napsauttamalla kuvaketta</a:t>
            </a:r>
          </a:p>
        </p:txBody>
      </p:sp>
    </p:spTree>
    <p:extLst>
      <p:ext uri="{BB962C8B-B14F-4D97-AF65-F5344CB8AC3E}">
        <p14:creationId xmlns:p14="http://schemas.microsoft.com/office/powerpoint/2010/main" val="2195109570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olen sivun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>
            <a:extLst>
              <a:ext uri="{FF2B5EF4-FFF2-40B4-BE49-F238E27FC236}">
                <a16:creationId xmlns:a16="http://schemas.microsoft.com/office/drawing/2014/main" id="{AB8E4D65-CABD-C79C-680A-7F71422D48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5999" cy="6858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None/>
              <a:defRPr sz="1800"/>
            </a:lvl1pPr>
          </a:lstStyle>
          <a:p>
            <a:r>
              <a:rPr lang="fi-FI" noProof="0"/>
              <a:t>Lisää kuva napsauttamalla kuvakett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0DB878-8E84-426A-BEF0-AF1AAFA1F9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518" y="557866"/>
            <a:ext cx="5231502" cy="1988564"/>
          </a:xfrm>
        </p:spPr>
        <p:txBody>
          <a:bodyPr anchor="b"/>
          <a:lstStyle/>
          <a:p>
            <a:r>
              <a:rPr lang="fi-FI" noProof="0"/>
              <a:t>Lisää otsikko tähän</a:t>
            </a:r>
          </a:p>
        </p:txBody>
      </p:sp>
      <p:sp>
        <p:nvSpPr>
          <p:cNvPr id="11" name="Tekstin paikkamerkki 10">
            <a:extLst>
              <a:ext uri="{FF2B5EF4-FFF2-40B4-BE49-F238E27FC236}">
                <a16:creationId xmlns:a16="http://schemas.microsoft.com/office/drawing/2014/main" id="{7B9F0533-6D2D-7E7F-A366-F9F3682A7B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6238" y="2798064"/>
            <a:ext cx="5232400" cy="2811780"/>
          </a:xfrm>
        </p:spPr>
        <p:txBody>
          <a:bodyPr/>
          <a:lstStyle/>
          <a:p>
            <a:pPr lvl="0"/>
            <a:r>
              <a:rPr lang="fi-FI" noProof="0"/>
              <a:t>Lisää ensimmäisen tason tekstiä tähän</a:t>
            </a:r>
          </a:p>
          <a:p>
            <a:pPr lvl="1"/>
            <a:r>
              <a:rPr lang="fi-FI" noProof="0"/>
              <a:t>Toisen tason teksti</a:t>
            </a:r>
          </a:p>
          <a:p>
            <a:pPr lvl="2"/>
            <a:r>
              <a:rPr lang="fi-FI" noProof="0"/>
              <a:t>Kolmannen tason teksti</a:t>
            </a:r>
          </a:p>
          <a:p>
            <a:pPr lvl="3"/>
            <a:r>
              <a:rPr lang="fi-FI" noProof="0"/>
              <a:t>Neljännen tason teksti</a:t>
            </a:r>
          </a:p>
          <a:p>
            <a:pPr lvl="4"/>
            <a:r>
              <a:rPr lang="fi-FI" noProof="0"/>
              <a:t>Viidennen tason teksti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C8E29D9-0822-D49C-1B29-63768B851AF1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fi-FI" noProof="0"/>
              <a:t>15.5.2024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D40D5E-85B1-0C56-D007-56A27740976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1431863399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olen sivun kuva violetti no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0DB878-8E84-426A-BEF0-AF1AAFA1F9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518" y="557866"/>
            <a:ext cx="5231502" cy="1988564"/>
          </a:xfrm>
        </p:spPr>
        <p:txBody>
          <a:bodyPr anchor="b"/>
          <a:lstStyle/>
          <a:p>
            <a:r>
              <a:rPr lang="fi-FI" noProof="0"/>
              <a:t>Lisää otsikko tähän</a:t>
            </a:r>
          </a:p>
        </p:txBody>
      </p:sp>
      <p:sp>
        <p:nvSpPr>
          <p:cNvPr id="11" name="Tekstin paikkamerkki 10">
            <a:extLst>
              <a:ext uri="{FF2B5EF4-FFF2-40B4-BE49-F238E27FC236}">
                <a16:creationId xmlns:a16="http://schemas.microsoft.com/office/drawing/2014/main" id="{7B9F0533-6D2D-7E7F-A366-F9F3682A7B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6238" y="2798064"/>
            <a:ext cx="5232400" cy="2811780"/>
          </a:xfrm>
        </p:spPr>
        <p:txBody>
          <a:bodyPr/>
          <a:lstStyle/>
          <a:p>
            <a:pPr lvl="0"/>
            <a:r>
              <a:rPr lang="fi-FI" noProof="0"/>
              <a:t>Lisää ensimmäisen tason tekstiä tähän</a:t>
            </a:r>
          </a:p>
          <a:p>
            <a:pPr lvl="1"/>
            <a:r>
              <a:rPr lang="fi-FI" noProof="0"/>
              <a:t>Toisen tason teksti</a:t>
            </a:r>
          </a:p>
          <a:p>
            <a:pPr lvl="2"/>
            <a:r>
              <a:rPr lang="fi-FI" noProof="0"/>
              <a:t>Kolmannen tason teksti</a:t>
            </a:r>
          </a:p>
          <a:p>
            <a:pPr lvl="3"/>
            <a:r>
              <a:rPr lang="fi-FI" noProof="0"/>
              <a:t>Neljännen tason teksti</a:t>
            </a:r>
          </a:p>
          <a:p>
            <a:pPr lvl="4"/>
            <a:r>
              <a:rPr lang="fi-FI" noProof="0"/>
              <a:t>Viidennen tason teksti</a:t>
            </a:r>
          </a:p>
        </p:txBody>
      </p:sp>
      <p:sp>
        <p:nvSpPr>
          <p:cNvPr id="3" name="Picture Placeholder 7">
            <a:extLst>
              <a:ext uri="{FF2B5EF4-FFF2-40B4-BE49-F238E27FC236}">
                <a16:creationId xmlns:a16="http://schemas.microsoft.com/office/drawing/2014/main" id="{58B4C86C-6C41-0B0F-179D-39748A67D4A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5999" cy="6858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None/>
              <a:defRPr sz="1800"/>
            </a:lvl1pPr>
          </a:lstStyle>
          <a:p>
            <a:r>
              <a:rPr lang="fi-FI" noProof="0"/>
              <a:t>Lisää kuva napsauttamalla kuvaketta</a:t>
            </a:r>
          </a:p>
        </p:txBody>
      </p:sp>
      <p:sp>
        <p:nvSpPr>
          <p:cNvPr id="12" name="Tekstin paikkamerkki 11">
            <a:extLst>
              <a:ext uri="{FF2B5EF4-FFF2-40B4-BE49-F238E27FC236}">
                <a16:creationId xmlns:a16="http://schemas.microsoft.com/office/drawing/2014/main" id="{4788870C-EEEC-0256-F974-F3A60DD573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96000" y="3812208"/>
            <a:ext cx="3043583" cy="3045791"/>
          </a:xfrm>
          <a:solidFill>
            <a:srgbClr val="FFE1FF"/>
          </a:solidFill>
        </p:spPr>
        <p:txBody>
          <a:bodyPr lIns="180000" tIns="180000" rIns="72000"/>
          <a:lstStyle>
            <a:lvl1pPr marL="0" indent="0">
              <a:lnSpc>
                <a:spcPct val="95000"/>
              </a:lnSpc>
              <a:buNone/>
              <a:defRPr sz="2800" spc="-70" baseline="0"/>
            </a:lvl1pPr>
          </a:lstStyle>
          <a:p>
            <a:pPr lvl="0"/>
            <a:r>
              <a:rPr lang="fi-FI" noProof="0"/>
              <a:t>Lisää tekstiä tähän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E996DCA-8E68-4F4A-A4A6-ACE6BC7F24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noProof="0"/>
              <a:t>15.5.2024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2791888096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olen sivun kuva vihreä no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>
            <a:extLst>
              <a:ext uri="{FF2B5EF4-FFF2-40B4-BE49-F238E27FC236}">
                <a16:creationId xmlns:a16="http://schemas.microsoft.com/office/drawing/2014/main" id="{A6B46CC0-9B08-F6BD-6B08-FF8F34EFE78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5999" cy="6858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None/>
              <a:defRPr sz="1800"/>
            </a:lvl1pPr>
          </a:lstStyle>
          <a:p>
            <a:r>
              <a:rPr lang="fi-FI" noProof="0"/>
              <a:t>Lisää kuva napsauttamalla kuvakett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0DB878-8E84-426A-BEF0-AF1AAFA1F9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518" y="557866"/>
            <a:ext cx="5231502" cy="1988564"/>
          </a:xfrm>
        </p:spPr>
        <p:txBody>
          <a:bodyPr anchor="b"/>
          <a:lstStyle>
            <a:lvl1pPr>
              <a:defRPr baseline="0"/>
            </a:lvl1pPr>
          </a:lstStyle>
          <a:p>
            <a:r>
              <a:rPr lang="fi-FI" noProof="0"/>
              <a:t>Lisää otsikko tähän</a:t>
            </a:r>
          </a:p>
        </p:txBody>
      </p:sp>
      <p:sp>
        <p:nvSpPr>
          <p:cNvPr id="11" name="Tekstin paikkamerkki 10">
            <a:extLst>
              <a:ext uri="{FF2B5EF4-FFF2-40B4-BE49-F238E27FC236}">
                <a16:creationId xmlns:a16="http://schemas.microsoft.com/office/drawing/2014/main" id="{7B9F0533-6D2D-7E7F-A366-F9F3682A7B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6238" y="2798064"/>
            <a:ext cx="5232400" cy="2811780"/>
          </a:xfrm>
        </p:spPr>
        <p:txBody>
          <a:bodyPr/>
          <a:lstStyle/>
          <a:p>
            <a:pPr lvl="0"/>
            <a:r>
              <a:rPr lang="fi-FI" noProof="0"/>
              <a:t>Lisää ensimmäisen tason tekstiä tähän</a:t>
            </a:r>
          </a:p>
          <a:p>
            <a:pPr lvl="1"/>
            <a:r>
              <a:rPr lang="fi-FI" noProof="0"/>
              <a:t>Toisen tason teksti</a:t>
            </a:r>
          </a:p>
          <a:p>
            <a:pPr lvl="2"/>
            <a:r>
              <a:rPr lang="fi-FI" noProof="0"/>
              <a:t>Kolmannen tason teksti</a:t>
            </a:r>
          </a:p>
          <a:p>
            <a:pPr lvl="3"/>
            <a:r>
              <a:rPr lang="fi-FI" noProof="0"/>
              <a:t>Neljännen tason teksti</a:t>
            </a:r>
          </a:p>
          <a:p>
            <a:pPr lvl="4"/>
            <a:r>
              <a:rPr lang="fi-FI" noProof="0"/>
              <a:t>Viidennen tason teksti</a:t>
            </a:r>
          </a:p>
        </p:txBody>
      </p:sp>
      <p:sp>
        <p:nvSpPr>
          <p:cNvPr id="13" name="Tekstin paikkamerkki 11">
            <a:extLst>
              <a:ext uri="{FF2B5EF4-FFF2-40B4-BE49-F238E27FC236}">
                <a16:creationId xmlns:a16="http://schemas.microsoft.com/office/drawing/2014/main" id="{128E762A-4CE0-A725-4E9E-4E9AC3EA253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144000" y="3812208"/>
            <a:ext cx="3043583" cy="3045791"/>
          </a:xfrm>
          <a:solidFill>
            <a:srgbClr val="B4FFAA"/>
          </a:solidFill>
        </p:spPr>
        <p:txBody>
          <a:bodyPr lIns="180000" tIns="180000" rIns="72000"/>
          <a:lstStyle>
            <a:lvl1pPr marL="0" indent="0">
              <a:lnSpc>
                <a:spcPct val="95000"/>
              </a:lnSpc>
              <a:buNone/>
              <a:defRPr sz="2800" spc="-70" baseline="0"/>
            </a:lvl1pPr>
          </a:lstStyle>
          <a:p>
            <a:pPr lvl="0"/>
            <a:r>
              <a:rPr lang="fi-FI" noProof="0"/>
              <a:t>Lisää tekstiä tähän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E996DCA-8E68-4F4A-A4A6-ACE6BC7F24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noProof="0"/>
              <a:t>15.5.2024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838803173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olen sivun kuva sininen no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>
            <a:extLst>
              <a:ext uri="{FF2B5EF4-FFF2-40B4-BE49-F238E27FC236}">
                <a16:creationId xmlns:a16="http://schemas.microsoft.com/office/drawing/2014/main" id="{32F809D4-1743-A3E9-3A4F-FD688BED92C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5999" cy="6858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None/>
              <a:defRPr sz="1800"/>
            </a:lvl1pPr>
          </a:lstStyle>
          <a:p>
            <a:r>
              <a:rPr lang="fi-FI" noProof="0"/>
              <a:t>Lisää kuva napsauttamalla kuvakett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0DB878-8E84-426A-BEF0-AF1AAFA1F9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518" y="557866"/>
            <a:ext cx="5231502" cy="1988564"/>
          </a:xfrm>
        </p:spPr>
        <p:txBody>
          <a:bodyPr anchor="b"/>
          <a:lstStyle/>
          <a:p>
            <a:r>
              <a:rPr lang="fi-FI" noProof="0"/>
              <a:t>Lisää otsikko tähän</a:t>
            </a:r>
          </a:p>
        </p:txBody>
      </p:sp>
      <p:sp>
        <p:nvSpPr>
          <p:cNvPr id="11" name="Tekstin paikkamerkki 10">
            <a:extLst>
              <a:ext uri="{FF2B5EF4-FFF2-40B4-BE49-F238E27FC236}">
                <a16:creationId xmlns:a16="http://schemas.microsoft.com/office/drawing/2014/main" id="{7B9F0533-6D2D-7E7F-A366-F9F3682A7B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6238" y="2798064"/>
            <a:ext cx="5232400" cy="2811780"/>
          </a:xfrm>
        </p:spPr>
        <p:txBody>
          <a:bodyPr/>
          <a:lstStyle/>
          <a:p>
            <a:pPr lvl="0"/>
            <a:r>
              <a:rPr lang="fi-FI" noProof="0"/>
              <a:t>Lisää ensimmäisen tason tekstiä tähän</a:t>
            </a:r>
          </a:p>
          <a:p>
            <a:pPr lvl="1"/>
            <a:r>
              <a:rPr lang="fi-FI" noProof="0"/>
              <a:t>Toisen tason teksti</a:t>
            </a:r>
          </a:p>
          <a:p>
            <a:pPr lvl="2"/>
            <a:r>
              <a:rPr lang="fi-FI" noProof="0"/>
              <a:t>Kolmannen tason teksti</a:t>
            </a:r>
          </a:p>
          <a:p>
            <a:pPr lvl="3"/>
            <a:r>
              <a:rPr lang="fi-FI" noProof="0"/>
              <a:t>Neljännen tason teksti</a:t>
            </a:r>
          </a:p>
          <a:p>
            <a:pPr lvl="4"/>
            <a:r>
              <a:rPr lang="fi-FI" noProof="0"/>
              <a:t>Viidennen tason teksti</a:t>
            </a:r>
          </a:p>
        </p:txBody>
      </p:sp>
      <p:sp>
        <p:nvSpPr>
          <p:cNvPr id="13" name="Tekstin paikkamerkki 11">
            <a:extLst>
              <a:ext uri="{FF2B5EF4-FFF2-40B4-BE49-F238E27FC236}">
                <a16:creationId xmlns:a16="http://schemas.microsoft.com/office/drawing/2014/main" id="{128E762A-4CE0-A725-4E9E-4E9AC3EA253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5382" y="0"/>
            <a:ext cx="3021723" cy="3045791"/>
          </a:xfrm>
          <a:solidFill>
            <a:srgbClr val="DCEFFE"/>
          </a:solidFill>
        </p:spPr>
        <p:txBody>
          <a:bodyPr lIns="180000" tIns="180000" rIns="72000"/>
          <a:lstStyle>
            <a:lvl1pPr marL="0" indent="0">
              <a:lnSpc>
                <a:spcPct val="95000"/>
              </a:lnSpc>
              <a:buNone/>
              <a:defRPr sz="2800" spc="-70" baseline="0"/>
            </a:lvl1pPr>
          </a:lstStyle>
          <a:p>
            <a:pPr lvl="0"/>
            <a:r>
              <a:rPr lang="fi-FI" noProof="0"/>
              <a:t>Lisää tekstiä tähän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E996DCA-8E68-4F4A-A4A6-ACE6BC7F24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noProof="0"/>
              <a:t>15.5.2024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1545612490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olen sivun kuva punainen no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>
            <a:extLst>
              <a:ext uri="{FF2B5EF4-FFF2-40B4-BE49-F238E27FC236}">
                <a16:creationId xmlns:a16="http://schemas.microsoft.com/office/drawing/2014/main" id="{461A3ACA-035B-13A6-1289-B9430BC286B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5999" cy="6858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None/>
              <a:defRPr sz="1800"/>
            </a:lvl1pPr>
          </a:lstStyle>
          <a:p>
            <a:r>
              <a:rPr lang="fi-FI" noProof="0"/>
              <a:t>Lisää kuva napsauttamalla kuvakett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0DB878-8E84-426A-BEF0-AF1AAFA1F9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518" y="557866"/>
            <a:ext cx="5231502" cy="1988564"/>
          </a:xfrm>
        </p:spPr>
        <p:txBody>
          <a:bodyPr anchor="b"/>
          <a:lstStyle/>
          <a:p>
            <a:r>
              <a:rPr lang="fi-FI" noProof="0"/>
              <a:t>Lisää otsikko tähän</a:t>
            </a:r>
          </a:p>
        </p:txBody>
      </p:sp>
      <p:sp>
        <p:nvSpPr>
          <p:cNvPr id="11" name="Tekstin paikkamerkki 10">
            <a:extLst>
              <a:ext uri="{FF2B5EF4-FFF2-40B4-BE49-F238E27FC236}">
                <a16:creationId xmlns:a16="http://schemas.microsoft.com/office/drawing/2014/main" id="{7B9F0533-6D2D-7E7F-A366-F9F3682A7B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6238" y="2798064"/>
            <a:ext cx="5232400" cy="2811780"/>
          </a:xfrm>
        </p:spPr>
        <p:txBody>
          <a:bodyPr/>
          <a:lstStyle/>
          <a:p>
            <a:pPr lvl="0"/>
            <a:r>
              <a:rPr lang="fi-FI" noProof="0"/>
              <a:t>Lisää ensimmäisen tason tekstiä tähän</a:t>
            </a:r>
          </a:p>
          <a:p>
            <a:pPr lvl="1"/>
            <a:r>
              <a:rPr lang="fi-FI" noProof="0"/>
              <a:t>Toisen tason teksti</a:t>
            </a:r>
          </a:p>
          <a:p>
            <a:pPr lvl="2"/>
            <a:r>
              <a:rPr lang="fi-FI" noProof="0"/>
              <a:t>Kolmannen tason teksti</a:t>
            </a:r>
          </a:p>
          <a:p>
            <a:pPr lvl="3"/>
            <a:r>
              <a:rPr lang="fi-FI" noProof="0"/>
              <a:t>Neljännen tason teksti</a:t>
            </a:r>
          </a:p>
          <a:p>
            <a:pPr lvl="4"/>
            <a:r>
              <a:rPr lang="fi-FI" noProof="0"/>
              <a:t>Viidennen tason teksti</a:t>
            </a:r>
          </a:p>
        </p:txBody>
      </p:sp>
      <p:sp>
        <p:nvSpPr>
          <p:cNvPr id="12" name="Tekstin paikkamerkki 11">
            <a:extLst>
              <a:ext uri="{FF2B5EF4-FFF2-40B4-BE49-F238E27FC236}">
                <a16:creationId xmlns:a16="http://schemas.microsoft.com/office/drawing/2014/main" id="{4788870C-EEEC-0256-F974-F3A60DD573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96000" y="3812209"/>
            <a:ext cx="3043583" cy="3045791"/>
          </a:xfrm>
          <a:solidFill>
            <a:srgbClr val="FFE6E6"/>
          </a:solidFill>
        </p:spPr>
        <p:txBody>
          <a:bodyPr lIns="180000" tIns="180000" rIns="72000"/>
          <a:lstStyle>
            <a:lvl1pPr marL="0" indent="0">
              <a:lnSpc>
                <a:spcPct val="95000"/>
              </a:lnSpc>
              <a:buNone/>
              <a:defRPr sz="2800" spc="-70" baseline="0"/>
            </a:lvl1pPr>
          </a:lstStyle>
          <a:p>
            <a:pPr lvl="0"/>
            <a:r>
              <a:rPr lang="fi-FI" noProof="0"/>
              <a:t>Lisää tekstiä tähän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E996DCA-8E68-4F4A-A4A6-ACE6BC7F24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noProof="0"/>
              <a:t>15.5.2024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1542420550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olen sivun kuva keltainen no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>
            <a:extLst>
              <a:ext uri="{FF2B5EF4-FFF2-40B4-BE49-F238E27FC236}">
                <a16:creationId xmlns:a16="http://schemas.microsoft.com/office/drawing/2014/main" id="{A6B46CC0-9B08-F6BD-6B08-FF8F34EFE78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5999" cy="6858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None/>
              <a:defRPr sz="1800"/>
            </a:lvl1pPr>
          </a:lstStyle>
          <a:p>
            <a:r>
              <a:rPr lang="fi-FI" noProof="0"/>
              <a:t>Lisää kuva napsauttamalla kuvakett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0DB878-8E84-426A-BEF0-AF1AAFA1F9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518" y="557866"/>
            <a:ext cx="5231502" cy="1988564"/>
          </a:xfrm>
        </p:spPr>
        <p:txBody>
          <a:bodyPr anchor="b"/>
          <a:lstStyle>
            <a:lvl1pPr>
              <a:defRPr baseline="0"/>
            </a:lvl1pPr>
          </a:lstStyle>
          <a:p>
            <a:r>
              <a:rPr lang="fi-FI" noProof="0"/>
              <a:t>Lisää otsikko tähän</a:t>
            </a:r>
          </a:p>
        </p:txBody>
      </p:sp>
      <p:sp>
        <p:nvSpPr>
          <p:cNvPr id="11" name="Tekstin paikkamerkki 10">
            <a:extLst>
              <a:ext uri="{FF2B5EF4-FFF2-40B4-BE49-F238E27FC236}">
                <a16:creationId xmlns:a16="http://schemas.microsoft.com/office/drawing/2014/main" id="{7B9F0533-6D2D-7E7F-A366-F9F3682A7B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6238" y="2798064"/>
            <a:ext cx="5232400" cy="2811780"/>
          </a:xfrm>
        </p:spPr>
        <p:txBody>
          <a:bodyPr/>
          <a:lstStyle/>
          <a:p>
            <a:pPr lvl="0"/>
            <a:r>
              <a:rPr lang="fi-FI" noProof="0"/>
              <a:t>Lisää ensimmäisen tason tekstiä tähän</a:t>
            </a:r>
          </a:p>
          <a:p>
            <a:pPr lvl="1"/>
            <a:r>
              <a:rPr lang="fi-FI" noProof="0"/>
              <a:t>Toisen tason teksti</a:t>
            </a:r>
          </a:p>
          <a:p>
            <a:pPr lvl="2"/>
            <a:r>
              <a:rPr lang="fi-FI" noProof="0"/>
              <a:t>Kolmannen tason teksti</a:t>
            </a:r>
          </a:p>
          <a:p>
            <a:pPr lvl="3"/>
            <a:r>
              <a:rPr lang="fi-FI" noProof="0"/>
              <a:t>Neljännen tason teksti</a:t>
            </a:r>
          </a:p>
          <a:p>
            <a:pPr lvl="4"/>
            <a:r>
              <a:rPr lang="fi-FI" noProof="0"/>
              <a:t>Viidennen tason teksti</a:t>
            </a:r>
          </a:p>
        </p:txBody>
      </p:sp>
      <p:sp>
        <p:nvSpPr>
          <p:cNvPr id="13" name="Tekstin paikkamerkki 11">
            <a:extLst>
              <a:ext uri="{FF2B5EF4-FFF2-40B4-BE49-F238E27FC236}">
                <a16:creationId xmlns:a16="http://schemas.microsoft.com/office/drawing/2014/main" id="{128E762A-4CE0-A725-4E9E-4E9AC3EA253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144000" y="0"/>
            <a:ext cx="3043583" cy="3045791"/>
          </a:xfrm>
          <a:solidFill>
            <a:srgbClr val="FFFAC3"/>
          </a:solidFill>
        </p:spPr>
        <p:txBody>
          <a:bodyPr lIns="180000" tIns="180000" rIns="72000"/>
          <a:lstStyle>
            <a:lvl1pPr marL="0" indent="0">
              <a:lnSpc>
                <a:spcPct val="95000"/>
              </a:lnSpc>
              <a:buNone/>
              <a:defRPr sz="2800" spc="-70" baseline="0"/>
            </a:lvl1pPr>
          </a:lstStyle>
          <a:p>
            <a:pPr lvl="0"/>
            <a:r>
              <a:rPr lang="fi-FI" noProof="0"/>
              <a:t>Lisää tekstiä tähän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E996DCA-8E68-4F4A-A4A6-ACE6BC7F24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noProof="0"/>
              <a:t>15.5.2024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244342993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 ilman kuvaa violetti">
    <p:bg>
      <p:bgPr>
        <a:solidFill>
          <a:srgbClr val="FFE1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orakulmio 4">
            <a:extLst>
              <a:ext uri="{FF2B5EF4-FFF2-40B4-BE49-F238E27FC236}">
                <a16:creationId xmlns:a16="http://schemas.microsoft.com/office/drawing/2014/main" id="{AC0F3A71-AAB0-F29B-041A-2BC95C03EA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0"/>
            <a:ext cx="6096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0DB878-8E84-426A-BEF0-AF1AAFA1F9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518" y="557866"/>
            <a:ext cx="5231502" cy="1986349"/>
          </a:xfrm>
        </p:spPr>
        <p:txBody>
          <a:bodyPr anchor="b"/>
          <a:lstStyle/>
          <a:p>
            <a:r>
              <a:rPr lang="fi-FI" noProof="0"/>
              <a:t>Lisää otsikko tähän</a:t>
            </a:r>
          </a:p>
        </p:txBody>
      </p:sp>
      <p:sp>
        <p:nvSpPr>
          <p:cNvPr id="11" name="Tekstin paikkamerkki 10">
            <a:extLst>
              <a:ext uri="{FF2B5EF4-FFF2-40B4-BE49-F238E27FC236}">
                <a16:creationId xmlns:a16="http://schemas.microsoft.com/office/drawing/2014/main" id="{7B9F0533-6D2D-7E7F-A366-F9F3682A7B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6238" y="2798064"/>
            <a:ext cx="5232400" cy="2811780"/>
          </a:xfrm>
        </p:spPr>
        <p:txBody>
          <a:bodyPr/>
          <a:lstStyle/>
          <a:p>
            <a:pPr lvl="0"/>
            <a:r>
              <a:rPr lang="fi-FI" noProof="0"/>
              <a:t>Lisää ensimmäisen tason tekstiä tähän</a:t>
            </a:r>
          </a:p>
          <a:p>
            <a:pPr lvl="1"/>
            <a:r>
              <a:rPr lang="fi-FI" noProof="0"/>
              <a:t>Toisen tason teksti</a:t>
            </a:r>
          </a:p>
          <a:p>
            <a:pPr lvl="2"/>
            <a:r>
              <a:rPr lang="fi-FI" noProof="0"/>
              <a:t>Kolmannen tason teksti</a:t>
            </a:r>
          </a:p>
          <a:p>
            <a:pPr lvl="3"/>
            <a:r>
              <a:rPr lang="fi-FI" noProof="0"/>
              <a:t>Neljännen tason teksti</a:t>
            </a:r>
          </a:p>
          <a:p>
            <a:pPr lvl="4"/>
            <a:r>
              <a:rPr lang="fi-FI" noProof="0"/>
              <a:t>Viidennen tason teksti</a:t>
            </a:r>
          </a:p>
        </p:txBody>
      </p:sp>
      <p:sp>
        <p:nvSpPr>
          <p:cNvPr id="12" name="Tekstin paikkamerkki 11">
            <a:extLst>
              <a:ext uri="{FF2B5EF4-FFF2-40B4-BE49-F238E27FC236}">
                <a16:creationId xmlns:a16="http://schemas.microsoft.com/office/drawing/2014/main" id="{4788870C-EEEC-0256-F974-F3A60DD573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87549" y="1594678"/>
            <a:ext cx="5436897" cy="3812207"/>
          </a:xfrm>
          <a:noFill/>
        </p:spPr>
        <p:txBody>
          <a:bodyPr lIns="0" tIns="0" rIns="0" anchor="ctr" anchorCtr="0"/>
          <a:lstStyle>
            <a:lvl1pPr marL="0" indent="0">
              <a:lnSpc>
                <a:spcPct val="90000"/>
              </a:lnSpc>
              <a:buNone/>
              <a:defRPr sz="4000" spc="-130" baseline="0">
                <a:latin typeface="+mj-lt"/>
              </a:defRPr>
            </a:lvl1pPr>
          </a:lstStyle>
          <a:p>
            <a:pPr lvl="0"/>
            <a:r>
              <a:rPr lang="fi-FI" noProof="0"/>
              <a:t>Lisää tekstinosto tähän</a:t>
            </a:r>
          </a:p>
        </p:txBody>
      </p:sp>
      <p:grpSp>
        <p:nvGrpSpPr>
          <p:cNvPr id="6" name="Ryhmä 5">
            <a:extLst>
              <a:ext uri="{FF2B5EF4-FFF2-40B4-BE49-F238E27FC236}">
                <a16:creationId xmlns:a16="http://schemas.microsoft.com/office/drawing/2014/main" id="{E60A3E00-D191-CE2A-0BC2-EC72C60AB5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40807" y="5846175"/>
            <a:ext cx="772691" cy="734802"/>
            <a:chOff x="203203" y="203198"/>
            <a:chExt cx="1117587" cy="1062785"/>
          </a:xfrm>
        </p:grpSpPr>
        <p:sp>
          <p:nvSpPr>
            <p:cNvPr id="8" name="Vapaamuotoinen: Muoto 7">
              <a:extLst>
                <a:ext uri="{FF2B5EF4-FFF2-40B4-BE49-F238E27FC236}">
                  <a16:creationId xmlns:a16="http://schemas.microsoft.com/office/drawing/2014/main" id="{C367D236-C5BC-EDAD-644E-02407316A081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0" name="Vapaamuotoinen: Muoto 9">
              <a:extLst>
                <a:ext uri="{FF2B5EF4-FFF2-40B4-BE49-F238E27FC236}">
                  <a16:creationId xmlns:a16="http://schemas.microsoft.com/office/drawing/2014/main" id="{998FA421-1A05-8E02-D020-1EF1068B695D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3" name="Vapaamuotoinen: Muoto 12">
              <a:extLst>
                <a:ext uri="{FF2B5EF4-FFF2-40B4-BE49-F238E27FC236}">
                  <a16:creationId xmlns:a16="http://schemas.microsoft.com/office/drawing/2014/main" id="{C6151D38-9EC9-128B-B2CE-1668A5845AF5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4" name="Vapaamuotoinen: Muoto 13">
              <a:extLst>
                <a:ext uri="{FF2B5EF4-FFF2-40B4-BE49-F238E27FC236}">
                  <a16:creationId xmlns:a16="http://schemas.microsoft.com/office/drawing/2014/main" id="{4D843E8A-2422-AC1E-8D69-1E8384431E60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5" name="Vapaamuotoinen: Muoto 14">
              <a:extLst>
                <a:ext uri="{FF2B5EF4-FFF2-40B4-BE49-F238E27FC236}">
                  <a16:creationId xmlns:a16="http://schemas.microsoft.com/office/drawing/2014/main" id="{0B90A116-A908-A7DE-5844-944AF402FC7D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6" name="Vapaamuotoinen: Muoto 15">
              <a:extLst>
                <a:ext uri="{FF2B5EF4-FFF2-40B4-BE49-F238E27FC236}">
                  <a16:creationId xmlns:a16="http://schemas.microsoft.com/office/drawing/2014/main" id="{269DC064-0657-5593-56AA-C386F00B51B3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7" name="Vapaamuotoinen: Muoto 16">
              <a:extLst>
                <a:ext uri="{FF2B5EF4-FFF2-40B4-BE49-F238E27FC236}">
                  <a16:creationId xmlns:a16="http://schemas.microsoft.com/office/drawing/2014/main" id="{75EEC3F9-2DC3-521E-9D89-8DDF7C675C95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8" name="Vapaamuotoinen: Muoto 17">
              <a:extLst>
                <a:ext uri="{FF2B5EF4-FFF2-40B4-BE49-F238E27FC236}">
                  <a16:creationId xmlns:a16="http://schemas.microsoft.com/office/drawing/2014/main" id="{F77A7E84-7488-FFF6-C559-5475382FA10C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</p:grp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E996DCA-8E68-4F4A-A4A6-ACE6BC7F24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noProof="0"/>
              <a:t>15.5.2024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68148342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AF55F463-6573-FC45-BA45-C38E5111349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F6E6260-E36C-484A-9F25-1346EC50A8D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5508" y="2196783"/>
            <a:ext cx="6839712" cy="1876869"/>
          </a:xfrm>
        </p:spPr>
        <p:txBody>
          <a:bodyPr anchor="t" anchorCtr="0"/>
          <a:lstStyle>
            <a:lvl1pPr algn="l">
              <a:lnSpc>
                <a:spcPct val="95000"/>
              </a:lnSpc>
              <a:defRPr sz="4000"/>
            </a:lvl1pPr>
          </a:lstStyle>
          <a:p>
            <a:r>
              <a:rPr lang="fi-FI"/>
              <a:t>Muokkaa perustyyl. napsautt.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1FDDA9F-DC3B-4803-9730-F564F287AC8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35508" y="5070348"/>
            <a:ext cx="6839712" cy="1220724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24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3EE9307-AB79-3247-82BD-37685692FA2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915" y="565286"/>
            <a:ext cx="2090175" cy="703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8849419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 ilman kuvaa vihreä">
    <p:bg>
      <p:bgPr>
        <a:solidFill>
          <a:srgbClr val="B4FFA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orakulmio 4">
            <a:extLst>
              <a:ext uri="{FF2B5EF4-FFF2-40B4-BE49-F238E27FC236}">
                <a16:creationId xmlns:a16="http://schemas.microsoft.com/office/drawing/2014/main" id="{AC0F3A71-AAB0-F29B-041A-2BC95C03EA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0"/>
            <a:ext cx="6096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0DB878-8E84-426A-BEF0-AF1AAFA1F9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518" y="557866"/>
            <a:ext cx="5231502" cy="1986349"/>
          </a:xfrm>
        </p:spPr>
        <p:txBody>
          <a:bodyPr anchor="b"/>
          <a:lstStyle/>
          <a:p>
            <a:r>
              <a:rPr lang="fi-FI" noProof="0"/>
              <a:t>Lisää otsikko tähän</a:t>
            </a:r>
          </a:p>
        </p:txBody>
      </p:sp>
      <p:sp>
        <p:nvSpPr>
          <p:cNvPr id="11" name="Tekstin paikkamerkki 10">
            <a:extLst>
              <a:ext uri="{FF2B5EF4-FFF2-40B4-BE49-F238E27FC236}">
                <a16:creationId xmlns:a16="http://schemas.microsoft.com/office/drawing/2014/main" id="{7B9F0533-6D2D-7E7F-A366-F9F3682A7B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6238" y="2798064"/>
            <a:ext cx="5232400" cy="2811780"/>
          </a:xfrm>
        </p:spPr>
        <p:txBody>
          <a:bodyPr/>
          <a:lstStyle/>
          <a:p>
            <a:pPr lvl="0"/>
            <a:r>
              <a:rPr lang="fi-FI" noProof="0"/>
              <a:t>Lisää ensimmäisen tason tekstiä tähän</a:t>
            </a:r>
          </a:p>
          <a:p>
            <a:pPr lvl="1"/>
            <a:r>
              <a:rPr lang="fi-FI" noProof="0"/>
              <a:t>Toisen tason teksti</a:t>
            </a:r>
          </a:p>
          <a:p>
            <a:pPr lvl="2"/>
            <a:r>
              <a:rPr lang="fi-FI" noProof="0"/>
              <a:t>Kolmannen tason teksti</a:t>
            </a:r>
          </a:p>
          <a:p>
            <a:pPr lvl="3"/>
            <a:r>
              <a:rPr lang="fi-FI" noProof="0"/>
              <a:t>Neljännen tason teksti</a:t>
            </a:r>
          </a:p>
          <a:p>
            <a:pPr lvl="4"/>
            <a:r>
              <a:rPr lang="fi-FI" noProof="0"/>
              <a:t>Viidennen tason teksti</a:t>
            </a:r>
          </a:p>
        </p:txBody>
      </p:sp>
      <p:sp>
        <p:nvSpPr>
          <p:cNvPr id="12" name="Tekstin paikkamerkki 11">
            <a:extLst>
              <a:ext uri="{FF2B5EF4-FFF2-40B4-BE49-F238E27FC236}">
                <a16:creationId xmlns:a16="http://schemas.microsoft.com/office/drawing/2014/main" id="{4788870C-EEEC-0256-F974-F3A60DD573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87549" y="1594678"/>
            <a:ext cx="5436897" cy="3812207"/>
          </a:xfrm>
          <a:noFill/>
        </p:spPr>
        <p:txBody>
          <a:bodyPr lIns="0" tIns="0" rIns="0" anchor="ctr" anchorCtr="0"/>
          <a:lstStyle>
            <a:lvl1pPr marL="0" indent="0">
              <a:lnSpc>
                <a:spcPct val="90000"/>
              </a:lnSpc>
              <a:buNone/>
              <a:defRPr sz="4000" spc="-130" baseline="0">
                <a:latin typeface="+mj-lt"/>
              </a:defRPr>
            </a:lvl1pPr>
          </a:lstStyle>
          <a:p>
            <a:pPr lvl="0"/>
            <a:r>
              <a:rPr lang="fi-FI" noProof="0"/>
              <a:t>Lisää tekstinosto tähän</a:t>
            </a:r>
          </a:p>
        </p:txBody>
      </p:sp>
      <p:grpSp>
        <p:nvGrpSpPr>
          <p:cNvPr id="6" name="Ryhmä 5">
            <a:extLst>
              <a:ext uri="{FF2B5EF4-FFF2-40B4-BE49-F238E27FC236}">
                <a16:creationId xmlns:a16="http://schemas.microsoft.com/office/drawing/2014/main" id="{E60A3E00-D191-CE2A-0BC2-EC72C60AB5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40807" y="5846175"/>
            <a:ext cx="772691" cy="734802"/>
            <a:chOff x="203203" y="203198"/>
            <a:chExt cx="1117587" cy="1062785"/>
          </a:xfrm>
        </p:grpSpPr>
        <p:sp>
          <p:nvSpPr>
            <p:cNvPr id="8" name="Vapaamuotoinen: Muoto 7">
              <a:extLst>
                <a:ext uri="{FF2B5EF4-FFF2-40B4-BE49-F238E27FC236}">
                  <a16:creationId xmlns:a16="http://schemas.microsoft.com/office/drawing/2014/main" id="{C367D236-C5BC-EDAD-644E-02407316A081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0" name="Vapaamuotoinen: Muoto 9">
              <a:extLst>
                <a:ext uri="{FF2B5EF4-FFF2-40B4-BE49-F238E27FC236}">
                  <a16:creationId xmlns:a16="http://schemas.microsoft.com/office/drawing/2014/main" id="{998FA421-1A05-8E02-D020-1EF1068B695D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3" name="Vapaamuotoinen: Muoto 12">
              <a:extLst>
                <a:ext uri="{FF2B5EF4-FFF2-40B4-BE49-F238E27FC236}">
                  <a16:creationId xmlns:a16="http://schemas.microsoft.com/office/drawing/2014/main" id="{C6151D38-9EC9-128B-B2CE-1668A5845AF5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4" name="Vapaamuotoinen: Muoto 13">
              <a:extLst>
                <a:ext uri="{FF2B5EF4-FFF2-40B4-BE49-F238E27FC236}">
                  <a16:creationId xmlns:a16="http://schemas.microsoft.com/office/drawing/2014/main" id="{4D843E8A-2422-AC1E-8D69-1E8384431E60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5" name="Vapaamuotoinen: Muoto 14">
              <a:extLst>
                <a:ext uri="{FF2B5EF4-FFF2-40B4-BE49-F238E27FC236}">
                  <a16:creationId xmlns:a16="http://schemas.microsoft.com/office/drawing/2014/main" id="{0B90A116-A908-A7DE-5844-944AF402FC7D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6" name="Vapaamuotoinen: Muoto 15">
              <a:extLst>
                <a:ext uri="{FF2B5EF4-FFF2-40B4-BE49-F238E27FC236}">
                  <a16:creationId xmlns:a16="http://schemas.microsoft.com/office/drawing/2014/main" id="{269DC064-0657-5593-56AA-C386F00B51B3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7" name="Vapaamuotoinen: Muoto 16">
              <a:extLst>
                <a:ext uri="{FF2B5EF4-FFF2-40B4-BE49-F238E27FC236}">
                  <a16:creationId xmlns:a16="http://schemas.microsoft.com/office/drawing/2014/main" id="{75EEC3F9-2DC3-521E-9D89-8DDF7C675C95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8" name="Vapaamuotoinen: Muoto 17">
              <a:extLst>
                <a:ext uri="{FF2B5EF4-FFF2-40B4-BE49-F238E27FC236}">
                  <a16:creationId xmlns:a16="http://schemas.microsoft.com/office/drawing/2014/main" id="{F77A7E84-7488-FFF6-C559-5475382FA10C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</p:grp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E996DCA-8E68-4F4A-A4A6-ACE6BC7F24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noProof="0"/>
              <a:t>15.5.2024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3215292888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 ilman kuvaa sininen">
    <p:bg>
      <p:bgPr>
        <a:solidFill>
          <a:srgbClr val="B8E1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orakulmio 4">
            <a:extLst>
              <a:ext uri="{FF2B5EF4-FFF2-40B4-BE49-F238E27FC236}">
                <a16:creationId xmlns:a16="http://schemas.microsoft.com/office/drawing/2014/main" id="{AC0F3A71-AAB0-F29B-041A-2BC95C03EA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0"/>
            <a:ext cx="6096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0DB878-8E84-426A-BEF0-AF1AAFA1F9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518" y="557866"/>
            <a:ext cx="5231502" cy="1986349"/>
          </a:xfrm>
        </p:spPr>
        <p:txBody>
          <a:bodyPr anchor="b"/>
          <a:lstStyle/>
          <a:p>
            <a:r>
              <a:rPr lang="fi-FI" noProof="0"/>
              <a:t>Lisää otsikko tähän</a:t>
            </a:r>
          </a:p>
        </p:txBody>
      </p:sp>
      <p:sp>
        <p:nvSpPr>
          <p:cNvPr id="11" name="Tekstin paikkamerkki 10">
            <a:extLst>
              <a:ext uri="{FF2B5EF4-FFF2-40B4-BE49-F238E27FC236}">
                <a16:creationId xmlns:a16="http://schemas.microsoft.com/office/drawing/2014/main" id="{7B9F0533-6D2D-7E7F-A366-F9F3682A7B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6238" y="2798064"/>
            <a:ext cx="5232400" cy="2811780"/>
          </a:xfrm>
        </p:spPr>
        <p:txBody>
          <a:bodyPr/>
          <a:lstStyle/>
          <a:p>
            <a:pPr lvl="0"/>
            <a:r>
              <a:rPr lang="fi-FI" noProof="0"/>
              <a:t>Lisää ensimmäisen tason tekstiä tähän</a:t>
            </a:r>
          </a:p>
          <a:p>
            <a:pPr lvl="1"/>
            <a:r>
              <a:rPr lang="fi-FI" noProof="0"/>
              <a:t>Toisen tason teksti</a:t>
            </a:r>
          </a:p>
          <a:p>
            <a:pPr lvl="2"/>
            <a:r>
              <a:rPr lang="fi-FI" noProof="0"/>
              <a:t>Kolmannen tason teksti</a:t>
            </a:r>
          </a:p>
          <a:p>
            <a:pPr lvl="3"/>
            <a:r>
              <a:rPr lang="fi-FI" noProof="0"/>
              <a:t>Neljännen tason teksti</a:t>
            </a:r>
          </a:p>
          <a:p>
            <a:pPr lvl="4"/>
            <a:r>
              <a:rPr lang="fi-FI" noProof="0"/>
              <a:t>Viidennen tason teksti</a:t>
            </a:r>
          </a:p>
        </p:txBody>
      </p:sp>
      <p:sp>
        <p:nvSpPr>
          <p:cNvPr id="12" name="Tekstin paikkamerkki 11">
            <a:extLst>
              <a:ext uri="{FF2B5EF4-FFF2-40B4-BE49-F238E27FC236}">
                <a16:creationId xmlns:a16="http://schemas.microsoft.com/office/drawing/2014/main" id="{4788870C-EEEC-0256-F974-F3A60DD573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87549" y="1594678"/>
            <a:ext cx="5436897" cy="3812207"/>
          </a:xfrm>
          <a:noFill/>
        </p:spPr>
        <p:txBody>
          <a:bodyPr lIns="0" tIns="0" rIns="0" anchor="ctr" anchorCtr="0"/>
          <a:lstStyle>
            <a:lvl1pPr marL="0" indent="0">
              <a:lnSpc>
                <a:spcPct val="90000"/>
              </a:lnSpc>
              <a:buNone/>
              <a:defRPr sz="4000" spc="-130" baseline="0">
                <a:latin typeface="+mj-lt"/>
              </a:defRPr>
            </a:lvl1pPr>
          </a:lstStyle>
          <a:p>
            <a:pPr lvl="0"/>
            <a:r>
              <a:rPr lang="fi-FI" noProof="0"/>
              <a:t>Lisää tekstinosto tähän</a:t>
            </a:r>
          </a:p>
        </p:txBody>
      </p:sp>
      <p:grpSp>
        <p:nvGrpSpPr>
          <p:cNvPr id="6" name="Ryhmä 5">
            <a:extLst>
              <a:ext uri="{FF2B5EF4-FFF2-40B4-BE49-F238E27FC236}">
                <a16:creationId xmlns:a16="http://schemas.microsoft.com/office/drawing/2014/main" id="{E60A3E00-D191-CE2A-0BC2-EC72C60AB5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40807" y="5846175"/>
            <a:ext cx="772691" cy="734802"/>
            <a:chOff x="203203" y="203198"/>
            <a:chExt cx="1117587" cy="1062785"/>
          </a:xfrm>
        </p:grpSpPr>
        <p:sp>
          <p:nvSpPr>
            <p:cNvPr id="8" name="Vapaamuotoinen: Muoto 7">
              <a:extLst>
                <a:ext uri="{FF2B5EF4-FFF2-40B4-BE49-F238E27FC236}">
                  <a16:creationId xmlns:a16="http://schemas.microsoft.com/office/drawing/2014/main" id="{C367D236-C5BC-EDAD-644E-02407316A081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0" name="Vapaamuotoinen: Muoto 9">
              <a:extLst>
                <a:ext uri="{FF2B5EF4-FFF2-40B4-BE49-F238E27FC236}">
                  <a16:creationId xmlns:a16="http://schemas.microsoft.com/office/drawing/2014/main" id="{998FA421-1A05-8E02-D020-1EF1068B695D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3" name="Vapaamuotoinen: Muoto 12">
              <a:extLst>
                <a:ext uri="{FF2B5EF4-FFF2-40B4-BE49-F238E27FC236}">
                  <a16:creationId xmlns:a16="http://schemas.microsoft.com/office/drawing/2014/main" id="{C6151D38-9EC9-128B-B2CE-1668A5845AF5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4" name="Vapaamuotoinen: Muoto 13">
              <a:extLst>
                <a:ext uri="{FF2B5EF4-FFF2-40B4-BE49-F238E27FC236}">
                  <a16:creationId xmlns:a16="http://schemas.microsoft.com/office/drawing/2014/main" id="{4D843E8A-2422-AC1E-8D69-1E8384431E60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5" name="Vapaamuotoinen: Muoto 14">
              <a:extLst>
                <a:ext uri="{FF2B5EF4-FFF2-40B4-BE49-F238E27FC236}">
                  <a16:creationId xmlns:a16="http://schemas.microsoft.com/office/drawing/2014/main" id="{0B90A116-A908-A7DE-5844-944AF402FC7D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6" name="Vapaamuotoinen: Muoto 15">
              <a:extLst>
                <a:ext uri="{FF2B5EF4-FFF2-40B4-BE49-F238E27FC236}">
                  <a16:creationId xmlns:a16="http://schemas.microsoft.com/office/drawing/2014/main" id="{269DC064-0657-5593-56AA-C386F00B51B3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7" name="Vapaamuotoinen: Muoto 16">
              <a:extLst>
                <a:ext uri="{FF2B5EF4-FFF2-40B4-BE49-F238E27FC236}">
                  <a16:creationId xmlns:a16="http://schemas.microsoft.com/office/drawing/2014/main" id="{75EEC3F9-2DC3-521E-9D89-8DDF7C675C95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8" name="Vapaamuotoinen: Muoto 17">
              <a:extLst>
                <a:ext uri="{FF2B5EF4-FFF2-40B4-BE49-F238E27FC236}">
                  <a16:creationId xmlns:a16="http://schemas.microsoft.com/office/drawing/2014/main" id="{F77A7E84-7488-FFF6-C559-5475382FA10C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</p:grp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E996DCA-8E68-4F4A-A4A6-ACE6BC7F24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noProof="0"/>
              <a:t>15.5.2024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2022796220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 ilman kuvaa punainen">
    <p:bg>
      <p:bgPr>
        <a:solidFill>
          <a:srgbClr val="FF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orakulmio 4">
            <a:extLst>
              <a:ext uri="{FF2B5EF4-FFF2-40B4-BE49-F238E27FC236}">
                <a16:creationId xmlns:a16="http://schemas.microsoft.com/office/drawing/2014/main" id="{AC0F3A71-AAB0-F29B-041A-2BC95C03EA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0"/>
            <a:ext cx="6096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0DB878-8E84-426A-BEF0-AF1AAFA1F9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518" y="557866"/>
            <a:ext cx="5231502" cy="1986349"/>
          </a:xfrm>
        </p:spPr>
        <p:txBody>
          <a:bodyPr anchor="b"/>
          <a:lstStyle/>
          <a:p>
            <a:r>
              <a:rPr lang="fi-FI" noProof="0"/>
              <a:t>Lisää otsikko tähän</a:t>
            </a:r>
          </a:p>
        </p:txBody>
      </p:sp>
      <p:sp>
        <p:nvSpPr>
          <p:cNvPr id="11" name="Tekstin paikkamerkki 10">
            <a:extLst>
              <a:ext uri="{FF2B5EF4-FFF2-40B4-BE49-F238E27FC236}">
                <a16:creationId xmlns:a16="http://schemas.microsoft.com/office/drawing/2014/main" id="{7B9F0533-6D2D-7E7F-A366-F9F3682A7B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6238" y="2798064"/>
            <a:ext cx="5232400" cy="2811780"/>
          </a:xfrm>
        </p:spPr>
        <p:txBody>
          <a:bodyPr/>
          <a:lstStyle/>
          <a:p>
            <a:pPr lvl="0"/>
            <a:r>
              <a:rPr lang="fi-FI" noProof="0"/>
              <a:t>Lisää ensimmäisen tason tekstiä tähän</a:t>
            </a:r>
          </a:p>
          <a:p>
            <a:pPr lvl="1"/>
            <a:r>
              <a:rPr lang="fi-FI" noProof="0"/>
              <a:t>Toisen tason teksti</a:t>
            </a:r>
          </a:p>
          <a:p>
            <a:pPr lvl="2"/>
            <a:r>
              <a:rPr lang="fi-FI" noProof="0"/>
              <a:t>Kolmannen tason teksti</a:t>
            </a:r>
          </a:p>
          <a:p>
            <a:pPr lvl="3"/>
            <a:r>
              <a:rPr lang="fi-FI" noProof="0"/>
              <a:t>Neljännen tason teksti</a:t>
            </a:r>
          </a:p>
          <a:p>
            <a:pPr lvl="4"/>
            <a:r>
              <a:rPr lang="fi-FI" noProof="0"/>
              <a:t>Viidennen tason teksti</a:t>
            </a:r>
          </a:p>
        </p:txBody>
      </p:sp>
      <p:sp>
        <p:nvSpPr>
          <p:cNvPr id="12" name="Tekstin paikkamerkki 11">
            <a:extLst>
              <a:ext uri="{FF2B5EF4-FFF2-40B4-BE49-F238E27FC236}">
                <a16:creationId xmlns:a16="http://schemas.microsoft.com/office/drawing/2014/main" id="{4788870C-EEEC-0256-F974-F3A60DD573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87549" y="1594678"/>
            <a:ext cx="5436897" cy="3812207"/>
          </a:xfrm>
          <a:noFill/>
        </p:spPr>
        <p:txBody>
          <a:bodyPr lIns="0" tIns="0" rIns="0" anchor="ctr" anchorCtr="0"/>
          <a:lstStyle>
            <a:lvl1pPr marL="0" indent="0">
              <a:lnSpc>
                <a:spcPct val="90000"/>
              </a:lnSpc>
              <a:buNone/>
              <a:defRPr sz="4000" spc="-130" baseline="0">
                <a:latin typeface="+mj-lt"/>
              </a:defRPr>
            </a:lvl1pPr>
          </a:lstStyle>
          <a:p>
            <a:pPr lvl="0"/>
            <a:r>
              <a:rPr lang="fi-FI" noProof="0"/>
              <a:t>Lisää tekstinosto tähän</a:t>
            </a:r>
          </a:p>
        </p:txBody>
      </p:sp>
      <p:grpSp>
        <p:nvGrpSpPr>
          <p:cNvPr id="6" name="Ryhmä 5">
            <a:extLst>
              <a:ext uri="{FF2B5EF4-FFF2-40B4-BE49-F238E27FC236}">
                <a16:creationId xmlns:a16="http://schemas.microsoft.com/office/drawing/2014/main" id="{E60A3E00-D191-CE2A-0BC2-EC72C60AB5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40807" y="5846175"/>
            <a:ext cx="772691" cy="734802"/>
            <a:chOff x="203203" y="203198"/>
            <a:chExt cx="1117587" cy="1062785"/>
          </a:xfrm>
        </p:grpSpPr>
        <p:sp>
          <p:nvSpPr>
            <p:cNvPr id="8" name="Vapaamuotoinen: Muoto 7">
              <a:extLst>
                <a:ext uri="{FF2B5EF4-FFF2-40B4-BE49-F238E27FC236}">
                  <a16:creationId xmlns:a16="http://schemas.microsoft.com/office/drawing/2014/main" id="{C367D236-C5BC-EDAD-644E-02407316A081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0" name="Vapaamuotoinen: Muoto 9">
              <a:extLst>
                <a:ext uri="{FF2B5EF4-FFF2-40B4-BE49-F238E27FC236}">
                  <a16:creationId xmlns:a16="http://schemas.microsoft.com/office/drawing/2014/main" id="{998FA421-1A05-8E02-D020-1EF1068B695D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3" name="Vapaamuotoinen: Muoto 12">
              <a:extLst>
                <a:ext uri="{FF2B5EF4-FFF2-40B4-BE49-F238E27FC236}">
                  <a16:creationId xmlns:a16="http://schemas.microsoft.com/office/drawing/2014/main" id="{C6151D38-9EC9-128B-B2CE-1668A5845AF5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4" name="Vapaamuotoinen: Muoto 13">
              <a:extLst>
                <a:ext uri="{FF2B5EF4-FFF2-40B4-BE49-F238E27FC236}">
                  <a16:creationId xmlns:a16="http://schemas.microsoft.com/office/drawing/2014/main" id="{4D843E8A-2422-AC1E-8D69-1E8384431E60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5" name="Vapaamuotoinen: Muoto 14">
              <a:extLst>
                <a:ext uri="{FF2B5EF4-FFF2-40B4-BE49-F238E27FC236}">
                  <a16:creationId xmlns:a16="http://schemas.microsoft.com/office/drawing/2014/main" id="{0B90A116-A908-A7DE-5844-944AF402FC7D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6" name="Vapaamuotoinen: Muoto 15">
              <a:extLst>
                <a:ext uri="{FF2B5EF4-FFF2-40B4-BE49-F238E27FC236}">
                  <a16:creationId xmlns:a16="http://schemas.microsoft.com/office/drawing/2014/main" id="{269DC064-0657-5593-56AA-C386F00B51B3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7" name="Vapaamuotoinen: Muoto 16">
              <a:extLst>
                <a:ext uri="{FF2B5EF4-FFF2-40B4-BE49-F238E27FC236}">
                  <a16:creationId xmlns:a16="http://schemas.microsoft.com/office/drawing/2014/main" id="{75EEC3F9-2DC3-521E-9D89-8DDF7C675C95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8" name="Vapaamuotoinen: Muoto 17">
              <a:extLst>
                <a:ext uri="{FF2B5EF4-FFF2-40B4-BE49-F238E27FC236}">
                  <a16:creationId xmlns:a16="http://schemas.microsoft.com/office/drawing/2014/main" id="{F77A7E84-7488-FFF6-C559-5475382FA10C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</p:grp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E996DCA-8E68-4F4A-A4A6-ACE6BC7F24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noProof="0"/>
              <a:t>15.5.2024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1153629936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 ilman kuvaa keltainen">
    <p:bg>
      <p:bgPr>
        <a:solidFill>
          <a:srgbClr val="FFFAC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orakulmio 4">
            <a:extLst>
              <a:ext uri="{FF2B5EF4-FFF2-40B4-BE49-F238E27FC236}">
                <a16:creationId xmlns:a16="http://schemas.microsoft.com/office/drawing/2014/main" id="{AC0F3A71-AAB0-F29B-041A-2BC95C03EA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0"/>
            <a:ext cx="6096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0DB878-8E84-426A-BEF0-AF1AAFA1F9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518" y="557866"/>
            <a:ext cx="5231502" cy="1986349"/>
          </a:xfrm>
        </p:spPr>
        <p:txBody>
          <a:bodyPr anchor="b"/>
          <a:lstStyle/>
          <a:p>
            <a:r>
              <a:rPr lang="fi-FI" noProof="0"/>
              <a:t>Lisää otsikko tähän</a:t>
            </a:r>
          </a:p>
        </p:txBody>
      </p:sp>
      <p:sp>
        <p:nvSpPr>
          <p:cNvPr id="11" name="Tekstin paikkamerkki 10">
            <a:extLst>
              <a:ext uri="{FF2B5EF4-FFF2-40B4-BE49-F238E27FC236}">
                <a16:creationId xmlns:a16="http://schemas.microsoft.com/office/drawing/2014/main" id="{7B9F0533-6D2D-7E7F-A366-F9F3682A7B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6238" y="2798064"/>
            <a:ext cx="5232400" cy="2811780"/>
          </a:xfrm>
        </p:spPr>
        <p:txBody>
          <a:bodyPr/>
          <a:lstStyle/>
          <a:p>
            <a:pPr lvl="0"/>
            <a:r>
              <a:rPr lang="fi-FI" noProof="0"/>
              <a:t>Lisää ensimmäisen tason tekstiä tähän</a:t>
            </a:r>
          </a:p>
          <a:p>
            <a:pPr lvl="1"/>
            <a:r>
              <a:rPr lang="fi-FI" noProof="0"/>
              <a:t>Toisen tason teksti</a:t>
            </a:r>
          </a:p>
          <a:p>
            <a:pPr lvl="2"/>
            <a:r>
              <a:rPr lang="fi-FI" noProof="0"/>
              <a:t>Kolmannen tason teksti</a:t>
            </a:r>
          </a:p>
          <a:p>
            <a:pPr lvl="3"/>
            <a:r>
              <a:rPr lang="fi-FI" noProof="0"/>
              <a:t>Neljännen tason teksti</a:t>
            </a:r>
          </a:p>
          <a:p>
            <a:pPr lvl="4"/>
            <a:r>
              <a:rPr lang="fi-FI" noProof="0"/>
              <a:t>Viidennen tason teksti</a:t>
            </a:r>
          </a:p>
        </p:txBody>
      </p:sp>
      <p:sp>
        <p:nvSpPr>
          <p:cNvPr id="12" name="Tekstin paikkamerkki 11">
            <a:extLst>
              <a:ext uri="{FF2B5EF4-FFF2-40B4-BE49-F238E27FC236}">
                <a16:creationId xmlns:a16="http://schemas.microsoft.com/office/drawing/2014/main" id="{4788870C-EEEC-0256-F974-F3A60DD573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87549" y="1594678"/>
            <a:ext cx="5436897" cy="3812207"/>
          </a:xfrm>
          <a:noFill/>
        </p:spPr>
        <p:txBody>
          <a:bodyPr lIns="0" tIns="0" rIns="0" anchor="ctr" anchorCtr="0"/>
          <a:lstStyle>
            <a:lvl1pPr marL="0" indent="0">
              <a:lnSpc>
                <a:spcPct val="90000"/>
              </a:lnSpc>
              <a:buNone/>
              <a:defRPr sz="4000" spc="-130" baseline="0">
                <a:latin typeface="+mj-lt"/>
              </a:defRPr>
            </a:lvl1pPr>
          </a:lstStyle>
          <a:p>
            <a:pPr lvl="0"/>
            <a:r>
              <a:rPr lang="fi-FI" noProof="0"/>
              <a:t>Lisää tekstinosto tähän</a:t>
            </a:r>
          </a:p>
        </p:txBody>
      </p:sp>
      <p:grpSp>
        <p:nvGrpSpPr>
          <p:cNvPr id="6" name="Ryhmä 5">
            <a:extLst>
              <a:ext uri="{FF2B5EF4-FFF2-40B4-BE49-F238E27FC236}">
                <a16:creationId xmlns:a16="http://schemas.microsoft.com/office/drawing/2014/main" id="{E60A3E00-D191-CE2A-0BC2-EC72C60AB5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40807" y="5846175"/>
            <a:ext cx="772691" cy="734802"/>
            <a:chOff x="203203" y="203198"/>
            <a:chExt cx="1117587" cy="1062785"/>
          </a:xfrm>
        </p:grpSpPr>
        <p:sp>
          <p:nvSpPr>
            <p:cNvPr id="8" name="Vapaamuotoinen: Muoto 7">
              <a:extLst>
                <a:ext uri="{FF2B5EF4-FFF2-40B4-BE49-F238E27FC236}">
                  <a16:creationId xmlns:a16="http://schemas.microsoft.com/office/drawing/2014/main" id="{C367D236-C5BC-EDAD-644E-02407316A081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0" name="Vapaamuotoinen: Muoto 9">
              <a:extLst>
                <a:ext uri="{FF2B5EF4-FFF2-40B4-BE49-F238E27FC236}">
                  <a16:creationId xmlns:a16="http://schemas.microsoft.com/office/drawing/2014/main" id="{998FA421-1A05-8E02-D020-1EF1068B695D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3" name="Vapaamuotoinen: Muoto 12">
              <a:extLst>
                <a:ext uri="{FF2B5EF4-FFF2-40B4-BE49-F238E27FC236}">
                  <a16:creationId xmlns:a16="http://schemas.microsoft.com/office/drawing/2014/main" id="{C6151D38-9EC9-128B-B2CE-1668A5845AF5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4" name="Vapaamuotoinen: Muoto 13">
              <a:extLst>
                <a:ext uri="{FF2B5EF4-FFF2-40B4-BE49-F238E27FC236}">
                  <a16:creationId xmlns:a16="http://schemas.microsoft.com/office/drawing/2014/main" id="{4D843E8A-2422-AC1E-8D69-1E8384431E60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5" name="Vapaamuotoinen: Muoto 14">
              <a:extLst>
                <a:ext uri="{FF2B5EF4-FFF2-40B4-BE49-F238E27FC236}">
                  <a16:creationId xmlns:a16="http://schemas.microsoft.com/office/drawing/2014/main" id="{0B90A116-A908-A7DE-5844-944AF402FC7D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6" name="Vapaamuotoinen: Muoto 15">
              <a:extLst>
                <a:ext uri="{FF2B5EF4-FFF2-40B4-BE49-F238E27FC236}">
                  <a16:creationId xmlns:a16="http://schemas.microsoft.com/office/drawing/2014/main" id="{269DC064-0657-5593-56AA-C386F00B51B3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7" name="Vapaamuotoinen: Muoto 16">
              <a:extLst>
                <a:ext uri="{FF2B5EF4-FFF2-40B4-BE49-F238E27FC236}">
                  <a16:creationId xmlns:a16="http://schemas.microsoft.com/office/drawing/2014/main" id="{75EEC3F9-2DC3-521E-9D89-8DDF7C675C95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8" name="Vapaamuotoinen: Muoto 17">
              <a:extLst>
                <a:ext uri="{FF2B5EF4-FFF2-40B4-BE49-F238E27FC236}">
                  <a16:creationId xmlns:a16="http://schemas.microsoft.com/office/drawing/2014/main" id="{F77A7E84-7488-FFF6-C559-5475382FA10C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</p:grp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E996DCA-8E68-4F4A-A4A6-ACE6BC7F24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noProof="0"/>
              <a:t>15.5.2024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1820136066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lehti nro ja kuva THL vihreä">
    <p:bg>
      <p:bgPr>
        <a:solidFill>
          <a:srgbClr val="005A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>
            <a:extLst>
              <a:ext uri="{FF2B5EF4-FFF2-40B4-BE49-F238E27FC236}">
                <a16:creationId xmlns:a16="http://schemas.microsoft.com/office/drawing/2014/main" id="{0C0C45B2-2B8F-122D-75C1-2D79B886765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433570" y="0"/>
            <a:ext cx="8758429" cy="6858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None/>
              <a:defRPr sz="1800"/>
            </a:lvl1pPr>
          </a:lstStyle>
          <a:p>
            <a:r>
              <a:rPr lang="fi-FI" noProof="0"/>
              <a:t>Lisää kuva napsauttamalla kuvaketta</a:t>
            </a:r>
          </a:p>
        </p:txBody>
      </p:sp>
      <p:sp>
        <p:nvSpPr>
          <p:cNvPr id="22" name="Suorakulmio 21">
            <a:extLst>
              <a:ext uri="{FF2B5EF4-FFF2-40B4-BE49-F238E27FC236}">
                <a16:creationId xmlns:a16="http://schemas.microsoft.com/office/drawing/2014/main" id="{73767DC7-ABA0-F4CA-4D56-4A6E892E25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3429000"/>
            <a:ext cx="3433571" cy="3429000"/>
          </a:xfrm>
          <a:prstGeom prst="rect">
            <a:avLst/>
          </a:prstGeom>
          <a:solidFill>
            <a:srgbClr val="FFF7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0DB878-8E84-426A-BEF0-AF1AAFA1F9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4785" y="3671398"/>
            <a:ext cx="3089059" cy="2990006"/>
          </a:xfrm>
        </p:spPr>
        <p:txBody>
          <a:bodyPr/>
          <a:lstStyle>
            <a:lvl1pPr>
              <a:defRPr sz="4000" spc="-100" baseline="0">
                <a:latin typeface="Work Sans Light" pitchFamily="2" charset="0"/>
              </a:defRPr>
            </a:lvl1pPr>
          </a:lstStyle>
          <a:p>
            <a:r>
              <a:rPr lang="fi-FI" noProof="0"/>
              <a:t>Lisää otsikko tähän</a:t>
            </a:r>
          </a:p>
        </p:txBody>
      </p:sp>
      <p:sp>
        <p:nvSpPr>
          <p:cNvPr id="4" name="Tekstin paikkamerkki 22">
            <a:extLst>
              <a:ext uri="{FF2B5EF4-FFF2-40B4-BE49-F238E27FC236}">
                <a16:creationId xmlns:a16="http://schemas.microsoft.com/office/drawing/2014/main" id="{F8BB2B58-D8BB-1736-51C6-A65C08E0264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8036" y="1580401"/>
            <a:ext cx="3008376" cy="1929383"/>
          </a:xfrm>
        </p:spPr>
        <p:txBody>
          <a:bodyPr anchor="b" anchorCtr="0"/>
          <a:lstStyle>
            <a:lvl1pPr marL="0" indent="0" algn="l">
              <a:lnSpc>
                <a:spcPct val="80000"/>
              </a:lnSpc>
              <a:buNone/>
              <a:defRPr sz="11500" spc="-50" baseline="0">
                <a:solidFill>
                  <a:srgbClr val="FFF7F0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fi-FI" noProof="0"/>
              <a:t>XX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/>
          </a:p>
        </p:txBody>
      </p:sp>
      <p:grpSp>
        <p:nvGrpSpPr>
          <p:cNvPr id="17" name="Ryhmä 9">
            <a:extLst>
              <a:ext uri="{FF2B5EF4-FFF2-40B4-BE49-F238E27FC236}">
                <a16:creationId xmlns:a16="http://schemas.microsoft.com/office/drawing/2014/main" id="{125BA786-1D5A-D020-1BF7-057635A7987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00537" y="194489"/>
            <a:ext cx="1127964" cy="1072654"/>
            <a:chOff x="203203" y="203198"/>
            <a:chExt cx="1117587" cy="1062785"/>
          </a:xfrm>
          <a:solidFill>
            <a:srgbClr val="FFF7F0"/>
          </a:solidFill>
        </p:grpSpPr>
        <p:sp>
          <p:nvSpPr>
            <p:cNvPr id="18" name="Vapaamuotoinen: Muoto 10">
              <a:extLst>
                <a:ext uri="{FF2B5EF4-FFF2-40B4-BE49-F238E27FC236}">
                  <a16:creationId xmlns:a16="http://schemas.microsoft.com/office/drawing/2014/main" id="{72582A53-2A94-6B32-FD4B-BED572E5DAD4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grpFill/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1" name="Vapaamuotoinen: Muoto 11">
              <a:extLst>
                <a:ext uri="{FF2B5EF4-FFF2-40B4-BE49-F238E27FC236}">
                  <a16:creationId xmlns:a16="http://schemas.microsoft.com/office/drawing/2014/main" id="{F79D1FC7-4294-2901-45D2-BC8556938393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grpFill/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8" name="Vapaamuotoinen: Muoto 12">
              <a:extLst>
                <a:ext uri="{FF2B5EF4-FFF2-40B4-BE49-F238E27FC236}">
                  <a16:creationId xmlns:a16="http://schemas.microsoft.com/office/drawing/2014/main" id="{309BD337-EC79-6EE2-44CA-E15035182405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grpFill/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9" name="Vapaamuotoinen: Muoto 13">
              <a:extLst>
                <a:ext uri="{FF2B5EF4-FFF2-40B4-BE49-F238E27FC236}">
                  <a16:creationId xmlns:a16="http://schemas.microsoft.com/office/drawing/2014/main" id="{E19497C6-4B0A-211A-C080-F84402995FCA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grpFill/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30" name="Vapaamuotoinen: Muoto 14">
              <a:extLst>
                <a:ext uri="{FF2B5EF4-FFF2-40B4-BE49-F238E27FC236}">
                  <a16:creationId xmlns:a16="http://schemas.microsoft.com/office/drawing/2014/main" id="{B8BA6CE9-B27B-7591-952D-A8981F499E95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grpFill/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31" name="Vapaamuotoinen: Muoto 15">
              <a:extLst>
                <a:ext uri="{FF2B5EF4-FFF2-40B4-BE49-F238E27FC236}">
                  <a16:creationId xmlns:a16="http://schemas.microsoft.com/office/drawing/2014/main" id="{200A106B-2FC8-A370-1EE8-00CA7FCCD0CB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grpFill/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32" name="Vapaamuotoinen: Muoto 16">
              <a:extLst>
                <a:ext uri="{FF2B5EF4-FFF2-40B4-BE49-F238E27FC236}">
                  <a16:creationId xmlns:a16="http://schemas.microsoft.com/office/drawing/2014/main" id="{5529E684-E53D-8418-79A9-2238B8771BD7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grpFill/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33" name="Vapaamuotoinen: Muoto 17">
              <a:extLst>
                <a:ext uri="{FF2B5EF4-FFF2-40B4-BE49-F238E27FC236}">
                  <a16:creationId xmlns:a16="http://schemas.microsoft.com/office/drawing/2014/main" id="{AC294AC1-11E3-E20E-9906-D3115CE9B300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grpFill/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</p:grpSp>
    </p:spTree>
    <p:extLst>
      <p:ext uri="{BB962C8B-B14F-4D97-AF65-F5344CB8AC3E}">
        <p14:creationId xmlns:p14="http://schemas.microsoft.com/office/powerpoint/2010/main" val="297264573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lehti nro ja kuva violetti">
    <p:bg>
      <p:bgPr>
        <a:solidFill>
          <a:srgbClr val="FFE1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>
            <a:extLst>
              <a:ext uri="{FF2B5EF4-FFF2-40B4-BE49-F238E27FC236}">
                <a16:creationId xmlns:a16="http://schemas.microsoft.com/office/drawing/2014/main" id="{0C0C45B2-2B8F-122D-75C1-2D79B886765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433570" y="0"/>
            <a:ext cx="8758429" cy="6858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None/>
              <a:defRPr sz="1800"/>
            </a:lvl1pPr>
          </a:lstStyle>
          <a:p>
            <a:r>
              <a:rPr lang="fi-FI" noProof="0"/>
              <a:t>Lisää kuva napsauttamalla kuvaketta</a:t>
            </a:r>
          </a:p>
        </p:txBody>
      </p:sp>
      <p:sp>
        <p:nvSpPr>
          <p:cNvPr id="22" name="Suorakulmio 21">
            <a:extLst>
              <a:ext uri="{FF2B5EF4-FFF2-40B4-BE49-F238E27FC236}">
                <a16:creationId xmlns:a16="http://schemas.microsoft.com/office/drawing/2014/main" id="{73767DC7-ABA0-F4CA-4D56-4A6E892E25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3429000"/>
            <a:ext cx="3433571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0DB878-8E84-426A-BEF0-AF1AAFA1F9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4785" y="3671398"/>
            <a:ext cx="3089059" cy="2990006"/>
          </a:xfrm>
        </p:spPr>
        <p:txBody>
          <a:bodyPr/>
          <a:lstStyle>
            <a:lvl1pPr>
              <a:defRPr sz="4000" spc="-100" baseline="0">
                <a:latin typeface="Work Sans Light" pitchFamily="2" charset="0"/>
              </a:defRPr>
            </a:lvl1pPr>
          </a:lstStyle>
          <a:p>
            <a:r>
              <a:rPr lang="fi-FI" noProof="0"/>
              <a:t>Lisää otsikko tähän</a:t>
            </a:r>
          </a:p>
        </p:txBody>
      </p:sp>
      <p:sp>
        <p:nvSpPr>
          <p:cNvPr id="4" name="Tekstin paikkamerkki 22">
            <a:extLst>
              <a:ext uri="{FF2B5EF4-FFF2-40B4-BE49-F238E27FC236}">
                <a16:creationId xmlns:a16="http://schemas.microsoft.com/office/drawing/2014/main" id="{F8BB2B58-D8BB-1736-51C6-A65C08E0264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8036" y="1580401"/>
            <a:ext cx="3008376" cy="1929383"/>
          </a:xfrm>
        </p:spPr>
        <p:txBody>
          <a:bodyPr anchor="b" anchorCtr="0"/>
          <a:lstStyle>
            <a:lvl1pPr marL="0" indent="0" algn="l">
              <a:lnSpc>
                <a:spcPct val="80000"/>
              </a:lnSpc>
              <a:buNone/>
              <a:defRPr sz="11500" spc="-50" baseline="0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fi-FI" noProof="0"/>
              <a:t>XX</a:t>
            </a:r>
          </a:p>
        </p:txBody>
      </p:sp>
      <p:grpSp>
        <p:nvGrpSpPr>
          <p:cNvPr id="5" name="Ryhmä 4">
            <a:extLst>
              <a:ext uri="{FF2B5EF4-FFF2-40B4-BE49-F238E27FC236}">
                <a16:creationId xmlns:a16="http://schemas.microsoft.com/office/drawing/2014/main" id="{3D2F5A89-E0E1-A352-25B1-1AA73A09A1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03203" y="203198"/>
            <a:ext cx="1117587" cy="1062785"/>
            <a:chOff x="203203" y="203198"/>
            <a:chExt cx="1117587" cy="1062785"/>
          </a:xfrm>
        </p:grpSpPr>
        <p:sp>
          <p:nvSpPr>
            <p:cNvPr id="6" name="Vapaamuotoinen: Muoto 5">
              <a:extLst>
                <a:ext uri="{FF2B5EF4-FFF2-40B4-BE49-F238E27FC236}">
                  <a16:creationId xmlns:a16="http://schemas.microsoft.com/office/drawing/2014/main" id="{525188C8-8609-73C0-4CA3-D47335335A3E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9" name="Vapaamuotoinen: Muoto 18">
              <a:extLst>
                <a:ext uri="{FF2B5EF4-FFF2-40B4-BE49-F238E27FC236}">
                  <a16:creationId xmlns:a16="http://schemas.microsoft.com/office/drawing/2014/main" id="{174D65B1-43CA-B503-D86E-62DE503C3A9C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0" name="Vapaamuotoinen: Muoto 19">
              <a:extLst>
                <a:ext uri="{FF2B5EF4-FFF2-40B4-BE49-F238E27FC236}">
                  <a16:creationId xmlns:a16="http://schemas.microsoft.com/office/drawing/2014/main" id="{96CF7BEF-9841-C636-4833-CF44883795A1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3" name="Vapaamuotoinen: Muoto 22">
              <a:extLst>
                <a:ext uri="{FF2B5EF4-FFF2-40B4-BE49-F238E27FC236}">
                  <a16:creationId xmlns:a16="http://schemas.microsoft.com/office/drawing/2014/main" id="{C71327A0-9565-018A-9ED5-8224A3584A97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4" name="Vapaamuotoinen: Muoto 23">
              <a:extLst>
                <a:ext uri="{FF2B5EF4-FFF2-40B4-BE49-F238E27FC236}">
                  <a16:creationId xmlns:a16="http://schemas.microsoft.com/office/drawing/2014/main" id="{9A4F7338-AA11-8845-AA60-8733E64633FD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5" name="Vapaamuotoinen: Muoto 24">
              <a:extLst>
                <a:ext uri="{FF2B5EF4-FFF2-40B4-BE49-F238E27FC236}">
                  <a16:creationId xmlns:a16="http://schemas.microsoft.com/office/drawing/2014/main" id="{010F6C3A-37A5-2ED4-EE90-7DF85320A24C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6" name="Vapaamuotoinen: Muoto 25">
              <a:extLst>
                <a:ext uri="{FF2B5EF4-FFF2-40B4-BE49-F238E27FC236}">
                  <a16:creationId xmlns:a16="http://schemas.microsoft.com/office/drawing/2014/main" id="{970D8043-07BB-8CCE-12FF-65764ACC2EE3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7" name="Vapaamuotoinen: Muoto 26">
              <a:extLst>
                <a:ext uri="{FF2B5EF4-FFF2-40B4-BE49-F238E27FC236}">
                  <a16:creationId xmlns:a16="http://schemas.microsoft.com/office/drawing/2014/main" id="{83FCC69D-E18E-DEAF-F65D-8274BB4C9739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</p:grp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1811370949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lehti nro ja kuva vihreä">
    <p:bg>
      <p:bgPr>
        <a:solidFill>
          <a:srgbClr val="B4FFA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>
            <a:extLst>
              <a:ext uri="{FF2B5EF4-FFF2-40B4-BE49-F238E27FC236}">
                <a16:creationId xmlns:a16="http://schemas.microsoft.com/office/drawing/2014/main" id="{0C0C45B2-2B8F-122D-75C1-2D79B886765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433570" y="0"/>
            <a:ext cx="8758429" cy="6858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None/>
              <a:defRPr sz="1800"/>
            </a:lvl1pPr>
          </a:lstStyle>
          <a:p>
            <a:r>
              <a:rPr lang="fi-FI" noProof="0"/>
              <a:t>Lisää kuva napsauttamalla kuvaketta</a:t>
            </a:r>
          </a:p>
        </p:txBody>
      </p:sp>
      <p:sp>
        <p:nvSpPr>
          <p:cNvPr id="22" name="Suorakulmio 21">
            <a:extLst>
              <a:ext uri="{FF2B5EF4-FFF2-40B4-BE49-F238E27FC236}">
                <a16:creationId xmlns:a16="http://schemas.microsoft.com/office/drawing/2014/main" id="{73767DC7-ABA0-F4CA-4D56-4A6E892E25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3429000"/>
            <a:ext cx="3433571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0DB878-8E84-426A-BEF0-AF1AAFA1F9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4785" y="3671398"/>
            <a:ext cx="3089059" cy="2990006"/>
          </a:xfrm>
        </p:spPr>
        <p:txBody>
          <a:bodyPr/>
          <a:lstStyle>
            <a:lvl1pPr>
              <a:defRPr sz="4000" spc="-100" baseline="0">
                <a:latin typeface="Work Sans Light" pitchFamily="2" charset="0"/>
              </a:defRPr>
            </a:lvl1pPr>
          </a:lstStyle>
          <a:p>
            <a:r>
              <a:rPr lang="fi-FI" noProof="0"/>
              <a:t>Lisää otsikko tähän</a:t>
            </a:r>
          </a:p>
        </p:txBody>
      </p:sp>
      <p:sp>
        <p:nvSpPr>
          <p:cNvPr id="4" name="Tekstin paikkamerkki 22">
            <a:extLst>
              <a:ext uri="{FF2B5EF4-FFF2-40B4-BE49-F238E27FC236}">
                <a16:creationId xmlns:a16="http://schemas.microsoft.com/office/drawing/2014/main" id="{F8BB2B58-D8BB-1736-51C6-A65C08E0264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8036" y="1580401"/>
            <a:ext cx="3008376" cy="1929383"/>
          </a:xfrm>
        </p:spPr>
        <p:txBody>
          <a:bodyPr anchor="b" anchorCtr="0"/>
          <a:lstStyle>
            <a:lvl1pPr marL="0" indent="0" algn="l">
              <a:lnSpc>
                <a:spcPct val="80000"/>
              </a:lnSpc>
              <a:buNone/>
              <a:defRPr sz="11500" spc="-50" baseline="0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fi-FI" noProof="0"/>
              <a:t>XX</a:t>
            </a:r>
          </a:p>
        </p:txBody>
      </p:sp>
      <p:grpSp>
        <p:nvGrpSpPr>
          <p:cNvPr id="5" name="Ryhmä 4">
            <a:extLst>
              <a:ext uri="{FF2B5EF4-FFF2-40B4-BE49-F238E27FC236}">
                <a16:creationId xmlns:a16="http://schemas.microsoft.com/office/drawing/2014/main" id="{3D2F5A89-E0E1-A352-25B1-1AA73A09A1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03203" y="203198"/>
            <a:ext cx="1117587" cy="1062785"/>
            <a:chOff x="203203" y="203198"/>
            <a:chExt cx="1117587" cy="1062785"/>
          </a:xfrm>
        </p:grpSpPr>
        <p:sp>
          <p:nvSpPr>
            <p:cNvPr id="6" name="Vapaamuotoinen: Muoto 5">
              <a:extLst>
                <a:ext uri="{FF2B5EF4-FFF2-40B4-BE49-F238E27FC236}">
                  <a16:creationId xmlns:a16="http://schemas.microsoft.com/office/drawing/2014/main" id="{525188C8-8609-73C0-4CA3-D47335335A3E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9" name="Vapaamuotoinen: Muoto 18">
              <a:extLst>
                <a:ext uri="{FF2B5EF4-FFF2-40B4-BE49-F238E27FC236}">
                  <a16:creationId xmlns:a16="http://schemas.microsoft.com/office/drawing/2014/main" id="{174D65B1-43CA-B503-D86E-62DE503C3A9C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0" name="Vapaamuotoinen: Muoto 19">
              <a:extLst>
                <a:ext uri="{FF2B5EF4-FFF2-40B4-BE49-F238E27FC236}">
                  <a16:creationId xmlns:a16="http://schemas.microsoft.com/office/drawing/2014/main" id="{96CF7BEF-9841-C636-4833-CF44883795A1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3" name="Vapaamuotoinen: Muoto 22">
              <a:extLst>
                <a:ext uri="{FF2B5EF4-FFF2-40B4-BE49-F238E27FC236}">
                  <a16:creationId xmlns:a16="http://schemas.microsoft.com/office/drawing/2014/main" id="{C71327A0-9565-018A-9ED5-8224A3584A97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4" name="Vapaamuotoinen: Muoto 23">
              <a:extLst>
                <a:ext uri="{FF2B5EF4-FFF2-40B4-BE49-F238E27FC236}">
                  <a16:creationId xmlns:a16="http://schemas.microsoft.com/office/drawing/2014/main" id="{9A4F7338-AA11-8845-AA60-8733E64633FD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5" name="Vapaamuotoinen: Muoto 24">
              <a:extLst>
                <a:ext uri="{FF2B5EF4-FFF2-40B4-BE49-F238E27FC236}">
                  <a16:creationId xmlns:a16="http://schemas.microsoft.com/office/drawing/2014/main" id="{010F6C3A-37A5-2ED4-EE90-7DF85320A24C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6" name="Vapaamuotoinen: Muoto 25">
              <a:extLst>
                <a:ext uri="{FF2B5EF4-FFF2-40B4-BE49-F238E27FC236}">
                  <a16:creationId xmlns:a16="http://schemas.microsoft.com/office/drawing/2014/main" id="{970D8043-07BB-8CCE-12FF-65764ACC2EE3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7" name="Vapaamuotoinen: Muoto 26">
              <a:extLst>
                <a:ext uri="{FF2B5EF4-FFF2-40B4-BE49-F238E27FC236}">
                  <a16:creationId xmlns:a16="http://schemas.microsoft.com/office/drawing/2014/main" id="{83FCC69D-E18E-DEAF-F65D-8274BB4C9739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</p:grp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4256965708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lehti nro ja kuva sininen">
    <p:bg>
      <p:bgPr>
        <a:solidFill>
          <a:srgbClr val="DCEFF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>
            <a:extLst>
              <a:ext uri="{FF2B5EF4-FFF2-40B4-BE49-F238E27FC236}">
                <a16:creationId xmlns:a16="http://schemas.microsoft.com/office/drawing/2014/main" id="{0C0C45B2-2B8F-122D-75C1-2D79B886765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433570" y="0"/>
            <a:ext cx="8758429" cy="6858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None/>
              <a:defRPr sz="1800"/>
            </a:lvl1pPr>
          </a:lstStyle>
          <a:p>
            <a:r>
              <a:rPr lang="fi-FI" noProof="0"/>
              <a:t>Lisää kuva napsauttamalla kuvaketta</a:t>
            </a:r>
          </a:p>
        </p:txBody>
      </p:sp>
      <p:sp>
        <p:nvSpPr>
          <p:cNvPr id="22" name="Suorakulmio 21">
            <a:extLst>
              <a:ext uri="{FF2B5EF4-FFF2-40B4-BE49-F238E27FC236}">
                <a16:creationId xmlns:a16="http://schemas.microsoft.com/office/drawing/2014/main" id="{73767DC7-ABA0-F4CA-4D56-4A6E892E25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3429000"/>
            <a:ext cx="3433571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0DB878-8E84-426A-BEF0-AF1AAFA1F9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4785" y="3671398"/>
            <a:ext cx="3089059" cy="2990006"/>
          </a:xfrm>
        </p:spPr>
        <p:txBody>
          <a:bodyPr/>
          <a:lstStyle>
            <a:lvl1pPr>
              <a:defRPr sz="4000" spc="-100" baseline="0">
                <a:latin typeface="Work Sans Light" pitchFamily="2" charset="0"/>
              </a:defRPr>
            </a:lvl1pPr>
          </a:lstStyle>
          <a:p>
            <a:r>
              <a:rPr lang="fi-FI" noProof="0"/>
              <a:t>Lisää otsikko tähän</a:t>
            </a:r>
          </a:p>
        </p:txBody>
      </p:sp>
      <p:sp>
        <p:nvSpPr>
          <p:cNvPr id="4" name="Tekstin paikkamerkki 22">
            <a:extLst>
              <a:ext uri="{FF2B5EF4-FFF2-40B4-BE49-F238E27FC236}">
                <a16:creationId xmlns:a16="http://schemas.microsoft.com/office/drawing/2014/main" id="{F8BB2B58-D8BB-1736-51C6-A65C08E0264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8036" y="1580401"/>
            <a:ext cx="3008376" cy="1929383"/>
          </a:xfrm>
        </p:spPr>
        <p:txBody>
          <a:bodyPr anchor="b" anchorCtr="0"/>
          <a:lstStyle>
            <a:lvl1pPr marL="0" indent="0" algn="l">
              <a:lnSpc>
                <a:spcPct val="80000"/>
              </a:lnSpc>
              <a:buNone/>
              <a:defRPr sz="11500" spc="-50" baseline="0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fi-FI" noProof="0"/>
              <a:t>XX</a:t>
            </a:r>
          </a:p>
        </p:txBody>
      </p:sp>
      <p:grpSp>
        <p:nvGrpSpPr>
          <p:cNvPr id="5" name="Ryhmä 4">
            <a:extLst>
              <a:ext uri="{FF2B5EF4-FFF2-40B4-BE49-F238E27FC236}">
                <a16:creationId xmlns:a16="http://schemas.microsoft.com/office/drawing/2014/main" id="{3D2F5A89-E0E1-A352-25B1-1AA73A09A1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03203" y="203198"/>
            <a:ext cx="1117587" cy="1062785"/>
            <a:chOff x="203203" y="203198"/>
            <a:chExt cx="1117587" cy="1062785"/>
          </a:xfrm>
        </p:grpSpPr>
        <p:sp>
          <p:nvSpPr>
            <p:cNvPr id="6" name="Vapaamuotoinen: Muoto 5">
              <a:extLst>
                <a:ext uri="{FF2B5EF4-FFF2-40B4-BE49-F238E27FC236}">
                  <a16:creationId xmlns:a16="http://schemas.microsoft.com/office/drawing/2014/main" id="{525188C8-8609-73C0-4CA3-D47335335A3E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9" name="Vapaamuotoinen: Muoto 18">
              <a:extLst>
                <a:ext uri="{FF2B5EF4-FFF2-40B4-BE49-F238E27FC236}">
                  <a16:creationId xmlns:a16="http://schemas.microsoft.com/office/drawing/2014/main" id="{174D65B1-43CA-B503-D86E-62DE503C3A9C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0" name="Vapaamuotoinen: Muoto 19">
              <a:extLst>
                <a:ext uri="{FF2B5EF4-FFF2-40B4-BE49-F238E27FC236}">
                  <a16:creationId xmlns:a16="http://schemas.microsoft.com/office/drawing/2014/main" id="{96CF7BEF-9841-C636-4833-CF44883795A1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3" name="Vapaamuotoinen: Muoto 22">
              <a:extLst>
                <a:ext uri="{FF2B5EF4-FFF2-40B4-BE49-F238E27FC236}">
                  <a16:creationId xmlns:a16="http://schemas.microsoft.com/office/drawing/2014/main" id="{C71327A0-9565-018A-9ED5-8224A3584A97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4" name="Vapaamuotoinen: Muoto 23">
              <a:extLst>
                <a:ext uri="{FF2B5EF4-FFF2-40B4-BE49-F238E27FC236}">
                  <a16:creationId xmlns:a16="http://schemas.microsoft.com/office/drawing/2014/main" id="{9A4F7338-AA11-8845-AA60-8733E64633FD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5" name="Vapaamuotoinen: Muoto 24">
              <a:extLst>
                <a:ext uri="{FF2B5EF4-FFF2-40B4-BE49-F238E27FC236}">
                  <a16:creationId xmlns:a16="http://schemas.microsoft.com/office/drawing/2014/main" id="{010F6C3A-37A5-2ED4-EE90-7DF85320A24C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6" name="Vapaamuotoinen: Muoto 25">
              <a:extLst>
                <a:ext uri="{FF2B5EF4-FFF2-40B4-BE49-F238E27FC236}">
                  <a16:creationId xmlns:a16="http://schemas.microsoft.com/office/drawing/2014/main" id="{970D8043-07BB-8CCE-12FF-65764ACC2EE3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7" name="Vapaamuotoinen: Muoto 26">
              <a:extLst>
                <a:ext uri="{FF2B5EF4-FFF2-40B4-BE49-F238E27FC236}">
                  <a16:creationId xmlns:a16="http://schemas.microsoft.com/office/drawing/2014/main" id="{83FCC69D-E18E-DEAF-F65D-8274BB4C9739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</p:grp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2868194694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lehti nro ja kuva punainen">
    <p:bg>
      <p:bgPr>
        <a:solidFill>
          <a:srgbClr val="FE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>
            <a:extLst>
              <a:ext uri="{FF2B5EF4-FFF2-40B4-BE49-F238E27FC236}">
                <a16:creationId xmlns:a16="http://schemas.microsoft.com/office/drawing/2014/main" id="{0C0C45B2-2B8F-122D-75C1-2D79B886765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433570" y="0"/>
            <a:ext cx="8758429" cy="6858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None/>
              <a:defRPr sz="1800"/>
            </a:lvl1pPr>
          </a:lstStyle>
          <a:p>
            <a:r>
              <a:rPr lang="fi-FI" noProof="0"/>
              <a:t>Lisää kuva napsauttamalla kuvaketta</a:t>
            </a:r>
          </a:p>
        </p:txBody>
      </p:sp>
      <p:sp>
        <p:nvSpPr>
          <p:cNvPr id="22" name="Suorakulmio 21">
            <a:extLst>
              <a:ext uri="{FF2B5EF4-FFF2-40B4-BE49-F238E27FC236}">
                <a16:creationId xmlns:a16="http://schemas.microsoft.com/office/drawing/2014/main" id="{73767DC7-ABA0-F4CA-4D56-4A6E892E25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3429000"/>
            <a:ext cx="3433571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0DB878-8E84-426A-BEF0-AF1AAFA1F9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4785" y="3671398"/>
            <a:ext cx="3089059" cy="2990006"/>
          </a:xfrm>
        </p:spPr>
        <p:txBody>
          <a:bodyPr/>
          <a:lstStyle>
            <a:lvl1pPr>
              <a:defRPr sz="4000" spc="-100" baseline="0">
                <a:latin typeface="Work Sans Light" pitchFamily="2" charset="0"/>
              </a:defRPr>
            </a:lvl1pPr>
          </a:lstStyle>
          <a:p>
            <a:r>
              <a:rPr lang="fi-FI" noProof="0"/>
              <a:t>Lisää otsikko tähän</a:t>
            </a:r>
          </a:p>
        </p:txBody>
      </p:sp>
      <p:sp>
        <p:nvSpPr>
          <p:cNvPr id="4" name="Tekstin paikkamerkki 22">
            <a:extLst>
              <a:ext uri="{FF2B5EF4-FFF2-40B4-BE49-F238E27FC236}">
                <a16:creationId xmlns:a16="http://schemas.microsoft.com/office/drawing/2014/main" id="{F8BB2B58-D8BB-1736-51C6-A65C08E0264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8036" y="1580401"/>
            <a:ext cx="3008376" cy="1929383"/>
          </a:xfrm>
        </p:spPr>
        <p:txBody>
          <a:bodyPr anchor="b" anchorCtr="0"/>
          <a:lstStyle>
            <a:lvl1pPr marL="0" indent="0" algn="l">
              <a:lnSpc>
                <a:spcPct val="80000"/>
              </a:lnSpc>
              <a:buNone/>
              <a:defRPr sz="11500" spc="-50" baseline="0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fi-FI" noProof="0"/>
              <a:t>XX</a:t>
            </a:r>
          </a:p>
        </p:txBody>
      </p:sp>
      <p:grpSp>
        <p:nvGrpSpPr>
          <p:cNvPr id="5" name="Ryhmä 4">
            <a:extLst>
              <a:ext uri="{FF2B5EF4-FFF2-40B4-BE49-F238E27FC236}">
                <a16:creationId xmlns:a16="http://schemas.microsoft.com/office/drawing/2014/main" id="{3D2F5A89-E0E1-A352-25B1-1AA73A09A1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03203" y="203198"/>
            <a:ext cx="1117587" cy="1062785"/>
            <a:chOff x="203203" y="203198"/>
            <a:chExt cx="1117587" cy="1062785"/>
          </a:xfrm>
        </p:grpSpPr>
        <p:sp>
          <p:nvSpPr>
            <p:cNvPr id="6" name="Vapaamuotoinen: Muoto 5">
              <a:extLst>
                <a:ext uri="{FF2B5EF4-FFF2-40B4-BE49-F238E27FC236}">
                  <a16:creationId xmlns:a16="http://schemas.microsoft.com/office/drawing/2014/main" id="{525188C8-8609-73C0-4CA3-D47335335A3E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9" name="Vapaamuotoinen: Muoto 18">
              <a:extLst>
                <a:ext uri="{FF2B5EF4-FFF2-40B4-BE49-F238E27FC236}">
                  <a16:creationId xmlns:a16="http://schemas.microsoft.com/office/drawing/2014/main" id="{174D65B1-43CA-B503-D86E-62DE503C3A9C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0" name="Vapaamuotoinen: Muoto 19">
              <a:extLst>
                <a:ext uri="{FF2B5EF4-FFF2-40B4-BE49-F238E27FC236}">
                  <a16:creationId xmlns:a16="http://schemas.microsoft.com/office/drawing/2014/main" id="{96CF7BEF-9841-C636-4833-CF44883795A1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3" name="Vapaamuotoinen: Muoto 22">
              <a:extLst>
                <a:ext uri="{FF2B5EF4-FFF2-40B4-BE49-F238E27FC236}">
                  <a16:creationId xmlns:a16="http://schemas.microsoft.com/office/drawing/2014/main" id="{C71327A0-9565-018A-9ED5-8224A3584A97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4" name="Vapaamuotoinen: Muoto 23">
              <a:extLst>
                <a:ext uri="{FF2B5EF4-FFF2-40B4-BE49-F238E27FC236}">
                  <a16:creationId xmlns:a16="http://schemas.microsoft.com/office/drawing/2014/main" id="{9A4F7338-AA11-8845-AA60-8733E64633FD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5" name="Vapaamuotoinen: Muoto 24">
              <a:extLst>
                <a:ext uri="{FF2B5EF4-FFF2-40B4-BE49-F238E27FC236}">
                  <a16:creationId xmlns:a16="http://schemas.microsoft.com/office/drawing/2014/main" id="{010F6C3A-37A5-2ED4-EE90-7DF85320A24C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6" name="Vapaamuotoinen: Muoto 25">
              <a:extLst>
                <a:ext uri="{FF2B5EF4-FFF2-40B4-BE49-F238E27FC236}">
                  <a16:creationId xmlns:a16="http://schemas.microsoft.com/office/drawing/2014/main" id="{970D8043-07BB-8CCE-12FF-65764ACC2EE3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7" name="Vapaamuotoinen: Muoto 26">
              <a:extLst>
                <a:ext uri="{FF2B5EF4-FFF2-40B4-BE49-F238E27FC236}">
                  <a16:creationId xmlns:a16="http://schemas.microsoft.com/office/drawing/2014/main" id="{83FCC69D-E18E-DEAF-F65D-8274BB4C9739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</p:grp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3742104626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lehti nro ja kuva keltainen">
    <p:bg>
      <p:bgPr>
        <a:solidFill>
          <a:srgbClr val="FFFAC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>
            <a:extLst>
              <a:ext uri="{FF2B5EF4-FFF2-40B4-BE49-F238E27FC236}">
                <a16:creationId xmlns:a16="http://schemas.microsoft.com/office/drawing/2014/main" id="{0C0C45B2-2B8F-122D-75C1-2D79B886765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433570" y="0"/>
            <a:ext cx="8758429" cy="6858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None/>
              <a:defRPr sz="1800"/>
            </a:lvl1pPr>
          </a:lstStyle>
          <a:p>
            <a:r>
              <a:rPr lang="fi-FI" noProof="0"/>
              <a:t>Lisää kuva napsauttamalla kuvaketta</a:t>
            </a:r>
          </a:p>
        </p:txBody>
      </p:sp>
      <p:sp>
        <p:nvSpPr>
          <p:cNvPr id="22" name="Suorakulmio 21">
            <a:extLst>
              <a:ext uri="{FF2B5EF4-FFF2-40B4-BE49-F238E27FC236}">
                <a16:creationId xmlns:a16="http://schemas.microsoft.com/office/drawing/2014/main" id="{73767DC7-ABA0-F4CA-4D56-4A6E892E25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3429000"/>
            <a:ext cx="3433571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0DB878-8E84-426A-BEF0-AF1AAFA1F9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4785" y="3671398"/>
            <a:ext cx="3089059" cy="2990006"/>
          </a:xfrm>
        </p:spPr>
        <p:txBody>
          <a:bodyPr/>
          <a:lstStyle>
            <a:lvl1pPr>
              <a:defRPr sz="4000" spc="-100" baseline="0">
                <a:latin typeface="Work Sans Light" pitchFamily="2" charset="0"/>
              </a:defRPr>
            </a:lvl1pPr>
          </a:lstStyle>
          <a:p>
            <a:r>
              <a:rPr lang="fi-FI" noProof="0"/>
              <a:t>Lisää otsikko tähän</a:t>
            </a:r>
          </a:p>
        </p:txBody>
      </p:sp>
      <p:sp>
        <p:nvSpPr>
          <p:cNvPr id="4" name="Tekstin paikkamerkki 22">
            <a:extLst>
              <a:ext uri="{FF2B5EF4-FFF2-40B4-BE49-F238E27FC236}">
                <a16:creationId xmlns:a16="http://schemas.microsoft.com/office/drawing/2014/main" id="{F8BB2B58-D8BB-1736-51C6-A65C08E0264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8036" y="1580401"/>
            <a:ext cx="3008376" cy="1929383"/>
          </a:xfrm>
        </p:spPr>
        <p:txBody>
          <a:bodyPr anchor="b" anchorCtr="0"/>
          <a:lstStyle>
            <a:lvl1pPr marL="0" indent="0" algn="l">
              <a:lnSpc>
                <a:spcPct val="80000"/>
              </a:lnSpc>
              <a:buNone/>
              <a:defRPr sz="11500" spc="-50" baseline="0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fi-FI" noProof="0"/>
              <a:t>XX</a:t>
            </a:r>
          </a:p>
        </p:txBody>
      </p:sp>
      <p:grpSp>
        <p:nvGrpSpPr>
          <p:cNvPr id="5" name="Ryhmä 4">
            <a:extLst>
              <a:ext uri="{FF2B5EF4-FFF2-40B4-BE49-F238E27FC236}">
                <a16:creationId xmlns:a16="http://schemas.microsoft.com/office/drawing/2014/main" id="{3D2F5A89-E0E1-A352-25B1-1AA73A09A1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03203" y="203198"/>
            <a:ext cx="1117587" cy="1062785"/>
            <a:chOff x="203203" y="203198"/>
            <a:chExt cx="1117587" cy="1062785"/>
          </a:xfrm>
        </p:grpSpPr>
        <p:sp>
          <p:nvSpPr>
            <p:cNvPr id="6" name="Vapaamuotoinen: Muoto 5">
              <a:extLst>
                <a:ext uri="{FF2B5EF4-FFF2-40B4-BE49-F238E27FC236}">
                  <a16:creationId xmlns:a16="http://schemas.microsoft.com/office/drawing/2014/main" id="{525188C8-8609-73C0-4CA3-D47335335A3E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9" name="Vapaamuotoinen: Muoto 18">
              <a:extLst>
                <a:ext uri="{FF2B5EF4-FFF2-40B4-BE49-F238E27FC236}">
                  <a16:creationId xmlns:a16="http://schemas.microsoft.com/office/drawing/2014/main" id="{174D65B1-43CA-B503-D86E-62DE503C3A9C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0" name="Vapaamuotoinen: Muoto 19">
              <a:extLst>
                <a:ext uri="{FF2B5EF4-FFF2-40B4-BE49-F238E27FC236}">
                  <a16:creationId xmlns:a16="http://schemas.microsoft.com/office/drawing/2014/main" id="{96CF7BEF-9841-C636-4833-CF44883795A1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3" name="Vapaamuotoinen: Muoto 22">
              <a:extLst>
                <a:ext uri="{FF2B5EF4-FFF2-40B4-BE49-F238E27FC236}">
                  <a16:creationId xmlns:a16="http://schemas.microsoft.com/office/drawing/2014/main" id="{C71327A0-9565-018A-9ED5-8224A3584A97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4" name="Vapaamuotoinen: Muoto 23">
              <a:extLst>
                <a:ext uri="{FF2B5EF4-FFF2-40B4-BE49-F238E27FC236}">
                  <a16:creationId xmlns:a16="http://schemas.microsoft.com/office/drawing/2014/main" id="{9A4F7338-AA11-8845-AA60-8733E64633FD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5" name="Vapaamuotoinen: Muoto 24">
              <a:extLst>
                <a:ext uri="{FF2B5EF4-FFF2-40B4-BE49-F238E27FC236}">
                  <a16:creationId xmlns:a16="http://schemas.microsoft.com/office/drawing/2014/main" id="{010F6C3A-37A5-2ED4-EE90-7DF85320A24C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6" name="Vapaamuotoinen: Muoto 25">
              <a:extLst>
                <a:ext uri="{FF2B5EF4-FFF2-40B4-BE49-F238E27FC236}">
                  <a16:creationId xmlns:a16="http://schemas.microsoft.com/office/drawing/2014/main" id="{970D8043-07BB-8CCE-12FF-65764ACC2EE3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7" name="Vapaamuotoinen: Muoto 26">
              <a:extLst>
                <a:ext uri="{FF2B5EF4-FFF2-40B4-BE49-F238E27FC236}">
                  <a16:creationId xmlns:a16="http://schemas.microsoft.com/office/drawing/2014/main" id="{83FCC69D-E18E-DEAF-F65D-8274BB4C9739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</p:grp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101391172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0DB878-8E84-426A-BEF0-AF1AAFA1F9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940" y="484094"/>
            <a:ext cx="9894939" cy="1075323"/>
          </a:xfrm>
        </p:spPr>
        <p:txBody>
          <a:bodyPr anchor="b"/>
          <a:lstStyle/>
          <a:p>
            <a:r>
              <a:rPr lang="fi-FI"/>
              <a:t>Muokkaa perustyyl. napsautt.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E3B6CAA-4767-42B4-A19C-0CFD9AFC822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E996DCA-8E68-4F4A-A4A6-ACE6BC7F24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19.5.2021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DC7B94-042D-44C2-B7B2-1128AAFA57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etra Kokko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160B98-140E-4345-B1A3-2A7247C42973}" type="slidenum">
              <a:rPr lang="fi-FI" smtClean="0"/>
              <a:t>‹#›</a:t>
            </a:fld>
            <a:endParaRPr lang="fi-FI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FAA53A2-04A4-784B-8533-1BE5B6ED6EB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76380" y="596151"/>
            <a:ext cx="516294" cy="631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6148245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lehti THL vihreä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Suorakulmio 21">
            <a:extLst>
              <a:ext uri="{FF2B5EF4-FFF2-40B4-BE49-F238E27FC236}">
                <a16:creationId xmlns:a16="http://schemas.microsoft.com/office/drawing/2014/main" id="{73767DC7-ABA0-F4CA-4D56-4A6E892E25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0"/>
            <a:ext cx="343357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0DB878-8E84-426A-BEF0-AF1AAFA1F9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4785" y="1627632"/>
            <a:ext cx="3089059" cy="3781044"/>
          </a:xfrm>
        </p:spPr>
        <p:txBody>
          <a:bodyPr anchor="ctr" anchorCtr="0"/>
          <a:lstStyle>
            <a:lvl1pPr>
              <a:defRPr sz="4000" spc="-100" baseline="0">
                <a:latin typeface="Work Sans Light" pitchFamily="2" charset="0"/>
              </a:defRPr>
            </a:lvl1pPr>
          </a:lstStyle>
          <a:p>
            <a:r>
              <a:rPr lang="fi-FI" noProof="0"/>
              <a:t>Lisää otsikko tähän</a:t>
            </a:r>
          </a:p>
        </p:txBody>
      </p:sp>
      <p:grpSp>
        <p:nvGrpSpPr>
          <p:cNvPr id="5" name="Ryhmä 4">
            <a:extLst>
              <a:ext uri="{FF2B5EF4-FFF2-40B4-BE49-F238E27FC236}">
                <a16:creationId xmlns:a16="http://schemas.microsoft.com/office/drawing/2014/main" id="{3D2F5A89-E0E1-A352-25B1-1AA73A09A1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03203" y="203198"/>
            <a:ext cx="1117587" cy="1062785"/>
            <a:chOff x="203203" y="203198"/>
            <a:chExt cx="1117587" cy="1062785"/>
          </a:xfrm>
        </p:grpSpPr>
        <p:sp>
          <p:nvSpPr>
            <p:cNvPr id="6" name="Vapaamuotoinen: Muoto 5">
              <a:extLst>
                <a:ext uri="{FF2B5EF4-FFF2-40B4-BE49-F238E27FC236}">
                  <a16:creationId xmlns:a16="http://schemas.microsoft.com/office/drawing/2014/main" id="{525188C8-8609-73C0-4CA3-D47335335A3E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9" name="Vapaamuotoinen: Muoto 18">
              <a:extLst>
                <a:ext uri="{FF2B5EF4-FFF2-40B4-BE49-F238E27FC236}">
                  <a16:creationId xmlns:a16="http://schemas.microsoft.com/office/drawing/2014/main" id="{174D65B1-43CA-B503-D86E-62DE503C3A9C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0" name="Vapaamuotoinen: Muoto 19">
              <a:extLst>
                <a:ext uri="{FF2B5EF4-FFF2-40B4-BE49-F238E27FC236}">
                  <a16:creationId xmlns:a16="http://schemas.microsoft.com/office/drawing/2014/main" id="{96CF7BEF-9841-C636-4833-CF44883795A1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3" name="Vapaamuotoinen: Muoto 22">
              <a:extLst>
                <a:ext uri="{FF2B5EF4-FFF2-40B4-BE49-F238E27FC236}">
                  <a16:creationId xmlns:a16="http://schemas.microsoft.com/office/drawing/2014/main" id="{C71327A0-9565-018A-9ED5-8224A3584A97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4" name="Vapaamuotoinen: Muoto 23">
              <a:extLst>
                <a:ext uri="{FF2B5EF4-FFF2-40B4-BE49-F238E27FC236}">
                  <a16:creationId xmlns:a16="http://schemas.microsoft.com/office/drawing/2014/main" id="{9A4F7338-AA11-8845-AA60-8733E64633FD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5" name="Vapaamuotoinen: Muoto 24">
              <a:extLst>
                <a:ext uri="{FF2B5EF4-FFF2-40B4-BE49-F238E27FC236}">
                  <a16:creationId xmlns:a16="http://schemas.microsoft.com/office/drawing/2014/main" id="{010F6C3A-37A5-2ED4-EE90-7DF85320A24C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6" name="Vapaamuotoinen: Muoto 25">
              <a:extLst>
                <a:ext uri="{FF2B5EF4-FFF2-40B4-BE49-F238E27FC236}">
                  <a16:creationId xmlns:a16="http://schemas.microsoft.com/office/drawing/2014/main" id="{970D8043-07BB-8CCE-12FF-65764ACC2EE3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7" name="Vapaamuotoinen: Muoto 26">
              <a:extLst>
                <a:ext uri="{FF2B5EF4-FFF2-40B4-BE49-F238E27FC236}">
                  <a16:creationId xmlns:a16="http://schemas.microsoft.com/office/drawing/2014/main" id="{83FCC69D-E18E-DEAF-F65D-8274BB4C9739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</p:grp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907177298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lehti violetti">
    <p:bg>
      <p:bgPr>
        <a:solidFill>
          <a:srgbClr val="FFE1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Suorakulmio 21">
            <a:extLst>
              <a:ext uri="{FF2B5EF4-FFF2-40B4-BE49-F238E27FC236}">
                <a16:creationId xmlns:a16="http://schemas.microsoft.com/office/drawing/2014/main" id="{73767DC7-ABA0-F4CA-4D56-4A6E892E25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0"/>
            <a:ext cx="343357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0DB878-8E84-426A-BEF0-AF1AAFA1F9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4785" y="1627632"/>
            <a:ext cx="3089059" cy="3781044"/>
          </a:xfrm>
        </p:spPr>
        <p:txBody>
          <a:bodyPr anchor="ctr" anchorCtr="0"/>
          <a:lstStyle>
            <a:lvl1pPr>
              <a:defRPr sz="4000" spc="-100" baseline="0">
                <a:latin typeface="Work Sans Light" pitchFamily="2" charset="0"/>
              </a:defRPr>
            </a:lvl1pPr>
          </a:lstStyle>
          <a:p>
            <a:r>
              <a:rPr lang="fi-FI" noProof="0"/>
              <a:t>Lisää otsikko tähän</a:t>
            </a:r>
          </a:p>
        </p:txBody>
      </p:sp>
      <p:grpSp>
        <p:nvGrpSpPr>
          <p:cNvPr id="5" name="Ryhmä 4">
            <a:extLst>
              <a:ext uri="{FF2B5EF4-FFF2-40B4-BE49-F238E27FC236}">
                <a16:creationId xmlns:a16="http://schemas.microsoft.com/office/drawing/2014/main" id="{3D2F5A89-E0E1-A352-25B1-1AA73A09A1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03203" y="203198"/>
            <a:ext cx="1117587" cy="1062785"/>
            <a:chOff x="203203" y="203198"/>
            <a:chExt cx="1117587" cy="1062785"/>
          </a:xfrm>
        </p:grpSpPr>
        <p:sp>
          <p:nvSpPr>
            <p:cNvPr id="6" name="Vapaamuotoinen: Muoto 5">
              <a:extLst>
                <a:ext uri="{FF2B5EF4-FFF2-40B4-BE49-F238E27FC236}">
                  <a16:creationId xmlns:a16="http://schemas.microsoft.com/office/drawing/2014/main" id="{525188C8-8609-73C0-4CA3-D47335335A3E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9" name="Vapaamuotoinen: Muoto 18">
              <a:extLst>
                <a:ext uri="{FF2B5EF4-FFF2-40B4-BE49-F238E27FC236}">
                  <a16:creationId xmlns:a16="http://schemas.microsoft.com/office/drawing/2014/main" id="{174D65B1-43CA-B503-D86E-62DE503C3A9C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0" name="Vapaamuotoinen: Muoto 19">
              <a:extLst>
                <a:ext uri="{FF2B5EF4-FFF2-40B4-BE49-F238E27FC236}">
                  <a16:creationId xmlns:a16="http://schemas.microsoft.com/office/drawing/2014/main" id="{96CF7BEF-9841-C636-4833-CF44883795A1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3" name="Vapaamuotoinen: Muoto 22">
              <a:extLst>
                <a:ext uri="{FF2B5EF4-FFF2-40B4-BE49-F238E27FC236}">
                  <a16:creationId xmlns:a16="http://schemas.microsoft.com/office/drawing/2014/main" id="{C71327A0-9565-018A-9ED5-8224A3584A97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4" name="Vapaamuotoinen: Muoto 23">
              <a:extLst>
                <a:ext uri="{FF2B5EF4-FFF2-40B4-BE49-F238E27FC236}">
                  <a16:creationId xmlns:a16="http://schemas.microsoft.com/office/drawing/2014/main" id="{9A4F7338-AA11-8845-AA60-8733E64633FD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5" name="Vapaamuotoinen: Muoto 24">
              <a:extLst>
                <a:ext uri="{FF2B5EF4-FFF2-40B4-BE49-F238E27FC236}">
                  <a16:creationId xmlns:a16="http://schemas.microsoft.com/office/drawing/2014/main" id="{010F6C3A-37A5-2ED4-EE90-7DF85320A24C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6" name="Vapaamuotoinen: Muoto 25">
              <a:extLst>
                <a:ext uri="{FF2B5EF4-FFF2-40B4-BE49-F238E27FC236}">
                  <a16:creationId xmlns:a16="http://schemas.microsoft.com/office/drawing/2014/main" id="{970D8043-07BB-8CCE-12FF-65764ACC2EE3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7" name="Vapaamuotoinen: Muoto 26">
              <a:extLst>
                <a:ext uri="{FF2B5EF4-FFF2-40B4-BE49-F238E27FC236}">
                  <a16:creationId xmlns:a16="http://schemas.microsoft.com/office/drawing/2014/main" id="{83FCC69D-E18E-DEAF-F65D-8274BB4C9739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</p:grp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67A09F6E-5547-1BAE-EC42-9BCE56A70D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1838460035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lehti vihreä">
    <p:bg>
      <p:bgPr>
        <a:solidFill>
          <a:srgbClr val="B4FFA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Suorakulmio 21">
            <a:extLst>
              <a:ext uri="{FF2B5EF4-FFF2-40B4-BE49-F238E27FC236}">
                <a16:creationId xmlns:a16="http://schemas.microsoft.com/office/drawing/2014/main" id="{73767DC7-ABA0-F4CA-4D56-4A6E892E25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0"/>
            <a:ext cx="343357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0DB878-8E84-426A-BEF0-AF1AAFA1F9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4785" y="1627632"/>
            <a:ext cx="3089059" cy="3781044"/>
          </a:xfrm>
        </p:spPr>
        <p:txBody>
          <a:bodyPr anchor="ctr" anchorCtr="0"/>
          <a:lstStyle>
            <a:lvl1pPr>
              <a:defRPr sz="4000" spc="-100" baseline="0">
                <a:latin typeface="Work Sans Light" pitchFamily="2" charset="0"/>
              </a:defRPr>
            </a:lvl1pPr>
          </a:lstStyle>
          <a:p>
            <a:r>
              <a:rPr lang="fi-FI" noProof="0"/>
              <a:t>Lisää otsikko tähän</a:t>
            </a:r>
          </a:p>
        </p:txBody>
      </p:sp>
      <p:grpSp>
        <p:nvGrpSpPr>
          <p:cNvPr id="5" name="Ryhmä 4">
            <a:extLst>
              <a:ext uri="{FF2B5EF4-FFF2-40B4-BE49-F238E27FC236}">
                <a16:creationId xmlns:a16="http://schemas.microsoft.com/office/drawing/2014/main" id="{3D2F5A89-E0E1-A352-25B1-1AA73A09A1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03203" y="203198"/>
            <a:ext cx="1117587" cy="1062785"/>
            <a:chOff x="203203" y="203198"/>
            <a:chExt cx="1117587" cy="1062785"/>
          </a:xfrm>
        </p:grpSpPr>
        <p:sp>
          <p:nvSpPr>
            <p:cNvPr id="6" name="Vapaamuotoinen: Muoto 5">
              <a:extLst>
                <a:ext uri="{FF2B5EF4-FFF2-40B4-BE49-F238E27FC236}">
                  <a16:creationId xmlns:a16="http://schemas.microsoft.com/office/drawing/2014/main" id="{525188C8-8609-73C0-4CA3-D47335335A3E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9" name="Vapaamuotoinen: Muoto 18">
              <a:extLst>
                <a:ext uri="{FF2B5EF4-FFF2-40B4-BE49-F238E27FC236}">
                  <a16:creationId xmlns:a16="http://schemas.microsoft.com/office/drawing/2014/main" id="{174D65B1-43CA-B503-D86E-62DE503C3A9C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0" name="Vapaamuotoinen: Muoto 19">
              <a:extLst>
                <a:ext uri="{FF2B5EF4-FFF2-40B4-BE49-F238E27FC236}">
                  <a16:creationId xmlns:a16="http://schemas.microsoft.com/office/drawing/2014/main" id="{96CF7BEF-9841-C636-4833-CF44883795A1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3" name="Vapaamuotoinen: Muoto 22">
              <a:extLst>
                <a:ext uri="{FF2B5EF4-FFF2-40B4-BE49-F238E27FC236}">
                  <a16:creationId xmlns:a16="http://schemas.microsoft.com/office/drawing/2014/main" id="{C71327A0-9565-018A-9ED5-8224A3584A97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4" name="Vapaamuotoinen: Muoto 23">
              <a:extLst>
                <a:ext uri="{FF2B5EF4-FFF2-40B4-BE49-F238E27FC236}">
                  <a16:creationId xmlns:a16="http://schemas.microsoft.com/office/drawing/2014/main" id="{9A4F7338-AA11-8845-AA60-8733E64633FD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5" name="Vapaamuotoinen: Muoto 24">
              <a:extLst>
                <a:ext uri="{FF2B5EF4-FFF2-40B4-BE49-F238E27FC236}">
                  <a16:creationId xmlns:a16="http://schemas.microsoft.com/office/drawing/2014/main" id="{010F6C3A-37A5-2ED4-EE90-7DF85320A24C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6" name="Vapaamuotoinen: Muoto 25">
              <a:extLst>
                <a:ext uri="{FF2B5EF4-FFF2-40B4-BE49-F238E27FC236}">
                  <a16:creationId xmlns:a16="http://schemas.microsoft.com/office/drawing/2014/main" id="{970D8043-07BB-8CCE-12FF-65764ACC2EE3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7" name="Vapaamuotoinen: Muoto 26">
              <a:extLst>
                <a:ext uri="{FF2B5EF4-FFF2-40B4-BE49-F238E27FC236}">
                  <a16:creationId xmlns:a16="http://schemas.microsoft.com/office/drawing/2014/main" id="{83FCC69D-E18E-DEAF-F65D-8274BB4C9739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</p:grp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314463249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lehti keltainen">
    <p:bg>
      <p:bgPr>
        <a:solidFill>
          <a:srgbClr val="FFFAC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Suorakulmio 21">
            <a:extLst>
              <a:ext uri="{FF2B5EF4-FFF2-40B4-BE49-F238E27FC236}">
                <a16:creationId xmlns:a16="http://schemas.microsoft.com/office/drawing/2014/main" id="{73767DC7-ABA0-F4CA-4D56-4A6E892E25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0"/>
            <a:ext cx="343357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0DB878-8E84-426A-BEF0-AF1AAFA1F9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4785" y="1627632"/>
            <a:ext cx="3089059" cy="3781044"/>
          </a:xfrm>
        </p:spPr>
        <p:txBody>
          <a:bodyPr anchor="ctr" anchorCtr="0"/>
          <a:lstStyle>
            <a:lvl1pPr>
              <a:defRPr sz="4000" spc="-100" baseline="0">
                <a:latin typeface="Work Sans Light" pitchFamily="2" charset="0"/>
              </a:defRPr>
            </a:lvl1pPr>
          </a:lstStyle>
          <a:p>
            <a:r>
              <a:rPr lang="fi-FI" noProof="0"/>
              <a:t>Lisää otsikko tähän</a:t>
            </a:r>
          </a:p>
        </p:txBody>
      </p:sp>
      <p:grpSp>
        <p:nvGrpSpPr>
          <p:cNvPr id="5" name="Ryhmä 4">
            <a:extLst>
              <a:ext uri="{FF2B5EF4-FFF2-40B4-BE49-F238E27FC236}">
                <a16:creationId xmlns:a16="http://schemas.microsoft.com/office/drawing/2014/main" id="{3D2F5A89-E0E1-A352-25B1-1AA73A09A1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03203" y="203198"/>
            <a:ext cx="1117587" cy="1062785"/>
            <a:chOff x="203203" y="203198"/>
            <a:chExt cx="1117587" cy="1062785"/>
          </a:xfrm>
        </p:grpSpPr>
        <p:sp>
          <p:nvSpPr>
            <p:cNvPr id="6" name="Vapaamuotoinen: Muoto 5">
              <a:extLst>
                <a:ext uri="{FF2B5EF4-FFF2-40B4-BE49-F238E27FC236}">
                  <a16:creationId xmlns:a16="http://schemas.microsoft.com/office/drawing/2014/main" id="{525188C8-8609-73C0-4CA3-D47335335A3E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9" name="Vapaamuotoinen: Muoto 18">
              <a:extLst>
                <a:ext uri="{FF2B5EF4-FFF2-40B4-BE49-F238E27FC236}">
                  <a16:creationId xmlns:a16="http://schemas.microsoft.com/office/drawing/2014/main" id="{174D65B1-43CA-B503-D86E-62DE503C3A9C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0" name="Vapaamuotoinen: Muoto 19">
              <a:extLst>
                <a:ext uri="{FF2B5EF4-FFF2-40B4-BE49-F238E27FC236}">
                  <a16:creationId xmlns:a16="http://schemas.microsoft.com/office/drawing/2014/main" id="{96CF7BEF-9841-C636-4833-CF44883795A1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3" name="Vapaamuotoinen: Muoto 22">
              <a:extLst>
                <a:ext uri="{FF2B5EF4-FFF2-40B4-BE49-F238E27FC236}">
                  <a16:creationId xmlns:a16="http://schemas.microsoft.com/office/drawing/2014/main" id="{C71327A0-9565-018A-9ED5-8224A3584A97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4" name="Vapaamuotoinen: Muoto 23">
              <a:extLst>
                <a:ext uri="{FF2B5EF4-FFF2-40B4-BE49-F238E27FC236}">
                  <a16:creationId xmlns:a16="http://schemas.microsoft.com/office/drawing/2014/main" id="{9A4F7338-AA11-8845-AA60-8733E64633FD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5" name="Vapaamuotoinen: Muoto 24">
              <a:extLst>
                <a:ext uri="{FF2B5EF4-FFF2-40B4-BE49-F238E27FC236}">
                  <a16:creationId xmlns:a16="http://schemas.microsoft.com/office/drawing/2014/main" id="{010F6C3A-37A5-2ED4-EE90-7DF85320A24C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6" name="Vapaamuotoinen: Muoto 25">
              <a:extLst>
                <a:ext uri="{FF2B5EF4-FFF2-40B4-BE49-F238E27FC236}">
                  <a16:creationId xmlns:a16="http://schemas.microsoft.com/office/drawing/2014/main" id="{970D8043-07BB-8CCE-12FF-65764ACC2EE3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7" name="Vapaamuotoinen: Muoto 26">
              <a:extLst>
                <a:ext uri="{FF2B5EF4-FFF2-40B4-BE49-F238E27FC236}">
                  <a16:creationId xmlns:a16="http://schemas.microsoft.com/office/drawing/2014/main" id="{83FCC69D-E18E-DEAF-F65D-8274BB4C9739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</p:grp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628070135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lehti sininen">
    <p:bg>
      <p:bgPr>
        <a:solidFill>
          <a:srgbClr val="DCEFF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Suorakulmio 21">
            <a:extLst>
              <a:ext uri="{FF2B5EF4-FFF2-40B4-BE49-F238E27FC236}">
                <a16:creationId xmlns:a16="http://schemas.microsoft.com/office/drawing/2014/main" id="{73767DC7-ABA0-F4CA-4D56-4A6E892E25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0"/>
            <a:ext cx="343357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0DB878-8E84-426A-BEF0-AF1AAFA1F9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4785" y="1627632"/>
            <a:ext cx="3089059" cy="3781044"/>
          </a:xfrm>
        </p:spPr>
        <p:txBody>
          <a:bodyPr anchor="ctr" anchorCtr="0"/>
          <a:lstStyle>
            <a:lvl1pPr>
              <a:defRPr sz="4000" spc="-100" baseline="0">
                <a:latin typeface="Work Sans Light" pitchFamily="2" charset="0"/>
              </a:defRPr>
            </a:lvl1pPr>
          </a:lstStyle>
          <a:p>
            <a:r>
              <a:rPr lang="fi-FI" noProof="0"/>
              <a:t>Lisää otsikko tähän</a:t>
            </a:r>
          </a:p>
        </p:txBody>
      </p:sp>
      <p:grpSp>
        <p:nvGrpSpPr>
          <p:cNvPr id="5" name="Ryhmä 4">
            <a:extLst>
              <a:ext uri="{FF2B5EF4-FFF2-40B4-BE49-F238E27FC236}">
                <a16:creationId xmlns:a16="http://schemas.microsoft.com/office/drawing/2014/main" id="{3D2F5A89-E0E1-A352-25B1-1AA73A09A1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03203" y="203198"/>
            <a:ext cx="1117587" cy="1062785"/>
            <a:chOff x="203203" y="203198"/>
            <a:chExt cx="1117587" cy="1062785"/>
          </a:xfrm>
        </p:grpSpPr>
        <p:sp>
          <p:nvSpPr>
            <p:cNvPr id="6" name="Vapaamuotoinen: Muoto 5">
              <a:extLst>
                <a:ext uri="{FF2B5EF4-FFF2-40B4-BE49-F238E27FC236}">
                  <a16:creationId xmlns:a16="http://schemas.microsoft.com/office/drawing/2014/main" id="{525188C8-8609-73C0-4CA3-D47335335A3E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9" name="Vapaamuotoinen: Muoto 18">
              <a:extLst>
                <a:ext uri="{FF2B5EF4-FFF2-40B4-BE49-F238E27FC236}">
                  <a16:creationId xmlns:a16="http://schemas.microsoft.com/office/drawing/2014/main" id="{174D65B1-43CA-B503-D86E-62DE503C3A9C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0" name="Vapaamuotoinen: Muoto 19">
              <a:extLst>
                <a:ext uri="{FF2B5EF4-FFF2-40B4-BE49-F238E27FC236}">
                  <a16:creationId xmlns:a16="http://schemas.microsoft.com/office/drawing/2014/main" id="{96CF7BEF-9841-C636-4833-CF44883795A1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3" name="Vapaamuotoinen: Muoto 22">
              <a:extLst>
                <a:ext uri="{FF2B5EF4-FFF2-40B4-BE49-F238E27FC236}">
                  <a16:creationId xmlns:a16="http://schemas.microsoft.com/office/drawing/2014/main" id="{C71327A0-9565-018A-9ED5-8224A3584A97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4" name="Vapaamuotoinen: Muoto 23">
              <a:extLst>
                <a:ext uri="{FF2B5EF4-FFF2-40B4-BE49-F238E27FC236}">
                  <a16:creationId xmlns:a16="http://schemas.microsoft.com/office/drawing/2014/main" id="{9A4F7338-AA11-8845-AA60-8733E64633FD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5" name="Vapaamuotoinen: Muoto 24">
              <a:extLst>
                <a:ext uri="{FF2B5EF4-FFF2-40B4-BE49-F238E27FC236}">
                  <a16:creationId xmlns:a16="http://schemas.microsoft.com/office/drawing/2014/main" id="{010F6C3A-37A5-2ED4-EE90-7DF85320A24C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6" name="Vapaamuotoinen: Muoto 25">
              <a:extLst>
                <a:ext uri="{FF2B5EF4-FFF2-40B4-BE49-F238E27FC236}">
                  <a16:creationId xmlns:a16="http://schemas.microsoft.com/office/drawing/2014/main" id="{970D8043-07BB-8CCE-12FF-65764ACC2EE3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7" name="Vapaamuotoinen: Muoto 26">
              <a:extLst>
                <a:ext uri="{FF2B5EF4-FFF2-40B4-BE49-F238E27FC236}">
                  <a16:creationId xmlns:a16="http://schemas.microsoft.com/office/drawing/2014/main" id="{83FCC69D-E18E-DEAF-F65D-8274BB4C9739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</p:grp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2282094584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lehti punainen">
    <p:bg>
      <p:bgPr>
        <a:solidFill>
          <a:srgbClr val="FE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Suorakulmio 21">
            <a:extLst>
              <a:ext uri="{FF2B5EF4-FFF2-40B4-BE49-F238E27FC236}">
                <a16:creationId xmlns:a16="http://schemas.microsoft.com/office/drawing/2014/main" id="{73767DC7-ABA0-F4CA-4D56-4A6E892E25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0"/>
            <a:ext cx="343357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0DB878-8E84-426A-BEF0-AF1AAFA1F9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4785" y="1627632"/>
            <a:ext cx="3089059" cy="3781044"/>
          </a:xfrm>
        </p:spPr>
        <p:txBody>
          <a:bodyPr anchor="ctr" anchorCtr="0"/>
          <a:lstStyle>
            <a:lvl1pPr>
              <a:defRPr sz="4000" spc="-100" baseline="0">
                <a:latin typeface="Work Sans Light" pitchFamily="2" charset="0"/>
              </a:defRPr>
            </a:lvl1pPr>
          </a:lstStyle>
          <a:p>
            <a:r>
              <a:rPr lang="fi-FI" noProof="0"/>
              <a:t>Lisää otsikko tähän</a:t>
            </a:r>
          </a:p>
        </p:txBody>
      </p:sp>
      <p:grpSp>
        <p:nvGrpSpPr>
          <p:cNvPr id="5" name="Ryhmä 4">
            <a:extLst>
              <a:ext uri="{FF2B5EF4-FFF2-40B4-BE49-F238E27FC236}">
                <a16:creationId xmlns:a16="http://schemas.microsoft.com/office/drawing/2014/main" id="{3D2F5A89-E0E1-A352-25B1-1AA73A09A1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03203" y="203198"/>
            <a:ext cx="1117587" cy="1062785"/>
            <a:chOff x="203203" y="203198"/>
            <a:chExt cx="1117587" cy="1062785"/>
          </a:xfrm>
        </p:grpSpPr>
        <p:sp>
          <p:nvSpPr>
            <p:cNvPr id="6" name="Vapaamuotoinen: Muoto 5">
              <a:extLst>
                <a:ext uri="{FF2B5EF4-FFF2-40B4-BE49-F238E27FC236}">
                  <a16:creationId xmlns:a16="http://schemas.microsoft.com/office/drawing/2014/main" id="{525188C8-8609-73C0-4CA3-D47335335A3E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9" name="Vapaamuotoinen: Muoto 18">
              <a:extLst>
                <a:ext uri="{FF2B5EF4-FFF2-40B4-BE49-F238E27FC236}">
                  <a16:creationId xmlns:a16="http://schemas.microsoft.com/office/drawing/2014/main" id="{174D65B1-43CA-B503-D86E-62DE503C3A9C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0" name="Vapaamuotoinen: Muoto 19">
              <a:extLst>
                <a:ext uri="{FF2B5EF4-FFF2-40B4-BE49-F238E27FC236}">
                  <a16:creationId xmlns:a16="http://schemas.microsoft.com/office/drawing/2014/main" id="{96CF7BEF-9841-C636-4833-CF44883795A1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3" name="Vapaamuotoinen: Muoto 22">
              <a:extLst>
                <a:ext uri="{FF2B5EF4-FFF2-40B4-BE49-F238E27FC236}">
                  <a16:creationId xmlns:a16="http://schemas.microsoft.com/office/drawing/2014/main" id="{C71327A0-9565-018A-9ED5-8224A3584A97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4" name="Vapaamuotoinen: Muoto 23">
              <a:extLst>
                <a:ext uri="{FF2B5EF4-FFF2-40B4-BE49-F238E27FC236}">
                  <a16:creationId xmlns:a16="http://schemas.microsoft.com/office/drawing/2014/main" id="{9A4F7338-AA11-8845-AA60-8733E64633FD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5" name="Vapaamuotoinen: Muoto 24">
              <a:extLst>
                <a:ext uri="{FF2B5EF4-FFF2-40B4-BE49-F238E27FC236}">
                  <a16:creationId xmlns:a16="http://schemas.microsoft.com/office/drawing/2014/main" id="{010F6C3A-37A5-2ED4-EE90-7DF85320A24C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6" name="Vapaamuotoinen: Muoto 25">
              <a:extLst>
                <a:ext uri="{FF2B5EF4-FFF2-40B4-BE49-F238E27FC236}">
                  <a16:creationId xmlns:a16="http://schemas.microsoft.com/office/drawing/2014/main" id="{970D8043-07BB-8CCE-12FF-65764ACC2EE3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7" name="Vapaamuotoinen: Muoto 26">
              <a:extLst>
                <a:ext uri="{FF2B5EF4-FFF2-40B4-BE49-F238E27FC236}">
                  <a16:creationId xmlns:a16="http://schemas.microsoft.com/office/drawing/2014/main" id="{83FCC69D-E18E-DEAF-F65D-8274BB4C9739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</p:grp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67A09F6E-5547-1BAE-EC42-9BCE56A70D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1988173812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äätössivu">
    <p:bg>
      <p:bgPr>
        <a:solidFill>
          <a:srgbClr val="005A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6E6260-E36C-484A-9F25-1346EC50A8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56953" y="1951001"/>
            <a:ext cx="10477035" cy="2082841"/>
          </a:xfrm>
        </p:spPr>
        <p:txBody>
          <a:bodyPr anchor="b">
            <a:noAutofit/>
          </a:bodyPr>
          <a:lstStyle>
            <a:lvl1pPr algn="ctr">
              <a:defRPr sz="13800" spc="-300" baseline="0">
                <a:solidFill>
                  <a:srgbClr val="FFF7F1"/>
                </a:solidFill>
                <a:latin typeface="Work Sans Light" pitchFamily="2" charset="0"/>
              </a:defRPr>
            </a:lvl1pPr>
          </a:lstStyle>
          <a:p>
            <a:r>
              <a:rPr lang="fi-FI" noProof="0"/>
              <a:t>Päätössivu</a:t>
            </a:r>
          </a:p>
        </p:txBody>
      </p:sp>
      <p:sp>
        <p:nvSpPr>
          <p:cNvPr id="23" name="Tekstin paikkamerkki 22">
            <a:extLst>
              <a:ext uri="{FF2B5EF4-FFF2-40B4-BE49-F238E27FC236}">
                <a16:creationId xmlns:a16="http://schemas.microsoft.com/office/drawing/2014/main" id="{463699EA-6FB5-11FA-EFF4-9EF634830ED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6953" y="4664704"/>
            <a:ext cx="10477035" cy="440072"/>
          </a:xfrm>
        </p:spPr>
        <p:txBody>
          <a:bodyPr anchor="b" anchorCtr="0"/>
          <a:lstStyle>
            <a:lvl1pPr marL="0" indent="0" algn="ctr">
              <a:buNone/>
              <a:defRPr>
                <a:solidFill>
                  <a:srgbClr val="FFF7F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fi-FI" noProof="0"/>
              <a:t>Lisää tekstiä tähän</a:t>
            </a:r>
          </a:p>
        </p:txBody>
      </p:sp>
      <p:sp>
        <p:nvSpPr>
          <p:cNvPr id="10" name="Tekstin paikkamerkki 9">
            <a:extLst>
              <a:ext uri="{FF2B5EF4-FFF2-40B4-BE49-F238E27FC236}">
                <a16:creationId xmlns:a16="http://schemas.microsoft.com/office/drawing/2014/main" id="{BA0D528A-E45F-D426-FD02-B0B54E827D8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57250" y="5401791"/>
            <a:ext cx="10477500" cy="336484"/>
          </a:xfrm>
        </p:spPr>
        <p:txBody>
          <a:bodyPr/>
          <a:lstStyle>
            <a:lvl1pPr marL="0" indent="0" algn="ctr">
              <a:buNone/>
              <a:defRPr sz="1800">
                <a:solidFill>
                  <a:srgbClr val="FFF7F1"/>
                </a:solidFill>
              </a:defRPr>
            </a:lvl1pPr>
          </a:lstStyle>
          <a:p>
            <a:pPr lvl="0"/>
            <a:r>
              <a:rPr lang="fi-FI" noProof="0"/>
              <a:t>Lisää tekstiä tähän</a:t>
            </a:r>
          </a:p>
        </p:txBody>
      </p:sp>
      <p:grpSp>
        <p:nvGrpSpPr>
          <p:cNvPr id="42" name="Ryhmä 9">
            <a:extLst>
              <a:ext uri="{FF2B5EF4-FFF2-40B4-BE49-F238E27FC236}">
                <a16:creationId xmlns:a16="http://schemas.microsoft.com/office/drawing/2014/main" id="{61A8B933-523D-18D5-1617-3C73FE86A3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197447" y="200023"/>
            <a:ext cx="1126884" cy="1071627"/>
            <a:chOff x="203203" y="203198"/>
            <a:chExt cx="1117587" cy="1062785"/>
          </a:xfrm>
          <a:solidFill>
            <a:srgbClr val="FFF7F0"/>
          </a:solidFill>
        </p:grpSpPr>
        <p:sp>
          <p:nvSpPr>
            <p:cNvPr id="43" name="Vapaamuotoinen: Muoto 10">
              <a:extLst>
                <a:ext uri="{FF2B5EF4-FFF2-40B4-BE49-F238E27FC236}">
                  <a16:creationId xmlns:a16="http://schemas.microsoft.com/office/drawing/2014/main" id="{95EF54DF-E6CC-4973-DE1C-28BF4B8CABF5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grpFill/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44" name="Vapaamuotoinen: Muoto 11">
              <a:extLst>
                <a:ext uri="{FF2B5EF4-FFF2-40B4-BE49-F238E27FC236}">
                  <a16:creationId xmlns:a16="http://schemas.microsoft.com/office/drawing/2014/main" id="{3A717948-9DC4-C7C2-DF0B-0A741D4C9697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grpFill/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45" name="Vapaamuotoinen: Muoto 12">
              <a:extLst>
                <a:ext uri="{FF2B5EF4-FFF2-40B4-BE49-F238E27FC236}">
                  <a16:creationId xmlns:a16="http://schemas.microsoft.com/office/drawing/2014/main" id="{510CCB9C-85C9-6BC1-80CF-DCB7525EAC50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grpFill/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46" name="Vapaamuotoinen: Muoto 13">
              <a:extLst>
                <a:ext uri="{FF2B5EF4-FFF2-40B4-BE49-F238E27FC236}">
                  <a16:creationId xmlns:a16="http://schemas.microsoft.com/office/drawing/2014/main" id="{94EC2F65-E9E5-D1B0-514B-1CAB2546F0E9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grpFill/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47" name="Vapaamuotoinen: Muoto 14">
              <a:extLst>
                <a:ext uri="{FF2B5EF4-FFF2-40B4-BE49-F238E27FC236}">
                  <a16:creationId xmlns:a16="http://schemas.microsoft.com/office/drawing/2014/main" id="{8854FBAC-F823-CDF4-0BC8-3C0AB7DFD2A5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grpFill/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48" name="Vapaamuotoinen: Muoto 15">
              <a:extLst>
                <a:ext uri="{FF2B5EF4-FFF2-40B4-BE49-F238E27FC236}">
                  <a16:creationId xmlns:a16="http://schemas.microsoft.com/office/drawing/2014/main" id="{859508E6-E81D-6007-C89C-F3302D643BFE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grpFill/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49" name="Vapaamuotoinen: Muoto 16">
              <a:extLst>
                <a:ext uri="{FF2B5EF4-FFF2-40B4-BE49-F238E27FC236}">
                  <a16:creationId xmlns:a16="http://schemas.microsoft.com/office/drawing/2014/main" id="{91ADE866-BE02-3759-6D97-B4E6CC29CAB2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grpFill/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50" name="Vapaamuotoinen: Muoto 17">
              <a:extLst>
                <a:ext uri="{FF2B5EF4-FFF2-40B4-BE49-F238E27FC236}">
                  <a16:creationId xmlns:a16="http://schemas.microsoft.com/office/drawing/2014/main" id="{48ED4965-5270-89A6-9D6C-CC4669A8B5D7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grpFill/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</p:grpSp>
    </p:spTree>
    <p:extLst>
      <p:ext uri="{BB962C8B-B14F-4D97-AF65-F5344CB8AC3E}">
        <p14:creationId xmlns:p14="http://schemas.microsoft.com/office/powerpoint/2010/main" val="3408939737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nsi kuvalla vauhdissa">
    <p:bg>
      <p:bgPr>
        <a:solidFill>
          <a:srgbClr val="FFE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Kuvan paikkamerkki 8">
            <a:extLst>
              <a:ext uri="{FF2B5EF4-FFF2-40B4-BE49-F238E27FC236}">
                <a16:creationId xmlns:a16="http://schemas.microsoft.com/office/drawing/2014/main" id="{4F5851F0-8A4C-E2B6-B7E8-F18419363F84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33572" y="0"/>
            <a:ext cx="8758428" cy="6858000"/>
          </a:xfrm>
          <a:prstGeom prst="rect">
            <a:avLst/>
          </a:prstGeom>
        </p:spPr>
      </p:pic>
      <p:sp>
        <p:nvSpPr>
          <p:cNvPr id="3" name="Suorakulmio 21">
            <a:extLst>
              <a:ext uri="{FF2B5EF4-FFF2-40B4-BE49-F238E27FC236}">
                <a16:creationId xmlns:a16="http://schemas.microsoft.com/office/drawing/2014/main" id="{0414F822-80E9-F7F3-5E9B-3F51D8AE44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3433570" y="3429000"/>
            <a:ext cx="3433571" cy="3429000"/>
          </a:xfrm>
          <a:prstGeom prst="rect">
            <a:avLst/>
          </a:prstGeom>
          <a:solidFill>
            <a:srgbClr val="FFE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/>
          </a:p>
        </p:txBody>
      </p:sp>
      <p:sp>
        <p:nvSpPr>
          <p:cNvPr id="22" name="Suorakulmio 21">
            <a:extLst>
              <a:ext uri="{FF2B5EF4-FFF2-40B4-BE49-F238E27FC236}">
                <a16:creationId xmlns:a16="http://schemas.microsoft.com/office/drawing/2014/main" id="{73767DC7-ABA0-F4CA-4D56-4A6E892E25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3429000"/>
            <a:ext cx="3433571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/>
          </a:p>
        </p:txBody>
      </p:sp>
      <p:grpSp>
        <p:nvGrpSpPr>
          <p:cNvPr id="10" name="Ryhmä 9">
            <a:extLst>
              <a:ext uri="{FF2B5EF4-FFF2-40B4-BE49-F238E27FC236}">
                <a16:creationId xmlns:a16="http://schemas.microsoft.com/office/drawing/2014/main" id="{6B17C079-3319-DC26-44A9-380683636D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163835" y="237701"/>
            <a:ext cx="3105897" cy="2953599"/>
            <a:chOff x="203203" y="203198"/>
            <a:chExt cx="1117587" cy="1062785"/>
          </a:xfrm>
        </p:grpSpPr>
        <p:sp>
          <p:nvSpPr>
            <p:cNvPr id="11" name="Vapaamuotoinen: Muoto 10">
              <a:extLst>
                <a:ext uri="{FF2B5EF4-FFF2-40B4-BE49-F238E27FC236}">
                  <a16:creationId xmlns:a16="http://schemas.microsoft.com/office/drawing/2014/main" id="{BCABC861-8524-85F9-F756-A6ED24CB82EB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2" name="Vapaamuotoinen: Muoto 11">
              <a:extLst>
                <a:ext uri="{FF2B5EF4-FFF2-40B4-BE49-F238E27FC236}">
                  <a16:creationId xmlns:a16="http://schemas.microsoft.com/office/drawing/2014/main" id="{527BBF29-0D7D-E7D2-0C6B-F52CED370805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3" name="Vapaamuotoinen: Muoto 12">
              <a:extLst>
                <a:ext uri="{FF2B5EF4-FFF2-40B4-BE49-F238E27FC236}">
                  <a16:creationId xmlns:a16="http://schemas.microsoft.com/office/drawing/2014/main" id="{6891EF07-6FE5-932D-5471-6AB8430B2877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4" name="Vapaamuotoinen: Muoto 13">
              <a:extLst>
                <a:ext uri="{FF2B5EF4-FFF2-40B4-BE49-F238E27FC236}">
                  <a16:creationId xmlns:a16="http://schemas.microsoft.com/office/drawing/2014/main" id="{BA895791-B656-59A9-01FB-C88134131A15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5" name="Vapaamuotoinen: Muoto 14">
              <a:extLst>
                <a:ext uri="{FF2B5EF4-FFF2-40B4-BE49-F238E27FC236}">
                  <a16:creationId xmlns:a16="http://schemas.microsoft.com/office/drawing/2014/main" id="{CC5BF34A-D3C5-29AF-0507-491580995DE1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6" name="Vapaamuotoinen: Muoto 15">
              <a:extLst>
                <a:ext uri="{FF2B5EF4-FFF2-40B4-BE49-F238E27FC236}">
                  <a16:creationId xmlns:a16="http://schemas.microsoft.com/office/drawing/2014/main" id="{5312F966-2A5D-80FA-E0C6-78D5AC981A34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7" name="Vapaamuotoinen: Muoto 16">
              <a:extLst>
                <a:ext uri="{FF2B5EF4-FFF2-40B4-BE49-F238E27FC236}">
                  <a16:creationId xmlns:a16="http://schemas.microsoft.com/office/drawing/2014/main" id="{530F09BF-1A2D-B1DC-9B9F-1171E3E2DBB2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8" name="Vapaamuotoinen: Muoto 17">
              <a:extLst>
                <a:ext uri="{FF2B5EF4-FFF2-40B4-BE49-F238E27FC236}">
                  <a16:creationId xmlns:a16="http://schemas.microsoft.com/office/drawing/2014/main" id="{B1EFF7B6-19DF-63BA-8D9F-AAC3119D0AE8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</p:grpSp>
      <p:sp>
        <p:nvSpPr>
          <p:cNvPr id="6" name="Title 1">
            <a:extLst>
              <a:ext uri="{FF2B5EF4-FFF2-40B4-BE49-F238E27FC236}">
                <a16:creationId xmlns:a16="http://schemas.microsoft.com/office/drawing/2014/main" id="{EC5E043E-0D3C-A52B-0B43-14E6B80179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4785" y="3671398"/>
            <a:ext cx="3089059" cy="2883185"/>
          </a:xfrm>
        </p:spPr>
        <p:txBody>
          <a:bodyPr/>
          <a:lstStyle>
            <a:lvl1pPr>
              <a:defRPr sz="4000" spc="-100" baseline="0">
                <a:latin typeface="Work Sans Light" pitchFamily="2" charset="0"/>
              </a:defRPr>
            </a:lvl1pPr>
          </a:lstStyle>
          <a:p>
            <a:r>
              <a:rPr lang="fi-FI" noProof="0"/>
              <a:t>Lisää otsikko tähän</a:t>
            </a:r>
          </a:p>
        </p:txBody>
      </p:sp>
      <p:sp>
        <p:nvSpPr>
          <p:cNvPr id="2" name="Tekstin paikkamerkki 22">
            <a:extLst>
              <a:ext uri="{FF2B5EF4-FFF2-40B4-BE49-F238E27FC236}">
                <a16:creationId xmlns:a16="http://schemas.microsoft.com/office/drawing/2014/main" id="{FA7B5BB6-94B5-1508-6DA2-074BA5581F4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36000" y="3693599"/>
            <a:ext cx="3006000" cy="1929600"/>
          </a:xfrm>
        </p:spPr>
        <p:txBody>
          <a:bodyPr anchor="t" anchorCtr="0"/>
          <a:lstStyle>
            <a:lvl1pPr marL="0" indent="0" algn="l">
              <a:lnSpc>
                <a:spcPct val="95000"/>
              </a:lnSpc>
              <a:buNone/>
              <a:defRPr spc="-50" baseline="0"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fi-FI" noProof="0"/>
              <a:t>Lisää tekstiä tähän</a:t>
            </a:r>
          </a:p>
        </p:txBody>
      </p:sp>
      <p:sp>
        <p:nvSpPr>
          <p:cNvPr id="4" name="Tekstiruutu 18">
            <a:extLst>
              <a:ext uri="{FF2B5EF4-FFF2-40B4-BE49-F238E27FC236}">
                <a16:creationId xmlns:a16="http://schemas.microsoft.com/office/drawing/2014/main" id="{A52EB042-77D2-65F1-CF36-CBD6264658D4}"/>
              </a:ext>
            </a:extLst>
          </p:cNvPr>
          <p:cNvSpPr txBox="1"/>
          <p:nvPr userDrawn="1"/>
        </p:nvSpPr>
        <p:spPr>
          <a:xfrm>
            <a:off x="3636000" y="5704241"/>
            <a:ext cx="3006000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i-FI" sz="1600" spc="-20" baseline="0" noProof="0"/>
              <a:t>Terveyden ja </a:t>
            </a:r>
          </a:p>
          <a:p>
            <a:r>
              <a:rPr lang="fi-FI" sz="1600" spc="-20" baseline="0" noProof="0"/>
              <a:t>hyvinvoinnin laito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3233A35-B1A9-F45B-88B5-3FCB5F4370F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635451" y="6269995"/>
            <a:ext cx="1972568" cy="28481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 spc="-40" baseline="0">
                <a:solidFill>
                  <a:schemeClr val="tx1"/>
                </a:solidFill>
              </a:defRPr>
            </a:lvl1pPr>
          </a:lstStyle>
          <a:p>
            <a:fld id="{4D267483-FC5A-44DF-BBB3-BA9D01AEED49}" type="datetime1">
              <a:rPr lang="fi-FI" noProof="0" smtClean="0"/>
              <a:t>12.3.2026</a:t>
            </a:fld>
            <a:endParaRPr lang="fi-FI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3979936615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nsi kuvalla pipo">
    <p:bg>
      <p:bgPr>
        <a:solidFill>
          <a:srgbClr val="B4FFA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Kuvan paikkamerkki 8">
            <a:extLst>
              <a:ext uri="{FF2B5EF4-FFF2-40B4-BE49-F238E27FC236}">
                <a16:creationId xmlns:a16="http://schemas.microsoft.com/office/drawing/2014/main" id="{81052C35-1278-CF9B-90CE-2492735AD73B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33572" y="0"/>
            <a:ext cx="8758428" cy="6858000"/>
          </a:xfrm>
          <a:prstGeom prst="rect">
            <a:avLst/>
          </a:prstGeom>
        </p:spPr>
      </p:pic>
      <p:sp>
        <p:nvSpPr>
          <p:cNvPr id="3" name="Suorakulmio 21">
            <a:extLst>
              <a:ext uri="{FF2B5EF4-FFF2-40B4-BE49-F238E27FC236}">
                <a16:creationId xmlns:a16="http://schemas.microsoft.com/office/drawing/2014/main" id="{CC14B373-2F5E-D127-4F6D-B77258845C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3433570" y="3429000"/>
            <a:ext cx="3433571" cy="3429000"/>
          </a:xfrm>
          <a:prstGeom prst="rect">
            <a:avLst/>
          </a:prstGeom>
          <a:solidFill>
            <a:srgbClr val="B4FF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/>
          </a:p>
        </p:txBody>
      </p:sp>
      <p:sp>
        <p:nvSpPr>
          <p:cNvPr id="22" name="Suorakulmio 21">
            <a:extLst>
              <a:ext uri="{FF2B5EF4-FFF2-40B4-BE49-F238E27FC236}">
                <a16:creationId xmlns:a16="http://schemas.microsoft.com/office/drawing/2014/main" id="{73767DC7-ABA0-F4CA-4D56-4A6E892E25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3429000"/>
            <a:ext cx="3433571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/>
          </a:p>
        </p:txBody>
      </p:sp>
      <p:grpSp>
        <p:nvGrpSpPr>
          <p:cNvPr id="10" name="Ryhmä 9">
            <a:extLst>
              <a:ext uri="{FF2B5EF4-FFF2-40B4-BE49-F238E27FC236}">
                <a16:creationId xmlns:a16="http://schemas.microsoft.com/office/drawing/2014/main" id="{6B17C079-3319-DC26-44A9-380683636D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163835" y="237701"/>
            <a:ext cx="3105897" cy="2953599"/>
            <a:chOff x="203203" y="203198"/>
            <a:chExt cx="1117587" cy="1062785"/>
          </a:xfrm>
        </p:grpSpPr>
        <p:sp>
          <p:nvSpPr>
            <p:cNvPr id="11" name="Vapaamuotoinen: Muoto 10">
              <a:extLst>
                <a:ext uri="{FF2B5EF4-FFF2-40B4-BE49-F238E27FC236}">
                  <a16:creationId xmlns:a16="http://schemas.microsoft.com/office/drawing/2014/main" id="{BCABC861-8524-85F9-F756-A6ED24CB82EB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2" name="Vapaamuotoinen: Muoto 11">
              <a:extLst>
                <a:ext uri="{FF2B5EF4-FFF2-40B4-BE49-F238E27FC236}">
                  <a16:creationId xmlns:a16="http://schemas.microsoft.com/office/drawing/2014/main" id="{527BBF29-0D7D-E7D2-0C6B-F52CED370805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3" name="Vapaamuotoinen: Muoto 12">
              <a:extLst>
                <a:ext uri="{FF2B5EF4-FFF2-40B4-BE49-F238E27FC236}">
                  <a16:creationId xmlns:a16="http://schemas.microsoft.com/office/drawing/2014/main" id="{6891EF07-6FE5-932D-5471-6AB8430B2877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4" name="Vapaamuotoinen: Muoto 13">
              <a:extLst>
                <a:ext uri="{FF2B5EF4-FFF2-40B4-BE49-F238E27FC236}">
                  <a16:creationId xmlns:a16="http://schemas.microsoft.com/office/drawing/2014/main" id="{BA895791-B656-59A9-01FB-C88134131A15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5" name="Vapaamuotoinen: Muoto 14">
              <a:extLst>
                <a:ext uri="{FF2B5EF4-FFF2-40B4-BE49-F238E27FC236}">
                  <a16:creationId xmlns:a16="http://schemas.microsoft.com/office/drawing/2014/main" id="{CC5BF34A-D3C5-29AF-0507-491580995DE1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6" name="Vapaamuotoinen: Muoto 15">
              <a:extLst>
                <a:ext uri="{FF2B5EF4-FFF2-40B4-BE49-F238E27FC236}">
                  <a16:creationId xmlns:a16="http://schemas.microsoft.com/office/drawing/2014/main" id="{5312F966-2A5D-80FA-E0C6-78D5AC981A34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7" name="Vapaamuotoinen: Muoto 16">
              <a:extLst>
                <a:ext uri="{FF2B5EF4-FFF2-40B4-BE49-F238E27FC236}">
                  <a16:creationId xmlns:a16="http://schemas.microsoft.com/office/drawing/2014/main" id="{530F09BF-1A2D-B1DC-9B9F-1171E3E2DBB2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8" name="Vapaamuotoinen: Muoto 17">
              <a:extLst>
                <a:ext uri="{FF2B5EF4-FFF2-40B4-BE49-F238E27FC236}">
                  <a16:creationId xmlns:a16="http://schemas.microsoft.com/office/drawing/2014/main" id="{B1EFF7B6-19DF-63BA-8D9F-AAC3119D0AE8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</p:grpSp>
      <p:sp>
        <p:nvSpPr>
          <p:cNvPr id="5" name="Title 1">
            <a:extLst>
              <a:ext uri="{FF2B5EF4-FFF2-40B4-BE49-F238E27FC236}">
                <a16:creationId xmlns:a16="http://schemas.microsoft.com/office/drawing/2014/main" id="{D5BF6AD2-2A55-712D-15E3-5CD600E766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4785" y="3671398"/>
            <a:ext cx="3089059" cy="2883185"/>
          </a:xfrm>
        </p:spPr>
        <p:txBody>
          <a:bodyPr/>
          <a:lstStyle>
            <a:lvl1pPr>
              <a:defRPr sz="4000" spc="-100" baseline="0">
                <a:latin typeface="Work Sans Light" pitchFamily="2" charset="0"/>
              </a:defRPr>
            </a:lvl1pPr>
          </a:lstStyle>
          <a:p>
            <a:r>
              <a:rPr lang="fi-FI" noProof="0"/>
              <a:t>Lisää otsikko tähän</a:t>
            </a:r>
          </a:p>
        </p:txBody>
      </p:sp>
      <p:sp>
        <p:nvSpPr>
          <p:cNvPr id="2" name="Tekstin paikkamerkki 22">
            <a:extLst>
              <a:ext uri="{FF2B5EF4-FFF2-40B4-BE49-F238E27FC236}">
                <a16:creationId xmlns:a16="http://schemas.microsoft.com/office/drawing/2014/main" id="{F2A26BBC-33CA-82E8-66E2-053FAE1A049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36000" y="3693599"/>
            <a:ext cx="3006000" cy="1929600"/>
          </a:xfrm>
        </p:spPr>
        <p:txBody>
          <a:bodyPr anchor="t" anchorCtr="0"/>
          <a:lstStyle>
            <a:lvl1pPr marL="0" indent="0" algn="l">
              <a:lnSpc>
                <a:spcPct val="95000"/>
              </a:lnSpc>
              <a:buNone/>
              <a:defRPr spc="-50" baseline="0"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fi-FI" noProof="0"/>
              <a:t>Lisää tekstiä tähän</a:t>
            </a:r>
          </a:p>
        </p:txBody>
      </p:sp>
      <p:sp>
        <p:nvSpPr>
          <p:cNvPr id="4" name="Tekstiruutu 18">
            <a:extLst>
              <a:ext uri="{FF2B5EF4-FFF2-40B4-BE49-F238E27FC236}">
                <a16:creationId xmlns:a16="http://schemas.microsoft.com/office/drawing/2014/main" id="{F8225031-91D1-86EF-B16A-D2E576D371DD}"/>
              </a:ext>
            </a:extLst>
          </p:cNvPr>
          <p:cNvSpPr txBox="1"/>
          <p:nvPr userDrawn="1"/>
        </p:nvSpPr>
        <p:spPr>
          <a:xfrm>
            <a:off x="3636000" y="5704241"/>
            <a:ext cx="3006000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i-FI" sz="1600" spc="-20" baseline="0" noProof="0"/>
              <a:t>Terveyden ja </a:t>
            </a:r>
          </a:p>
          <a:p>
            <a:r>
              <a:rPr lang="fi-FI" sz="1600" spc="-20" baseline="0" noProof="0"/>
              <a:t>hyvinvoinnin laito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791CE8C-75CC-8BC9-581D-B06FBA83B48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635451" y="6269995"/>
            <a:ext cx="1972568" cy="28481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 spc="-40" baseline="0">
                <a:solidFill>
                  <a:schemeClr val="tx1"/>
                </a:solidFill>
              </a:defRPr>
            </a:lvl1pPr>
          </a:lstStyle>
          <a:p>
            <a:fld id="{6CD39F56-43A5-43C7-B54F-FA0AAEB3D1D9}" type="datetime1">
              <a:rPr lang="fi-FI" noProof="0" smtClean="0"/>
              <a:t>12.3.2026</a:t>
            </a:fld>
            <a:endParaRPr lang="fi-FI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1275036537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nsi kuvalla avanto">
    <p:bg>
      <p:bgPr>
        <a:solidFill>
          <a:srgbClr val="DCEFF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Kuvan paikkamerkki 7">
            <a:extLst>
              <a:ext uri="{FF2B5EF4-FFF2-40B4-BE49-F238E27FC236}">
                <a16:creationId xmlns:a16="http://schemas.microsoft.com/office/drawing/2014/main" id="{6251BA80-83BB-CE85-E7FC-BE02853F7B8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33572" y="0"/>
            <a:ext cx="8758428" cy="6858000"/>
          </a:xfrm>
          <a:prstGeom prst="rect">
            <a:avLst/>
          </a:prstGeom>
        </p:spPr>
      </p:pic>
      <p:sp>
        <p:nvSpPr>
          <p:cNvPr id="3" name="Suorakulmio 21">
            <a:extLst>
              <a:ext uri="{FF2B5EF4-FFF2-40B4-BE49-F238E27FC236}">
                <a16:creationId xmlns:a16="http://schemas.microsoft.com/office/drawing/2014/main" id="{08CD8FCD-475F-BA79-3521-10CE36F63B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3433570" y="3429000"/>
            <a:ext cx="3433571" cy="3429000"/>
          </a:xfrm>
          <a:prstGeom prst="rect">
            <a:avLst/>
          </a:prstGeom>
          <a:solidFill>
            <a:srgbClr val="DCEF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/>
          </a:p>
        </p:txBody>
      </p:sp>
      <p:sp>
        <p:nvSpPr>
          <p:cNvPr id="22" name="Suorakulmio 21">
            <a:extLst>
              <a:ext uri="{FF2B5EF4-FFF2-40B4-BE49-F238E27FC236}">
                <a16:creationId xmlns:a16="http://schemas.microsoft.com/office/drawing/2014/main" id="{73767DC7-ABA0-F4CA-4D56-4A6E892E25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3429000"/>
            <a:ext cx="3433571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/>
          </a:p>
        </p:txBody>
      </p:sp>
      <p:grpSp>
        <p:nvGrpSpPr>
          <p:cNvPr id="10" name="Ryhmä 9">
            <a:extLst>
              <a:ext uri="{FF2B5EF4-FFF2-40B4-BE49-F238E27FC236}">
                <a16:creationId xmlns:a16="http://schemas.microsoft.com/office/drawing/2014/main" id="{6B17C079-3319-DC26-44A9-380683636D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163835" y="237701"/>
            <a:ext cx="3105897" cy="2953599"/>
            <a:chOff x="203203" y="203198"/>
            <a:chExt cx="1117587" cy="1062785"/>
          </a:xfrm>
        </p:grpSpPr>
        <p:sp>
          <p:nvSpPr>
            <p:cNvPr id="11" name="Vapaamuotoinen: Muoto 10">
              <a:extLst>
                <a:ext uri="{FF2B5EF4-FFF2-40B4-BE49-F238E27FC236}">
                  <a16:creationId xmlns:a16="http://schemas.microsoft.com/office/drawing/2014/main" id="{BCABC861-8524-85F9-F756-A6ED24CB82EB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2" name="Vapaamuotoinen: Muoto 11">
              <a:extLst>
                <a:ext uri="{FF2B5EF4-FFF2-40B4-BE49-F238E27FC236}">
                  <a16:creationId xmlns:a16="http://schemas.microsoft.com/office/drawing/2014/main" id="{527BBF29-0D7D-E7D2-0C6B-F52CED370805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3" name="Vapaamuotoinen: Muoto 12">
              <a:extLst>
                <a:ext uri="{FF2B5EF4-FFF2-40B4-BE49-F238E27FC236}">
                  <a16:creationId xmlns:a16="http://schemas.microsoft.com/office/drawing/2014/main" id="{6891EF07-6FE5-932D-5471-6AB8430B2877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4" name="Vapaamuotoinen: Muoto 13">
              <a:extLst>
                <a:ext uri="{FF2B5EF4-FFF2-40B4-BE49-F238E27FC236}">
                  <a16:creationId xmlns:a16="http://schemas.microsoft.com/office/drawing/2014/main" id="{BA895791-B656-59A9-01FB-C88134131A15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5" name="Vapaamuotoinen: Muoto 14">
              <a:extLst>
                <a:ext uri="{FF2B5EF4-FFF2-40B4-BE49-F238E27FC236}">
                  <a16:creationId xmlns:a16="http://schemas.microsoft.com/office/drawing/2014/main" id="{CC5BF34A-D3C5-29AF-0507-491580995DE1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6" name="Vapaamuotoinen: Muoto 15">
              <a:extLst>
                <a:ext uri="{FF2B5EF4-FFF2-40B4-BE49-F238E27FC236}">
                  <a16:creationId xmlns:a16="http://schemas.microsoft.com/office/drawing/2014/main" id="{5312F966-2A5D-80FA-E0C6-78D5AC981A34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7" name="Vapaamuotoinen: Muoto 16">
              <a:extLst>
                <a:ext uri="{FF2B5EF4-FFF2-40B4-BE49-F238E27FC236}">
                  <a16:creationId xmlns:a16="http://schemas.microsoft.com/office/drawing/2014/main" id="{530F09BF-1A2D-B1DC-9B9F-1171E3E2DBB2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8" name="Vapaamuotoinen: Muoto 17">
              <a:extLst>
                <a:ext uri="{FF2B5EF4-FFF2-40B4-BE49-F238E27FC236}">
                  <a16:creationId xmlns:a16="http://schemas.microsoft.com/office/drawing/2014/main" id="{B1EFF7B6-19DF-63BA-8D9F-AAC3119D0AE8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</p:grpSp>
      <p:sp>
        <p:nvSpPr>
          <p:cNvPr id="5" name="Title 1">
            <a:extLst>
              <a:ext uri="{FF2B5EF4-FFF2-40B4-BE49-F238E27FC236}">
                <a16:creationId xmlns:a16="http://schemas.microsoft.com/office/drawing/2014/main" id="{0937D4D6-1194-C3B0-5D17-C1DA48C12C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4785" y="3671398"/>
            <a:ext cx="3089059" cy="2883185"/>
          </a:xfrm>
        </p:spPr>
        <p:txBody>
          <a:bodyPr/>
          <a:lstStyle>
            <a:lvl1pPr>
              <a:defRPr sz="4000" spc="-100" baseline="0">
                <a:latin typeface="Work Sans Light" pitchFamily="2" charset="0"/>
              </a:defRPr>
            </a:lvl1pPr>
          </a:lstStyle>
          <a:p>
            <a:r>
              <a:rPr lang="fi-FI" noProof="0"/>
              <a:t>Lisää otsikko tähän</a:t>
            </a:r>
          </a:p>
        </p:txBody>
      </p:sp>
      <p:sp>
        <p:nvSpPr>
          <p:cNvPr id="2" name="Tekstin paikkamerkki 22">
            <a:extLst>
              <a:ext uri="{FF2B5EF4-FFF2-40B4-BE49-F238E27FC236}">
                <a16:creationId xmlns:a16="http://schemas.microsoft.com/office/drawing/2014/main" id="{E261E14C-AD68-080D-C81D-A51E8AF17C2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36000" y="3693599"/>
            <a:ext cx="3006000" cy="1929600"/>
          </a:xfrm>
        </p:spPr>
        <p:txBody>
          <a:bodyPr anchor="t" anchorCtr="0"/>
          <a:lstStyle>
            <a:lvl1pPr marL="0" indent="0" algn="l">
              <a:lnSpc>
                <a:spcPct val="95000"/>
              </a:lnSpc>
              <a:buNone/>
              <a:defRPr spc="-50" baseline="0"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fi-FI" noProof="0"/>
              <a:t>Lisää tekstiä tähän</a:t>
            </a:r>
          </a:p>
        </p:txBody>
      </p:sp>
      <p:sp>
        <p:nvSpPr>
          <p:cNvPr id="4" name="Tekstiruutu 18">
            <a:extLst>
              <a:ext uri="{FF2B5EF4-FFF2-40B4-BE49-F238E27FC236}">
                <a16:creationId xmlns:a16="http://schemas.microsoft.com/office/drawing/2014/main" id="{17CD63AC-2C7E-7B24-69A8-0BE3D405D685}"/>
              </a:ext>
            </a:extLst>
          </p:cNvPr>
          <p:cNvSpPr txBox="1"/>
          <p:nvPr userDrawn="1"/>
        </p:nvSpPr>
        <p:spPr>
          <a:xfrm>
            <a:off x="3636000" y="5704241"/>
            <a:ext cx="3006000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i-FI" sz="1600" spc="-20" baseline="0" noProof="0"/>
              <a:t>Terveyden ja </a:t>
            </a:r>
          </a:p>
          <a:p>
            <a:r>
              <a:rPr lang="fi-FI" sz="1600" spc="-20" baseline="0" noProof="0"/>
              <a:t>hyvinvoinnin laito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3FE2FC8-3CB7-BD74-6299-38CB1EBD3A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635451" y="6269995"/>
            <a:ext cx="1972568" cy="28481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 spc="-40" baseline="0">
                <a:solidFill>
                  <a:schemeClr val="tx1"/>
                </a:solidFill>
              </a:defRPr>
            </a:lvl1pPr>
          </a:lstStyle>
          <a:p>
            <a:fld id="{2ED2848D-A340-456D-B5D8-2CE1024EDA7D}" type="datetime1">
              <a:rPr lang="fi-FI" noProof="0" smtClean="0"/>
              <a:t>12.3.2026</a:t>
            </a:fld>
            <a:endParaRPr lang="fi-FI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296088913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E3B6CAA-4767-42B4-A19C-0CFD9AFC82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9940" y="2021541"/>
            <a:ext cx="5311126" cy="4155422"/>
          </a:xfrm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E996DCA-8E68-4F4A-A4A6-ACE6BC7F24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19.5.2021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DC7B94-042D-44C2-B7B2-1128AAFA57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etra Kokko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160B98-140E-4345-B1A3-2A7247C42973}" type="slidenum">
              <a:rPr lang="fi-FI" smtClean="0"/>
              <a:t>‹#›</a:t>
            </a:fld>
            <a:endParaRPr lang="fi-FI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F604C65-0022-A10B-E75C-3BC0B3B9636F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230933" y="2021541"/>
            <a:ext cx="5311126" cy="4155422"/>
          </a:xfrm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6363DDC-C97A-194B-98DF-CA51F0A3D35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76380" y="596151"/>
            <a:ext cx="516294" cy="631026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85789431-5CDA-8F47-85A4-31FC69C174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940" y="484094"/>
            <a:ext cx="9894939" cy="1075323"/>
          </a:xfrm>
        </p:spPr>
        <p:txBody>
          <a:bodyPr anchor="b"/>
          <a:lstStyle/>
          <a:p>
            <a:r>
              <a:rPr lang="fi-FI"/>
              <a:t>Muokkaa perustyyl. napsautt.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17858112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nsi kuvalla valo">
    <p:bg>
      <p:bgPr>
        <a:solidFill>
          <a:srgbClr val="FE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Kuvan paikkamerkki 7">
            <a:extLst>
              <a:ext uri="{FF2B5EF4-FFF2-40B4-BE49-F238E27FC236}">
                <a16:creationId xmlns:a16="http://schemas.microsoft.com/office/drawing/2014/main" id="{A650E2AC-0029-9DD5-5B33-21A35810ADDD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3433569" y="0"/>
            <a:ext cx="8758429" cy="6858000"/>
          </a:xfrm>
          <a:prstGeom prst="rect">
            <a:avLst/>
          </a:prstGeom>
        </p:spPr>
      </p:pic>
      <p:sp>
        <p:nvSpPr>
          <p:cNvPr id="5" name="Suorakulmio 21">
            <a:extLst>
              <a:ext uri="{FF2B5EF4-FFF2-40B4-BE49-F238E27FC236}">
                <a16:creationId xmlns:a16="http://schemas.microsoft.com/office/drawing/2014/main" id="{3510C498-F38C-7B9D-F21B-6BFA425A44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3433570" y="3429000"/>
            <a:ext cx="3433571" cy="3429000"/>
          </a:xfrm>
          <a:prstGeom prst="rect">
            <a:avLst/>
          </a:prstGeom>
          <a:solidFill>
            <a:srgbClr val="FF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/>
          </a:p>
        </p:txBody>
      </p:sp>
      <p:sp>
        <p:nvSpPr>
          <p:cNvPr id="22" name="Suorakulmio 21">
            <a:extLst>
              <a:ext uri="{FF2B5EF4-FFF2-40B4-BE49-F238E27FC236}">
                <a16:creationId xmlns:a16="http://schemas.microsoft.com/office/drawing/2014/main" id="{73767DC7-ABA0-F4CA-4D56-4A6E892E25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3429000"/>
            <a:ext cx="3433571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0DB878-8E84-426A-BEF0-AF1AAFA1F9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4785" y="3671398"/>
            <a:ext cx="3089059" cy="2883185"/>
          </a:xfrm>
        </p:spPr>
        <p:txBody>
          <a:bodyPr/>
          <a:lstStyle>
            <a:lvl1pPr>
              <a:defRPr sz="4000" spc="-100" baseline="0">
                <a:latin typeface="Work Sans Light" pitchFamily="2" charset="0"/>
              </a:defRPr>
            </a:lvl1pPr>
          </a:lstStyle>
          <a:p>
            <a:r>
              <a:rPr lang="fi-FI" noProof="0"/>
              <a:t>Lisää otsikko tähän</a:t>
            </a:r>
          </a:p>
        </p:txBody>
      </p:sp>
      <p:grpSp>
        <p:nvGrpSpPr>
          <p:cNvPr id="10" name="Ryhmä 9">
            <a:extLst>
              <a:ext uri="{FF2B5EF4-FFF2-40B4-BE49-F238E27FC236}">
                <a16:creationId xmlns:a16="http://schemas.microsoft.com/office/drawing/2014/main" id="{6B17C079-3319-DC26-44A9-380683636D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163835" y="237701"/>
            <a:ext cx="3105897" cy="2953599"/>
            <a:chOff x="203203" y="203198"/>
            <a:chExt cx="1117587" cy="1062785"/>
          </a:xfrm>
        </p:grpSpPr>
        <p:sp>
          <p:nvSpPr>
            <p:cNvPr id="11" name="Vapaamuotoinen: Muoto 10">
              <a:extLst>
                <a:ext uri="{FF2B5EF4-FFF2-40B4-BE49-F238E27FC236}">
                  <a16:creationId xmlns:a16="http://schemas.microsoft.com/office/drawing/2014/main" id="{BCABC861-8524-85F9-F756-A6ED24CB82EB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2" name="Vapaamuotoinen: Muoto 11">
              <a:extLst>
                <a:ext uri="{FF2B5EF4-FFF2-40B4-BE49-F238E27FC236}">
                  <a16:creationId xmlns:a16="http://schemas.microsoft.com/office/drawing/2014/main" id="{527BBF29-0D7D-E7D2-0C6B-F52CED370805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3" name="Vapaamuotoinen: Muoto 12">
              <a:extLst>
                <a:ext uri="{FF2B5EF4-FFF2-40B4-BE49-F238E27FC236}">
                  <a16:creationId xmlns:a16="http://schemas.microsoft.com/office/drawing/2014/main" id="{6891EF07-6FE5-932D-5471-6AB8430B2877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4" name="Vapaamuotoinen: Muoto 13">
              <a:extLst>
                <a:ext uri="{FF2B5EF4-FFF2-40B4-BE49-F238E27FC236}">
                  <a16:creationId xmlns:a16="http://schemas.microsoft.com/office/drawing/2014/main" id="{BA895791-B656-59A9-01FB-C88134131A15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5" name="Vapaamuotoinen: Muoto 14">
              <a:extLst>
                <a:ext uri="{FF2B5EF4-FFF2-40B4-BE49-F238E27FC236}">
                  <a16:creationId xmlns:a16="http://schemas.microsoft.com/office/drawing/2014/main" id="{CC5BF34A-D3C5-29AF-0507-491580995DE1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6" name="Vapaamuotoinen: Muoto 15">
              <a:extLst>
                <a:ext uri="{FF2B5EF4-FFF2-40B4-BE49-F238E27FC236}">
                  <a16:creationId xmlns:a16="http://schemas.microsoft.com/office/drawing/2014/main" id="{5312F966-2A5D-80FA-E0C6-78D5AC981A34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7" name="Vapaamuotoinen: Muoto 16">
              <a:extLst>
                <a:ext uri="{FF2B5EF4-FFF2-40B4-BE49-F238E27FC236}">
                  <a16:creationId xmlns:a16="http://schemas.microsoft.com/office/drawing/2014/main" id="{530F09BF-1A2D-B1DC-9B9F-1171E3E2DBB2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8" name="Vapaamuotoinen: Muoto 17">
              <a:extLst>
                <a:ext uri="{FF2B5EF4-FFF2-40B4-BE49-F238E27FC236}">
                  <a16:creationId xmlns:a16="http://schemas.microsoft.com/office/drawing/2014/main" id="{B1EFF7B6-19DF-63BA-8D9F-AAC3119D0AE8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</p:grpSp>
      <p:sp>
        <p:nvSpPr>
          <p:cNvPr id="8" name="Tekstin paikkamerkki 22">
            <a:extLst>
              <a:ext uri="{FF2B5EF4-FFF2-40B4-BE49-F238E27FC236}">
                <a16:creationId xmlns:a16="http://schemas.microsoft.com/office/drawing/2014/main" id="{9841F321-700A-DC0D-37B6-F4726675171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36000" y="3693599"/>
            <a:ext cx="3006000" cy="1929600"/>
          </a:xfrm>
        </p:spPr>
        <p:txBody>
          <a:bodyPr anchor="t" anchorCtr="0"/>
          <a:lstStyle>
            <a:lvl1pPr marL="0" indent="0" algn="l">
              <a:lnSpc>
                <a:spcPct val="95000"/>
              </a:lnSpc>
              <a:buNone/>
              <a:defRPr spc="-50" baseline="0"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fi-FI" noProof="0"/>
              <a:t>Lisää tekstiä tähän</a:t>
            </a:r>
          </a:p>
        </p:txBody>
      </p:sp>
      <p:sp>
        <p:nvSpPr>
          <p:cNvPr id="19" name="Tekstiruutu 18">
            <a:extLst>
              <a:ext uri="{FF2B5EF4-FFF2-40B4-BE49-F238E27FC236}">
                <a16:creationId xmlns:a16="http://schemas.microsoft.com/office/drawing/2014/main" id="{C1BEDD40-AE69-848D-2013-5C2CA932513A}"/>
              </a:ext>
            </a:extLst>
          </p:cNvPr>
          <p:cNvSpPr txBox="1"/>
          <p:nvPr userDrawn="1"/>
        </p:nvSpPr>
        <p:spPr>
          <a:xfrm>
            <a:off x="3636000" y="5704241"/>
            <a:ext cx="3006000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i-FI" sz="1600" spc="-20" baseline="0" noProof="0"/>
              <a:t>Terveyden ja </a:t>
            </a:r>
          </a:p>
          <a:p>
            <a:r>
              <a:rPr lang="fi-FI" sz="1600" spc="-20" baseline="0" noProof="0"/>
              <a:t>hyvinvoinnin laitos</a:t>
            </a:r>
          </a:p>
        </p:txBody>
      </p:sp>
      <p:sp>
        <p:nvSpPr>
          <p:cNvPr id="4" name="Date Placeholder 6">
            <a:extLst>
              <a:ext uri="{FF2B5EF4-FFF2-40B4-BE49-F238E27FC236}">
                <a16:creationId xmlns:a16="http://schemas.microsoft.com/office/drawing/2014/main" id="{E1B1335E-3BFF-D71E-95F5-1D1ED69D57B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635451" y="6269995"/>
            <a:ext cx="1972568" cy="28481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 spc="-40" baseline="0">
                <a:solidFill>
                  <a:schemeClr val="tx1"/>
                </a:solidFill>
              </a:defRPr>
            </a:lvl1pPr>
          </a:lstStyle>
          <a:p>
            <a:fld id="{E7C06577-0AC6-4295-9F67-600E26152DDF}" type="datetime1">
              <a:rPr lang="fi-FI" noProof="0" smtClean="0"/>
              <a:t>12.3.2026</a:t>
            </a:fld>
            <a:endParaRPr lang="fi-FI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1029849662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nsi kuvalla silmä">
    <p:bg>
      <p:bgPr>
        <a:solidFill>
          <a:srgbClr val="B4FFA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Kuvan paikkamerkki 7">
            <a:extLst>
              <a:ext uri="{FF2B5EF4-FFF2-40B4-BE49-F238E27FC236}">
                <a16:creationId xmlns:a16="http://schemas.microsoft.com/office/drawing/2014/main" id="{B4D1090D-3E0E-1D6C-BF6F-79D888D9CEB9}"/>
              </a:ext>
            </a:extLst>
          </p:cNvPr>
          <p:cNvPicPr/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8" r="17776"/>
          <a:stretch/>
        </p:blipFill>
        <p:spPr>
          <a:xfrm>
            <a:off x="3433572" y="-23547"/>
            <a:ext cx="8758428" cy="6907056"/>
          </a:xfrm>
          <a:prstGeom prst="rect">
            <a:avLst/>
          </a:prstGeom>
        </p:spPr>
      </p:pic>
      <p:sp>
        <p:nvSpPr>
          <p:cNvPr id="3" name="Suorakulmio 21">
            <a:extLst>
              <a:ext uri="{FF2B5EF4-FFF2-40B4-BE49-F238E27FC236}">
                <a16:creationId xmlns:a16="http://schemas.microsoft.com/office/drawing/2014/main" id="{CC14B373-2F5E-D127-4F6D-B77258845C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3433570" y="3429000"/>
            <a:ext cx="3433571" cy="3429000"/>
          </a:xfrm>
          <a:prstGeom prst="rect">
            <a:avLst/>
          </a:prstGeom>
          <a:solidFill>
            <a:srgbClr val="B4FF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/>
          </a:p>
        </p:txBody>
      </p:sp>
      <p:sp>
        <p:nvSpPr>
          <p:cNvPr id="22" name="Suorakulmio 21">
            <a:extLst>
              <a:ext uri="{FF2B5EF4-FFF2-40B4-BE49-F238E27FC236}">
                <a16:creationId xmlns:a16="http://schemas.microsoft.com/office/drawing/2014/main" id="{73767DC7-ABA0-F4CA-4D56-4A6E892E25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3429000"/>
            <a:ext cx="3433571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/>
          </a:p>
        </p:txBody>
      </p:sp>
      <p:grpSp>
        <p:nvGrpSpPr>
          <p:cNvPr id="10" name="Ryhmä 9">
            <a:extLst>
              <a:ext uri="{FF2B5EF4-FFF2-40B4-BE49-F238E27FC236}">
                <a16:creationId xmlns:a16="http://schemas.microsoft.com/office/drawing/2014/main" id="{6B17C079-3319-DC26-44A9-380683636D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163835" y="237701"/>
            <a:ext cx="3105897" cy="2953599"/>
            <a:chOff x="203203" y="203198"/>
            <a:chExt cx="1117587" cy="1062785"/>
          </a:xfrm>
        </p:grpSpPr>
        <p:sp>
          <p:nvSpPr>
            <p:cNvPr id="11" name="Vapaamuotoinen: Muoto 10">
              <a:extLst>
                <a:ext uri="{FF2B5EF4-FFF2-40B4-BE49-F238E27FC236}">
                  <a16:creationId xmlns:a16="http://schemas.microsoft.com/office/drawing/2014/main" id="{BCABC861-8524-85F9-F756-A6ED24CB82EB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2" name="Vapaamuotoinen: Muoto 11">
              <a:extLst>
                <a:ext uri="{FF2B5EF4-FFF2-40B4-BE49-F238E27FC236}">
                  <a16:creationId xmlns:a16="http://schemas.microsoft.com/office/drawing/2014/main" id="{527BBF29-0D7D-E7D2-0C6B-F52CED370805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3" name="Vapaamuotoinen: Muoto 12">
              <a:extLst>
                <a:ext uri="{FF2B5EF4-FFF2-40B4-BE49-F238E27FC236}">
                  <a16:creationId xmlns:a16="http://schemas.microsoft.com/office/drawing/2014/main" id="{6891EF07-6FE5-932D-5471-6AB8430B2877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4" name="Vapaamuotoinen: Muoto 13">
              <a:extLst>
                <a:ext uri="{FF2B5EF4-FFF2-40B4-BE49-F238E27FC236}">
                  <a16:creationId xmlns:a16="http://schemas.microsoft.com/office/drawing/2014/main" id="{BA895791-B656-59A9-01FB-C88134131A15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5" name="Vapaamuotoinen: Muoto 14">
              <a:extLst>
                <a:ext uri="{FF2B5EF4-FFF2-40B4-BE49-F238E27FC236}">
                  <a16:creationId xmlns:a16="http://schemas.microsoft.com/office/drawing/2014/main" id="{CC5BF34A-D3C5-29AF-0507-491580995DE1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6" name="Vapaamuotoinen: Muoto 15">
              <a:extLst>
                <a:ext uri="{FF2B5EF4-FFF2-40B4-BE49-F238E27FC236}">
                  <a16:creationId xmlns:a16="http://schemas.microsoft.com/office/drawing/2014/main" id="{5312F966-2A5D-80FA-E0C6-78D5AC981A34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7" name="Vapaamuotoinen: Muoto 16">
              <a:extLst>
                <a:ext uri="{FF2B5EF4-FFF2-40B4-BE49-F238E27FC236}">
                  <a16:creationId xmlns:a16="http://schemas.microsoft.com/office/drawing/2014/main" id="{530F09BF-1A2D-B1DC-9B9F-1171E3E2DBB2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8" name="Vapaamuotoinen: Muoto 17">
              <a:extLst>
                <a:ext uri="{FF2B5EF4-FFF2-40B4-BE49-F238E27FC236}">
                  <a16:creationId xmlns:a16="http://schemas.microsoft.com/office/drawing/2014/main" id="{B1EFF7B6-19DF-63BA-8D9F-AAC3119D0AE8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</p:grpSp>
      <p:sp>
        <p:nvSpPr>
          <p:cNvPr id="5" name="Title 1">
            <a:extLst>
              <a:ext uri="{FF2B5EF4-FFF2-40B4-BE49-F238E27FC236}">
                <a16:creationId xmlns:a16="http://schemas.microsoft.com/office/drawing/2014/main" id="{D5BF6AD2-2A55-712D-15E3-5CD600E766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4785" y="3671398"/>
            <a:ext cx="3089059" cy="2883185"/>
          </a:xfrm>
        </p:spPr>
        <p:txBody>
          <a:bodyPr/>
          <a:lstStyle>
            <a:lvl1pPr>
              <a:defRPr sz="4000" spc="-100" baseline="0">
                <a:latin typeface="Work Sans Light" pitchFamily="2" charset="0"/>
              </a:defRPr>
            </a:lvl1pPr>
          </a:lstStyle>
          <a:p>
            <a:r>
              <a:rPr lang="fi-FI" noProof="0"/>
              <a:t>Lisää otsikko tähän</a:t>
            </a:r>
          </a:p>
        </p:txBody>
      </p:sp>
      <p:sp>
        <p:nvSpPr>
          <p:cNvPr id="2" name="Tekstin paikkamerkki 22">
            <a:extLst>
              <a:ext uri="{FF2B5EF4-FFF2-40B4-BE49-F238E27FC236}">
                <a16:creationId xmlns:a16="http://schemas.microsoft.com/office/drawing/2014/main" id="{F2A26BBC-33CA-82E8-66E2-053FAE1A049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36000" y="3693599"/>
            <a:ext cx="3006000" cy="1929600"/>
          </a:xfrm>
        </p:spPr>
        <p:txBody>
          <a:bodyPr anchor="t" anchorCtr="0"/>
          <a:lstStyle>
            <a:lvl1pPr marL="0" indent="0" algn="l">
              <a:lnSpc>
                <a:spcPct val="95000"/>
              </a:lnSpc>
              <a:buNone/>
              <a:defRPr spc="-50" baseline="0"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fi-FI" noProof="0"/>
              <a:t>Lisää tekstiä tähän</a:t>
            </a:r>
          </a:p>
        </p:txBody>
      </p:sp>
      <p:sp>
        <p:nvSpPr>
          <p:cNvPr id="4" name="Tekstiruutu 18">
            <a:extLst>
              <a:ext uri="{FF2B5EF4-FFF2-40B4-BE49-F238E27FC236}">
                <a16:creationId xmlns:a16="http://schemas.microsoft.com/office/drawing/2014/main" id="{F8225031-91D1-86EF-B16A-D2E576D371DD}"/>
              </a:ext>
            </a:extLst>
          </p:cNvPr>
          <p:cNvSpPr txBox="1"/>
          <p:nvPr userDrawn="1"/>
        </p:nvSpPr>
        <p:spPr>
          <a:xfrm>
            <a:off x="3636000" y="5704241"/>
            <a:ext cx="3006000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i-FI" sz="1600" spc="-20" baseline="0" noProof="0"/>
              <a:t>Terveyden ja </a:t>
            </a:r>
          </a:p>
          <a:p>
            <a:r>
              <a:rPr lang="fi-FI" sz="1600" spc="-20" baseline="0" noProof="0"/>
              <a:t>hyvinvoinnin laito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791CE8C-75CC-8BC9-581D-B06FBA83B48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635451" y="6269995"/>
            <a:ext cx="1972568" cy="28481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 spc="-40" baseline="0">
                <a:solidFill>
                  <a:schemeClr val="tx1"/>
                </a:solidFill>
              </a:defRPr>
            </a:lvl1pPr>
          </a:lstStyle>
          <a:p>
            <a:fld id="{45E8EBFF-4B1D-4B5C-A9D8-B5C0516E50E2}" type="datetime1">
              <a:rPr lang="fi-FI" noProof="0" smtClean="0"/>
              <a:t>12.3.2026</a:t>
            </a:fld>
            <a:endParaRPr lang="fi-FI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1886179599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nsi kuvalla lehti">
    <p:bg>
      <p:bgPr>
        <a:solidFill>
          <a:srgbClr val="B4FFA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Kuvan paikkamerkki 7">
            <a:extLst>
              <a:ext uri="{FF2B5EF4-FFF2-40B4-BE49-F238E27FC236}">
                <a16:creationId xmlns:a16="http://schemas.microsoft.com/office/drawing/2014/main" id="{B4D1090D-3E0E-1D6C-BF6F-79D888D9CEB9}"/>
              </a:ext>
            </a:extLst>
          </p:cNvPr>
          <p:cNvPicPr/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" r="173"/>
          <a:stretch/>
        </p:blipFill>
        <p:spPr>
          <a:xfrm>
            <a:off x="3433572" y="0"/>
            <a:ext cx="8758428" cy="6858000"/>
          </a:xfrm>
          <a:prstGeom prst="rect">
            <a:avLst/>
          </a:prstGeom>
        </p:spPr>
      </p:pic>
      <p:sp>
        <p:nvSpPr>
          <p:cNvPr id="3" name="Suorakulmio 21">
            <a:extLst>
              <a:ext uri="{FF2B5EF4-FFF2-40B4-BE49-F238E27FC236}">
                <a16:creationId xmlns:a16="http://schemas.microsoft.com/office/drawing/2014/main" id="{CC14B373-2F5E-D127-4F6D-B77258845C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3433570" y="3429000"/>
            <a:ext cx="3433571" cy="3429000"/>
          </a:xfrm>
          <a:prstGeom prst="rect">
            <a:avLst/>
          </a:prstGeom>
          <a:solidFill>
            <a:srgbClr val="B4FF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/>
          </a:p>
        </p:txBody>
      </p:sp>
      <p:sp>
        <p:nvSpPr>
          <p:cNvPr id="22" name="Suorakulmio 21">
            <a:extLst>
              <a:ext uri="{FF2B5EF4-FFF2-40B4-BE49-F238E27FC236}">
                <a16:creationId xmlns:a16="http://schemas.microsoft.com/office/drawing/2014/main" id="{73767DC7-ABA0-F4CA-4D56-4A6E892E25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3429000"/>
            <a:ext cx="3433571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/>
          </a:p>
        </p:txBody>
      </p:sp>
      <p:grpSp>
        <p:nvGrpSpPr>
          <p:cNvPr id="10" name="Ryhmä 9">
            <a:extLst>
              <a:ext uri="{FF2B5EF4-FFF2-40B4-BE49-F238E27FC236}">
                <a16:creationId xmlns:a16="http://schemas.microsoft.com/office/drawing/2014/main" id="{6B17C079-3319-DC26-44A9-380683636D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163835" y="237701"/>
            <a:ext cx="3105897" cy="2953599"/>
            <a:chOff x="203203" y="203198"/>
            <a:chExt cx="1117587" cy="1062785"/>
          </a:xfrm>
        </p:grpSpPr>
        <p:sp>
          <p:nvSpPr>
            <p:cNvPr id="11" name="Vapaamuotoinen: Muoto 10">
              <a:extLst>
                <a:ext uri="{FF2B5EF4-FFF2-40B4-BE49-F238E27FC236}">
                  <a16:creationId xmlns:a16="http://schemas.microsoft.com/office/drawing/2014/main" id="{BCABC861-8524-85F9-F756-A6ED24CB82EB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2" name="Vapaamuotoinen: Muoto 11">
              <a:extLst>
                <a:ext uri="{FF2B5EF4-FFF2-40B4-BE49-F238E27FC236}">
                  <a16:creationId xmlns:a16="http://schemas.microsoft.com/office/drawing/2014/main" id="{527BBF29-0D7D-E7D2-0C6B-F52CED370805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3" name="Vapaamuotoinen: Muoto 12">
              <a:extLst>
                <a:ext uri="{FF2B5EF4-FFF2-40B4-BE49-F238E27FC236}">
                  <a16:creationId xmlns:a16="http://schemas.microsoft.com/office/drawing/2014/main" id="{6891EF07-6FE5-932D-5471-6AB8430B2877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4" name="Vapaamuotoinen: Muoto 13">
              <a:extLst>
                <a:ext uri="{FF2B5EF4-FFF2-40B4-BE49-F238E27FC236}">
                  <a16:creationId xmlns:a16="http://schemas.microsoft.com/office/drawing/2014/main" id="{BA895791-B656-59A9-01FB-C88134131A15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5" name="Vapaamuotoinen: Muoto 14">
              <a:extLst>
                <a:ext uri="{FF2B5EF4-FFF2-40B4-BE49-F238E27FC236}">
                  <a16:creationId xmlns:a16="http://schemas.microsoft.com/office/drawing/2014/main" id="{CC5BF34A-D3C5-29AF-0507-491580995DE1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6" name="Vapaamuotoinen: Muoto 15">
              <a:extLst>
                <a:ext uri="{FF2B5EF4-FFF2-40B4-BE49-F238E27FC236}">
                  <a16:creationId xmlns:a16="http://schemas.microsoft.com/office/drawing/2014/main" id="{5312F966-2A5D-80FA-E0C6-78D5AC981A34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7" name="Vapaamuotoinen: Muoto 16">
              <a:extLst>
                <a:ext uri="{FF2B5EF4-FFF2-40B4-BE49-F238E27FC236}">
                  <a16:creationId xmlns:a16="http://schemas.microsoft.com/office/drawing/2014/main" id="{530F09BF-1A2D-B1DC-9B9F-1171E3E2DBB2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8" name="Vapaamuotoinen: Muoto 17">
              <a:extLst>
                <a:ext uri="{FF2B5EF4-FFF2-40B4-BE49-F238E27FC236}">
                  <a16:creationId xmlns:a16="http://schemas.microsoft.com/office/drawing/2014/main" id="{B1EFF7B6-19DF-63BA-8D9F-AAC3119D0AE8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</p:grpSp>
      <p:sp>
        <p:nvSpPr>
          <p:cNvPr id="5" name="Title 1">
            <a:extLst>
              <a:ext uri="{FF2B5EF4-FFF2-40B4-BE49-F238E27FC236}">
                <a16:creationId xmlns:a16="http://schemas.microsoft.com/office/drawing/2014/main" id="{D5BF6AD2-2A55-712D-15E3-5CD600E766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4785" y="3671398"/>
            <a:ext cx="3089059" cy="2883185"/>
          </a:xfrm>
        </p:spPr>
        <p:txBody>
          <a:bodyPr/>
          <a:lstStyle>
            <a:lvl1pPr>
              <a:defRPr sz="4000" spc="-100" baseline="0">
                <a:latin typeface="Work Sans Light" pitchFamily="2" charset="0"/>
              </a:defRPr>
            </a:lvl1pPr>
          </a:lstStyle>
          <a:p>
            <a:r>
              <a:rPr lang="fi-FI" noProof="0"/>
              <a:t>Lisää otsikko tähän</a:t>
            </a:r>
          </a:p>
        </p:txBody>
      </p:sp>
      <p:sp>
        <p:nvSpPr>
          <p:cNvPr id="2" name="Tekstin paikkamerkki 22">
            <a:extLst>
              <a:ext uri="{FF2B5EF4-FFF2-40B4-BE49-F238E27FC236}">
                <a16:creationId xmlns:a16="http://schemas.microsoft.com/office/drawing/2014/main" id="{F2A26BBC-33CA-82E8-66E2-053FAE1A049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36000" y="3693599"/>
            <a:ext cx="3006000" cy="1929600"/>
          </a:xfrm>
        </p:spPr>
        <p:txBody>
          <a:bodyPr anchor="t" anchorCtr="0"/>
          <a:lstStyle>
            <a:lvl1pPr marL="0" indent="0" algn="l">
              <a:lnSpc>
                <a:spcPct val="95000"/>
              </a:lnSpc>
              <a:buNone/>
              <a:defRPr spc="-50" baseline="0"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4" name="Tekstiruutu 18">
            <a:extLst>
              <a:ext uri="{FF2B5EF4-FFF2-40B4-BE49-F238E27FC236}">
                <a16:creationId xmlns:a16="http://schemas.microsoft.com/office/drawing/2014/main" id="{F8225031-91D1-86EF-B16A-D2E576D371DD}"/>
              </a:ext>
            </a:extLst>
          </p:cNvPr>
          <p:cNvSpPr txBox="1"/>
          <p:nvPr userDrawn="1"/>
        </p:nvSpPr>
        <p:spPr>
          <a:xfrm>
            <a:off x="3636000" y="5704241"/>
            <a:ext cx="3006000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i-FI" sz="1600" spc="-20" baseline="0" noProof="0"/>
              <a:t>Terveyden ja </a:t>
            </a:r>
          </a:p>
          <a:p>
            <a:r>
              <a:rPr lang="fi-FI" sz="1600" spc="-20" baseline="0" noProof="0"/>
              <a:t>hyvinvoinnin laito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791CE8C-75CC-8BC9-581D-B06FBA83B48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635451" y="6269995"/>
            <a:ext cx="1972568" cy="28481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 spc="-40" baseline="0">
                <a:solidFill>
                  <a:schemeClr val="tx1"/>
                </a:solidFill>
              </a:defRPr>
            </a:lvl1pPr>
          </a:lstStyle>
          <a:p>
            <a:fld id="{69C0E78B-150C-4734-9C5B-5D07D5DE90D3}" type="datetime1">
              <a:rPr lang="fi-FI" noProof="0" smtClean="0"/>
              <a:t>12.3.2026</a:t>
            </a:fld>
            <a:endParaRPr lang="fi-FI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223456043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nsi kuvalla jäälautat">
    <p:bg>
      <p:bgPr>
        <a:solidFill>
          <a:srgbClr val="DCEFF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Kuvan paikkamerkki 7">
            <a:extLst>
              <a:ext uri="{FF2B5EF4-FFF2-40B4-BE49-F238E27FC236}">
                <a16:creationId xmlns:a16="http://schemas.microsoft.com/office/drawing/2014/main" id="{31AEE49C-59D8-1DC0-6D69-F6CCCCA302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435858" y="0"/>
            <a:ext cx="8753856" cy="6858000"/>
          </a:xfrm>
          <a:prstGeom prst="rect">
            <a:avLst/>
          </a:prstGeom>
        </p:spPr>
      </p:pic>
      <p:sp>
        <p:nvSpPr>
          <p:cNvPr id="3" name="Suorakulmio 21">
            <a:extLst>
              <a:ext uri="{FF2B5EF4-FFF2-40B4-BE49-F238E27FC236}">
                <a16:creationId xmlns:a16="http://schemas.microsoft.com/office/drawing/2014/main" id="{08CD8FCD-475F-BA79-3521-10CE36F63B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3433570" y="3429000"/>
            <a:ext cx="3433571" cy="3429000"/>
          </a:xfrm>
          <a:prstGeom prst="rect">
            <a:avLst/>
          </a:prstGeom>
          <a:solidFill>
            <a:srgbClr val="DCEF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/>
          </a:p>
        </p:txBody>
      </p:sp>
      <p:sp>
        <p:nvSpPr>
          <p:cNvPr id="22" name="Suorakulmio 21">
            <a:extLst>
              <a:ext uri="{FF2B5EF4-FFF2-40B4-BE49-F238E27FC236}">
                <a16:creationId xmlns:a16="http://schemas.microsoft.com/office/drawing/2014/main" id="{73767DC7-ABA0-F4CA-4D56-4A6E892E25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3429000"/>
            <a:ext cx="3433571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/>
          </a:p>
        </p:txBody>
      </p:sp>
      <p:grpSp>
        <p:nvGrpSpPr>
          <p:cNvPr id="10" name="Ryhmä 9">
            <a:extLst>
              <a:ext uri="{FF2B5EF4-FFF2-40B4-BE49-F238E27FC236}">
                <a16:creationId xmlns:a16="http://schemas.microsoft.com/office/drawing/2014/main" id="{6B17C079-3319-DC26-44A9-380683636D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163835" y="237701"/>
            <a:ext cx="3105897" cy="2953599"/>
            <a:chOff x="203203" y="203198"/>
            <a:chExt cx="1117587" cy="1062785"/>
          </a:xfrm>
        </p:grpSpPr>
        <p:sp>
          <p:nvSpPr>
            <p:cNvPr id="11" name="Vapaamuotoinen: Muoto 10">
              <a:extLst>
                <a:ext uri="{FF2B5EF4-FFF2-40B4-BE49-F238E27FC236}">
                  <a16:creationId xmlns:a16="http://schemas.microsoft.com/office/drawing/2014/main" id="{BCABC861-8524-85F9-F756-A6ED24CB82EB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2" name="Vapaamuotoinen: Muoto 11">
              <a:extLst>
                <a:ext uri="{FF2B5EF4-FFF2-40B4-BE49-F238E27FC236}">
                  <a16:creationId xmlns:a16="http://schemas.microsoft.com/office/drawing/2014/main" id="{527BBF29-0D7D-E7D2-0C6B-F52CED370805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3" name="Vapaamuotoinen: Muoto 12">
              <a:extLst>
                <a:ext uri="{FF2B5EF4-FFF2-40B4-BE49-F238E27FC236}">
                  <a16:creationId xmlns:a16="http://schemas.microsoft.com/office/drawing/2014/main" id="{6891EF07-6FE5-932D-5471-6AB8430B2877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4" name="Vapaamuotoinen: Muoto 13">
              <a:extLst>
                <a:ext uri="{FF2B5EF4-FFF2-40B4-BE49-F238E27FC236}">
                  <a16:creationId xmlns:a16="http://schemas.microsoft.com/office/drawing/2014/main" id="{BA895791-B656-59A9-01FB-C88134131A15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5" name="Vapaamuotoinen: Muoto 14">
              <a:extLst>
                <a:ext uri="{FF2B5EF4-FFF2-40B4-BE49-F238E27FC236}">
                  <a16:creationId xmlns:a16="http://schemas.microsoft.com/office/drawing/2014/main" id="{CC5BF34A-D3C5-29AF-0507-491580995DE1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6" name="Vapaamuotoinen: Muoto 15">
              <a:extLst>
                <a:ext uri="{FF2B5EF4-FFF2-40B4-BE49-F238E27FC236}">
                  <a16:creationId xmlns:a16="http://schemas.microsoft.com/office/drawing/2014/main" id="{5312F966-2A5D-80FA-E0C6-78D5AC981A34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7" name="Vapaamuotoinen: Muoto 16">
              <a:extLst>
                <a:ext uri="{FF2B5EF4-FFF2-40B4-BE49-F238E27FC236}">
                  <a16:creationId xmlns:a16="http://schemas.microsoft.com/office/drawing/2014/main" id="{530F09BF-1A2D-B1DC-9B9F-1171E3E2DBB2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8" name="Vapaamuotoinen: Muoto 17">
              <a:extLst>
                <a:ext uri="{FF2B5EF4-FFF2-40B4-BE49-F238E27FC236}">
                  <a16:creationId xmlns:a16="http://schemas.microsoft.com/office/drawing/2014/main" id="{B1EFF7B6-19DF-63BA-8D9F-AAC3119D0AE8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</p:grpSp>
      <p:sp>
        <p:nvSpPr>
          <p:cNvPr id="5" name="Title 1">
            <a:extLst>
              <a:ext uri="{FF2B5EF4-FFF2-40B4-BE49-F238E27FC236}">
                <a16:creationId xmlns:a16="http://schemas.microsoft.com/office/drawing/2014/main" id="{0937D4D6-1194-C3B0-5D17-C1DA48C12C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4785" y="3671398"/>
            <a:ext cx="3089059" cy="2883185"/>
          </a:xfrm>
        </p:spPr>
        <p:txBody>
          <a:bodyPr/>
          <a:lstStyle>
            <a:lvl1pPr>
              <a:defRPr sz="4000" spc="-100" baseline="0">
                <a:latin typeface="Work Sans Light" pitchFamily="2" charset="0"/>
              </a:defRPr>
            </a:lvl1pPr>
          </a:lstStyle>
          <a:p>
            <a:r>
              <a:rPr lang="fi-FI" noProof="0"/>
              <a:t>Lisää otsikko tähän</a:t>
            </a:r>
          </a:p>
        </p:txBody>
      </p:sp>
      <p:sp>
        <p:nvSpPr>
          <p:cNvPr id="2" name="Tekstin paikkamerkki 22">
            <a:extLst>
              <a:ext uri="{FF2B5EF4-FFF2-40B4-BE49-F238E27FC236}">
                <a16:creationId xmlns:a16="http://schemas.microsoft.com/office/drawing/2014/main" id="{E261E14C-AD68-080D-C81D-A51E8AF17C2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36000" y="3693599"/>
            <a:ext cx="3006000" cy="1929600"/>
          </a:xfrm>
        </p:spPr>
        <p:txBody>
          <a:bodyPr anchor="t" anchorCtr="0"/>
          <a:lstStyle>
            <a:lvl1pPr marL="0" indent="0" algn="l">
              <a:lnSpc>
                <a:spcPct val="95000"/>
              </a:lnSpc>
              <a:buNone/>
              <a:defRPr spc="-50" baseline="0"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4" name="Tekstiruutu 18">
            <a:extLst>
              <a:ext uri="{FF2B5EF4-FFF2-40B4-BE49-F238E27FC236}">
                <a16:creationId xmlns:a16="http://schemas.microsoft.com/office/drawing/2014/main" id="{17CD63AC-2C7E-7B24-69A8-0BE3D405D685}"/>
              </a:ext>
            </a:extLst>
          </p:cNvPr>
          <p:cNvSpPr txBox="1"/>
          <p:nvPr userDrawn="1"/>
        </p:nvSpPr>
        <p:spPr>
          <a:xfrm>
            <a:off x="3636000" y="5704241"/>
            <a:ext cx="3006000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i-FI" sz="1600" spc="-20" baseline="0" noProof="0"/>
              <a:t>Terveyden ja </a:t>
            </a:r>
          </a:p>
          <a:p>
            <a:r>
              <a:rPr lang="fi-FI" sz="1600" spc="-20" baseline="0" noProof="0"/>
              <a:t>hyvinvoinnin laito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3FE2FC8-3CB7-BD74-6299-38CB1EBD3A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635451" y="6269995"/>
            <a:ext cx="1972568" cy="28481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 spc="-40" baseline="0">
                <a:solidFill>
                  <a:schemeClr val="tx1"/>
                </a:solidFill>
              </a:defRPr>
            </a:lvl1pPr>
          </a:lstStyle>
          <a:p>
            <a:fld id="{ADEB507B-FB4B-4FA6-97D8-D9E02D796935}" type="datetime1">
              <a:rPr lang="fi-FI" noProof="0" smtClean="0"/>
              <a:t>12.3.2026</a:t>
            </a:fld>
            <a:endParaRPr lang="fi-FI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1511078417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nsi kuvalla henkilöt">
    <p:bg>
      <p:bgPr>
        <a:solidFill>
          <a:srgbClr val="FFFAC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Kuvan paikkamerkki 7">
            <a:extLst>
              <a:ext uri="{FF2B5EF4-FFF2-40B4-BE49-F238E27FC236}">
                <a16:creationId xmlns:a16="http://schemas.microsoft.com/office/drawing/2014/main" id="{6251BA80-83BB-CE85-E7FC-BE02853F7B8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435858" y="0"/>
            <a:ext cx="8753856" cy="6858000"/>
          </a:xfrm>
          <a:prstGeom prst="rect">
            <a:avLst/>
          </a:prstGeom>
        </p:spPr>
      </p:pic>
      <p:sp>
        <p:nvSpPr>
          <p:cNvPr id="3" name="Suorakulmio 21">
            <a:extLst>
              <a:ext uri="{FF2B5EF4-FFF2-40B4-BE49-F238E27FC236}">
                <a16:creationId xmlns:a16="http://schemas.microsoft.com/office/drawing/2014/main" id="{08CD8FCD-475F-BA79-3521-10CE36F63B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3433570" y="3429000"/>
            <a:ext cx="3433571" cy="3429000"/>
          </a:xfrm>
          <a:prstGeom prst="rect">
            <a:avLst/>
          </a:prstGeom>
          <a:solidFill>
            <a:srgbClr val="FFFA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/>
          </a:p>
        </p:txBody>
      </p:sp>
      <p:sp>
        <p:nvSpPr>
          <p:cNvPr id="22" name="Suorakulmio 21">
            <a:extLst>
              <a:ext uri="{FF2B5EF4-FFF2-40B4-BE49-F238E27FC236}">
                <a16:creationId xmlns:a16="http://schemas.microsoft.com/office/drawing/2014/main" id="{73767DC7-ABA0-F4CA-4D56-4A6E892E25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3429000"/>
            <a:ext cx="3433571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/>
          </a:p>
        </p:txBody>
      </p:sp>
      <p:grpSp>
        <p:nvGrpSpPr>
          <p:cNvPr id="10" name="Ryhmä 9">
            <a:extLst>
              <a:ext uri="{FF2B5EF4-FFF2-40B4-BE49-F238E27FC236}">
                <a16:creationId xmlns:a16="http://schemas.microsoft.com/office/drawing/2014/main" id="{6B17C079-3319-DC26-44A9-380683636D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163835" y="237701"/>
            <a:ext cx="3105897" cy="2953599"/>
            <a:chOff x="203203" y="203198"/>
            <a:chExt cx="1117587" cy="1062785"/>
          </a:xfrm>
        </p:grpSpPr>
        <p:sp>
          <p:nvSpPr>
            <p:cNvPr id="11" name="Vapaamuotoinen: Muoto 10">
              <a:extLst>
                <a:ext uri="{FF2B5EF4-FFF2-40B4-BE49-F238E27FC236}">
                  <a16:creationId xmlns:a16="http://schemas.microsoft.com/office/drawing/2014/main" id="{BCABC861-8524-85F9-F756-A6ED24CB82EB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2" name="Vapaamuotoinen: Muoto 11">
              <a:extLst>
                <a:ext uri="{FF2B5EF4-FFF2-40B4-BE49-F238E27FC236}">
                  <a16:creationId xmlns:a16="http://schemas.microsoft.com/office/drawing/2014/main" id="{527BBF29-0D7D-E7D2-0C6B-F52CED370805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3" name="Vapaamuotoinen: Muoto 12">
              <a:extLst>
                <a:ext uri="{FF2B5EF4-FFF2-40B4-BE49-F238E27FC236}">
                  <a16:creationId xmlns:a16="http://schemas.microsoft.com/office/drawing/2014/main" id="{6891EF07-6FE5-932D-5471-6AB8430B2877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4" name="Vapaamuotoinen: Muoto 13">
              <a:extLst>
                <a:ext uri="{FF2B5EF4-FFF2-40B4-BE49-F238E27FC236}">
                  <a16:creationId xmlns:a16="http://schemas.microsoft.com/office/drawing/2014/main" id="{BA895791-B656-59A9-01FB-C88134131A15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5" name="Vapaamuotoinen: Muoto 14">
              <a:extLst>
                <a:ext uri="{FF2B5EF4-FFF2-40B4-BE49-F238E27FC236}">
                  <a16:creationId xmlns:a16="http://schemas.microsoft.com/office/drawing/2014/main" id="{CC5BF34A-D3C5-29AF-0507-491580995DE1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6" name="Vapaamuotoinen: Muoto 15">
              <a:extLst>
                <a:ext uri="{FF2B5EF4-FFF2-40B4-BE49-F238E27FC236}">
                  <a16:creationId xmlns:a16="http://schemas.microsoft.com/office/drawing/2014/main" id="{5312F966-2A5D-80FA-E0C6-78D5AC981A34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7" name="Vapaamuotoinen: Muoto 16">
              <a:extLst>
                <a:ext uri="{FF2B5EF4-FFF2-40B4-BE49-F238E27FC236}">
                  <a16:creationId xmlns:a16="http://schemas.microsoft.com/office/drawing/2014/main" id="{530F09BF-1A2D-B1DC-9B9F-1171E3E2DBB2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8" name="Vapaamuotoinen: Muoto 17">
              <a:extLst>
                <a:ext uri="{FF2B5EF4-FFF2-40B4-BE49-F238E27FC236}">
                  <a16:creationId xmlns:a16="http://schemas.microsoft.com/office/drawing/2014/main" id="{B1EFF7B6-19DF-63BA-8D9F-AAC3119D0AE8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</p:grpSp>
      <p:sp>
        <p:nvSpPr>
          <p:cNvPr id="5" name="Title 1">
            <a:extLst>
              <a:ext uri="{FF2B5EF4-FFF2-40B4-BE49-F238E27FC236}">
                <a16:creationId xmlns:a16="http://schemas.microsoft.com/office/drawing/2014/main" id="{0937D4D6-1194-C3B0-5D17-C1DA48C12C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4785" y="3671398"/>
            <a:ext cx="3089059" cy="2883185"/>
          </a:xfrm>
        </p:spPr>
        <p:txBody>
          <a:bodyPr/>
          <a:lstStyle>
            <a:lvl1pPr>
              <a:defRPr sz="4000" spc="-100" baseline="0">
                <a:latin typeface="Work Sans Light" pitchFamily="2" charset="0"/>
              </a:defRPr>
            </a:lvl1pPr>
          </a:lstStyle>
          <a:p>
            <a:r>
              <a:rPr lang="fi-FI" noProof="0"/>
              <a:t>Lisää otsikko tähän</a:t>
            </a:r>
          </a:p>
        </p:txBody>
      </p:sp>
      <p:sp>
        <p:nvSpPr>
          <p:cNvPr id="2" name="Tekstin paikkamerkki 22">
            <a:extLst>
              <a:ext uri="{FF2B5EF4-FFF2-40B4-BE49-F238E27FC236}">
                <a16:creationId xmlns:a16="http://schemas.microsoft.com/office/drawing/2014/main" id="{E261E14C-AD68-080D-C81D-A51E8AF17C2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36000" y="3693599"/>
            <a:ext cx="3006000" cy="1929600"/>
          </a:xfrm>
        </p:spPr>
        <p:txBody>
          <a:bodyPr anchor="t" anchorCtr="0"/>
          <a:lstStyle>
            <a:lvl1pPr marL="0" indent="0" algn="l">
              <a:lnSpc>
                <a:spcPct val="95000"/>
              </a:lnSpc>
              <a:buNone/>
              <a:defRPr spc="-50" baseline="0"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4" name="Tekstiruutu 18">
            <a:extLst>
              <a:ext uri="{FF2B5EF4-FFF2-40B4-BE49-F238E27FC236}">
                <a16:creationId xmlns:a16="http://schemas.microsoft.com/office/drawing/2014/main" id="{17CD63AC-2C7E-7B24-69A8-0BE3D405D685}"/>
              </a:ext>
            </a:extLst>
          </p:cNvPr>
          <p:cNvSpPr txBox="1"/>
          <p:nvPr userDrawn="1"/>
        </p:nvSpPr>
        <p:spPr>
          <a:xfrm>
            <a:off x="3636000" y="5704241"/>
            <a:ext cx="3006000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i-FI" sz="1600" spc="-20" baseline="0" noProof="0"/>
              <a:t>Terveyden ja </a:t>
            </a:r>
          </a:p>
          <a:p>
            <a:r>
              <a:rPr lang="fi-FI" sz="1600" spc="-20" baseline="0" noProof="0"/>
              <a:t>hyvinvoinnin laito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3FE2FC8-3CB7-BD74-6299-38CB1EBD3A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635451" y="6269995"/>
            <a:ext cx="1972568" cy="28481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 spc="-40" baseline="0">
                <a:solidFill>
                  <a:schemeClr val="tx1"/>
                </a:solidFill>
              </a:defRPr>
            </a:lvl1pPr>
          </a:lstStyle>
          <a:p>
            <a:fld id="{E4B79A26-C8F7-4677-A272-CC205A6D86B2}" type="datetime1">
              <a:rPr lang="fi-FI" noProof="0" smtClean="0"/>
              <a:t>12.3.2026</a:t>
            </a:fld>
            <a:endParaRPr lang="fi-FI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928675270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nsi kuvalla kaupunkinäkymä">
    <p:bg>
      <p:bgPr>
        <a:solidFill>
          <a:srgbClr val="DCEFF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Kuvan paikkamerkki 7">
            <a:extLst>
              <a:ext uri="{FF2B5EF4-FFF2-40B4-BE49-F238E27FC236}">
                <a16:creationId xmlns:a16="http://schemas.microsoft.com/office/drawing/2014/main" id="{6251BA80-83BB-CE85-E7FC-BE02853F7B8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435858" y="0"/>
            <a:ext cx="8753856" cy="6858000"/>
          </a:xfrm>
          <a:prstGeom prst="rect">
            <a:avLst/>
          </a:prstGeom>
        </p:spPr>
      </p:pic>
      <p:sp>
        <p:nvSpPr>
          <p:cNvPr id="3" name="Suorakulmio 21">
            <a:extLst>
              <a:ext uri="{FF2B5EF4-FFF2-40B4-BE49-F238E27FC236}">
                <a16:creationId xmlns:a16="http://schemas.microsoft.com/office/drawing/2014/main" id="{08CD8FCD-475F-BA79-3521-10CE36F63B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3433570" y="3429000"/>
            <a:ext cx="3433571" cy="3429000"/>
          </a:xfrm>
          <a:prstGeom prst="rect">
            <a:avLst/>
          </a:prstGeom>
          <a:solidFill>
            <a:srgbClr val="DCEF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/>
          </a:p>
        </p:txBody>
      </p:sp>
      <p:sp>
        <p:nvSpPr>
          <p:cNvPr id="22" name="Suorakulmio 21">
            <a:extLst>
              <a:ext uri="{FF2B5EF4-FFF2-40B4-BE49-F238E27FC236}">
                <a16:creationId xmlns:a16="http://schemas.microsoft.com/office/drawing/2014/main" id="{73767DC7-ABA0-F4CA-4D56-4A6E892E25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3429000"/>
            <a:ext cx="3433571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/>
          </a:p>
        </p:txBody>
      </p:sp>
      <p:grpSp>
        <p:nvGrpSpPr>
          <p:cNvPr id="10" name="Ryhmä 9">
            <a:extLst>
              <a:ext uri="{FF2B5EF4-FFF2-40B4-BE49-F238E27FC236}">
                <a16:creationId xmlns:a16="http://schemas.microsoft.com/office/drawing/2014/main" id="{6B17C079-3319-DC26-44A9-380683636D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163835" y="237701"/>
            <a:ext cx="3105897" cy="2953599"/>
            <a:chOff x="203203" y="203198"/>
            <a:chExt cx="1117587" cy="1062785"/>
          </a:xfrm>
        </p:grpSpPr>
        <p:sp>
          <p:nvSpPr>
            <p:cNvPr id="11" name="Vapaamuotoinen: Muoto 10">
              <a:extLst>
                <a:ext uri="{FF2B5EF4-FFF2-40B4-BE49-F238E27FC236}">
                  <a16:creationId xmlns:a16="http://schemas.microsoft.com/office/drawing/2014/main" id="{BCABC861-8524-85F9-F756-A6ED24CB82EB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2" name="Vapaamuotoinen: Muoto 11">
              <a:extLst>
                <a:ext uri="{FF2B5EF4-FFF2-40B4-BE49-F238E27FC236}">
                  <a16:creationId xmlns:a16="http://schemas.microsoft.com/office/drawing/2014/main" id="{527BBF29-0D7D-E7D2-0C6B-F52CED370805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3" name="Vapaamuotoinen: Muoto 12">
              <a:extLst>
                <a:ext uri="{FF2B5EF4-FFF2-40B4-BE49-F238E27FC236}">
                  <a16:creationId xmlns:a16="http://schemas.microsoft.com/office/drawing/2014/main" id="{6891EF07-6FE5-932D-5471-6AB8430B2877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4" name="Vapaamuotoinen: Muoto 13">
              <a:extLst>
                <a:ext uri="{FF2B5EF4-FFF2-40B4-BE49-F238E27FC236}">
                  <a16:creationId xmlns:a16="http://schemas.microsoft.com/office/drawing/2014/main" id="{BA895791-B656-59A9-01FB-C88134131A15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5" name="Vapaamuotoinen: Muoto 14">
              <a:extLst>
                <a:ext uri="{FF2B5EF4-FFF2-40B4-BE49-F238E27FC236}">
                  <a16:creationId xmlns:a16="http://schemas.microsoft.com/office/drawing/2014/main" id="{CC5BF34A-D3C5-29AF-0507-491580995DE1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6" name="Vapaamuotoinen: Muoto 15">
              <a:extLst>
                <a:ext uri="{FF2B5EF4-FFF2-40B4-BE49-F238E27FC236}">
                  <a16:creationId xmlns:a16="http://schemas.microsoft.com/office/drawing/2014/main" id="{5312F966-2A5D-80FA-E0C6-78D5AC981A34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7" name="Vapaamuotoinen: Muoto 16">
              <a:extLst>
                <a:ext uri="{FF2B5EF4-FFF2-40B4-BE49-F238E27FC236}">
                  <a16:creationId xmlns:a16="http://schemas.microsoft.com/office/drawing/2014/main" id="{530F09BF-1A2D-B1DC-9B9F-1171E3E2DBB2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8" name="Vapaamuotoinen: Muoto 17">
              <a:extLst>
                <a:ext uri="{FF2B5EF4-FFF2-40B4-BE49-F238E27FC236}">
                  <a16:creationId xmlns:a16="http://schemas.microsoft.com/office/drawing/2014/main" id="{B1EFF7B6-19DF-63BA-8D9F-AAC3119D0AE8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</p:grpSp>
      <p:sp>
        <p:nvSpPr>
          <p:cNvPr id="5" name="Title 1">
            <a:extLst>
              <a:ext uri="{FF2B5EF4-FFF2-40B4-BE49-F238E27FC236}">
                <a16:creationId xmlns:a16="http://schemas.microsoft.com/office/drawing/2014/main" id="{0937D4D6-1194-C3B0-5D17-C1DA48C12C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4785" y="3671398"/>
            <a:ext cx="3089059" cy="2883185"/>
          </a:xfrm>
        </p:spPr>
        <p:txBody>
          <a:bodyPr/>
          <a:lstStyle>
            <a:lvl1pPr>
              <a:defRPr sz="4000" spc="-100" baseline="0">
                <a:latin typeface="Work Sans Light" pitchFamily="2" charset="0"/>
              </a:defRPr>
            </a:lvl1pPr>
          </a:lstStyle>
          <a:p>
            <a:r>
              <a:rPr lang="fi-FI" noProof="0"/>
              <a:t>Lisää otsikko tähän</a:t>
            </a:r>
          </a:p>
        </p:txBody>
      </p:sp>
      <p:sp>
        <p:nvSpPr>
          <p:cNvPr id="2" name="Tekstin paikkamerkki 22">
            <a:extLst>
              <a:ext uri="{FF2B5EF4-FFF2-40B4-BE49-F238E27FC236}">
                <a16:creationId xmlns:a16="http://schemas.microsoft.com/office/drawing/2014/main" id="{E261E14C-AD68-080D-C81D-A51E8AF17C2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36000" y="3693599"/>
            <a:ext cx="3006000" cy="1929600"/>
          </a:xfrm>
        </p:spPr>
        <p:txBody>
          <a:bodyPr anchor="t" anchorCtr="0"/>
          <a:lstStyle>
            <a:lvl1pPr marL="0" indent="0" algn="l">
              <a:lnSpc>
                <a:spcPct val="95000"/>
              </a:lnSpc>
              <a:buNone/>
              <a:defRPr spc="-50" baseline="0"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4" name="Tekstiruutu 18">
            <a:extLst>
              <a:ext uri="{FF2B5EF4-FFF2-40B4-BE49-F238E27FC236}">
                <a16:creationId xmlns:a16="http://schemas.microsoft.com/office/drawing/2014/main" id="{17CD63AC-2C7E-7B24-69A8-0BE3D405D685}"/>
              </a:ext>
            </a:extLst>
          </p:cNvPr>
          <p:cNvSpPr txBox="1"/>
          <p:nvPr userDrawn="1"/>
        </p:nvSpPr>
        <p:spPr>
          <a:xfrm>
            <a:off x="3636000" y="5704241"/>
            <a:ext cx="3006000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i-FI" sz="1600" spc="-20" baseline="0" noProof="0"/>
              <a:t>Terveyden ja </a:t>
            </a:r>
          </a:p>
          <a:p>
            <a:r>
              <a:rPr lang="fi-FI" sz="1600" spc="-20" baseline="0" noProof="0"/>
              <a:t>hyvinvoinnin laito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3FE2FC8-3CB7-BD74-6299-38CB1EBD3A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635451" y="6269995"/>
            <a:ext cx="1972568" cy="28481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 spc="-40" baseline="0">
                <a:solidFill>
                  <a:schemeClr val="tx1"/>
                </a:solidFill>
              </a:defRPr>
            </a:lvl1pPr>
          </a:lstStyle>
          <a:p>
            <a:fld id="{3B75E644-9CD3-410A-8E74-04A8CF97E7AF}" type="datetime1">
              <a:rPr lang="fi-FI" noProof="0" smtClean="0"/>
              <a:t>12.3.2026</a:t>
            </a:fld>
            <a:endParaRPr lang="fi-FI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3933988296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nsi THL vihreä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6E6260-E36C-484A-9F25-1346EC50A8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56953" y="1733266"/>
            <a:ext cx="10477035" cy="2914270"/>
          </a:xfrm>
        </p:spPr>
        <p:txBody>
          <a:bodyPr anchor="ctr">
            <a:normAutofit/>
          </a:bodyPr>
          <a:lstStyle>
            <a:lvl1pPr algn="ctr">
              <a:defRPr sz="9200" spc="-250" baseline="0">
                <a:solidFill>
                  <a:srgbClr val="FFF6EF"/>
                </a:solidFill>
                <a:latin typeface="Work Sans Light" pitchFamily="2" charset="0"/>
              </a:defRPr>
            </a:lvl1pPr>
          </a:lstStyle>
          <a:p>
            <a:r>
              <a:rPr lang="fi-FI" noProof="0"/>
              <a:t>Lisää otsikko tähä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1FDDA9F-DC3B-4803-9730-F564F287AC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56953" y="4894614"/>
            <a:ext cx="10477035" cy="77434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4000" spc="-100" baseline="0">
                <a:solidFill>
                  <a:srgbClr val="FFF6E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Lisää alaotsikko tähän</a:t>
            </a:r>
          </a:p>
        </p:txBody>
      </p:sp>
      <p:sp>
        <p:nvSpPr>
          <p:cNvPr id="23" name="Tekstin paikkamerkki 22">
            <a:extLst>
              <a:ext uri="{FF2B5EF4-FFF2-40B4-BE49-F238E27FC236}">
                <a16:creationId xmlns:a16="http://schemas.microsoft.com/office/drawing/2014/main" id="{463699EA-6FB5-11FA-EFF4-9EF634830ED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6953" y="5780868"/>
            <a:ext cx="10477035" cy="423716"/>
          </a:xfrm>
        </p:spPr>
        <p:txBody>
          <a:bodyPr anchor="b" anchorCtr="0"/>
          <a:lstStyle>
            <a:lvl1pPr marL="0" indent="0" algn="ctr">
              <a:buNone/>
              <a:defRPr baseline="0">
                <a:solidFill>
                  <a:srgbClr val="FFF6EF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fi-FI" noProof="0"/>
              <a:t>Lisää tekstiä tähän</a:t>
            </a:r>
          </a:p>
        </p:txBody>
      </p:sp>
      <p:grpSp>
        <p:nvGrpSpPr>
          <p:cNvPr id="12" name="Ryhmä 11">
            <a:extLst>
              <a:ext uri="{FF2B5EF4-FFF2-40B4-BE49-F238E27FC236}">
                <a16:creationId xmlns:a16="http://schemas.microsoft.com/office/drawing/2014/main" id="{D95F8E98-A2D7-E30E-1319-368CDF1FAEE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03203" y="203198"/>
            <a:ext cx="1117587" cy="1062785"/>
            <a:chOff x="203203" y="203198"/>
            <a:chExt cx="1117587" cy="1062785"/>
          </a:xfrm>
        </p:grpSpPr>
        <p:sp>
          <p:nvSpPr>
            <p:cNvPr id="13" name="Vapaamuotoinen: Muoto 12">
              <a:extLst>
                <a:ext uri="{FF2B5EF4-FFF2-40B4-BE49-F238E27FC236}">
                  <a16:creationId xmlns:a16="http://schemas.microsoft.com/office/drawing/2014/main" id="{440C446F-BCAC-7D6F-98A9-A7C2ED4872D4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4" name="Vapaamuotoinen: Muoto 13">
              <a:extLst>
                <a:ext uri="{FF2B5EF4-FFF2-40B4-BE49-F238E27FC236}">
                  <a16:creationId xmlns:a16="http://schemas.microsoft.com/office/drawing/2014/main" id="{4A7ADBEA-CE66-1301-501B-E3F7BAAF2E82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5" name="Vapaamuotoinen: Muoto 14">
              <a:extLst>
                <a:ext uri="{FF2B5EF4-FFF2-40B4-BE49-F238E27FC236}">
                  <a16:creationId xmlns:a16="http://schemas.microsoft.com/office/drawing/2014/main" id="{59A9E6E2-53EA-2E07-7385-4B02839D5454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6" name="Vapaamuotoinen: Muoto 15">
              <a:extLst>
                <a:ext uri="{FF2B5EF4-FFF2-40B4-BE49-F238E27FC236}">
                  <a16:creationId xmlns:a16="http://schemas.microsoft.com/office/drawing/2014/main" id="{5C12932F-FB13-37D4-DC9D-BBEF385C1C8C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7" name="Vapaamuotoinen: Muoto 16">
              <a:extLst>
                <a:ext uri="{FF2B5EF4-FFF2-40B4-BE49-F238E27FC236}">
                  <a16:creationId xmlns:a16="http://schemas.microsoft.com/office/drawing/2014/main" id="{A821A406-3190-93B4-506F-F6D30DD05EA6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8" name="Vapaamuotoinen: Muoto 17">
              <a:extLst>
                <a:ext uri="{FF2B5EF4-FFF2-40B4-BE49-F238E27FC236}">
                  <a16:creationId xmlns:a16="http://schemas.microsoft.com/office/drawing/2014/main" id="{B5B8BA96-4CED-7926-08D7-0E05D61B06AC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9" name="Vapaamuotoinen: Muoto 18">
              <a:extLst>
                <a:ext uri="{FF2B5EF4-FFF2-40B4-BE49-F238E27FC236}">
                  <a16:creationId xmlns:a16="http://schemas.microsoft.com/office/drawing/2014/main" id="{F7DE9934-1616-3AF5-1843-D98F7A954971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0" name="Vapaamuotoinen: Muoto 19">
              <a:extLst>
                <a:ext uri="{FF2B5EF4-FFF2-40B4-BE49-F238E27FC236}">
                  <a16:creationId xmlns:a16="http://schemas.microsoft.com/office/drawing/2014/main" id="{EABD3533-6A1F-7B8F-3045-7145CF403F02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</p:grp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0DD658E-3473-4681-B845-DA52394CB7D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107635" y="6269995"/>
            <a:ext cx="1972568" cy="284816"/>
          </a:xfrm>
        </p:spPr>
        <p:txBody>
          <a:bodyPr/>
          <a:lstStyle>
            <a:lvl1pPr algn="ctr">
              <a:defRPr>
                <a:solidFill>
                  <a:srgbClr val="FFF6EF"/>
                </a:solidFill>
              </a:defRPr>
            </a:lvl1pPr>
          </a:lstStyle>
          <a:p>
            <a:fld id="{DBAAC200-0D22-453C-8562-04C1EFB60E60}" type="datetime1">
              <a:rPr lang="fi-FI" noProof="0" smtClean="0"/>
              <a:t>12.3.2026</a:t>
            </a:fld>
            <a:endParaRPr lang="fi-FI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FA0F746-8E6A-4C7F-AE36-5BDBE3883D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6EF"/>
                </a:solidFill>
              </a:defRPr>
            </a:lvl1pPr>
          </a:lstStyle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/>
          </a:p>
        </p:txBody>
      </p:sp>
      <p:grpSp>
        <p:nvGrpSpPr>
          <p:cNvPr id="25" name="Ryhmä 9">
            <a:extLst>
              <a:ext uri="{FF2B5EF4-FFF2-40B4-BE49-F238E27FC236}">
                <a16:creationId xmlns:a16="http://schemas.microsoft.com/office/drawing/2014/main" id="{1DB43CB8-F204-3540-9B5A-59F26CB01F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197447" y="200023"/>
            <a:ext cx="1126884" cy="1071627"/>
            <a:chOff x="203203" y="203198"/>
            <a:chExt cx="1117587" cy="1062785"/>
          </a:xfrm>
          <a:solidFill>
            <a:srgbClr val="FFF7F0"/>
          </a:solidFill>
        </p:grpSpPr>
        <p:sp>
          <p:nvSpPr>
            <p:cNvPr id="26" name="Vapaamuotoinen: Muoto 10">
              <a:extLst>
                <a:ext uri="{FF2B5EF4-FFF2-40B4-BE49-F238E27FC236}">
                  <a16:creationId xmlns:a16="http://schemas.microsoft.com/office/drawing/2014/main" id="{ACB09954-4942-1663-F41A-543AF9FA5310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grpFill/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7" name="Vapaamuotoinen: Muoto 11">
              <a:extLst>
                <a:ext uri="{FF2B5EF4-FFF2-40B4-BE49-F238E27FC236}">
                  <a16:creationId xmlns:a16="http://schemas.microsoft.com/office/drawing/2014/main" id="{44690D21-FE7D-9F0F-98C7-8723541DD727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grpFill/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8" name="Vapaamuotoinen: Muoto 12">
              <a:extLst>
                <a:ext uri="{FF2B5EF4-FFF2-40B4-BE49-F238E27FC236}">
                  <a16:creationId xmlns:a16="http://schemas.microsoft.com/office/drawing/2014/main" id="{9BFBFB9C-ABDD-CB8B-E191-3D1FF3C33AE5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grpFill/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9" name="Vapaamuotoinen: Muoto 13">
              <a:extLst>
                <a:ext uri="{FF2B5EF4-FFF2-40B4-BE49-F238E27FC236}">
                  <a16:creationId xmlns:a16="http://schemas.microsoft.com/office/drawing/2014/main" id="{8A668618-49E2-6DBE-54AF-30E80955B726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grpFill/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30" name="Vapaamuotoinen: Muoto 14">
              <a:extLst>
                <a:ext uri="{FF2B5EF4-FFF2-40B4-BE49-F238E27FC236}">
                  <a16:creationId xmlns:a16="http://schemas.microsoft.com/office/drawing/2014/main" id="{8ECFB1E5-3BB2-483F-E1E6-7ED41D07B16A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grpFill/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31" name="Vapaamuotoinen: Muoto 15">
              <a:extLst>
                <a:ext uri="{FF2B5EF4-FFF2-40B4-BE49-F238E27FC236}">
                  <a16:creationId xmlns:a16="http://schemas.microsoft.com/office/drawing/2014/main" id="{4C3973CC-3AE4-8E06-68E9-97C0C6B1D2F8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grpFill/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32" name="Vapaamuotoinen: Muoto 16">
              <a:extLst>
                <a:ext uri="{FF2B5EF4-FFF2-40B4-BE49-F238E27FC236}">
                  <a16:creationId xmlns:a16="http://schemas.microsoft.com/office/drawing/2014/main" id="{9B6C6612-339C-F62F-90DB-F392459C04A8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grpFill/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33" name="Vapaamuotoinen: Muoto 17">
              <a:extLst>
                <a:ext uri="{FF2B5EF4-FFF2-40B4-BE49-F238E27FC236}">
                  <a16:creationId xmlns:a16="http://schemas.microsoft.com/office/drawing/2014/main" id="{733157FA-F941-2BC4-1929-901D2D471212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grpFill/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</p:grpSp>
    </p:spTree>
    <p:extLst>
      <p:ext uri="{BB962C8B-B14F-4D97-AF65-F5344CB8AC3E}">
        <p14:creationId xmlns:p14="http://schemas.microsoft.com/office/powerpoint/2010/main" val="158190028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nsi violetti">
    <p:bg>
      <p:bgPr>
        <a:solidFill>
          <a:srgbClr val="FFE1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6E6260-E36C-484A-9F25-1346EC50A8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56953" y="1733266"/>
            <a:ext cx="10477035" cy="2914270"/>
          </a:xfrm>
        </p:spPr>
        <p:txBody>
          <a:bodyPr anchor="ctr">
            <a:normAutofit/>
          </a:bodyPr>
          <a:lstStyle>
            <a:lvl1pPr algn="ctr">
              <a:defRPr sz="9200" spc="-250" baseline="0">
                <a:latin typeface="Work Sans Light" pitchFamily="2" charset="0"/>
              </a:defRPr>
            </a:lvl1pPr>
          </a:lstStyle>
          <a:p>
            <a:r>
              <a:rPr lang="fi-FI" noProof="0"/>
              <a:t>Lisää otsikko tähä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1FDDA9F-DC3B-4803-9730-F564F287AC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56953" y="4894614"/>
            <a:ext cx="10477035" cy="77434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4000" spc="-10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Lisää alaotsikko tähän</a:t>
            </a:r>
          </a:p>
        </p:txBody>
      </p:sp>
      <p:sp>
        <p:nvSpPr>
          <p:cNvPr id="23" name="Tekstin paikkamerkki 22">
            <a:extLst>
              <a:ext uri="{FF2B5EF4-FFF2-40B4-BE49-F238E27FC236}">
                <a16:creationId xmlns:a16="http://schemas.microsoft.com/office/drawing/2014/main" id="{463699EA-6FB5-11FA-EFF4-9EF634830ED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6953" y="5780868"/>
            <a:ext cx="10477035" cy="423716"/>
          </a:xfrm>
        </p:spPr>
        <p:txBody>
          <a:bodyPr anchor="b" anchorCtr="0"/>
          <a:lstStyle>
            <a:lvl1pPr marL="0" indent="0" algn="ctr">
              <a:buNone/>
              <a:defRPr baseline="0"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fi-FI" noProof="0"/>
              <a:t>Lisää tekstiä tähän</a:t>
            </a:r>
          </a:p>
        </p:txBody>
      </p:sp>
      <p:grpSp>
        <p:nvGrpSpPr>
          <p:cNvPr id="12" name="Ryhmä 11">
            <a:extLst>
              <a:ext uri="{FF2B5EF4-FFF2-40B4-BE49-F238E27FC236}">
                <a16:creationId xmlns:a16="http://schemas.microsoft.com/office/drawing/2014/main" id="{D95F8E98-A2D7-E30E-1319-368CDF1FAEE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03203" y="203198"/>
            <a:ext cx="1117587" cy="1062785"/>
            <a:chOff x="203203" y="203198"/>
            <a:chExt cx="1117587" cy="1062785"/>
          </a:xfrm>
        </p:grpSpPr>
        <p:sp>
          <p:nvSpPr>
            <p:cNvPr id="13" name="Vapaamuotoinen: Muoto 12">
              <a:extLst>
                <a:ext uri="{FF2B5EF4-FFF2-40B4-BE49-F238E27FC236}">
                  <a16:creationId xmlns:a16="http://schemas.microsoft.com/office/drawing/2014/main" id="{440C446F-BCAC-7D6F-98A9-A7C2ED4872D4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4" name="Vapaamuotoinen: Muoto 13">
              <a:extLst>
                <a:ext uri="{FF2B5EF4-FFF2-40B4-BE49-F238E27FC236}">
                  <a16:creationId xmlns:a16="http://schemas.microsoft.com/office/drawing/2014/main" id="{4A7ADBEA-CE66-1301-501B-E3F7BAAF2E82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5" name="Vapaamuotoinen: Muoto 14">
              <a:extLst>
                <a:ext uri="{FF2B5EF4-FFF2-40B4-BE49-F238E27FC236}">
                  <a16:creationId xmlns:a16="http://schemas.microsoft.com/office/drawing/2014/main" id="{59A9E6E2-53EA-2E07-7385-4B02839D5454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6" name="Vapaamuotoinen: Muoto 15">
              <a:extLst>
                <a:ext uri="{FF2B5EF4-FFF2-40B4-BE49-F238E27FC236}">
                  <a16:creationId xmlns:a16="http://schemas.microsoft.com/office/drawing/2014/main" id="{5C12932F-FB13-37D4-DC9D-BBEF385C1C8C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7" name="Vapaamuotoinen: Muoto 16">
              <a:extLst>
                <a:ext uri="{FF2B5EF4-FFF2-40B4-BE49-F238E27FC236}">
                  <a16:creationId xmlns:a16="http://schemas.microsoft.com/office/drawing/2014/main" id="{A821A406-3190-93B4-506F-F6D30DD05EA6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8" name="Vapaamuotoinen: Muoto 17">
              <a:extLst>
                <a:ext uri="{FF2B5EF4-FFF2-40B4-BE49-F238E27FC236}">
                  <a16:creationId xmlns:a16="http://schemas.microsoft.com/office/drawing/2014/main" id="{B5B8BA96-4CED-7926-08D7-0E05D61B06AC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9" name="Vapaamuotoinen: Muoto 18">
              <a:extLst>
                <a:ext uri="{FF2B5EF4-FFF2-40B4-BE49-F238E27FC236}">
                  <a16:creationId xmlns:a16="http://schemas.microsoft.com/office/drawing/2014/main" id="{F7DE9934-1616-3AF5-1843-D98F7A954971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0" name="Vapaamuotoinen: Muoto 19">
              <a:extLst>
                <a:ext uri="{FF2B5EF4-FFF2-40B4-BE49-F238E27FC236}">
                  <a16:creationId xmlns:a16="http://schemas.microsoft.com/office/drawing/2014/main" id="{EABD3533-6A1F-7B8F-3045-7145CF403F02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</p:grp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0DD658E-3473-4681-B845-DA52394CB7D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107635" y="6269995"/>
            <a:ext cx="1972568" cy="284816"/>
          </a:xfrm>
        </p:spPr>
        <p:txBody>
          <a:bodyPr/>
          <a:lstStyle>
            <a:lvl1pPr algn="ctr">
              <a:defRPr/>
            </a:lvl1pPr>
          </a:lstStyle>
          <a:p>
            <a:fld id="{59DDD67C-E1C3-43B5-926F-BAA8D6AB3DA7}" type="datetime1">
              <a:rPr lang="fi-FI" noProof="0" smtClean="0"/>
              <a:t>12.3.2026</a:t>
            </a:fld>
            <a:endParaRPr lang="fi-FI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FA0F746-8E6A-4C7F-AE36-5BDBE3883D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160B98-140E-4345-B1A3-2A7247C42973}" type="slidenum">
              <a:rPr lang="fi-FI" noProof="0" smtClean="0"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3407393562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nsi vihreä">
    <p:bg>
      <p:bgPr>
        <a:solidFill>
          <a:srgbClr val="B4FFA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6E6260-E36C-484A-9F25-1346EC50A8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56953" y="1733266"/>
            <a:ext cx="10477035" cy="2914270"/>
          </a:xfrm>
        </p:spPr>
        <p:txBody>
          <a:bodyPr anchor="ctr">
            <a:normAutofit/>
          </a:bodyPr>
          <a:lstStyle>
            <a:lvl1pPr algn="ctr">
              <a:defRPr sz="9200" spc="-250" baseline="0">
                <a:latin typeface="Work Sans Light" pitchFamily="2" charset="0"/>
              </a:defRPr>
            </a:lvl1pPr>
          </a:lstStyle>
          <a:p>
            <a:r>
              <a:rPr lang="fi-FI" noProof="0"/>
              <a:t>Lisää otsikko tähä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1FDDA9F-DC3B-4803-9730-F564F287AC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56953" y="4894614"/>
            <a:ext cx="10477035" cy="77434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4000" spc="-10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Lisää alaotsikko tähän</a:t>
            </a:r>
          </a:p>
        </p:txBody>
      </p:sp>
      <p:sp>
        <p:nvSpPr>
          <p:cNvPr id="23" name="Tekstin paikkamerkki 22">
            <a:extLst>
              <a:ext uri="{FF2B5EF4-FFF2-40B4-BE49-F238E27FC236}">
                <a16:creationId xmlns:a16="http://schemas.microsoft.com/office/drawing/2014/main" id="{463699EA-6FB5-11FA-EFF4-9EF634830ED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6953" y="5780868"/>
            <a:ext cx="10477035" cy="423716"/>
          </a:xfrm>
        </p:spPr>
        <p:txBody>
          <a:bodyPr anchor="b" anchorCtr="0"/>
          <a:lstStyle>
            <a:lvl1pPr marL="0" indent="0" algn="ctr">
              <a:buNone/>
              <a:defRPr baseline="0"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fi-FI" noProof="0"/>
              <a:t>Lisää tekstiä tähän</a:t>
            </a:r>
          </a:p>
        </p:txBody>
      </p:sp>
      <p:grpSp>
        <p:nvGrpSpPr>
          <p:cNvPr id="12" name="Ryhmä 11">
            <a:extLst>
              <a:ext uri="{FF2B5EF4-FFF2-40B4-BE49-F238E27FC236}">
                <a16:creationId xmlns:a16="http://schemas.microsoft.com/office/drawing/2014/main" id="{D95F8E98-A2D7-E30E-1319-368CDF1FAEE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03203" y="203198"/>
            <a:ext cx="1117587" cy="1062785"/>
            <a:chOff x="203203" y="203198"/>
            <a:chExt cx="1117587" cy="1062785"/>
          </a:xfrm>
        </p:grpSpPr>
        <p:sp>
          <p:nvSpPr>
            <p:cNvPr id="13" name="Vapaamuotoinen: Muoto 12">
              <a:extLst>
                <a:ext uri="{FF2B5EF4-FFF2-40B4-BE49-F238E27FC236}">
                  <a16:creationId xmlns:a16="http://schemas.microsoft.com/office/drawing/2014/main" id="{440C446F-BCAC-7D6F-98A9-A7C2ED4872D4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4" name="Vapaamuotoinen: Muoto 13">
              <a:extLst>
                <a:ext uri="{FF2B5EF4-FFF2-40B4-BE49-F238E27FC236}">
                  <a16:creationId xmlns:a16="http://schemas.microsoft.com/office/drawing/2014/main" id="{4A7ADBEA-CE66-1301-501B-E3F7BAAF2E82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5" name="Vapaamuotoinen: Muoto 14">
              <a:extLst>
                <a:ext uri="{FF2B5EF4-FFF2-40B4-BE49-F238E27FC236}">
                  <a16:creationId xmlns:a16="http://schemas.microsoft.com/office/drawing/2014/main" id="{59A9E6E2-53EA-2E07-7385-4B02839D5454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6" name="Vapaamuotoinen: Muoto 15">
              <a:extLst>
                <a:ext uri="{FF2B5EF4-FFF2-40B4-BE49-F238E27FC236}">
                  <a16:creationId xmlns:a16="http://schemas.microsoft.com/office/drawing/2014/main" id="{5C12932F-FB13-37D4-DC9D-BBEF385C1C8C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7" name="Vapaamuotoinen: Muoto 16">
              <a:extLst>
                <a:ext uri="{FF2B5EF4-FFF2-40B4-BE49-F238E27FC236}">
                  <a16:creationId xmlns:a16="http://schemas.microsoft.com/office/drawing/2014/main" id="{A821A406-3190-93B4-506F-F6D30DD05EA6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8" name="Vapaamuotoinen: Muoto 17">
              <a:extLst>
                <a:ext uri="{FF2B5EF4-FFF2-40B4-BE49-F238E27FC236}">
                  <a16:creationId xmlns:a16="http://schemas.microsoft.com/office/drawing/2014/main" id="{B5B8BA96-4CED-7926-08D7-0E05D61B06AC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9" name="Vapaamuotoinen: Muoto 18">
              <a:extLst>
                <a:ext uri="{FF2B5EF4-FFF2-40B4-BE49-F238E27FC236}">
                  <a16:creationId xmlns:a16="http://schemas.microsoft.com/office/drawing/2014/main" id="{F7DE9934-1616-3AF5-1843-D98F7A954971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0" name="Vapaamuotoinen: Muoto 19">
              <a:extLst>
                <a:ext uri="{FF2B5EF4-FFF2-40B4-BE49-F238E27FC236}">
                  <a16:creationId xmlns:a16="http://schemas.microsoft.com/office/drawing/2014/main" id="{EABD3533-6A1F-7B8F-3045-7145CF403F02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</p:grp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0DD658E-3473-4681-B845-DA52394CB7D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107635" y="6269995"/>
            <a:ext cx="1972568" cy="284816"/>
          </a:xfrm>
        </p:spPr>
        <p:txBody>
          <a:bodyPr/>
          <a:lstStyle>
            <a:lvl1pPr algn="ctr">
              <a:defRPr/>
            </a:lvl1pPr>
          </a:lstStyle>
          <a:p>
            <a:fld id="{2DFB6615-C509-49C7-9B5E-FB634540618A}" type="datetime1">
              <a:rPr lang="fi-FI" noProof="0" smtClean="0"/>
              <a:t>12.3.2026</a:t>
            </a:fld>
            <a:endParaRPr lang="fi-FI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FA0F746-8E6A-4C7F-AE36-5BDBE3883D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160B98-140E-4345-B1A3-2A7247C42973}" type="slidenum">
              <a:rPr lang="fi-FI" noProof="0" smtClean="0"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1458227380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nsi sininen">
    <p:bg>
      <p:bgPr>
        <a:solidFill>
          <a:srgbClr val="DCEFF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6E6260-E36C-484A-9F25-1346EC50A8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56953" y="1733266"/>
            <a:ext cx="10477035" cy="2914270"/>
          </a:xfrm>
        </p:spPr>
        <p:txBody>
          <a:bodyPr anchor="ctr">
            <a:normAutofit/>
          </a:bodyPr>
          <a:lstStyle>
            <a:lvl1pPr algn="ctr">
              <a:defRPr sz="9200" spc="-250" baseline="0">
                <a:latin typeface="Work Sans Light" pitchFamily="2" charset="0"/>
              </a:defRPr>
            </a:lvl1pPr>
          </a:lstStyle>
          <a:p>
            <a:r>
              <a:rPr lang="fi-FI" noProof="0"/>
              <a:t>Lisää otsikko tähä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1FDDA9F-DC3B-4803-9730-F564F287AC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56953" y="4894614"/>
            <a:ext cx="10477035" cy="77434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4000" spc="-10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Lisää alaotsikko tähän</a:t>
            </a:r>
          </a:p>
        </p:txBody>
      </p:sp>
      <p:sp>
        <p:nvSpPr>
          <p:cNvPr id="23" name="Tekstin paikkamerkki 22">
            <a:extLst>
              <a:ext uri="{FF2B5EF4-FFF2-40B4-BE49-F238E27FC236}">
                <a16:creationId xmlns:a16="http://schemas.microsoft.com/office/drawing/2014/main" id="{463699EA-6FB5-11FA-EFF4-9EF634830ED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6953" y="5780868"/>
            <a:ext cx="10477035" cy="423716"/>
          </a:xfrm>
        </p:spPr>
        <p:txBody>
          <a:bodyPr anchor="b" anchorCtr="0"/>
          <a:lstStyle>
            <a:lvl1pPr marL="0" indent="0" algn="ctr">
              <a:buNone/>
              <a:defRPr baseline="0"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fi-FI" noProof="0"/>
              <a:t>Lisää tekstiä tähän</a:t>
            </a:r>
          </a:p>
        </p:txBody>
      </p:sp>
      <p:grpSp>
        <p:nvGrpSpPr>
          <p:cNvPr id="12" name="Ryhmä 11">
            <a:extLst>
              <a:ext uri="{FF2B5EF4-FFF2-40B4-BE49-F238E27FC236}">
                <a16:creationId xmlns:a16="http://schemas.microsoft.com/office/drawing/2014/main" id="{D95F8E98-A2D7-E30E-1319-368CDF1FAEE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03203" y="203198"/>
            <a:ext cx="1117587" cy="1062785"/>
            <a:chOff x="203203" y="203198"/>
            <a:chExt cx="1117587" cy="1062785"/>
          </a:xfrm>
        </p:grpSpPr>
        <p:sp>
          <p:nvSpPr>
            <p:cNvPr id="13" name="Vapaamuotoinen: Muoto 12">
              <a:extLst>
                <a:ext uri="{FF2B5EF4-FFF2-40B4-BE49-F238E27FC236}">
                  <a16:creationId xmlns:a16="http://schemas.microsoft.com/office/drawing/2014/main" id="{440C446F-BCAC-7D6F-98A9-A7C2ED4872D4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4" name="Vapaamuotoinen: Muoto 13">
              <a:extLst>
                <a:ext uri="{FF2B5EF4-FFF2-40B4-BE49-F238E27FC236}">
                  <a16:creationId xmlns:a16="http://schemas.microsoft.com/office/drawing/2014/main" id="{4A7ADBEA-CE66-1301-501B-E3F7BAAF2E82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5" name="Vapaamuotoinen: Muoto 14">
              <a:extLst>
                <a:ext uri="{FF2B5EF4-FFF2-40B4-BE49-F238E27FC236}">
                  <a16:creationId xmlns:a16="http://schemas.microsoft.com/office/drawing/2014/main" id="{59A9E6E2-53EA-2E07-7385-4B02839D5454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6" name="Vapaamuotoinen: Muoto 15">
              <a:extLst>
                <a:ext uri="{FF2B5EF4-FFF2-40B4-BE49-F238E27FC236}">
                  <a16:creationId xmlns:a16="http://schemas.microsoft.com/office/drawing/2014/main" id="{5C12932F-FB13-37D4-DC9D-BBEF385C1C8C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7" name="Vapaamuotoinen: Muoto 16">
              <a:extLst>
                <a:ext uri="{FF2B5EF4-FFF2-40B4-BE49-F238E27FC236}">
                  <a16:creationId xmlns:a16="http://schemas.microsoft.com/office/drawing/2014/main" id="{A821A406-3190-93B4-506F-F6D30DD05EA6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8" name="Vapaamuotoinen: Muoto 17">
              <a:extLst>
                <a:ext uri="{FF2B5EF4-FFF2-40B4-BE49-F238E27FC236}">
                  <a16:creationId xmlns:a16="http://schemas.microsoft.com/office/drawing/2014/main" id="{B5B8BA96-4CED-7926-08D7-0E05D61B06AC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9" name="Vapaamuotoinen: Muoto 18">
              <a:extLst>
                <a:ext uri="{FF2B5EF4-FFF2-40B4-BE49-F238E27FC236}">
                  <a16:creationId xmlns:a16="http://schemas.microsoft.com/office/drawing/2014/main" id="{F7DE9934-1616-3AF5-1843-D98F7A954971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0" name="Vapaamuotoinen: Muoto 19">
              <a:extLst>
                <a:ext uri="{FF2B5EF4-FFF2-40B4-BE49-F238E27FC236}">
                  <a16:creationId xmlns:a16="http://schemas.microsoft.com/office/drawing/2014/main" id="{EABD3533-6A1F-7B8F-3045-7145CF403F02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</p:grp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0DD658E-3473-4681-B845-DA52394CB7D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107635" y="6269995"/>
            <a:ext cx="1972568" cy="284816"/>
          </a:xfrm>
        </p:spPr>
        <p:txBody>
          <a:bodyPr/>
          <a:lstStyle>
            <a:lvl1pPr algn="ctr">
              <a:defRPr/>
            </a:lvl1pPr>
          </a:lstStyle>
          <a:p>
            <a:fld id="{EB7253D1-73FE-4B6A-B0E6-7C860739F641}" type="datetime1">
              <a:rPr lang="fi-FI" noProof="0" smtClean="0"/>
              <a:t>12.3.2026</a:t>
            </a:fld>
            <a:endParaRPr lang="fi-FI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FA0F746-8E6A-4C7F-AE36-5BDBE3883D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160B98-140E-4345-B1A3-2A7247C42973}" type="slidenum">
              <a:rPr lang="fi-FI" noProof="0" smtClean="0"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244293319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san ylätunnis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orakulmio 2">
            <a:extLst>
              <a:ext uri="{FF2B5EF4-FFF2-40B4-BE49-F238E27FC236}">
                <a16:creationId xmlns:a16="http://schemas.microsoft.com/office/drawing/2014/main" id="{DCD8BB72-B7B2-E8EB-24B6-FE4ECB31BE5A}"/>
              </a:ext>
            </a:extLst>
          </p:cNvPr>
          <p:cNvSpPr/>
          <p:nvPr userDrawn="1"/>
        </p:nvSpPr>
        <p:spPr>
          <a:xfrm>
            <a:off x="-1" y="4570190"/>
            <a:ext cx="12192001" cy="2287810"/>
          </a:xfrm>
          <a:prstGeom prst="rect">
            <a:avLst/>
          </a:prstGeom>
          <a:solidFill>
            <a:srgbClr val="F0EB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C1DC208-0BC6-4780-8569-0CCC5C8BCB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941" y="5170932"/>
            <a:ext cx="6756699" cy="1143000"/>
          </a:xfrm>
        </p:spPr>
        <p:txBody>
          <a:bodyPr anchor="t"/>
          <a:lstStyle>
            <a:lvl1pPr>
              <a:defRPr sz="3200"/>
            </a:lvl1pPr>
          </a:lstStyle>
          <a:p>
            <a:r>
              <a:rPr lang="fi-FI"/>
              <a:t>Muokkaa perustyyl. napsautt.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D1212A6-DA8E-4A60-A5F2-8DAE3B39E0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19.5.2021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2766CB0-43A1-4E89-83D2-9E67BAD632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etra Kokko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E2AEE1E-B285-4162-ABF0-E898A0AD68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160B98-140E-4345-B1A3-2A7247C42973}" type="slidenum">
              <a:rPr lang="fi-FI" smtClean="0"/>
              <a:t>‹#›</a:t>
            </a:fld>
            <a:endParaRPr lang="fi-FI"/>
          </a:p>
        </p:txBody>
      </p:sp>
      <p:sp>
        <p:nvSpPr>
          <p:cNvPr id="4" name="Free-form: Shape 28">
            <a:extLst>
              <a:ext uri="{FF2B5EF4-FFF2-40B4-BE49-F238E27FC236}">
                <a16:creationId xmlns:a16="http://schemas.microsoft.com/office/drawing/2014/main" id="{09403F87-9585-6CA0-7F3B-A0CDE2652619}"/>
              </a:ext>
            </a:extLst>
          </p:cNvPr>
          <p:cNvSpPr/>
          <p:nvPr userDrawn="1"/>
        </p:nvSpPr>
        <p:spPr>
          <a:xfrm>
            <a:off x="-122" y="0"/>
            <a:ext cx="12192122" cy="387240"/>
          </a:xfrm>
          <a:custGeom>
            <a:avLst/>
            <a:gdLst>
              <a:gd name="connsiteX0" fmla="*/ 0 w 12185437"/>
              <a:gd name="connsiteY0" fmla="*/ 0 h 380838"/>
              <a:gd name="connsiteX1" fmla="*/ 12185437 w 12185437"/>
              <a:gd name="connsiteY1" fmla="*/ 0 h 380838"/>
              <a:gd name="connsiteX2" fmla="*/ 12185437 w 12185437"/>
              <a:gd name="connsiteY2" fmla="*/ 380839 h 380838"/>
              <a:gd name="connsiteX3" fmla="*/ 0 w 12185437"/>
              <a:gd name="connsiteY3" fmla="*/ 380839 h 380838"/>
              <a:gd name="connsiteX4" fmla="*/ 0 w 12185437"/>
              <a:gd name="connsiteY4" fmla="*/ 0 h 380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85437" h="380838">
                <a:moveTo>
                  <a:pt x="0" y="0"/>
                </a:moveTo>
                <a:lnTo>
                  <a:pt x="12185437" y="0"/>
                </a:lnTo>
                <a:lnTo>
                  <a:pt x="12185437" y="380839"/>
                </a:lnTo>
                <a:lnTo>
                  <a:pt x="0" y="38083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36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5" name="Free-form: Shape 29">
            <a:extLst>
              <a:ext uri="{FF2B5EF4-FFF2-40B4-BE49-F238E27FC236}">
                <a16:creationId xmlns:a16="http://schemas.microsoft.com/office/drawing/2014/main" id="{B4E4D196-B8D5-48B6-626D-89C042D57B9C}"/>
              </a:ext>
            </a:extLst>
          </p:cNvPr>
          <p:cNvSpPr/>
          <p:nvPr userDrawn="1"/>
        </p:nvSpPr>
        <p:spPr>
          <a:xfrm>
            <a:off x="-122" y="768193"/>
            <a:ext cx="12192122" cy="380702"/>
          </a:xfrm>
          <a:custGeom>
            <a:avLst/>
            <a:gdLst>
              <a:gd name="connsiteX0" fmla="*/ 0 w 12185437"/>
              <a:gd name="connsiteY0" fmla="*/ 0 h 380702"/>
              <a:gd name="connsiteX1" fmla="*/ 12185437 w 12185437"/>
              <a:gd name="connsiteY1" fmla="*/ 0 h 380702"/>
              <a:gd name="connsiteX2" fmla="*/ 12185437 w 12185437"/>
              <a:gd name="connsiteY2" fmla="*/ 380703 h 380702"/>
              <a:gd name="connsiteX3" fmla="*/ 0 w 12185437"/>
              <a:gd name="connsiteY3" fmla="*/ 380703 h 380702"/>
              <a:gd name="connsiteX4" fmla="*/ 0 w 12185437"/>
              <a:gd name="connsiteY4" fmla="*/ 0 h 380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85437" h="380702">
                <a:moveTo>
                  <a:pt x="0" y="0"/>
                </a:moveTo>
                <a:lnTo>
                  <a:pt x="12185437" y="0"/>
                </a:lnTo>
                <a:lnTo>
                  <a:pt x="12185437" y="380703"/>
                </a:lnTo>
                <a:lnTo>
                  <a:pt x="0" y="38070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36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6" name="Free-form: Shape 30">
            <a:extLst>
              <a:ext uri="{FF2B5EF4-FFF2-40B4-BE49-F238E27FC236}">
                <a16:creationId xmlns:a16="http://schemas.microsoft.com/office/drawing/2014/main" id="{89FD2A67-C5A0-8597-A631-E79F1FDC2375}"/>
              </a:ext>
            </a:extLst>
          </p:cNvPr>
          <p:cNvSpPr/>
          <p:nvPr userDrawn="1"/>
        </p:nvSpPr>
        <p:spPr>
          <a:xfrm>
            <a:off x="-122" y="1529863"/>
            <a:ext cx="12192122" cy="380838"/>
          </a:xfrm>
          <a:custGeom>
            <a:avLst/>
            <a:gdLst>
              <a:gd name="connsiteX0" fmla="*/ 0 w 12185437"/>
              <a:gd name="connsiteY0" fmla="*/ 0 h 380838"/>
              <a:gd name="connsiteX1" fmla="*/ 12185437 w 12185437"/>
              <a:gd name="connsiteY1" fmla="*/ 0 h 380838"/>
              <a:gd name="connsiteX2" fmla="*/ 12185437 w 12185437"/>
              <a:gd name="connsiteY2" fmla="*/ 380839 h 380838"/>
              <a:gd name="connsiteX3" fmla="*/ 0 w 12185437"/>
              <a:gd name="connsiteY3" fmla="*/ 380839 h 380838"/>
              <a:gd name="connsiteX4" fmla="*/ 0 w 12185437"/>
              <a:gd name="connsiteY4" fmla="*/ 0 h 380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85437" h="380838">
                <a:moveTo>
                  <a:pt x="0" y="0"/>
                </a:moveTo>
                <a:lnTo>
                  <a:pt x="12185437" y="0"/>
                </a:lnTo>
                <a:lnTo>
                  <a:pt x="12185437" y="380839"/>
                </a:lnTo>
                <a:lnTo>
                  <a:pt x="0" y="38083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36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0" name="Free-form: Shape 31">
            <a:extLst>
              <a:ext uri="{FF2B5EF4-FFF2-40B4-BE49-F238E27FC236}">
                <a16:creationId xmlns:a16="http://schemas.microsoft.com/office/drawing/2014/main" id="{E7831AEF-0633-77AB-EA0E-DB68A5A08C6C}"/>
              </a:ext>
            </a:extLst>
          </p:cNvPr>
          <p:cNvSpPr/>
          <p:nvPr userDrawn="1"/>
        </p:nvSpPr>
        <p:spPr>
          <a:xfrm>
            <a:off x="-122" y="2291655"/>
            <a:ext cx="12192122" cy="380842"/>
          </a:xfrm>
          <a:custGeom>
            <a:avLst/>
            <a:gdLst>
              <a:gd name="connsiteX0" fmla="*/ 0 w 12185437"/>
              <a:gd name="connsiteY0" fmla="*/ 0 h 380842"/>
              <a:gd name="connsiteX1" fmla="*/ 12185437 w 12185437"/>
              <a:gd name="connsiteY1" fmla="*/ 0 h 380842"/>
              <a:gd name="connsiteX2" fmla="*/ 12185437 w 12185437"/>
              <a:gd name="connsiteY2" fmla="*/ 380842 h 380842"/>
              <a:gd name="connsiteX3" fmla="*/ 0 w 12185437"/>
              <a:gd name="connsiteY3" fmla="*/ 380842 h 380842"/>
              <a:gd name="connsiteX4" fmla="*/ 0 w 12185437"/>
              <a:gd name="connsiteY4" fmla="*/ 0 h 380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85437" h="380842">
                <a:moveTo>
                  <a:pt x="0" y="0"/>
                </a:moveTo>
                <a:lnTo>
                  <a:pt x="12185437" y="0"/>
                </a:lnTo>
                <a:lnTo>
                  <a:pt x="12185437" y="380842"/>
                </a:lnTo>
                <a:lnTo>
                  <a:pt x="0" y="38084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36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1" name="Free-form: Shape 32">
            <a:extLst>
              <a:ext uri="{FF2B5EF4-FFF2-40B4-BE49-F238E27FC236}">
                <a16:creationId xmlns:a16="http://schemas.microsoft.com/office/drawing/2014/main" id="{20B1B5C3-36C4-6C96-F052-EC7C50FC54AC}"/>
              </a:ext>
            </a:extLst>
          </p:cNvPr>
          <p:cNvSpPr/>
          <p:nvPr userDrawn="1"/>
        </p:nvSpPr>
        <p:spPr>
          <a:xfrm>
            <a:off x="-122" y="3053449"/>
            <a:ext cx="12192122" cy="380702"/>
          </a:xfrm>
          <a:custGeom>
            <a:avLst/>
            <a:gdLst>
              <a:gd name="connsiteX0" fmla="*/ 0 w 12185437"/>
              <a:gd name="connsiteY0" fmla="*/ 0 h 380702"/>
              <a:gd name="connsiteX1" fmla="*/ 12185437 w 12185437"/>
              <a:gd name="connsiteY1" fmla="*/ 0 h 380702"/>
              <a:gd name="connsiteX2" fmla="*/ 12185437 w 12185437"/>
              <a:gd name="connsiteY2" fmla="*/ 380703 h 380702"/>
              <a:gd name="connsiteX3" fmla="*/ 0 w 12185437"/>
              <a:gd name="connsiteY3" fmla="*/ 380703 h 380702"/>
              <a:gd name="connsiteX4" fmla="*/ 0 w 12185437"/>
              <a:gd name="connsiteY4" fmla="*/ 0 h 380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85437" h="380702">
                <a:moveTo>
                  <a:pt x="0" y="0"/>
                </a:moveTo>
                <a:lnTo>
                  <a:pt x="12185437" y="0"/>
                </a:lnTo>
                <a:lnTo>
                  <a:pt x="12185437" y="380703"/>
                </a:lnTo>
                <a:lnTo>
                  <a:pt x="0" y="38070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36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2" name="Free-form: Shape 33">
            <a:extLst>
              <a:ext uri="{FF2B5EF4-FFF2-40B4-BE49-F238E27FC236}">
                <a16:creationId xmlns:a16="http://schemas.microsoft.com/office/drawing/2014/main" id="{1D2A1DAB-145A-5F7B-9954-6987015EB4B4}"/>
              </a:ext>
            </a:extLst>
          </p:cNvPr>
          <p:cNvSpPr/>
          <p:nvPr userDrawn="1"/>
        </p:nvSpPr>
        <p:spPr>
          <a:xfrm>
            <a:off x="-122" y="3815119"/>
            <a:ext cx="12192122" cy="380838"/>
          </a:xfrm>
          <a:custGeom>
            <a:avLst/>
            <a:gdLst>
              <a:gd name="connsiteX0" fmla="*/ 0 w 12185437"/>
              <a:gd name="connsiteY0" fmla="*/ 0 h 380838"/>
              <a:gd name="connsiteX1" fmla="*/ 12185437 w 12185437"/>
              <a:gd name="connsiteY1" fmla="*/ 0 h 380838"/>
              <a:gd name="connsiteX2" fmla="*/ 12185437 w 12185437"/>
              <a:gd name="connsiteY2" fmla="*/ 380839 h 380838"/>
              <a:gd name="connsiteX3" fmla="*/ 0 w 12185437"/>
              <a:gd name="connsiteY3" fmla="*/ 380839 h 380838"/>
              <a:gd name="connsiteX4" fmla="*/ 0 w 12185437"/>
              <a:gd name="connsiteY4" fmla="*/ 0 h 380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85437" h="380838">
                <a:moveTo>
                  <a:pt x="0" y="0"/>
                </a:moveTo>
                <a:lnTo>
                  <a:pt x="12185437" y="0"/>
                </a:lnTo>
                <a:lnTo>
                  <a:pt x="12185437" y="380839"/>
                </a:lnTo>
                <a:lnTo>
                  <a:pt x="0" y="38083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36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FA2F872-5FC5-D94D-9E89-698A2F01408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39507" y="5596332"/>
            <a:ext cx="2090175" cy="703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5675256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nsi punainen">
    <p:bg>
      <p:bgPr>
        <a:solidFill>
          <a:srgbClr val="FF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6E6260-E36C-484A-9F25-1346EC50A8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56953" y="1733266"/>
            <a:ext cx="10477035" cy="2914270"/>
          </a:xfrm>
        </p:spPr>
        <p:txBody>
          <a:bodyPr anchor="ctr">
            <a:normAutofit/>
          </a:bodyPr>
          <a:lstStyle>
            <a:lvl1pPr algn="ctr">
              <a:defRPr sz="9200" spc="-250" baseline="0">
                <a:latin typeface="Work Sans Light" pitchFamily="2" charset="0"/>
              </a:defRPr>
            </a:lvl1pPr>
          </a:lstStyle>
          <a:p>
            <a:r>
              <a:rPr lang="fi-FI" noProof="0"/>
              <a:t>Lisää otsikko tähä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1FDDA9F-DC3B-4803-9730-F564F287AC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56953" y="4894614"/>
            <a:ext cx="10477035" cy="77434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4000" spc="-10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Lisää alaotsikko tähän</a:t>
            </a:r>
          </a:p>
        </p:txBody>
      </p:sp>
      <p:sp>
        <p:nvSpPr>
          <p:cNvPr id="23" name="Tekstin paikkamerkki 22">
            <a:extLst>
              <a:ext uri="{FF2B5EF4-FFF2-40B4-BE49-F238E27FC236}">
                <a16:creationId xmlns:a16="http://schemas.microsoft.com/office/drawing/2014/main" id="{463699EA-6FB5-11FA-EFF4-9EF634830ED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6953" y="5780868"/>
            <a:ext cx="10477035" cy="423716"/>
          </a:xfrm>
        </p:spPr>
        <p:txBody>
          <a:bodyPr anchor="b" anchorCtr="0"/>
          <a:lstStyle>
            <a:lvl1pPr marL="0" indent="0" algn="ctr">
              <a:buNone/>
              <a:defRPr baseline="0"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fi-FI" noProof="0"/>
              <a:t>Lisää tekstiä tähän</a:t>
            </a:r>
          </a:p>
        </p:txBody>
      </p:sp>
      <p:grpSp>
        <p:nvGrpSpPr>
          <p:cNvPr id="12" name="Ryhmä 11">
            <a:extLst>
              <a:ext uri="{FF2B5EF4-FFF2-40B4-BE49-F238E27FC236}">
                <a16:creationId xmlns:a16="http://schemas.microsoft.com/office/drawing/2014/main" id="{D95F8E98-A2D7-E30E-1319-368CDF1FAEE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03203" y="203198"/>
            <a:ext cx="1117587" cy="1062785"/>
            <a:chOff x="203203" y="203198"/>
            <a:chExt cx="1117587" cy="1062785"/>
          </a:xfrm>
        </p:grpSpPr>
        <p:sp>
          <p:nvSpPr>
            <p:cNvPr id="13" name="Vapaamuotoinen: Muoto 12">
              <a:extLst>
                <a:ext uri="{FF2B5EF4-FFF2-40B4-BE49-F238E27FC236}">
                  <a16:creationId xmlns:a16="http://schemas.microsoft.com/office/drawing/2014/main" id="{440C446F-BCAC-7D6F-98A9-A7C2ED4872D4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4" name="Vapaamuotoinen: Muoto 13">
              <a:extLst>
                <a:ext uri="{FF2B5EF4-FFF2-40B4-BE49-F238E27FC236}">
                  <a16:creationId xmlns:a16="http://schemas.microsoft.com/office/drawing/2014/main" id="{4A7ADBEA-CE66-1301-501B-E3F7BAAF2E82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5" name="Vapaamuotoinen: Muoto 14">
              <a:extLst>
                <a:ext uri="{FF2B5EF4-FFF2-40B4-BE49-F238E27FC236}">
                  <a16:creationId xmlns:a16="http://schemas.microsoft.com/office/drawing/2014/main" id="{59A9E6E2-53EA-2E07-7385-4B02839D5454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6" name="Vapaamuotoinen: Muoto 15">
              <a:extLst>
                <a:ext uri="{FF2B5EF4-FFF2-40B4-BE49-F238E27FC236}">
                  <a16:creationId xmlns:a16="http://schemas.microsoft.com/office/drawing/2014/main" id="{5C12932F-FB13-37D4-DC9D-BBEF385C1C8C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7" name="Vapaamuotoinen: Muoto 16">
              <a:extLst>
                <a:ext uri="{FF2B5EF4-FFF2-40B4-BE49-F238E27FC236}">
                  <a16:creationId xmlns:a16="http://schemas.microsoft.com/office/drawing/2014/main" id="{A821A406-3190-93B4-506F-F6D30DD05EA6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8" name="Vapaamuotoinen: Muoto 17">
              <a:extLst>
                <a:ext uri="{FF2B5EF4-FFF2-40B4-BE49-F238E27FC236}">
                  <a16:creationId xmlns:a16="http://schemas.microsoft.com/office/drawing/2014/main" id="{B5B8BA96-4CED-7926-08D7-0E05D61B06AC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9" name="Vapaamuotoinen: Muoto 18">
              <a:extLst>
                <a:ext uri="{FF2B5EF4-FFF2-40B4-BE49-F238E27FC236}">
                  <a16:creationId xmlns:a16="http://schemas.microsoft.com/office/drawing/2014/main" id="{F7DE9934-1616-3AF5-1843-D98F7A954971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0" name="Vapaamuotoinen: Muoto 19">
              <a:extLst>
                <a:ext uri="{FF2B5EF4-FFF2-40B4-BE49-F238E27FC236}">
                  <a16:creationId xmlns:a16="http://schemas.microsoft.com/office/drawing/2014/main" id="{EABD3533-6A1F-7B8F-3045-7145CF403F02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</p:grp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0DD658E-3473-4681-B845-DA52394CB7D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107635" y="6269995"/>
            <a:ext cx="1972568" cy="284816"/>
          </a:xfrm>
        </p:spPr>
        <p:txBody>
          <a:bodyPr/>
          <a:lstStyle>
            <a:lvl1pPr algn="ctr">
              <a:defRPr/>
            </a:lvl1pPr>
          </a:lstStyle>
          <a:p>
            <a:fld id="{B836498E-EE6E-466C-B374-730FDAF67512}" type="datetime1">
              <a:rPr lang="fi-FI" noProof="0" smtClean="0"/>
              <a:t>12.3.2026</a:t>
            </a:fld>
            <a:endParaRPr lang="fi-FI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FA0F746-8E6A-4C7F-AE36-5BDBE3883D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160B98-140E-4345-B1A3-2A7247C42973}" type="slidenum">
              <a:rPr lang="fi-FI" noProof="0" smtClean="0"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2644140407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nsi keltainen">
    <p:bg>
      <p:bgPr>
        <a:solidFill>
          <a:srgbClr val="FFFAC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6E6260-E36C-484A-9F25-1346EC50A8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56953" y="1733266"/>
            <a:ext cx="10477035" cy="2914270"/>
          </a:xfrm>
        </p:spPr>
        <p:txBody>
          <a:bodyPr anchor="ctr">
            <a:normAutofit/>
          </a:bodyPr>
          <a:lstStyle>
            <a:lvl1pPr algn="ctr">
              <a:defRPr sz="9200" spc="-250" baseline="0">
                <a:latin typeface="Work Sans Light" pitchFamily="2" charset="0"/>
              </a:defRPr>
            </a:lvl1pPr>
          </a:lstStyle>
          <a:p>
            <a:r>
              <a:rPr lang="fi-FI" noProof="0"/>
              <a:t>Lisää otsikko tähä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1FDDA9F-DC3B-4803-9730-F564F287AC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56953" y="4894614"/>
            <a:ext cx="10477035" cy="77434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4000" spc="-10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Lisää alaotsikko tähän</a:t>
            </a:r>
          </a:p>
        </p:txBody>
      </p:sp>
      <p:sp>
        <p:nvSpPr>
          <p:cNvPr id="23" name="Tekstin paikkamerkki 22">
            <a:extLst>
              <a:ext uri="{FF2B5EF4-FFF2-40B4-BE49-F238E27FC236}">
                <a16:creationId xmlns:a16="http://schemas.microsoft.com/office/drawing/2014/main" id="{463699EA-6FB5-11FA-EFF4-9EF634830ED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6953" y="5780868"/>
            <a:ext cx="10477035" cy="423716"/>
          </a:xfrm>
        </p:spPr>
        <p:txBody>
          <a:bodyPr anchor="b" anchorCtr="0"/>
          <a:lstStyle>
            <a:lvl1pPr marL="0" indent="0" algn="ctr">
              <a:buNone/>
              <a:defRPr baseline="0"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fi-FI" noProof="0"/>
              <a:t>Lisää tekstiä tähän</a:t>
            </a:r>
          </a:p>
        </p:txBody>
      </p:sp>
      <p:grpSp>
        <p:nvGrpSpPr>
          <p:cNvPr id="12" name="Ryhmä 11">
            <a:extLst>
              <a:ext uri="{FF2B5EF4-FFF2-40B4-BE49-F238E27FC236}">
                <a16:creationId xmlns:a16="http://schemas.microsoft.com/office/drawing/2014/main" id="{D95F8E98-A2D7-E30E-1319-368CDF1FAEE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03203" y="203198"/>
            <a:ext cx="1117587" cy="1062785"/>
            <a:chOff x="203203" y="203198"/>
            <a:chExt cx="1117587" cy="1062785"/>
          </a:xfrm>
        </p:grpSpPr>
        <p:sp>
          <p:nvSpPr>
            <p:cNvPr id="13" name="Vapaamuotoinen: Muoto 12">
              <a:extLst>
                <a:ext uri="{FF2B5EF4-FFF2-40B4-BE49-F238E27FC236}">
                  <a16:creationId xmlns:a16="http://schemas.microsoft.com/office/drawing/2014/main" id="{440C446F-BCAC-7D6F-98A9-A7C2ED4872D4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4" name="Vapaamuotoinen: Muoto 13">
              <a:extLst>
                <a:ext uri="{FF2B5EF4-FFF2-40B4-BE49-F238E27FC236}">
                  <a16:creationId xmlns:a16="http://schemas.microsoft.com/office/drawing/2014/main" id="{4A7ADBEA-CE66-1301-501B-E3F7BAAF2E82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5" name="Vapaamuotoinen: Muoto 14">
              <a:extLst>
                <a:ext uri="{FF2B5EF4-FFF2-40B4-BE49-F238E27FC236}">
                  <a16:creationId xmlns:a16="http://schemas.microsoft.com/office/drawing/2014/main" id="{59A9E6E2-53EA-2E07-7385-4B02839D5454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6" name="Vapaamuotoinen: Muoto 15">
              <a:extLst>
                <a:ext uri="{FF2B5EF4-FFF2-40B4-BE49-F238E27FC236}">
                  <a16:creationId xmlns:a16="http://schemas.microsoft.com/office/drawing/2014/main" id="{5C12932F-FB13-37D4-DC9D-BBEF385C1C8C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7" name="Vapaamuotoinen: Muoto 16">
              <a:extLst>
                <a:ext uri="{FF2B5EF4-FFF2-40B4-BE49-F238E27FC236}">
                  <a16:creationId xmlns:a16="http://schemas.microsoft.com/office/drawing/2014/main" id="{A821A406-3190-93B4-506F-F6D30DD05EA6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8" name="Vapaamuotoinen: Muoto 17">
              <a:extLst>
                <a:ext uri="{FF2B5EF4-FFF2-40B4-BE49-F238E27FC236}">
                  <a16:creationId xmlns:a16="http://schemas.microsoft.com/office/drawing/2014/main" id="{B5B8BA96-4CED-7926-08D7-0E05D61B06AC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9" name="Vapaamuotoinen: Muoto 18">
              <a:extLst>
                <a:ext uri="{FF2B5EF4-FFF2-40B4-BE49-F238E27FC236}">
                  <a16:creationId xmlns:a16="http://schemas.microsoft.com/office/drawing/2014/main" id="{F7DE9934-1616-3AF5-1843-D98F7A954971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0" name="Vapaamuotoinen: Muoto 19">
              <a:extLst>
                <a:ext uri="{FF2B5EF4-FFF2-40B4-BE49-F238E27FC236}">
                  <a16:creationId xmlns:a16="http://schemas.microsoft.com/office/drawing/2014/main" id="{EABD3533-6A1F-7B8F-3045-7145CF403F02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</p:grp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0DD658E-3473-4681-B845-DA52394CB7D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107635" y="6269995"/>
            <a:ext cx="1972568" cy="284816"/>
          </a:xfrm>
        </p:spPr>
        <p:txBody>
          <a:bodyPr/>
          <a:lstStyle>
            <a:lvl1pPr algn="ctr">
              <a:defRPr/>
            </a:lvl1pPr>
          </a:lstStyle>
          <a:p>
            <a:fld id="{80E5A710-B10E-4348-AC62-CED737A4E069}" type="datetime1">
              <a:rPr lang="fi-FI" noProof="0" smtClean="0"/>
              <a:t>12.3.2026</a:t>
            </a:fld>
            <a:endParaRPr lang="fi-FI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FA0F746-8E6A-4C7F-AE36-5BDBE3883D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160B98-140E-4345-B1A3-2A7247C42973}" type="slidenum">
              <a:rPr lang="fi-FI" noProof="0" smtClean="0"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1957715623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0DB878-8E84-426A-BEF0-AF1AAFA1F9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i-FI" noProof="0"/>
              <a:t>Lisää otsikko tähä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E3B6CAA-4767-42B4-A19C-0CFD9AFC822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76517" y="2272553"/>
            <a:ext cx="11447929" cy="3375893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i-FI" noProof="0"/>
              <a:t>Lisää ensimmäisen tason tekstiä tähän</a:t>
            </a:r>
          </a:p>
          <a:p>
            <a:pPr lvl="1"/>
            <a:r>
              <a:rPr lang="fi-FI" noProof="0"/>
              <a:t>Toisen tason teksti</a:t>
            </a:r>
          </a:p>
          <a:p>
            <a:pPr lvl="2"/>
            <a:r>
              <a:rPr lang="fi-FI" noProof="0"/>
              <a:t>Kolmannen tason teksti</a:t>
            </a:r>
          </a:p>
          <a:p>
            <a:pPr lvl="3"/>
            <a:r>
              <a:rPr lang="fi-FI" noProof="0"/>
              <a:t>Neljännen tason teksti</a:t>
            </a:r>
          </a:p>
          <a:p>
            <a:pPr lvl="4"/>
            <a:r>
              <a:rPr lang="fi-FI" noProof="0"/>
              <a:t>Viidennen tason teksti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E996DCA-8E68-4F4A-A4A6-ACE6BC7F24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89FBA3-6D18-4DA7-8DFC-4D573990A1E4}" type="datetime1">
              <a:rPr lang="fi-FI" noProof="0" smtClean="0"/>
              <a:t>12.3.2026</a:t>
            </a:fld>
            <a:endParaRPr lang="fi-FI" noProof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DC7B94-042D-44C2-B7B2-1128AAFA57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heli.valkeinen(at)thl.fi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160B98-140E-4345-B1A3-2A7247C42973}" type="slidenum">
              <a:rPr lang="fi-FI" noProof="0" smtClean="0"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1700049452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2 palst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0DB878-8E84-426A-BEF0-AF1AAFA1F9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fi-FI" noProof="0"/>
              <a:t>Lisää otsikko tähä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E3B6CAA-4767-42B4-A19C-0CFD9AFC822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76517" y="2272553"/>
            <a:ext cx="5402491" cy="3375893"/>
          </a:xfrm>
        </p:spPr>
        <p:txBody>
          <a:bodyPr/>
          <a:lstStyle/>
          <a:p>
            <a:pPr lvl="0"/>
            <a:r>
              <a:rPr lang="fi-FI" noProof="0"/>
              <a:t>Lisää ensimmäisen tason tekstiä tähän</a:t>
            </a:r>
          </a:p>
          <a:p>
            <a:pPr lvl="1"/>
            <a:r>
              <a:rPr lang="fi-FI" noProof="0"/>
              <a:t>Toisen tason teksti</a:t>
            </a:r>
          </a:p>
          <a:p>
            <a:pPr lvl="2"/>
            <a:r>
              <a:rPr lang="fi-FI" noProof="0"/>
              <a:t>Kolmannen tason teksti</a:t>
            </a:r>
          </a:p>
          <a:p>
            <a:pPr lvl="3"/>
            <a:r>
              <a:rPr lang="fi-FI" noProof="0"/>
              <a:t>Neljännen tason teksti</a:t>
            </a:r>
          </a:p>
          <a:p>
            <a:pPr lvl="4"/>
            <a:r>
              <a:rPr lang="fi-FI" noProof="0"/>
              <a:t>Viidennen tason teksti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8B50D57F-92B8-8C62-9F06-00B251928CA3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05233" y="2272553"/>
            <a:ext cx="5402491" cy="3375893"/>
          </a:xfrm>
        </p:spPr>
        <p:txBody>
          <a:bodyPr/>
          <a:lstStyle/>
          <a:p>
            <a:pPr lvl="0"/>
            <a:r>
              <a:rPr lang="fi-FI" noProof="0"/>
              <a:t>Lisää ensimmäisen tason tekstiä tähän</a:t>
            </a:r>
          </a:p>
          <a:p>
            <a:pPr lvl="1"/>
            <a:r>
              <a:rPr lang="fi-FI" noProof="0"/>
              <a:t>Toisen tason teksti</a:t>
            </a:r>
          </a:p>
          <a:p>
            <a:pPr lvl="2"/>
            <a:r>
              <a:rPr lang="fi-FI" noProof="0"/>
              <a:t>Kolmannen tason teksti</a:t>
            </a:r>
          </a:p>
          <a:p>
            <a:pPr lvl="3"/>
            <a:r>
              <a:rPr lang="fi-FI" noProof="0"/>
              <a:t>Neljännen tason teksti</a:t>
            </a:r>
          </a:p>
          <a:p>
            <a:pPr lvl="4"/>
            <a:r>
              <a:rPr lang="fi-FI" noProof="0"/>
              <a:t>Viidennen tason teksti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E996DCA-8E68-4F4A-A4A6-ACE6BC7F24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6A6BF9-1CA1-44E6-A415-E6BF886B7573}" type="datetime1">
              <a:rPr lang="fi-FI" noProof="0" smtClean="0"/>
              <a:t>12.3.2026</a:t>
            </a:fld>
            <a:endParaRPr lang="fi-FI" noProof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DC7B94-042D-44C2-B7B2-1128AAFA57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heli.valkeinen(at)thl.fi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160B98-140E-4345-B1A3-2A7247C42973}" type="slidenum">
              <a:rPr lang="fi-FI" noProof="0" smtClean="0"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2931151053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afi tai taulu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0DB878-8E84-426A-BEF0-AF1AAFA1F9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518" y="557865"/>
            <a:ext cx="5317846" cy="1988565"/>
          </a:xfrm>
        </p:spPr>
        <p:txBody>
          <a:bodyPr anchor="b"/>
          <a:lstStyle>
            <a:lvl1pPr>
              <a:defRPr spc="-200" baseline="0"/>
            </a:lvl1pPr>
          </a:lstStyle>
          <a:p>
            <a:r>
              <a:rPr lang="fi-FI" noProof="0"/>
              <a:t>Lisää otsikko tähän</a:t>
            </a:r>
          </a:p>
        </p:txBody>
      </p:sp>
      <p:sp>
        <p:nvSpPr>
          <p:cNvPr id="10" name="Tekstin paikkamerkki 9">
            <a:extLst>
              <a:ext uri="{FF2B5EF4-FFF2-40B4-BE49-F238E27FC236}">
                <a16:creationId xmlns:a16="http://schemas.microsoft.com/office/drawing/2014/main" id="{0F7B559E-6045-F357-12A2-EE12102F2E7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2774122"/>
            <a:ext cx="5318125" cy="2848465"/>
          </a:xfrm>
        </p:spPr>
        <p:txBody>
          <a:bodyPr/>
          <a:lstStyle/>
          <a:p>
            <a:pPr lvl="0"/>
            <a:r>
              <a:rPr lang="fi-FI" noProof="0"/>
              <a:t>Lisää ensimmäisen tason tekstiä tähän</a:t>
            </a:r>
          </a:p>
          <a:p>
            <a:pPr lvl="1"/>
            <a:r>
              <a:rPr lang="fi-FI" noProof="0"/>
              <a:t>Toisen tason teksti</a:t>
            </a:r>
          </a:p>
          <a:p>
            <a:pPr lvl="2"/>
            <a:r>
              <a:rPr lang="fi-FI" noProof="0"/>
              <a:t>Kolmannen tason teksti</a:t>
            </a:r>
          </a:p>
          <a:p>
            <a:pPr lvl="3"/>
            <a:r>
              <a:rPr lang="fi-FI" noProof="0"/>
              <a:t>Neljännen tason teksti</a:t>
            </a:r>
          </a:p>
          <a:p>
            <a:pPr lvl="4"/>
            <a:r>
              <a:rPr lang="fi-FI" noProof="0"/>
              <a:t>Viidennen tason teksti</a:t>
            </a:r>
          </a:p>
        </p:txBody>
      </p:sp>
      <p:sp>
        <p:nvSpPr>
          <p:cNvPr id="14" name="Tekstin paikkamerkki 13">
            <a:extLst>
              <a:ext uri="{FF2B5EF4-FFF2-40B4-BE49-F238E27FC236}">
                <a16:creationId xmlns:a16="http://schemas.microsoft.com/office/drawing/2014/main" id="{4954B59D-6963-E772-85EF-175EAA3F8B5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96000" y="753978"/>
            <a:ext cx="5728446" cy="753979"/>
          </a:xfrm>
        </p:spPr>
        <p:txBody>
          <a:bodyPr anchor="b"/>
          <a:lstStyle>
            <a:lvl1pPr marL="0" indent="0">
              <a:lnSpc>
                <a:spcPct val="90000"/>
              </a:lnSpc>
              <a:buNone/>
              <a:defRPr sz="2800"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fi-FI" noProof="0"/>
              <a:t>Lisää tekstiä tähän</a:t>
            </a:r>
          </a:p>
        </p:txBody>
      </p:sp>
      <p:sp>
        <p:nvSpPr>
          <p:cNvPr id="12" name="Kaavion paikkamerkki 11">
            <a:extLst>
              <a:ext uri="{FF2B5EF4-FFF2-40B4-BE49-F238E27FC236}">
                <a16:creationId xmlns:a16="http://schemas.microsoft.com/office/drawing/2014/main" id="{BB611A4E-DEEE-A0E8-D114-FCFC93862A68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6096000" y="1700463"/>
            <a:ext cx="5719482" cy="3922124"/>
          </a:xfr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fi-FI" noProof="0"/>
              <a:t>Lisää kaavio napsauttamalla kuvaketta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E996DCA-8E68-4F4A-A4A6-ACE6BC7F24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4F2D3D-5358-4686-94B3-F28912A2A6E0}" type="datetime1">
              <a:rPr lang="fi-FI" noProof="0" smtClean="0"/>
              <a:t>12.3.2026</a:t>
            </a:fld>
            <a:endParaRPr lang="fi-FI" noProof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DC7B94-042D-44C2-B7B2-1128AAFA57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heli.valkeinen(at)thl.fi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160B98-140E-4345-B1A3-2A7247C42973}" type="slidenum">
              <a:rPr lang="fi-FI" noProof="0" smtClean="0"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1531080757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nkilöesitte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0DB878-8E84-426A-BEF0-AF1AAFA1F9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518" y="545030"/>
            <a:ext cx="11293593" cy="754100"/>
          </a:xfrm>
        </p:spPr>
        <p:txBody>
          <a:bodyPr>
            <a:normAutofit/>
          </a:bodyPr>
          <a:lstStyle>
            <a:lvl1pPr>
              <a:defRPr sz="5000" spc="-200" baseline="0"/>
            </a:lvl1pPr>
          </a:lstStyle>
          <a:p>
            <a:r>
              <a:rPr lang="fi-FI" noProof="0"/>
              <a:t>Lisää otsikko tähän</a:t>
            </a:r>
          </a:p>
        </p:txBody>
      </p:sp>
      <p:sp>
        <p:nvSpPr>
          <p:cNvPr id="6" name="Picture Placeholder 7">
            <a:extLst>
              <a:ext uri="{FF2B5EF4-FFF2-40B4-BE49-F238E27FC236}">
                <a16:creationId xmlns:a16="http://schemas.microsoft.com/office/drawing/2014/main" id="{3C6DFD1E-25B9-3130-78C2-F506DD351C6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76519" y="1462157"/>
            <a:ext cx="2088000" cy="2191026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None/>
              <a:defRPr sz="1800"/>
            </a:lvl1pPr>
          </a:lstStyle>
          <a:p>
            <a:r>
              <a:rPr lang="fi-FI" noProof="0"/>
              <a:t>Lisää kuva napsauttamalla kuvaketta</a:t>
            </a:r>
          </a:p>
        </p:txBody>
      </p:sp>
      <p:sp>
        <p:nvSpPr>
          <p:cNvPr id="11" name="Tekstin paikkamerkki 10">
            <a:extLst>
              <a:ext uri="{FF2B5EF4-FFF2-40B4-BE49-F238E27FC236}">
                <a16:creationId xmlns:a16="http://schemas.microsoft.com/office/drawing/2014/main" id="{2003F933-4036-B73D-C25D-1264A7279CE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5491" y="3816210"/>
            <a:ext cx="2088000" cy="688975"/>
          </a:xfrm>
        </p:spPr>
        <p:txBody>
          <a:bodyPr/>
          <a:lstStyle>
            <a:lvl1pPr marL="0" indent="0">
              <a:lnSpc>
                <a:spcPct val="95000"/>
              </a:lnSpc>
              <a:buNone/>
              <a:defRPr spc="-50" baseline="0">
                <a:latin typeface="+mj-lt"/>
              </a:defRPr>
            </a:lvl1pPr>
          </a:lstStyle>
          <a:p>
            <a:pPr lvl="0"/>
            <a:r>
              <a:rPr lang="fi-FI" noProof="0"/>
              <a:t>Lisää tekstiä tähän</a:t>
            </a:r>
          </a:p>
        </p:txBody>
      </p:sp>
      <p:sp>
        <p:nvSpPr>
          <p:cNvPr id="12" name="Tekstin paikkamerkki 10">
            <a:extLst>
              <a:ext uri="{FF2B5EF4-FFF2-40B4-BE49-F238E27FC236}">
                <a16:creationId xmlns:a16="http://schemas.microsoft.com/office/drawing/2014/main" id="{71D354F0-5E0A-1D3D-B980-867CDBB4737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5491" y="4653121"/>
            <a:ext cx="2088000" cy="963406"/>
          </a:xfrm>
        </p:spPr>
        <p:txBody>
          <a:bodyPr/>
          <a:lstStyle>
            <a:lvl1pPr marL="0" indent="0">
              <a:lnSpc>
                <a:spcPct val="95000"/>
              </a:lnSpc>
              <a:buNone/>
              <a:defRPr sz="1800">
                <a:latin typeface="+mn-lt"/>
              </a:defRPr>
            </a:lvl1pPr>
          </a:lstStyle>
          <a:p>
            <a:pPr lvl="0"/>
            <a:r>
              <a:rPr lang="fi-FI" noProof="0"/>
              <a:t>Lisää tekstiä tähän</a:t>
            </a:r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94025492-7AE0-36A5-8BE4-FAC3F9840C1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677917" y="1462157"/>
            <a:ext cx="2088000" cy="2191026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None/>
              <a:defRPr sz="1800"/>
            </a:lvl1pPr>
          </a:lstStyle>
          <a:p>
            <a:r>
              <a:rPr lang="fi-FI" noProof="0"/>
              <a:t>Lisää kuva napsauttamalla kuvaketta</a:t>
            </a:r>
          </a:p>
        </p:txBody>
      </p:sp>
      <p:sp>
        <p:nvSpPr>
          <p:cNvPr id="14" name="Tekstin paikkamerkki 10">
            <a:extLst>
              <a:ext uri="{FF2B5EF4-FFF2-40B4-BE49-F238E27FC236}">
                <a16:creationId xmlns:a16="http://schemas.microsoft.com/office/drawing/2014/main" id="{9759F812-6A78-B94C-7736-7B1EB6F1FE2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677917" y="3816210"/>
            <a:ext cx="2088000" cy="688975"/>
          </a:xfrm>
        </p:spPr>
        <p:txBody>
          <a:bodyPr/>
          <a:lstStyle>
            <a:lvl1pPr marL="0" indent="0">
              <a:lnSpc>
                <a:spcPct val="95000"/>
              </a:lnSpc>
              <a:buNone/>
              <a:defRPr spc="-50" baseline="0">
                <a:latin typeface="+mj-lt"/>
              </a:defRPr>
            </a:lvl1pPr>
          </a:lstStyle>
          <a:p>
            <a:pPr lvl="0"/>
            <a:r>
              <a:rPr lang="fi-FI" noProof="0"/>
              <a:t>Lisää tekstiä tähän</a:t>
            </a:r>
          </a:p>
        </p:txBody>
      </p:sp>
      <p:sp>
        <p:nvSpPr>
          <p:cNvPr id="15" name="Tekstin paikkamerkki 10">
            <a:extLst>
              <a:ext uri="{FF2B5EF4-FFF2-40B4-BE49-F238E27FC236}">
                <a16:creationId xmlns:a16="http://schemas.microsoft.com/office/drawing/2014/main" id="{F10FC5E0-9C18-ABE4-1C1D-199D3DC17D2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677917" y="4653121"/>
            <a:ext cx="2088000" cy="963406"/>
          </a:xfrm>
        </p:spPr>
        <p:txBody>
          <a:bodyPr/>
          <a:lstStyle>
            <a:lvl1pPr marL="0" indent="0">
              <a:lnSpc>
                <a:spcPct val="95000"/>
              </a:lnSpc>
              <a:buNone/>
              <a:defRPr sz="1800">
                <a:latin typeface="+mn-lt"/>
              </a:defRPr>
            </a:lvl1pPr>
          </a:lstStyle>
          <a:p>
            <a:pPr lvl="0"/>
            <a:r>
              <a:rPr lang="fi-FI" noProof="0"/>
              <a:t>Lisää tekstiä tähän</a:t>
            </a:r>
          </a:p>
        </p:txBody>
      </p:sp>
      <p:sp>
        <p:nvSpPr>
          <p:cNvPr id="16" name="Picture Placeholder 7">
            <a:extLst>
              <a:ext uri="{FF2B5EF4-FFF2-40B4-BE49-F238E27FC236}">
                <a16:creationId xmlns:a16="http://schemas.microsoft.com/office/drawing/2014/main" id="{B9E0C15F-CB46-1A9E-672F-794D125ACECD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979315" y="1462157"/>
            <a:ext cx="2088000" cy="21924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None/>
              <a:defRPr sz="1800"/>
            </a:lvl1pPr>
          </a:lstStyle>
          <a:p>
            <a:r>
              <a:rPr lang="fi-FI" noProof="0"/>
              <a:t>Lisää kuva napsauttamalla kuvaketta</a:t>
            </a:r>
          </a:p>
        </p:txBody>
      </p:sp>
      <p:sp>
        <p:nvSpPr>
          <p:cNvPr id="17" name="Tekstin paikkamerkki 10">
            <a:extLst>
              <a:ext uri="{FF2B5EF4-FFF2-40B4-BE49-F238E27FC236}">
                <a16:creationId xmlns:a16="http://schemas.microsoft.com/office/drawing/2014/main" id="{4056000E-738D-0FB6-B542-9719E2D9789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70343" y="3816210"/>
            <a:ext cx="2096972" cy="688975"/>
          </a:xfrm>
        </p:spPr>
        <p:txBody>
          <a:bodyPr/>
          <a:lstStyle>
            <a:lvl1pPr marL="0" indent="0">
              <a:lnSpc>
                <a:spcPct val="95000"/>
              </a:lnSpc>
              <a:buNone/>
              <a:defRPr spc="-50" baseline="0">
                <a:latin typeface="+mj-lt"/>
              </a:defRPr>
            </a:lvl1pPr>
          </a:lstStyle>
          <a:p>
            <a:pPr lvl="0"/>
            <a:r>
              <a:rPr lang="fi-FI" noProof="0"/>
              <a:t>Lisää tekstiä tähän</a:t>
            </a:r>
          </a:p>
        </p:txBody>
      </p:sp>
      <p:sp>
        <p:nvSpPr>
          <p:cNvPr id="18" name="Tekstin paikkamerkki 10">
            <a:extLst>
              <a:ext uri="{FF2B5EF4-FFF2-40B4-BE49-F238E27FC236}">
                <a16:creationId xmlns:a16="http://schemas.microsoft.com/office/drawing/2014/main" id="{6BD22EF5-9153-5222-D7A5-F62B5427CD1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979315" y="4653121"/>
            <a:ext cx="2096972" cy="963406"/>
          </a:xfrm>
        </p:spPr>
        <p:txBody>
          <a:bodyPr/>
          <a:lstStyle>
            <a:lvl1pPr marL="0" indent="0">
              <a:lnSpc>
                <a:spcPct val="95000"/>
              </a:lnSpc>
              <a:buNone/>
              <a:defRPr sz="1800">
                <a:latin typeface="+mn-lt"/>
              </a:defRPr>
            </a:lvl1pPr>
          </a:lstStyle>
          <a:p>
            <a:pPr lvl="0"/>
            <a:r>
              <a:rPr lang="fi-FI" noProof="0"/>
              <a:t>Lisää tekstiä tähän</a:t>
            </a:r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98DE1965-1677-8A90-2B34-004BAD2FEB6C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80713" y="1462157"/>
            <a:ext cx="2088000" cy="2191026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None/>
              <a:defRPr sz="1800"/>
            </a:lvl1pPr>
          </a:lstStyle>
          <a:p>
            <a:r>
              <a:rPr lang="fi-FI" noProof="0"/>
              <a:t>Lisää kuva napsauttamalla kuvaketta</a:t>
            </a:r>
          </a:p>
        </p:txBody>
      </p:sp>
      <p:sp>
        <p:nvSpPr>
          <p:cNvPr id="20" name="Tekstin paikkamerkki 10">
            <a:extLst>
              <a:ext uri="{FF2B5EF4-FFF2-40B4-BE49-F238E27FC236}">
                <a16:creationId xmlns:a16="http://schemas.microsoft.com/office/drawing/2014/main" id="{9A00C853-70F5-D639-E3A2-2176CA2CED4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271742" y="3816210"/>
            <a:ext cx="2096972" cy="688975"/>
          </a:xfrm>
        </p:spPr>
        <p:txBody>
          <a:bodyPr/>
          <a:lstStyle>
            <a:lvl1pPr marL="0" indent="0">
              <a:lnSpc>
                <a:spcPct val="95000"/>
              </a:lnSpc>
              <a:buNone/>
              <a:defRPr spc="-50" baseline="0">
                <a:latin typeface="+mj-lt"/>
              </a:defRPr>
            </a:lvl1pPr>
          </a:lstStyle>
          <a:p>
            <a:pPr lvl="0"/>
            <a:r>
              <a:rPr lang="fi-FI" noProof="0"/>
              <a:t>Lisää tekstiä tähän</a:t>
            </a:r>
          </a:p>
        </p:txBody>
      </p:sp>
      <p:sp>
        <p:nvSpPr>
          <p:cNvPr id="21" name="Tekstin paikkamerkki 10">
            <a:extLst>
              <a:ext uri="{FF2B5EF4-FFF2-40B4-BE49-F238E27FC236}">
                <a16:creationId xmlns:a16="http://schemas.microsoft.com/office/drawing/2014/main" id="{503FF37F-2F8A-20AF-B309-D0D2E31B243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289685" y="4653121"/>
            <a:ext cx="2088001" cy="963406"/>
          </a:xfrm>
        </p:spPr>
        <p:txBody>
          <a:bodyPr/>
          <a:lstStyle>
            <a:lvl1pPr marL="0" indent="0">
              <a:lnSpc>
                <a:spcPct val="95000"/>
              </a:lnSpc>
              <a:buNone/>
              <a:defRPr sz="1800">
                <a:latin typeface="+mn-lt"/>
              </a:defRPr>
            </a:lvl1pPr>
          </a:lstStyle>
          <a:p>
            <a:pPr lvl="0"/>
            <a:r>
              <a:rPr lang="fi-FI" noProof="0"/>
              <a:t>Lisää tekstiä tähän</a:t>
            </a:r>
          </a:p>
        </p:txBody>
      </p:sp>
      <p:sp>
        <p:nvSpPr>
          <p:cNvPr id="4" name="Picture Placeholder 7">
            <a:extLst>
              <a:ext uri="{FF2B5EF4-FFF2-40B4-BE49-F238E27FC236}">
                <a16:creationId xmlns:a16="http://schemas.microsoft.com/office/drawing/2014/main" id="{9BC5DE80-4959-34E9-2754-7FEBB4109061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9582111" y="1462157"/>
            <a:ext cx="2088000" cy="2191026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None/>
              <a:defRPr sz="1800"/>
            </a:lvl1pPr>
          </a:lstStyle>
          <a:p>
            <a:r>
              <a:rPr lang="fi-FI" noProof="0"/>
              <a:t>Lisää kuva napsauttamalla kuvaketta</a:t>
            </a:r>
          </a:p>
        </p:txBody>
      </p:sp>
      <p:sp>
        <p:nvSpPr>
          <p:cNvPr id="5" name="Tekstin paikkamerkki 10">
            <a:extLst>
              <a:ext uri="{FF2B5EF4-FFF2-40B4-BE49-F238E27FC236}">
                <a16:creationId xmlns:a16="http://schemas.microsoft.com/office/drawing/2014/main" id="{170525FA-72D8-A877-0B0C-64BE3B2121A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582112" y="3816210"/>
            <a:ext cx="2088000" cy="688975"/>
          </a:xfrm>
        </p:spPr>
        <p:txBody>
          <a:bodyPr/>
          <a:lstStyle>
            <a:lvl1pPr marL="0" indent="0">
              <a:lnSpc>
                <a:spcPct val="95000"/>
              </a:lnSpc>
              <a:buNone/>
              <a:defRPr spc="-50" baseline="0">
                <a:latin typeface="+mj-lt"/>
              </a:defRPr>
            </a:lvl1pPr>
          </a:lstStyle>
          <a:p>
            <a:pPr lvl="0"/>
            <a:r>
              <a:rPr lang="fi-FI" noProof="0"/>
              <a:t>Lisää tekstiä tähän</a:t>
            </a:r>
          </a:p>
        </p:txBody>
      </p:sp>
      <p:sp>
        <p:nvSpPr>
          <p:cNvPr id="10" name="Tekstin paikkamerkki 10">
            <a:extLst>
              <a:ext uri="{FF2B5EF4-FFF2-40B4-BE49-F238E27FC236}">
                <a16:creationId xmlns:a16="http://schemas.microsoft.com/office/drawing/2014/main" id="{7F1F6485-99C5-FB54-D191-3C1001269DC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582112" y="4653121"/>
            <a:ext cx="2088000" cy="963406"/>
          </a:xfrm>
        </p:spPr>
        <p:txBody>
          <a:bodyPr/>
          <a:lstStyle>
            <a:lvl1pPr marL="0" indent="0">
              <a:lnSpc>
                <a:spcPct val="95000"/>
              </a:lnSpc>
              <a:buNone/>
              <a:defRPr sz="1800">
                <a:latin typeface="+mn-lt"/>
              </a:defRPr>
            </a:lvl1pPr>
          </a:lstStyle>
          <a:p>
            <a:pPr lvl="0"/>
            <a:r>
              <a:rPr lang="fi-FI" noProof="0"/>
              <a:t>Lisää tekstiä tähän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E996DCA-8E68-4F4A-A4A6-ACE6BC7F24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9F233A-1943-4151-AD65-ABB727995B4D}" type="datetime1">
              <a:rPr lang="fi-FI" noProof="0" smtClean="0"/>
              <a:t>12.3.2026</a:t>
            </a:fld>
            <a:endParaRPr lang="fi-FI" noProof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DC7B94-042D-44C2-B7B2-1128AAFA57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heli.valkeinen(at)thl.fi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160B98-140E-4345-B1A3-2A7247C42973}" type="slidenum">
              <a:rPr lang="fi-FI" noProof="0" smtClean="0"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2764709159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ain otsikko 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05B7F3-1215-4921-A314-96E4FC2B12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i-FI" noProof="0"/>
              <a:t>Lisää otsikko tähän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DE34914-B5F2-4084-8552-6153E3BFA8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938813-005F-4E91-BDF2-6A50632A6BDF}" type="datetime1">
              <a:rPr lang="fi-FI" noProof="0" smtClean="0"/>
              <a:t>12.3.2026</a:t>
            </a:fld>
            <a:endParaRPr lang="fi-FI" noProof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3C69628-CCBB-4581-842C-07AC1724D7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heli.valkeinen(at)thl.fi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C581D05-5813-4B50-86D4-96A15B78A2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160B98-140E-4345-B1A3-2A7247C42973}" type="slidenum">
              <a:rPr lang="fi-FI" noProof="0" smtClean="0"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3058180950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yhjä 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0A614DC4-811D-E732-E1A9-766492F074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517" y="-428169"/>
            <a:ext cx="11447929" cy="301754"/>
          </a:xfrm>
        </p:spPr>
        <p:txBody>
          <a:bodyPr anchor="b" anchorCtr="0"/>
          <a:lstStyle>
            <a:lvl1pPr>
              <a:defRPr sz="1400" spc="-50" baseline="0"/>
            </a:lvl1pPr>
          </a:lstStyle>
          <a:p>
            <a:r>
              <a:rPr lang="fi-FI" noProof="0"/>
              <a:t>Otsikko lukulaitteita varten</a:t>
            </a:r>
          </a:p>
        </p:txBody>
      </p:sp>
    </p:spTree>
    <p:extLst>
      <p:ext uri="{BB962C8B-B14F-4D97-AF65-F5344CB8AC3E}">
        <p14:creationId xmlns:p14="http://schemas.microsoft.com/office/powerpoint/2010/main" val="1436138453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ain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0A614DC4-811D-E732-E1A9-766492F074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517" y="-428169"/>
            <a:ext cx="11447929" cy="301754"/>
          </a:xfrm>
        </p:spPr>
        <p:txBody>
          <a:bodyPr anchor="b" anchorCtr="0"/>
          <a:lstStyle>
            <a:lvl1pPr>
              <a:defRPr sz="1400" spc="-50" baseline="0"/>
            </a:lvl1pPr>
          </a:lstStyle>
          <a:p>
            <a:r>
              <a:rPr lang="fi-FI" noProof="0"/>
              <a:t>Otsikko lukulaitteita varten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518D071-2B59-C96E-6104-2A3A83A23A8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i-FI" noProof="0"/>
              <a:t>Lisää kuva napsauttamalla kuvaketta</a:t>
            </a:r>
          </a:p>
        </p:txBody>
      </p:sp>
    </p:spTree>
    <p:extLst>
      <p:ext uri="{BB962C8B-B14F-4D97-AF65-F5344CB8AC3E}">
        <p14:creationId xmlns:p14="http://schemas.microsoft.com/office/powerpoint/2010/main" val="1040356503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olen sivun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>
            <a:extLst>
              <a:ext uri="{FF2B5EF4-FFF2-40B4-BE49-F238E27FC236}">
                <a16:creationId xmlns:a16="http://schemas.microsoft.com/office/drawing/2014/main" id="{AB8E4D65-CABD-C79C-680A-7F71422D48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5999" cy="6858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None/>
              <a:defRPr sz="1800"/>
            </a:lvl1pPr>
          </a:lstStyle>
          <a:p>
            <a:r>
              <a:rPr lang="fi-FI" noProof="0"/>
              <a:t>Lisää kuva napsauttamalla kuvakett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0DB878-8E84-426A-BEF0-AF1AAFA1F9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518" y="557866"/>
            <a:ext cx="5231502" cy="1988564"/>
          </a:xfrm>
        </p:spPr>
        <p:txBody>
          <a:bodyPr anchor="b"/>
          <a:lstStyle/>
          <a:p>
            <a:r>
              <a:rPr lang="fi-FI" noProof="0"/>
              <a:t>Lisää otsikko tähän</a:t>
            </a:r>
          </a:p>
        </p:txBody>
      </p:sp>
      <p:sp>
        <p:nvSpPr>
          <p:cNvPr id="11" name="Tekstin paikkamerkki 10">
            <a:extLst>
              <a:ext uri="{FF2B5EF4-FFF2-40B4-BE49-F238E27FC236}">
                <a16:creationId xmlns:a16="http://schemas.microsoft.com/office/drawing/2014/main" id="{7B9F0533-6D2D-7E7F-A366-F9F3682A7B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6238" y="2798064"/>
            <a:ext cx="5232400" cy="2811780"/>
          </a:xfrm>
        </p:spPr>
        <p:txBody>
          <a:bodyPr/>
          <a:lstStyle/>
          <a:p>
            <a:pPr lvl="0"/>
            <a:r>
              <a:rPr lang="fi-FI" noProof="0"/>
              <a:t>Lisää ensimmäisen tason tekstiä tähän</a:t>
            </a:r>
          </a:p>
          <a:p>
            <a:pPr lvl="1"/>
            <a:r>
              <a:rPr lang="fi-FI" noProof="0"/>
              <a:t>Toisen tason teksti</a:t>
            </a:r>
          </a:p>
          <a:p>
            <a:pPr lvl="2"/>
            <a:r>
              <a:rPr lang="fi-FI" noProof="0"/>
              <a:t>Kolmannen tason teksti</a:t>
            </a:r>
          </a:p>
          <a:p>
            <a:pPr lvl="3"/>
            <a:r>
              <a:rPr lang="fi-FI" noProof="0"/>
              <a:t>Neljännen tason teksti</a:t>
            </a:r>
          </a:p>
          <a:p>
            <a:pPr lvl="4"/>
            <a:r>
              <a:rPr lang="fi-FI" noProof="0"/>
              <a:t>Viidennen tason teksti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C8E29D9-0822-D49C-1B29-63768B851AF1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F7A0E03-CAF7-4800-9040-D04CBB4C4F7C}" type="datetime1">
              <a:rPr lang="fi-FI" noProof="0" smtClean="0"/>
              <a:t>12.3.2026</a:t>
            </a:fld>
            <a:endParaRPr lang="fi-FI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D40D5E-85B1-0C56-D007-56A27740976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155735941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orakulmio 2">
            <a:extLst>
              <a:ext uri="{FF2B5EF4-FFF2-40B4-BE49-F238E27FC236}">
                <a16:creationId xmlns:a16="http://schemas.microsoft.com/office/drawing/2014/main" id="{483FB58F-61FC-B125-47DF-7A1E6819B7A4}"/>
              </a:ext>
            </a:extLst>
          </p:cNvPr>
          <p:cNvSpPr/>
          <p:nvPr userDrawn="1"/>
        </p:nvSpPr>
        <p:spPr>
          <a:xfrm>
            <a:off x="-1" y="4570190"/>
            <a:ext cx="12192001" cy="2287810"/>
          </a:xfrm>
          <a:prstGeom prst="rect">
            <a:avLst/>
          </a:prstGeom>
          <a:solidFill>
            <a:srgbClr val="F0EB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4" name="Picture Placeholder 7">
            <a:extLst>
              <a:ext uri="{FF2B5EF4-FFF2-40B4-BE49-F238E27FC236}">
                <a16:creationId xmlns:a16="http://schemas.microsoft.com/office/drawing/2014/main" id="{5E70779E-03A6-C3DE-E92E-DA3EBF19B8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" y="-1"/>
            <a:ext cx="8105774" cy="4570191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None/>
              <a:defRPr sz="1800"/>
            </a:lvl1pPr>
          </a:lstStyle>
          <a:p>
            <a:r>
              <a:rPr lang="fi-FI"/>
              <a:t>Lisää kuva napsauttamalla kuvaketta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C1DC208-0BC6-4780-8569-0CCC5C8BCB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941" y="5170932"/>
            <a:ext cx="6756699" cy="1143000"/>
          </a:xfrm>
        </p:spPr>
        <p:txBody>
          <a:bodyPr anchor="t"/>
          <a:lstStyle>
            <a:lvl1pPr>
              <a:defRPr sz="3200"/>
            </a:lvl1pPr>
          </a:lstStyle>
          <a:p>
            <a:r>
              <a:rPr lang="fi-FI"/>
              <a:t>Muokkaa perustyyl. napsautt.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D1212A6-DA8E-4A60-A5F2-8DAE3B39E0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19.5.2021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2766CB0-43A1-4E89-83D2-9E67BAD632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etra Kokko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E2AEE1E-B285-4162-ABF0-E898A0AD68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160B98-140E-4345-B1A3-2A7247C42973}" type="slidenum">
              <a:rPr lang="fi-FI" smtClean="0"/>
              <a:t>‹#›</a:t>
            </a:fld>
            <a:endParaRPr lang="fi-FI"/>
          </a:p>
        </p:txBody>
      </p:sp>
      <p:sp>
        <p:nvSpPr>
          <p:cNvPr id="12" name="Free-form: Shape 11">
            <a:extLst>
              <a:ext uri="{FF2B5EF4-FFF2-40B4-BE49-F238E27FC236}">
                <a16:creationId xmlns:a16="http://schemas.microsoft.com/office/drawing/2014/main" id="{16E5BBD8-3D18-CC13-B42D-BA6270086E42}"/>
              </a:ext>
            </a:extLst>
          </p:cNvPr>
          <p:cNvSpPr/>
          <p:nvPr/>
        </p:nvSpPr>
        <p:spPr>
          <a:xfrm>
            <a:off x="8105775" y="0"/>
            <a:ext cx="378679" cy="4568336"/>
          </a:xfrm>
          <a:custGeom>
            <a:avLst/>
            <a:gdLst>
              <a:gd name="connsiteX0" fmla="*/ 378679 w 378679"/>
              <a:gd name="connsiteY0" fmla="*/ 0 h 4570191"/>
              <a:gd name="connsiteX1" fmla="*/ 378679 w 378679"/>
              <a:gd name="connsiteY1" fmla="*/ 4570191 h 4570191"/>
              <a:gd name="connsiteX2" fmla="*/ 0 w 378679"/>
              <a:gd name="connsiteY2" fmla="*/ 4570191 h 4570191"/>
              <a:gd name="connsiteX3" fmla="*/ 0 w 378679"/>
              <a:gd name="connsiteY3" fmla="*/ 0 h 4570191"/>
              <a:gd name="connsiteX4" fmla="*/ 378679 w 378679"/>
              <a:gd name="connsiteY4" fmla="*/ 0 h 45701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8679" h="4570191">
                <a:moveTo>
                  <a:pt x="378679" y="0"/>
                </a:moveTo>
                <a:lnTo>
                  <a:pt x="378679" y="4570191"/>
                </a:lnTo>
                <a:lnTo>
                  <a:pt x="0" y="4570191"/>
                </a:lnTo>
                <a:lnTo>
                  <a:pt x="0" y="0"/>
                </a:lnTo>
                <a:lnTo>
                  <a:pt x="378679" y="0"/>
                </a:lnTo>
                <a:close/>
              </a:path>
            </a:pathLst>
          </a:custGeom>
          <a:solidFill>
            <a:schemeClr val="accent3"/>
          </a:solidFill>
          <a:ln w="35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3" name="Free-form: Shape 12">
            <a:extLst>
              <a:ext uri="{FF2B5EF4-FFF2-40B4-BE49-F238E27FC236}">
                <a16:creationId xmlns:a16="http://schemas.microsoft.com/office/drawing/2014/main" id="{F88FF5DF-8F63-E6E6-5985-36E7158CDBC7}"/>
              </a:ext>
            </a:extLst>
          </p:cNvPr>
          <p:cNvSpPr/>
          <p:nvPr/>
        </p:nvSpPr>
        <p:spPr>
          <a:xfrm>
            <a:off x="8869551" y="0"/>
            <a:ext cx="385100" cy="4568336"/>
          </a:xfrm>
          <a:custGeom>
            <a:avLst/>
            <a:gdLst>
              <a:gd name="connsiteX0" fmla="*/ 385101 w 385100"/>
              <a:gd name="connsiteY0" fmla="*/ 0 h 4570191"/>
              <a:gd name="connsiteX1" fmla="*/ 385101 w 385100"/>
              <a:gd name="connsiteY1" fmla="*/ 4570191 h 4570191"/>
              <a:gd name="connsiteX2" fmla="*/ 0 w 385100"/>
              <a:gd name="connsiteY2" fmla="*/ 4570191 h 4570191"/>
              <a:gd name="connsiteX3" fmla="*/ 0 w 385100"/>
              <a:gd name="connsiteY3" fmla="*/ 0 h 4570191"/>
              <a:gd name="connsiteX4" fmla="*/ 385101 w 385100"/>
              <a:gd name="connsiteY4" fmla="*/ 0 h 45701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5100" h="4570191">
                <a:moveTo>
                  <a:pt x="385101" y="0"/>
                </a:moveTo>
                <a:lnTo>
                  <a:pt x="385101" y="4570191"/>
                </a:lnTo>
                <a:lnTo>
                  <a:pt x="0" y="4570191"/>
                </a:lnTo>
                <a:lnTo>
                  <a:pt x="0" y="0"/>
                </a:lnTo>
                <a:lnTo>
                  <a:pt x="385101" y="0"/>
                </a:lnTo>
                <a:close/>
              </a:path>
            </a:pathLst>
          </a:custGeom>
          <a:solidFill>
            <a:schemeClr val="accent3"/>
          </a:solidFill>
          <a:ln w="35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4" name="Free-form: Shape 13">
            <a:extLst>
              <a:ext uri="{FF2B5EF4-FFF2-40B4-BE49-F238E27FC236}">
                <a16:creationId xmlns:a16="http://schemas.microsoft.com/office/drawing/2014/main" id="{B2086361-D08C-2A10-C9AC-F7580BD19271}"/>
              </a:ext>
            </a:extLst>
          </p:cNvPr>
          <p:cNvSpPr/>
          <p:nvPr/>
        </p:nvSpPr>
        <p:spPr>
          <a:xfrm>
            <a:off x="9639735" y="0"/>
            <a:ext cx="385100" cy="4568336"/>
          </a:xfrm>
          <a:custGeom>
            <a:avLst/>
            <a:gdLst>
              <a:gd name="connsiteX0" fmla="*/ 385101 w 385100"/>
              <a:gd name="connsiteY0" fmla="*/ 0 h 4570191"/>
              <a:gd name="connsiteX1" fmla="*/ 385101 w 385100"/>
              <a:gd name="connsiteY1" fmla="*/ 4570191 h 4570191"/>
              <a:gd name="connsiteX2" fmla="*/ 0 w 385100"/>
              <a:gd name="connsiteY2" fmla="*/ 4570191 h 4570191"/>
              <a:gd name="connsiteX3" fmla="*/ 0 w 385100"/>
              <a:gd name="connsiteY3" fmla="*/ 0 h 4570191"/>
              <a:gd name="connsiteX4" fmla="*/ 385101 w 385100"/>
              <a:gd name="connsiteY4" fmla="*/ 0 h 45701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5100" h="4570191">
                <a:moveTo>
                  <a:pt x="385101" y="0"/>
                </a:moveTo>
                <a:lnTo>
                  <a:pt x="385101" y="4570191"/>
                </a:lnTo>
                <a:lnTo>
                  <a:pt x="0" y="4570191"/>
                </a:lnTo>
                <a:lnTo>
                  <a:pt x="0" y="0"/>
                </a:lnTo>
                <a:lnTo>
                  <a:pt x="385101" y="0"/>
                </a:lnTo>
                <a:close/>
              </a:path>
            </a:pathLst>
          </a:custGeom>
          <a:solidFill>
            <a:schemeClr val="accent3"/>
          </a:solidFill>
          <a:ln w="35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5" name="Free-form: Shape 14">
            <a:extLst>
              <a:ext uri="{FF2B5EF4-FFF2-40B4-BE49-F238E27FC236}">
                <a16:creationId xmlns:a16="http://schemas.microsoft.com/office/drawing/2014/main" id="{C86574D7-D6D6-EF56-FB66-14F53A064D5B}"/>
              </a:ext>
            </a:extLst>
          </p:cNvPr>
          <p:cNvSpPr/>
          <p:nvPr/>
        </p:nvSpPr>
        <p:spPr>
          <a:xfrm>
            <a:off x="10409932" y="0"/>
            <a:ext cx="385100" cy="4568336"/>
          </a:xfrm>
          <a:custGeom>
            <a:avLst/>
            <a:gdLst>
              <a:gd name="connsiteX0" fmla="*/ 385101 w 385100"/>
              <a:gd name="connsiteY0" fmla="*/ 0 h 4570191"/>
              <a:gd name="connsiteX1" fmla="*/ 385101 w 385100"/>
              <a:gd name="connsiteY1" fmla="*/ 4570191 h 4570191"/>
              <a:gd name="connsiteX2" fmla="*/ 0 w 385100"/>
              <a:gd name="connsiteY2" fmla="*/ 4570191 h 4570191"/>
              <a:gd name="connsiteX3" fmla="*/ 0 w 385100"/>
              <a:gd name="connsiteY3" fmla="*/ 0 h 4570191"/>
              <a:gd name="connsiteX4" fmla="*/ 385101 w 385100"/>
              <a:gd name="connsiteY4" fmla="*/ 0 h 45701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5100" h="4570191">
                <a:moveTo>
                  <a:pt x="385101" y="0"/>
                </a:moveTo>
                <a:lnTo>
                  <a:pt x="385101" y="4570191"/>
                </a:lnTo>
                <a:lnTo>
                  <a:pt x="0" y="4570191"/>
                </a:lnTo>
                <a:lnTo>
                  <a:pt x="0" y="0"/>
                </a:lnTo>
                <a:lnTo>
                  <a:pt x="385101" y="0"/>
                </a:lnTo>
                <a:close/>
              </a:path>
            </a:pathLst>
          </a:custGeom>
          <a:solidFill>
            <a:schemeClr val="accent3"/>
          </a:solidFill>
          <a:ln w="35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6" name="Free-form: Shape 15">
            <a:extLst>
              <a:ext uri="{FF2B5EF4-FFF2-40B4-BE49-F238E27FC236}">
                <a16:creationId xmlns:a16="http://schemas.microsoft.com/office/drawing/2014/main" id="{294352AE-8336-96CB-B1E6-4E7E7F5C772A}"/>
              </a:ext>
            </a:extLst>
          </p:cNvPr>
          <p:cNvSpPr/>
          <p:nvPr/>
        </p:nvSpPr>
        <p:spPr>
          <a:xfrm>
            <a:off x="11180116" y="0"/>
            <a:ext cx="385100" cy="4568336"/>
          </a:xfrm>
          <a:custGeom>
            <a:avLst/>
            <a:gdLst>
              <a:gd name="connsiteX0" fmla="*/ 385100 w 385100"/>
              <a:gd name="connsiteY0" fmla="*/ 0 h 4570191"/>
              <a:gd name="connsiteX1" fmla="*/ 385100 w 385100"/>
              <a:gd name="connsiteY1" fmla="*/ 4570191 h 4570191"/>
              <a:gd name="connsiteX2" fmla="*/ 0 w 385100"/>
              <a:gd name="connsiteY2" fmla="*/ 4570191 h 4570191"/>
              <a:gd name="connsiteX3" fmla="*/ 0 w 385100"/>
              <a:gd name="connsiteY3" fmla="*/ 0 h 4570191"/>
              <a:gd name="connsiteX4" fmla="*/ 385100 w 385100"/>
              <a:gd name="connsiteY4" fmla="*/ 0 h 45701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5100" h="4570191">
                <a:moveTo>
                  <a:pt x="385100" y="0"/>
                </a:moveTo>
                <a:lnTo>
                  <a:pt x="385100" y="4570191"/>
                </a:lnTo>
                <a:lnTo>
                  <a:pt x="0" y="4570191"/>
                </a:lnTo>
                <a:lnTo>
                  <a:pt x="0" y="0"/>
                </a:lnTo>
                <a:lnTo>
                  <a:pt x="385100" y="0"/>
                </a:lnTo>
                <a:close/>
              </a:path>
            </a:pathLst>
          </a:custGeom>
          <a:solidFill>
            <a:schemeClr val="accent3"/>
          </a:solidFill>
          <a:ln w="35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7" name="Free-form: Shape 16">
            <a:extLst>
              <a:ext uri="{FF2B5EF4-FFF2-40B4-BE49-F238E27FC236}">
                <a16:creationId xmlns:a16="http://schemas.microsoft.com/office/drawing/2014/main" id="{005D8EB3-53B4-CC5F-7972-88D5D8352E6C}"/>
              </a:ext>
            </a:extLst>
          </p:cNvPr>
          <p:cNvSpPr/>
          <p:nvPr userDrawn="1"/>
        </p:nvSpPr>
        <p:spPr>
          <a:xfrm>
            <a:off x="11950317" y="0"/>
            <a:ext cx="241724" cy="4568336"/>
          </a:xfrm>
          <a:custGeom>
            <a:avLst/>
            <a:gdLst>
              <a:gd name="connsiteX0" fmla="*/ 0 w 241724"/>
              <a:gd name="connsiteY0" fmla="*/ 4570191 h 4570191"/>
              <a:gd name="connsiteX1" fmla="*/ 0 w 241724"/>
              <a:gd name="connsiteY1" fmla="*/ 0 h 4570191"/>
              <a:gd name="connsiteX2" fmla="*/ 241725 w 241724"/>
              <a:gd name="connsiteY2" fmla="*/ 0 h 4570191"/>
              <a:gd name="connsiteX3" fmla="*/ 241725 w 241724"/>
              <a:gd name="connsiteY3" fmla="*/ 4570191 h 4570191"/>
              <a:gd name="connsiteX4" fmla="*/ 0 w 241724"/>
              <a:gd name="connsiteY4" fmla="*/ 4570191 h 45701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1724" h="4570191">
                <a:moveTo>
                  <a:pt x="0" y="4570191"/>
                </a:moveTo>
                <a:lnTo>
                  <a:pt x="0" y="0"/>
                </a:lnTo>
                <a:lnTo>
                  <a:pt x="241725" y="0"/>
                </a:lnTo>
                <a:lnTo>
                  <a:pt x="241725" y="4570191"/>
                </a:lnTo>
                <a:lnTo>
                  <a:pt x="0" y="4570191"/>
                </a:lnTo>
                <a:close/>
              </a:path>
            </a:pathLst>
          </a:custGeom>
          <a:solidFill>
            <a:schemeClr val="accent3"/>
          </a:solidFill>
          <a:ln w="35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A24A5D3F-B208-9740-8F43-58C8D911A4A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39507" y="5596332"/>
            <a:ext cx="2090175" cy="703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7694988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olen sivun kuva violetti no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0DB878-8E84-426A-BEF0-AF1AAFA1F9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518" y="557866"/>
            <a:ext cx="5231502" cy="1988564"/>
          </a:xfrm>
        </p:spPr>
        <p:txBody>
          <a:bodyPr anchor="b"/>
          <a:lstStyle/>
          <a:p>
            <a:r>
              <a:rPr lang="fi-FI" noProof="0"/>
              <a:t>Lisää otsikko tähän</a:t>
            </a:r>
          </a:p>
        </p:txBody>
      </p:sp>
      <p:sp>
        <p:nvSpPr>
          <p:cNvPr id="11" name="Tekstin paikkamerkki 10">
            <a:extLst>
              <a:ext uri="{FF2B5EF4-FFF2-40B4-BE49-F238E27FC236}">
                <a16:creationId xmlns:a16="http://schemas.microsoft.com/office/drawing/2014/main" id="{7B9F0533-6D2D-7E7F-A366-F9F3682A7B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6238" y="2798064"/>
            <a:ext cx="5232400" cy="2811780"/>
          </a:xfrm>
        </p:spPr>
        <p:txBody>
          <a:bodyPr/>
          <a:lstStyle/>
          <a:p>
            <a:pPr lvl="0"/>
            <a:r>
              <a:rPr lang="fi-FI" noProof="0"/>
              <a:t>Lisää ensimmäisen tason tekstiä tähän</a:t>
            </a:r>
          </a:p>
          <a:p>
            <a:pPr lvl="1"/>
            <a:r>
              <a:rPr lang="fi-FI" noProof="0"/>
              <a:t>Toisen tason teksti</a:t>
            </a:r>
          </a:p>
          <a:p>
            <a:pPr lvl="2"/>
            <a:r>
              <a:rPr lang="fi-FI" noProof="0"/>
              <a:t>Kolmannen tason teksti</a:t>
            </a:r>
          </a:p>
          <a:p>
            <a:pPr lvl="3"/>
            <a:r>
              <a:rPr lang="fi-FI" noProof="0"/>
              <a:t>Neljännen tason teksti</a:t>
            </a:r>
          </a:p>
          <a:p>
            <a:pPr lvl="4"/>
            <a:r>
              <a:rPr lang="fi-FI" noProof="0"/>
              <a:t>Viidennen tason teksti</a:t>
            </a:r>
          </a:p>
        </p:txBody>
      </p:sp>
      <p:sp>
        <p:nvSpPr>
          <p:cNvPr id="3" name="Picture Placeholder 7">
            <a:extLst>
              <a:ext uri="{FF2B5EF4-FFF2-40B4-BE49-F238E27FC236}">
                <a16:creationId xmlns:a16="http://schemas.microsoft.com/office/drawing/2014/main" id="{58B4C86C-6C41-0B0F-179D-39748A67D4A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5999" cy="6858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None/>
              <a:defRPr sz="1800"/>
            </a:lvl1pPr>
          </a:lstStyle>
          <a:p>
            <a:r>
              <a:rPr lang="fi-FI" noProof="0"/>
              <a:t>Lisää kuva napsauttamalla kuvaketta</a:t>
            </a:r>
          </a:p>
        </p:txBody>
      </p:sp>
      <p:sp>
        <p:nvSpPr>
          <p:cNvPr id="12" name="Tekstin paikkamerkki 11">
            <a:extLst>
              <a:ext uri="{FF2B5EF4-FFF2-40B4-BE49-F238E27FC236}">
                <a16:creationId xmlns:a16="http://schemas.microsoft.com/office/drawing/2014/main" id="{4788870C-EEEC-0256-F974-F3A60DD573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96000" y="3812208"/>
            <a:ext cx="3043583" cy="3045791"/>
          </a:xfrm>
          <a:solidFill>
            <a:srgbClr val="FFE1FF"/>
          </a:solidFill>
        </p:spPr>
        <p:txBody>
          <a:bodyPr lIns="180000" tIns="180000" rIns="72000"/>
          <a:lstStyle>
            <a:lvl1pPr marL="0" indent="0">
              <a:lnSpc>
                <a:spcPct val="95000"/>
              </a:lnSpc>
              <a:buNone/>
              <a:defRPr sz="2800" spc="-70" baseline="0"/>
            </a:lvl1pPr>
          </a:lstStyle>
          <a:p>
            <a:pPr lvl="0"/>
            <a:r>
              <a:rPr lang="fi-FI" noProof="0"/>
              <a:t>Lisää tekstiä tähän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E996DCA-8E68-4F4A-A4A6-ACE6BC7F24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A62AB9-E6CC-4DB0-9BB7-981D50A3B032}" type="datetime1">
              <a:rPr lang="fi-FI" noProof="0" smtClean="0"/>
              <a:t>12.3.2026</a:t>
            </a:fld>
            <a:endParaRPr lang="fi-FI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1006426319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olen sivun kuva vihreä no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>
            <a:extLst>
              <a:ext uri="{FF2B5EF4-FFF2-40B4-BE49-F238E27FC236}">
                <a16:creationId xmlns:a16="http://schemas.microsoft.com/office/drawing/2014/main" id="{A6B46CC0-9B08-F6BD-6B08-FF8F34EFE78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5999" cy="6858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None/>
              <a:defRPr sz="1800"/>
            </a:lvl1pPr>
          </a:lstStyle>
          <a:p>
            <a:r>
              <a:rPr lang="fi-FI" noProof="0"/>
              <a:t>Lisää kuva napsauttamalla kuvakett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0DB878-8E84-426A-BEF0-AF1AAFA1F9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518" y="557866"/>
            <a:ext cx="5231502" cy="1988564"/>
          </a:xfrm>
        </p:spPr>
        <p:txBody>
          <a:bodyPr anchor="b"/>
          <a:lstStyle>
            <a:lvl1pPr>
              <a:defRPr baseline="0"/>
            </a:lvl1pPr>
          </a:lstStyle>
          <a:p>
            <a:r>
              <a:rPr lang="fi-FI" noProof="0"/>
              <a:t>Lisää otsikko tähän</a:t>
            </a:r>
          </a:p>
        </p:txBody>
      </p:sp>
      <p:sp>
        <p:nvSpPr>
          <p:cNvPr id="11" name="Tekstin paikkamerkki 10">
            <a:extLst>
              <a:ext uri="{FF2B5EF4-FFF2-40B4-BE49-F238E27FC236}">
                <a16:creationId xmlns:a16="http://schemas.microsoft.com/office/drawing/2014/main" id="{7B9F0533-6D2D-7E7F-A366-F9F3682A7B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6238" y="2798064"/>
            <a:ext cx="5232400" cy="2811780"/>
          </a:xfrm>
        </p:spPr>
        <p:txBody>
          <a:bodyPr/>
          <a:lstStyle/>
          <a:p>
            <a:pPr lvl="0"/>
            <a:r>
              <a:rPr lang="fi-FI" noProof="0"/>
              <a:t>Lisää ensimmäisen tason tekstiä tähän</a:t>
            </a:r>
          </a:p>
          <a:p>
            <a:pPr lvl="1"/>
            <a:r>
              <a:rPr lang="fi-FI" noProof="0"/>
              <a:t>Toisen tason teksti</a:t>
            </a:r>
          </a:p>
          <a:p>
            <a:pPr lvl="2"/>
            <a:r>
              <a:rPr lang="fi-FI" noProof="0"/>
              <a:t>Kolmannen tason teksti</a:t>
            </a:r>
          </a:p>
          <a:p>
            <a:pPr lvl="3"/>
            <a:r>
              <a:rPr lang="fi-FI" noProof="0"/>
              <a:t>Neljännen tason teksti</a:t>
            </a:r>
          </a:p>
          <a:p>
            <a:pPr lvl="4"/>
            <a:r>
              <a:rPr lang="fi-FI" noProof="0"/>
              <a:t>Viidennen tason teksti</a:t>
            </a:r>
          </a:p>
        </p:txBody>
      </p:sp>
      <p:sp>
        <p:nvSpPr>
          <p:cNvPr id="13" name="Tekstin paikkamerkki 11">
            <a:extLst>
              <a:ext uri="{FF2B5EF4-FFF2-40B4-BE49-F238E27FC236}">
                <a16:creationId xmlns:a16="http://schemas.microsoft.com/office/drawing/2014/main" id="{128E762A-4CE0-A725-4E9E-4E9AC3EA253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144000" y="3812208"/>
            <a:ext cx="3043583" cy="3045791"/>
          </a:xfrm>
          <a:solidFill>
            <a:srgbClr val="B4FFAA"/>
          </a:solidFill>
        </p:spPr>
        <p:txBody>
          <a:bodyPr lIns="180000" tIns="180000" rIns="72000"/>
          <a:lstStyle>
            <a:lvl1pPr marL="0" indent="0">
              <a:lnSpc>
                <a:spcPct val="95000"/>
              </a:lnSpc>
              <a:buNone/>
              <a:defRPr sz="2800" spc="-70" baseline="0"/>
            </a:lvl1pPr>
          </a:lstStyle>
          <a:p>
            <a:pPr lvl="0"/>
            <a:r>
              <a:rPr lang="fi-FI" noProof="0"/>
              <a:t>Lisää tekstiä tähän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E996DCA-8E68-4F4A-A4A6-ACE6BC7F24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8A0DA1-EED1-479D-B7AA-26509D70C4D4}" type="datetime1">
              <a:rPr lang="fi-FI" noProof="0" smtClean="0"/>
              <a:t>12.3.2026</a:t>
            </a:fld>
            <a:endParaRPr lang="fi-FI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485957758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olen sivun kuva sininen no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>
            <a:extLst>
              <a:ext uri="{FF2B5EF4-FFF2-40B4-BE49-F238E27FC236}">
                <a16:creationId xmlns:a16="http://schemas.microsoft.com/office/drawing/2014/main" id="{32F809D4-1743-A3E9-3A4F-FD688BED92C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5999" cy="6858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None/>
              <a:defRPr sz="1800"/>
            </a:lvl1pPr>
          </a:lstStyle>
          <a:p>
            <a:r>
              <a:rPr lang="fi-FI" noProof="0"/>
              <a:t>Lisää kuva napsauttamalla kuvakett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0DB878-8E84-426A-BEF0-AF1AAFA1F9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518" y="557866"/>
            <a:ext cx="5231502" cy="1988564"/>
          </a:xfrm>
        </p:spPr>
        <p:txBody>
          <a:bodyPr anchor="b"/>
          <a:lstStyle/>
          <a:p>
            <a:r>
              <a:rPr lang="fi-FI" noProof="0"/>
              <a:t>Lisää otsikko tähän</a:t>
            </a:r>
          </a:p>
        </p:txBody>
      </p:sp>
      <p:sp>
        <p:nvSpPr>
          <p:cNvPr id="11" name="Tekstin paikkamerkki 10">
            <a:extLst>
              <a:ext uri="{FF2B5EF4-FFF2-40B4-BE49-F238E27FC236}">
                <a16:creationId xmlns:a16="http://schemas.microsoft.com/office/drawing/2014/main" id="{7B9F0533-6D2D-7E7F-A366-F9F3682A7B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6238" y="2798064"/>
            <a:ext cx="5232400" cy="2811780"/>
          </a:xfrm>
        </p:spPr>
        <p:txBody>
          <a:bodyPr/>
          <a:lstStyle/>
          <a:p>
            <a:pPr lvl="0"/>
            <a:r>
              <a:rPr lang="fi-FI" noProof="0"/>
              <a:t>Lisää ensimmäisen tason tekstiä tähän</a:t>
            </a:r>
          </a:p>
          <a:p>
            <a:pPr lvl="1"/>
            <a:r>
              <a:rPr lang="fi-FI" noProof="0"/>
              <a:t>Toisen tason teksti</a:t>
            </a:r>
          </a:p>
          <a:p>
            <a:pPr lvl="2"/>
            <a:r>
              <a:rPr lang="fi-FI" noProof="0"/>
              <a:t>Kolmannen tason teksti</a:t>
            </a:r>
          </a:p>
          <a:p>
            <a:pPr lvl="3"/>
            <a:r>
              <a:rPr lang="fi-FI" noProof="0"/>
              <a:t>Neljännen tason teksti</a:t>
            </a:r>
          </a:p>
          <a:p>
            <a:pPr lvl="4"/>
            <a:r>
              <a:rPr lang="fi-FI" noProof="0"/>
              <a:t>Viidennen tason teksti</a:t>
            </a:r>
          </a:p>
        </p:txBody>
      </p:sp>
      <p:sp>
        <p:nvSpPr>
          <p:cNvPr id="13" name="Tekstin paikkamerkki 11">
            <a:extLst>
              <a:ext uri="{FF2B5EF4-FFF2-40B4-BE49-F238E27FC236}">
                <a16:creationId xmlns:a16="http://schemas.microsoft.com/office/drawing/2014/main" id="{128E762A-4CE0-A725-4E9E-4E9AC3EA253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5382" y="0"/>
            <a:ext cx="3021723" cy="3045791"/>
          </a:xfrm>
          <a:solidFill>
            <a:srgbClr val="DCEFFE"/>
          </a:solidFill>
        </p:spPr>
        <p:txBody>
          <a:bodyPr lIns="180000" tIns="180000" rIns="72000"/>
          <a:lstStyle>
            <a:lvl1pPr marL="0" indent="0">
              <a:lnSpc>
                <a:spcPct val="95000"/>
              </a:lnSpc>
              <a:buNone/>
              <a:defRPr sz="2800" spc="-70" baseline="0"/>
            </a:lvl1pPr>
          </a:lstStyle>
          <a:p>
            <a:pPr lvl="0"/>
            <a:r>
              <a:rPr lang="fi-FI" noProof="0"/>
              <a:t>Lisää tekstiä tähän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E996DCA-8E68-4F4A-A4A6-ACE6BC7F24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4D9090-8A49-4797-A025-969EFFD13C73}" type="datetime1">
              <a:rPr lang="fi-FI" noProof="0" smtClean="0"/>
              <a:t>12.3.2026</a:t>
            </a:fld>
            <a:endParaRPr lang="fi-FI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2097460997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olen sivun kuva punainen no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>
            <a:extLst>
              <a:ext uri="{FF2B5EF4-FFF2-40B4-BE49-F238E27FC236}">
                <a16:creationId xmlns:a16="http://schemas.microsoft.com/office/drawing/2014/main" id="{461A3ACA-035B-13A6-1289-B9430BC286B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5999" cy="6858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None/>
              <a:defRPr sz="1800"/>
            </a:lvl1pPr>
          </a:lstStyle>
          <a:p>
            <a:r>
              <a:rPr lang="fi-FI" noProof="0"/>
              <a:t>Lisää kuva napsauttamalla kuvakett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0DB878-8E84-426A-BEF0-AF1AAFA1F9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518" y="557866"/>
            <a:ext cx="5231502" cy="1988564"/>
          </a:xfrm>
        </p:spPr>
        <p:txBody>
          <a:bodyPr anchor="b"/>
          <a:lstStyle/>
          <a:p>
            <a:r>
              <a:rPr lang="fi-FI" noProof="0"/>
              <a:t>Lisää otsikko tähän</a:t>
            </a:r>
          </a:p>
        </p:txBody>
      </p:sp>
      <p:sp>
        <p:nvSpPr>
          <p:cNvPr id="11" name="Tekstin paikkamerkki 10">
            <a:extLst>
              <a:ext uri="{FF2B5EF4-FFF2-40B4-BE49-F238E27FC236}">
                <a16:creationId xmlns:a16="http://schemas.microsoft.com/office/drawing/2014/main" id="{7B9F0533-6D2D-7E7F-A366-F9F3682A7B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6238" y="2798064"/>
            <a:ext cx="5232400" cy="2811780"/>
          </a:xfrm>
        </p:spPr>
        <p:txBody>
          <a:bodyPr/>
          <a:lstStyle/>
          <a:p>
            <a:pPr lvl="0"/>
            <a:r>
              <a:rPr lang="fi-FI" noProof="0"/>
              <a:t>Lisää ensimmäisen tason tekstiä tähän</a:t>
            </a:r>
          </a:p>
          <a:p>
            <a:pPr lvl="1"/>
            <a:r>
              <a:rPr lang="fi-FI" noProof="0"/>
              <a:t>Toisen tason teksti</a:t>
            </a:r>
          </a:p>
          <a:p>
            <a:pPr lvl="2"/>
            <a:r>
              <a:rPr lang="fi-FI" noProof="0"/>
              <a:t>Kolmannen tason teksti</a:t>
            </a:r>
          </a:p>
          <a:p>
            <a:pPr lvl="3"/>
            <a:r>
              <a:rPr lang="fi-FI" noProof="0"/>
              <a:t>Neljännen tason teksti</a:t>
            </a:r>
          </a:p>
          <a:p>
            <a:pPr lvl="4"/>
            <a:r>
              <a:rPr lang="fi-FI" noProof="0"/>
              <a:t>Viidennen tason teksti</a:t>
            </a:r>
          </a:p>
        </p:txBody>
      </p:sp>
      <p:sp>
        <p:nvSpPr>
          <p:cNvPr id="12" name="Tekstin paikkamerkki 11">
            <a:extLst>
              <a:ext uri="{FF2B5EF4-FFF2-40B4-BE49-F238E27FC236}">
                <a16:creationId xmlns:a16="http://schemas.microsoft.com/office/drawing/2014/main" id="{4788870C-EEEC-0256-F974-F3A60DD573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96000" y="3812209"/>
            <a:ext cx="3043583" cy="3045791"/>
          </a:xfrm>
          <a:solidFill>
            <a:srgbClr val="FFE6E6"/>
          </a:solidFill>
        </p:spPr>
        <p:txBody>
          <a:bodyPr lIns="180000" tIns="180000" rIns="72000"/>
          <a:lstStyle>
            <a:lvl1pPr marL="0" indent="0">
              <a:lnSpc>
                <a:spcPct val="95000"/>
              </a:lnSpc>
              <a:buNone/>
              <a:defRPr sz="2800" spc="-70" baseline="0"/>
            </a:lvl1pPr>
          </a:lstStyle>
          <a:p>
            <a:pPr lvl="0"/>
            <a:r>
              <a:rPr lang="fi-FI" noProof="0"/>
              <a:t>Lisää tekstiä tähän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E996DCA-8E68-4F4A-A4A6-ACE6BC7F24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93357E-D734-4647-9439-35A41CAD302F}" type="datetime1">
              <a:rPr lang="fi-FI" noProof="0" smtClean="0"/>
              <a:t>12.3.2026</a:t>
            </a:fld>
            <a:endParaRPr lang="fi-FI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1078708561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olen sivun kuva keltainen no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>
            <a:extLst>
              <a:ext uri="{FF2B5EF4-FFF2-40B4-BE49-F238E27FC236}">
                <a16:creationId xmlns:a16="http://schemas.microsoft.com/office/drawing/2014/main" id="{A6B46CC0-9B08-F6BD-6B08-FF8F34EFE78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5999" cy="6858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None/>
              <a:defRPr sz="1800"/>
            </a:lvl1pPr>
          </a:lstStyle>
          <a:p>
            <a:r>
              <a:rPr lang="fi-FI" noProof="0"/>
              <a:t>Lisää kuva napsauttamalla kuvakett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0DB878-8E84-426A-BEF0-AF1AAFA1F9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518" y="557866"/>
            <a:ext cx="5231502" cy="1988564"/>
          </a:xfrm>
        </p:spPr>
        <p:txBody>
          <a:bodyPr anchor="b"/>
          <a:lstStyle>
            <a:lvl1pPr>
              <a:defRPr baseline="0"/>
            </a:lvl1pPr>
          </a:lstStyle>
          <a:p>
            <a:r>
              <a:rPr lang="fi-FI" noProof="0"/>
              <a:t>Lisää otsikko tähän</a:t>
            </a:r>
          </a:p>
        </p:txBody>
      </p:sp>
      <p:sp>
        <p:nvSpPr>
          <p:cNvPr id="11" name="Tekstin paikkamerkki 10">
            <a:extLst>
              <a:ext uri="{FF2B5EF4-FFF2-40B4-BE49-F238E27FC236}">
                <a16:creationId xmlns:a16="http://schemas.microsoft.com/office/drawing/2014/main" id="{7B9F0533-6D2D-7E7F-A366-F9F3682A7B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6238" y="2798064"/>
            <a:ext cx="5232400" cy="2811780"/>
          </a:xfrm>
        </p:spPr>
        <p:txBody>
          <a:bodyPr/>
          <a:lstStyle/>
          <a:p>
            <a:pPr lvl="0"/>
            <a:r>
              <a:rPr lang="fi-FI" noProof="0"/>
              <a:t>Lisää ensimmäisen tason tekstiä tähän</a:t>
            </a:r>
          </a:p>
          <a:p>
            <a:pPr lvl="1"/>
            <a:r>
              <a:rPr lang="fi-FI" noProof="0"/>
              <a:t>Toisen tason teksti</a:t>
            </a:r>
          </a:p>
          <a:p>
            <a:pPr lvl="2"/>
            <a:r>
              <a:rPr lang="fi-FI" noProof="0"/>
              <a:t>Kolmannen tason teksti</a:t>
            </a:r>
          </a:p>
          <a:p>
            <a:pPr lvl="3"/>
            <a:r>
              <a:rPr lang="fi-FI" noProof="0"/>
              <a:t>Neljännen tason teksti</a:t>
            </a:r>
          </a:p>
          <a:p>
            <a:pPr lvl="4"/>
            <a:r>
              <a:rPr lang="fi-FI" noProof="0"/>
              <a:t>Viidennen tason teksti</a:t>
            </a:r>
          </a:p>
        </p:txBody>
      </p:sp>
      <p:sp>
        <p:nvSpPr>
          <p:cNvPr id="13" name="Tekstin paikkamerkki 11">
            <a:extLst>
              <a:ext uri="{FF2B5EF4-FFF2-40B4-BE49-F238E27FC236}">
                <a16:creationId xmlns:a16="http://schemas.microsoft.com/office/drawing/2014/main" id="{128E762A-4CE0-A725-4E9E-4E9AC3EA253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144000" y="0"/>
            <a:ext cx="3043583" cy="3045791"/>
          </a:xfrm>
          <a:solidFill>
            <a:srgbClr val="FFFAC3"/>
          </a:solidFill>
        </p:spPr>
        <p:txBody>
          <a:bodyPr lIns="180000" tIns="180000" rIns="72000"/>
          <a:lstStyle>
            <a:lvl1pPr marL="0" indent="0">
              <a:lnSpc>
                <a:spcPct val="95000"/>
              </a:lnSpc>
              <a:buNone/>
              <a:defRPr sz="2800" spc="-70" baseline="0"/>
            </a:lvl1pPr>
          </a:lstStyle>
          <a:p>
            <a:pPr lvl="0"/>
            <a:r>
              <a:rPr lang="fi-FI" noProof="0"/>
              <a:t>Lisää tekstiä tähän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E996DCA-8E68-4F4A-A4A6-ACE6BC7F24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51D735-DFD2-460E-AF89-001B6E086C92}" type="datetime1">
              <a:rPr lang="fi-FI" noProof="0" smtClean="0"/>
              <a:t>12.3.2026</a:t>
            </a:fld>
            <a:endParaRPr lang="fi-FI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3694852635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 ilman kuvaa violetti">
    <p:bg>
      <p:bgPr>
        <a:solidFill>
          <a:srgbClr val="FFE1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orakulmio 4">
            <a:extLst>
              <a:ext uri="{FF2B5EF4-FFF2-40B4-BE49-F238E27FC236}">
                <a16:creationId xmlns:a16="http://schemas.microsoft.com/office/drawing/2014/main" id="{AC0F3A71-AAB0-F29B-041A-2BC95C03EA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0"/>
            <a:ext cx="6096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0DB878-8E84-426A-BEF0-AF1AAFA1F9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518" y="557866"/>
            <a:ext cx="5231502" cy="1986349"/>
          </a:xfrm>
        </p:spPr>
        <p:txBody>
          <a:bodyPr anchor="b"/>
          <a:lstStyle/>
          <a:p>
            <a:r>
              <a:rPr lang="fi-FI" noProof="0"/>
              <a:t>Lisää otsikko tähän</a:t>
            </a:r>
          </a:p>
        </p:txBody>
      </p:sp>
      <p:sp>
        <p:nvSpPr>
          <p:cNvPr id="11" name="Tekstin paikkamerkki 10">
            <a:extLst>
              <a:ext uri="{FF2B5EF4-FFF2-40B4-BE49-F238E27FC236}">
                <a16:creationId xmlns:a16="http://schemas.microsoft.com/office/drawing/2014/main" id="{7B9F0533-6D2D-7E7F-A366-F9F3682A7B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6238" y="2798064"/>
            <a:ext cx="5232400" cy="2811780"/>
          </a:xfrm>
        </p:spPr>
        <p:txBody>
          <a:bodyPr/>
          <a:lstStyle/>
          <a:p>
            <a:pPr lvl="0"/>
            <a:r>
              <a:rPr lang="fi-FI" noProof="0"/>
              <a:t>Lisää ensimmäisen tason tekstiä tähän</a:t>
            </a:r>
          </a:p>
          <a:p>
            <a:pPr lvl="1"/>
            <a:r>
              <a:rPr lang="fi-FI" noProof="0"/>
              <a:t>Toisen tason teksti</a:t>
            </a:r>
          </a:p>
          <a:p>
            <a:pPr lvl="2"/>
            <a:r>
              <a:rPr lang="fi-FI" noProof="0"/>
              <a:t>Kolmannen tason teksti</a:t>
            </a:r>
          </a:p>
          <a:p>
            <a:pPr lvl="3"/>
            <a:r>
              <a:rPr lang="fi-FI" noProof="0"/>
              <a:t>Neljännen tason teksti</a:t>
            </a:r>
          </a:p>
          <a:p>
            <a:pPr lvl="4"/>
            <a:r>
              <a:rPr lang="fi-FI" noProof="0"/>
              <a:t>Viidennen tason teksti</a:t>
            </a:r>
          </a:p>
        </p:txBody>
      </p:sp>
      <p:sp>
        <p:nvSpPr>
          <p:cNvPr id="12" name="Tekstin paikkamerkki 11">
            <a:extLst>
              <a:ext uri="{FF2B5EF4-FFF2-40B4-BE49-F238E27FC236}">
                <a16:creationId xmlns:a16="http://schemas.microsoft.com/office/drawing/2014/main" id="{4788870C-EEEC-0256-F974-F3A60DD573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87549" y="1594678"/>
            <a:ext cx="5436897" cy="3812207"/>
          </a:xfrm>
          <a:noFill/>
        </p:spPr>
        <p:txBody>
          <a:bodyPr lIns="0" tIns="0" rIns="0" anchor="ctr" anchorCtr="0"/>
          <a:lstStyle>
            <a:lvl1pPr marL="0" indent="0">
              <a:lnSpc>
                <a:spcPct val="90000"/>
              </a:lnSpc>
              <a:buNone/>
              <a:defRPr sz="4000" spc="-130" baseline="0">
                <a:latin typeface="+mj-lt"/>
              </a:defRPr>
            </a:lvl1pPr>
          </a:lstStyle>
          <a:p>
            <a:pPr lvl="0"/>
            <a:r>
              <a:rPr lang="fi-FI" noProof="0"/>
              <a:t>Lisää tekstinosto tähän</a:t>
            </a:r>
          </a:p>
        </p:txBody>
      </p:sp>
      <p:grpSp>
        <p:nvGrpSpPr>
          <p:cNvPr id="6" name="Ryhmä 5">
            <a:extLst>
              <a:ext uri="{FF2B5EF4-FFF2-40B4-BE49-F238E27FC236}">
                <a16:creationId xmlns:a16="http://schemas.microsoft.com/office/drawing/2014/main" id="{E60A3E00-D191-CE2A-0BC2-EC72C60AB5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40807" y="5846175"/>
            <a:ext cx="772691" cy="734802"/>
            <a:chOff x="203203" y="203198"/>
            <a:chExt cx="1117587" cy="1062785"/>
          </a:xfrm>
        </p:grpSpPr>
        <p:sp>
          <p:nvSpPr>
            <p:cNvPr id="8" name="Vapaamuotoinen: Muoto 7">
              <a:extLst>
                <a:ext uri="{FF2B5EF4-FFF2-40B4-BE49-F238E27FC236}">
                  <a16:creationId xmlns:a16="http://schemas.microsoft.com/office/drawing/2014/main" id="{C367D236-C5BC-EDAD-644E-02407316A081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0" name="Vapaamuotoinen: Muoto 9">
              <a:extLst>
                <a:ext uri="{FF2B5EF4-FFF2-40B4-BE49-F238E27FC236}">
                  <a16:creationId xmlns:a16="http://schemas.microsoft.com/office/drawing/2014/main" id="{998FA421-1A05-8E02-D020-1EF1068B695D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3" name="Vapaamuotoinen: Muoto 12">
              <a:extLst>
                <a:ext uri="{FF2B5EF4-FFF2-40B4-BE49-F238E27FC236}">
                  <a16:creationId xmlns:a16="http://schemas.microsoft.com/office/drawing/2014/main" id="{C6151D38-9EC9-128B-B2CE-1668A5845AF5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4" name="Vapaamuotoinen: Muoto 13">
              <a:extLst>
                <a:ext uri="{FF2B5EF4-FFF2-40B4-BE49-F238E27FC236}">
                  <a16:creationId xmlns:a16="http://schemas.microsoft.com/office/drawing/2014/main" id="{4D843E8A-2422-AC1E-8D69-1E8384431E60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5" name="Vapaamuotoinen: Muoto 14">
              <a:extLst>
                <a:ext uri="{FF2B5EF4-FFF2-40B4-BE49-F238E27FC236}">
                  <a16:creationId xmlns:a16="http://schemas.microsoft.com/office/drawing/2014/main" id="{0B90A116-A908-A7DE-5844-944AF402FC7D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6" name="Vapaamuotoinen: Muoto 15">
              <a:extLst>
                <a:ext uri="{FF2B5EF4-FFF2-40B4-BE49-F238E27FC236}">
                  <a16:creationId xmlns:a16="http://schemas.microsoft.com/office/drawing/2014/main" id="{269DC064-0657-5593-56AA-C386F00B51B3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7" name="Vapaamuotoinen: Muoto 16">
              <a:extLst>
                <a:ext uri="{FF2B5EF4-FFF2-40B4-BE49-F238E27FC236}">
                  <a16:creationId xmlns:a16="http://schemas.microsoft.com/office/drawing/2014/main" id="{75EEC3F9-2DC3-521E-9D89-8DDF7C675C95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8" name="Vapaamuotoinen: Muoto 17">
              <a:extLst>
                <a:ext uri="{FF2B5EF4-FFF2-40B4-BE49-F238E27FC236}">
                  <a16:creationId xmlns:a16="http://schemas.microsoft.com/office/drawing/2014/main" id="{F77A7E84-7488-FFF6-C559-5475382FA10C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</p:grp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E996DCA-8E68-4F4A-A4A6-ACE6BC7F24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BB031B-294F-4288-8EE6-0061DE75CB2D}" type="datetime1">
              <a:rPr lang="fi-FI" noProof="0" smtClean="0"/>
              <a:t>12.3.2026</a:t>
            </a:fld>
            <a:endParaRPr lang="fi-FI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1944624039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 ilman kuvaa vihreä">
    <p:bg>
      <p:bgPr>
        <a:solidFill>
          <a:srgbClr val="B4FFA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orakulmio 4">
            <a:extLst>
              <a:ext uri="{FF2B5EF4-FFF2-40B4-BE49-F238E27FC236}">
                <a16:creationId xmlns:a16="http://schemas.microsoft.com/office/drawing/2014/main" id="{AC0F3A71-AAB0-F29B-041A-2BC95C03EA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0"/>
            <a:ext cx="6096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0DB878-8E84-426A-BEF0-AF1AAFA1F9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518" y="557866"/>
            <a:ext cx="5231502" cy="1986349"/>
          </a:xfrm>
        </p:spPr>
        <p:txBody>
          <a:bodyPr anchor="b"/>
          <a:lstStyle/>
          <a:p>
            <a:r>
              <a:rPr lang="fi-FI" noProof="0"/>
              <a:t>Lisää otsikko tähän</a:t>
            </a:r>
          </a:p>
        </p:txBody>
      </p:sp>
      <p:sp>
        <p:nvSpPr>
          <p:cNvPr id="11" name="Tekstin paikkamerkki 10">
            <a:extLst>
              <a:ext uri="{FF2B5EF4-FFF2-40B4-BE49-F238E27FC236}">
                <a16:creationId xmlns:a16="http://schemas.microsoft.com/office/drawing/2014/main" id="{7B9F0533-6D2D-7E7F-A366-F9F3682A7B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6238" y="2798064"/>
            <a:ext cx="5232400" cy="2811780"/>
          </a:xfrm>
        </p:spPr>
        <p:txBody>
          <a:bodyPr/>
          <a:lstStyle/>
          <a:p>
            <a:pPr lvl="0"/>
            <a:r>
              <a:rPr lang="fi-FI" noProof="0"/>
              <a:t>Lisää ensimmäisen tason tekstiä tähän</a:t>
            </a:r>
          </a:p>
          <a:p>
            <a:pPr lvl="1"/>
            <a:r>
              <a:rPr lang="fi-FI" noProof="0"/>
              <a:t>Toisen tason teksti</a:t>
            </a:r>
          </a:p>
          <a:p>
            <a:pPr lvl="2"/>
            <a:r>
              <a:rPr lang="fi-FI" noProof="0"/>
              <a:t>Kolmannen tason teksti</a:t>
            </a:r>
          </a:p>
          <a:p>
            <a:pPr lvl="3"/>
            <a:r>
              <a:rPr lang="fi-FI" noProof="0"/>
              <a:t>Neljännen tason teksti</a:t>
            </a:r>
          </a:p>
          <a:p>
            <a:pPr lvl="4"/>
            <a:r>
              <a:rPr lang="fi-FI" noProof="0"/>
              <a:t>Viidennen tason teksti</a:t>
            </a:r>
          </a:p>
        </p:txBody>
      </p:sp>
      <p:sp>
        <p:nvSpPr>
          <p:cNvPr id="12" name="Tekstin paikkamerkki 11">
            <a:extLst>
              <a:ext uri="{FF2B5EF4-FFF2-40B4-BE49-F238E27FC236}">
                <a16:creationId xmlns:a16="http://schemas.microsoft.com/office/drawing/2014/main" id="{4788870C-EEEC-0256-F974-F3A60DD573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87549" y="1594678"/>
            <a:ext cx="5436897" cy="3812207"/>
          </a:xfrm>
          <a:noFill/>
        </p:spPr>
        <p:txBody>
          <a:bodyPr lIns="0" tIns="0" rIns="0" anchor="ctr" anchorCtr="0"/>
          <a:lstStyle>
            <a:lvl1pPr marL="0" indent="0">
              <a:lnSpc>
                <a:spcPct val="90000"/>
              </a:lnSpc>
              <a:buNone/>
              <a:defRPr sz="4000" spc="-130" baseline="0">
                <a:latin typeface="+mj-lt"/>
              </a:defRPr>
            </a:lvl1pPr>
          </a:lstStyle>
          <a:p>
            <a:pPr lvl="0"/>
            <a:r>
              <a:rPr lang="fi-FI" noProof="0"/>
              <a:t>Lisää tekstinosto tähän</a:t>
            </a:r>
          </a:p>
        </p:txBody>
      </p:sp>
      <p:grpSp>
        <p:nvGrpSpPr>
          <p:cNvPr id="6" name="Ryhmä 5">
            <a:extLst>
              <a:ext uri="{FF2B5EF4-FFF2-40B4-BE49-F238E27FC236}">
                <a16:creationId xmlns:a16="http://schemas.microsoft.com/office/drawing/2014/main" id="{E60A3E00-D191-CE2A-0BC2-EC72C60AB5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40807" y="5846175"/>
            <a:ext cx="772691" cy="734802"/>
            <a:chOff x="203203" y="203198"/>
            <a:chExt cx="1117587" cy="1062785"/>
          </a:xfrm>
        </p:grpSpPr>
        <p:sp>
          <p:nvSpPr>
            <p:cNvPr id="8" name="Vapaamuotoinen: Muoto 7">
              <a:extLst>
                <a:ext uri="{FF2B5EF4-FFF2-40B4-BE49-F238E27FC236}">
                  <a16:creationId xmlns:a16="http://schemas.microsoft.com/office/drawing/2014/main" id="{C367D236-C5BC-EDAD-644E-02407316A081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0" name="Vapaamuotoinen: Muoto 9">
              <a:extLst>
                <a:ext uri="{FF2B5EF4-FFF2-40B4-BE49-F238E27FC236}">
                  <a16:creationId xmlns:a16="http://schemas.microsoft.com/office/drawing/2014/main" id="{998FA421-1A05-8E02-D020-1EF1068B695D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3" name="Vapaamuotoinen: Muoto 12">
              <a:extLst>
                <a:ext uri="{FF2B5EF4-FFF2-40B4-BE49-F238E27FC236}">
                  <a16:creationId xmlns:a16="http://schemas.microsoft.com/office/drawing/2014/main" id="{C6151D38-9EC9-128B-B2CE-1668A5845AF5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4" name="Vapaamuotoinen: Muoto 13">
              <a:extLst>
                <a:ext uri="{FF2B5EF4-FFF2-40B4-BE49-F238E27FC236}">
                  <a16:creationId xmlns:a16="http://schemas.microsoft.com/office/drawing/2014/main" id="{4D843E8A-2422-AC1E-8D69-1E8384431E60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5" name="Vapaamuotoinen: Muoto 14">
              <a:extLst>
                <a:ext uri="{FF2B5EF4-FFF2-40B4-BE49-F238E27FC236}">
                  <a16:creationId xmlns:a16="http://schemas.microsoft.com/office/drawing/2014/main" id="{0B90A116-A908-A7DE-5844-944AF402FC7D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6" name="Vapaamuotoinen: Muoto 15">
              <a:extLst>
                <a:ext uri="{FF2B5EF4-FFF2-40B4-BE49-F238E27FC236}">
                  <a16:creationId xmlns:a16="http://schemas.microsoft.com/office/drawing/2014/main" id="{269DC064-0657-5593-56AA-C386F00B51B3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7" name="Vapaamuotoinen: Muoto 16">
              <a:extLst>
                <a:ext uri="{FF2B5EF4-FFF2-40B4-BE49-F238E27FC236}">
                  <a16:creationId xmlns:a16="http://schemas.microsoft.com/office/drawing/2014/main" id="{75EEC3F9-2DC3-521E-9D89-8DDF7C675C95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8" name="Vapaamuotoinen: Muoto 17">
              <a:extLst>
                <a:ext uri="{FF2B5EF4-FFF2-40B4-BE49-F238E27FC236}">
                  <a16:creationId xmlns:a16="http://schemas.microsoft.com/office/drawing/2014/main" id="{F77A7E84-7488-FFF6-C559-5475382FA10C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</p:grp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E996DCA-8E68-4F4A-A4A6-ACE6BC7F24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147C42-E8FF-471D-8144-5BA112FF63A9}" type="datetime1">
              <a:rPr lang="fi-FI" noProof="0" smtClean="0"/>
              <a:t>12.3.2026</a:t>
            </a:fld>
            <a:endParaRPr lang="fi-FI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1799055213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 ilman kuvaa sininen">
    <p:bg>
      <p:bgPr>
        <a:solidFill>
          <a:srgbClr val="B8E1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orakulmio 4">
            <a:extLst>
              <a:ext uri="{FF2B5EF4-FFF2-40B4-BE49-F238E27FC236}">
                <a16:creationId xmlns:a16="http://schemas.microsoft.com/office/drawing/2014/main" id="{AC0F3A71-AAB0-F29B-041A-2BC95C03EA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0"/>
            <a:ext cx="6096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0DB878-8E84-426A-BEF0-AF1AAFA1F9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518" y="557866"/>
            <a:ext cx="5231502" cy="1986349"/>
          </a:xfrm>
        </p:spPr>
        <p:txBody>
          <a:bodyPr anchor="b"/>
          <a:lstStyle/>
          <a:p>
            <a:r>
              <a:rPr lang="fi-FI" noProof="0"/>
              <a:t>Lisää otsikko tähän</a:t>
            </a:r>
          </a:p>
        </p:txBody>
      </p:sp>
      <p:sp>
        <p:nvSpPr>
          <p:cNvPr id="11" name="Tekstin paikkamerkki 10">
            <a:extLst>
              <a:ext uri="{FF2B5EF4-FFF2-40B4-BE49-F238E27FC236}">
                <a16:creationId xmlns:a16="http://schemas.microsoft.com/office/drawing/2014/main" id="{7B9F0533-6D2D-7E7F-A366-F9F3682A7B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6238" y="2798064"/>
            <a:ext cx="5232400" cy="2811780"/>
          </a:xfrm>
        </p:spPr>
        <p:txBody>
          <a:bodyPr/>
          <a:lstStyle/>
          <a:p>
            <a:pPr lvl="0"/>
            <a:r>
              <a:rPr lang="fi-FI" noProof="0"/>
              <a:t>Lisää ensimmäisen tason tekstiä tähän</a:t>
            </a:r>
          </a:p>
          <a:p>
            <a:pPr lvl="1"/>
            <a:r>
              <a:rPr lang="fi-FI" noProof="0"/>
              <a:t>Toisen tason teksti</a:t>
            </a:r>
          </a:p>
          <a:p>
            <a:pPr lvl="2"/>
            <a:r>
              <a:rPr lang="fi-FI" noProof="0"/>
              <a:t>Kolmannen tason teksti</a:t>
            </a:r>
          </a:p>
          <a:p>
            <a:pPr lvl="3"/>
            <a:r>
              <a:rPr lang="fi-FI" noProof="0"/>
              <a:t>Neljännen tason teksti</a:t>
            </a:r>
          </a:p>
          <a:p>
            <a:pPr lvl="4"/>
            <a:r>
              <a:rPr lang="fi-FI" noProof="0"/>
              <a:t>Viidennen tason teksti</a:t>
            </a:r>
          </a:p>
        </p:txBody>
      </p:sp>
      <p:sp>
        <p:nvSpPr>
          <p:cNvPr id="12" name="Tekstin paikkamerkki 11">
            <a:extLst>
              <a:ext uri="{FF2B5EF4-FFF2-40B4-BE49-F238E27FC236}">
                <a16:creationId xmlns:a16="http://schemas.microsoft.com/office/drawing/2014/main" id="{4788870C-EEEC-0256-F974-F3A60DD573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87549" y="1594678"/>
            <a:ext cx="5436897" cy="3812207"/>
          </a:xfrm>
          <a:noFill/>
        </p:spPr>
        <p:txBody>
          <a:bodyPr lIns="0" tIns="0" rIns="0" anchor="ctr" anchorCtr="0"/>
          <a:lstStyle>
            <a:lvl1pPr marL="0" indent="0">
              <a:lnSpc>
                <a:spcPct val="90000"/>
              </a:lnSpc>
              <a:buNone/>
              <a:defRPr sz="4000" spc="-130" baseline="0">
                <a:latin typeface="+mj-lt"/>
              </a:defRPr>
            </a:lvl1pPr>
          </a:lstStyle>
          <a:p>
            <a:pPr lvl="0"/>
            <a:r>
              <a:rPr lang="fi-FI" noProof="0"/>
              <a:t>Lisää tekstinosto tähän</a:t>
            </a:r>
          </a:p>
        </p:txBody>
      </p:sp>
      <p:grpSp>
        <p:nvGrpSpPr>
          <p:cNvPr id="6" name="Ryhmä 5">
            <a:extLst>
              <a:ext uri="{FF2B5EF4-FFF2-40B4-BE49-F238E27FC236}">
                <a16:creationId xmlns:a16="http://schemas.microsoft.com/office/drawing/2014/main" id="{E60A3E00-D191-CE2A-0BC2-EC72C60AB5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40807" y="5846175"/>
            <a:ext cx="772691" cy="734802"/>
            <a:chOff x="203203" y="203198"/>
            <a:chExt cx="1117587" cy="1062785"/>
          </a:xfrm>
        </p:grpSpPr>
        <p:sp>
          <p:nvSpPr>
            <p:cNvPr id="8" name="Vapaamuotoinen: Muoto 7">
              <a:extLst>
                <a:ext uri="{FF2B5EF4-FFF2-40B4-BE49-F238E27FC236}">
                  <a16:creationId xmlns:a16="http://schemas.microsoft.com/office/drawing/2014/main" id="{C367D236-C5BC-EDAD-644E-02407316A081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0" name="Vapaamuotoinen: Muoto 9">
              <a:extLst>
                <a:ext uri="{FF2B5EF4-FFF2-40B4-BE49-F238E27FC236}">
                  <a16:creationId xmlns:a16="http://schemas.microsoft.com/office/drawing/2014/main" id="{998FA421-1A05-8E02-D020-1EF1068B695D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3" name="Vapaamuotoinen: Muoto 12">
              <a:extLst>
                <a:ext uri="{FF2B5EF4-FFF2-40B4-BE49-F238E27FC236}">
                  <a16:creationId xmlns:a16="http://schemas.microsoft.com/office/drawing/2014/main" id="{C6151D38-9EC9-128B-B2CE-1668A5845AF5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4" name="Vapaamuotoinen: Muoto 13">
              <a:extLst>
                <a:ext uri="{FF2B5EF4-FFF2-40B4-BE49-F238E27FC236}">
                  <a16:creationId xmlns:a16="http://schemas.microsoft.com/office/drawing/2014/main" id="{4D843E8A-2422-AC1E-8D69-1E8384431E60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5" name="Vapaamuotoinen: Muoto 14">
              <a:extLst>
                <a:ext uri="{FF2B5EF4-FFF2-40B4-BE49-F238E27FC236}">
                  <a16:creationId xmlns:a16="http://schemas.microsoft.com/office/drawing/2014/main" id="{0B90A116-A908-A7DE-5844-944AF402FC7D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6" name="Vapaamuotoinen: Muoto 15">
              <a:extLst>
                <a:ext uri="{FF2B5EF4-FFF2-40B4-BE49-F238E27FC236}">
                  <a16:creationId xmlns:a16="http://schemas.microsoft.com/office/drawing/2014/main" id="{269DC064-0657-5593-56AA-C386F00B51B3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7" name="Vapaamuotoinen: Muoto 16">
              <a:extLst>
                <a:ext uri="{FF2B5EF4-FFF2-40B4-BE49-F238E27FC236}">
                  <a16:creationId xmlns:a16="http://schemas.microsoft.com/office/drawing/2014/main" id="{75EEC3F9-2DC3-521E-9D89-8DDF7C675C95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8" name="Vapaamuotoinen: Muoto 17">
              <a:extLst>
                <a:ext uri="{FF2B5EF4-FFF2-40B4-BE49-F238E27FC236}">
                  <a16:creationId xmlns:a16="http://schemas.microsoft.com/office/drawing/2014/main" id="{F77A7E84-7488-FFF6-C559-5475382FA10C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</p:grp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E996DCA-8E68-4F4A-A4A6-ACE6BC7F24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DA1FDE-9F0B-4BC8-A8AC-A90B92A7FC91}" type="datetime1">
              <a:rPr lang="fi-FI" noProof="0" smtClean="0"/>
              <a:t>12.3.2026</a:t>
            </a:fld>
            <a:endParaRPr lang="fi-FI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1081276847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 ilman kuvaa punainen">
    <p:bg>
      <p:bgPr>
        <a:solidFill>
          <a:srgbClr val="FF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orakulmio 4">
            <a:extLst>
              <a:ext uri="{FF2B5EF4-FFF2-40B4-BE49-F238E27FC236}">
                <a16:creationId xmlns:a16="http://schemas.microsoft.com/office/drawing/2014/main" id="{AC0F3A71-AAB0-F29B-041A-2BC95C03EA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0"/>
            <a:ext cx="6096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0DB878-8E84-426A-BEF0-AF1AAFA1F9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518" y="557866"/>
            <a:ext cx="5231502" cy="1986349"/>
          </a:xfrm>
        </p:spPr>
        <p:txBody>
          <a:bodyPr anchor="b"/>
          <a:lstStyle/>
          <a:p>
            <a:r>
              <a:rPr lang="fi-FI" noProof="0"/>
              <a:t>Lisää otsikko tähän</a:t>
            </a:r>
          </a:p>
        </p:txBody>
      </p:sp>
      <p:sp>
        <p:nvSpPr>
          <p:cNvPr id="11" name="Tekstin paikkamerkki 10">
            <a:extLst>
              <a:ext uri="{FF2B5EF4-FFF2-40B4-BE49-F238E27FC236}">
                <a16:creationId xmlns:a16="http://schemas.microsoft.com/office/drawing/2014/main" id="{7B9F0533-6D2D-7E7F-A366-F9F3682A7B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6238" y="2798064"/>
            <a:ext cx="5232400" cy="2811780"/>
          </a:xfrm>
        </p:spPr>
        <p:txBody>
          <a:bodyPr/>
          <a:lstStyle/>
          <a:p>
            <a:pPr lvl="0"/>
            <a:r>
              <a:rPr lang="fi-FI" noProof="0"/>
              <a:t>Lisää ensimmäisen tason tekstiä tähän</a:t>
            </a:r>
          </a:p>
          <a:p>
            <a:pPr lvl="1"/>
            <a:r>
              <a:rPr lang="fi-FI" noProof="0"/>
              <a:t>Toisen tason teksti</a:t>
            </a:r>
          </a:p>
          <a:p>
            <a:pPr lvl="2"/>
            <a:r>
              <a:rPr lang="fi-FI" noProof="0"/>
              <a:t>Kolmannen tason teksti</a:t>
            </a:r>
          </a:p>
          <a:p>
            <a:pPr lvl="3"/>
            <a:r>
              <a:rPr lang="fi-FI" noProof="0"/>
              <a:t>Neljännen tason teksti</a:t>
            </a:r>
          </a:p>
          <a:p>
            <a:pPr lvl="4"/>
            <a:r>
              <a:rPr lang="fi-FI" noProof="0"/>
              <a:t>Viidennen tason teksti</a:t>
            </a:r>
          </a:p>
        </p:txBody>
      </p:sp>
      <p:sp>
        <p:nvSpPr>
          <p:cNvPr id="12" name="Tekstin paikkamerkki 11">
            <a:extLst>
              <a:ext uri="{FF2B5EF4-FFF2-40B4-BE49-F238E27FC236}">
                <a16:creationId xmlns:a16="http://schemas.microsoft.com/office/drawing/2014/main" id="{4788870C-EEEC-0256-F974-F3A60DD573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87549" y="1594678"/>
            <a:ext cx="5436897" cy="3812207"/>
          </a:xfrm>
          <a:noFill/>
        </p:spPr>
        <p:txBody>
          <a:bodyPr lIns="0" tIns="0" rIns="0" anchor="ctr" anchorCtr="0"/>
          <a:lstStyle>
            <a:lvl1pPr marL="0" indent="0">
              <a:lnSpc>
                <a:spcPct val="90000"/>
              </a:lnSpc>
              <a:buNone/>
              <a:defRPr sz="4000" spc="-130" baseline="0">
                <a:latin typeface="+mj-lt"/>
              </a:defRPr>
            </a:lvl1pPr>
          </a:lstStyle>
          <a:p>
            <a:pPr lvl="0"/>
            <a:r>
              <a:rPr lang="fi-FI" noProof="0"/>
              <a:t>Lisää tekstinosto tähän</a:t>
            </a:r>
          </a:p>
        </p:txBody>
      </p:sp>
      <p:grpSp>
        <p:nvGrpSpPr>
          <p:cNvPr id="6" name="Ryhmä 5">
            <a:extLst>
              <a:ext uri="{FF2B5EF4-FFF2-40B4-BE49-F238E27FC236}">
                <a16:creationId xmlns:a16="http://schemas.microsoft.com/office/drawing/2014/main" id="{E60A3E00-D191-CE2A-0BC2-EC72C60AB5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40807" y="5846175"/>
            <a:ext cx="772691" cy="734802"/>
            <a:chOff x="203203" y="203198"/>
            <a:chExt cx="1117587" cy="1062785"/>
          </a:xfrm>
        </p:grpSpPr>
        <p:sp>
          <p:nvSpPr>
            <p:cNvPr id="8" name="Vapaamuotoinen: Muoto 7">
              <a:extLst>
                <a:ext uri="{FF2B5EF4-FFF2-40B4-BE49-F238E27FC236}">
                  <a16:creationId xmlns:a16="http://schemas.microsoft.com/office/drawing/2014/main" id="{C367D236-C5BC-EDAD-644E-02407316A081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0" name="Vapaamuotoinen: Muoto 9">
              <a:extLst>
                <a:ext uri="{FF2B5EF4-FFF2-40B4-BE49-F238E27FC236}">
                  <a16:creationId xmlns:a16="http://schemas.microsoft.com/office/drawing/2014/main" id="{998FA421-1A05-8E02-D020-1EF1068B695D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3" name="Vapaamuotoinen: Muoto 12">
              <a:extLst>
                <a:ext uri="{FF2B5EF4-FFF2-40B4-BE49-F238E27FC236}">
                  <a16:creationId xmlns:a16="http://schemas.microsoft.com/office/drawing/2014/main" id="{C6151D38-9EC9-128B-B2CE-1668A5845AF5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4" name="Vapaamuotoinen: Muoto 13">
              <a:extLst>
                <a:ext uri="{FF2B5EF4-FFF2-40B4-BE49-F238E27FC236}">
                  <a16:creationId xmlns:a16="http://schemas.microsoft.com/office/drawing/2014/main" id="{4D843E8A-2422-AC1E-8D69-1E8384431E60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5" name="Vapaamuotoinen: Muoto 14">
              <a:extLst>
                <a:ext uri="{FF2B5EF4-FFF2-40B4-BE49-F238E27FC236}">
                  <a16:creationId xmlns:a16="http://schemas.microsoft.com/office/drawing/2014/main" id="{0B90A116-A908-A7DE-5844-944AF402FC7D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6" name="Vapaamuotoinen: Muoto 15">
              <a:extLst>
                <a:ext uri="{FF2B5EF4-FFF2-40B4-BE49-F238E27FC236}">
                  <a16:creationId xmlns:a16="http://schemas.microsoft.com/office/drawing/2014/main" id="{269DC064-0657-5593-56AA-C386F00B51B3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7" name="Vapaamuotoinen: Muoto 16">
              <a:extLst>
                <a:ext uri="{FF2B5EF4-FFF2-40B4-BE49-F238E27FC236}">
                  <a16:creationId xmlns:a16="http://schemas.microsoft.com/office/drawing/2014/main" id="{75EEC3F9-2DC3-521E-9D89-8DDF7C675C95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8" name="Vapaamuotoinen: Muoto 17">
              <a:extLst>
                <a:ext uri="{FF2B5EF4-FFF2-40B4-BE49-F238E27FC236}">
                  <a16:creationId xmlns:a16="http://schemas.microsoft.com/office/drawing/2014/main" id="{F77A7E84-7488-FFF6-C559-5475382FA10C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</p:grp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E996DCA-8E68-4F4A-A4A6-ACE6BC7F24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B07452-356A-448A-9F3F-C5E53166F7FA}" type="datetime1">
              <a:rPr lang="fi-FI" noProof="0" smtClean="0"/>
              <a:t>12.3.2026</a:t>
            </a:fld>
            <a:endParaRPr lang="fi-FI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3024075584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 ilman kuvaa keltainen">
    <p:bg>
      <p:bgPr>
        <a:solidFill>
          <a:srgbClr val="FFFAC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orakulmio 4">
            <a:extLst>
              <a:ext uri="{FF2B5EF4-FFF2-40B4-BE49-F238E27FC236}">
                <a16:creationId xmlns:a16="http://schemas.microsoft.com/office/drawing/2014/main" id="{AC0F3A71-AAB0-F29B-041A-2BC95C03EA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0"/>
            <a:ext cx="6096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0DB878-8E84-426A-BEF0-AF1AAFA1F9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518" y="557866"/>
            <a:ext cx="5231502" cy="1986349"/>
          </a:xfrm>
        </p:spPr>
        <p:txBody>
          <a:bodyPr anchor="b"/>
          <a:lstStyle/>
          <a:p>
            <a:r>
              <a:rPr lang="fi-FI" noProof="0"/>
              <a:t>Lisää otsikko tähän</a:t>
            </a:r>
          </a:p>
        </p:txBody>
      </p:sp>
      <p:sp>
        <p:nvSpPr>
          <p:cNvPr id="11" name="Tekstin paikkamerkki 10">
            <a:extLst>
              <a:ext uri="{FF2B5EF4-FFF2-40B4-BE49-F238E27FC236}">
                <a16:creationId xmlns:a16="http://schemas.microsoft.com/office/drawing/2014/main" id="{7B9F0533-6D2D-7E7F-A366-F9F3682A7B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6238" y="2798064"/>
            <a:ext cx="5232400" cy="2811780"/>
          </a:xfrm>
        </p:spPr>
        <p:txBody>
          <a:bodyPr/>
          <a:lstStyle/>
          <a:p>
            <a:pPr lvl="0"/>
            <a:r>
              <a:rPr lang="fi-FI" noProof="0"/>
              <a:t>Lisää ensimmäisen tason tekstiä tähän</a:t>
            </a:r>
          </a:p>
          <a:p>
            <a:pPr lvl="1"/>
            <a:r>
              <a:rPr lang="fi-FI" noProof="0"/>
              <a:t>Toisen tason teksti</a:t>
            </a:r>
          </a:p>
          <a:p>
            <a:pPr lvl="2"/>
            <a:r>
              <a:rPr lang="fi-FI" noProof="0"/>
              <a:t>Kolmannen tason teksti</a:t>
            </a:r>
          </a:p>
          <a:p>
            <a:pPr lvl="3"/>
            <a:r>
              <a:rPr lang="fi-FI" noProof="0"/>
              <a:t>Neljännen tason teksti</a:t>
            </a:r>
          </a:p>
          <a:p>
            <a:pPr lvl="4"/>
            <a:r>
              <a:rPr lang="fi-FI" noProof="0"/>
              <a:t>Viidennen tason teksti</a:t>
            </a:r>
          </a:p>
        </p:txBody>
      </p:sp>
      <p:sp>
        <p:nvSpPr>
          <p:cNvPr id="12" name="Tekstin paikkamerkki 11">
            <a:extLst>
              <a:ext uri="{FF2B5EF4-FFF2-40B4-BE49-F238E27FC236}">
                <a16:creationId xmlns:a16="http://schemas.microsoft.com/office/drawing/2014/main" id="{4788870C-EEEC-0256-F974-F3A60DD573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87549" y="1594678"/>
            <a:ext cx="5436897" cy="3812207"/>
          </a:xfrm>
          <a:noFill/>
        </p:spPr>
        <p:txBody>
          <a:bodyPr lIns="0" tIns="0" rIns="0" anchor="ctr" anchorCtr="0"/>
          <a:lstStyle>
            <a:lvl1pPr marL="0" indent="0">
              <a:lnSpc>
                <a:spcPct val="90000"/>
              </a:lnSpc>
              <a:buNone/>
              <a:defRPr sz="4000" spc="-130" baseline="0">
                <a:latin typeface="+mj-lt"/>
              </a:defRPr>
            </a:lvl1pPr>
          </a:lstStyle>
          <a:p>
            <a:pPr lvl="0"/>
            <a:r>
              <a:rPr lang="fi-FI" noProof="0"/>
              <a:t>Lisää tekstinosto tähän</a:t>
            </a:r>
          </a:p>
        </p:txBody>
      </p:sp>
      <p:grpSp>
        <p:nvGrpSpPr>
          <p:cNvPr id="6" name="Ryhmä 5">
            <a:extLst>
              <a:ext uri="{FF2B5EF4-FFF2-40B4-BE49-F238E27FC236}">
                <a16:creationId xmlns:a16="http://schemas.microsoft.com/office/drawing/2014/main" id="{E60A3E00-D191-CE2A-0BC2-EC72C60AB5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40807" y="5846175"/>
            <a:ext cx="772691" cy="734802"/>
            <a:chOff x="203203" y="203198"/>
            <a:chExt cx="1117587" cy="1062785"/>
          </a:xfrm>
        </p:grpSpPr>
        <p:sp>
          <p:nvSpPr>
            <p:cNvPr id="8" name="Vapaamuotoinen: Muoto 7">
              <a:extLst>
                <a:ext uri="{FF2B5EF4-FFF2-40B4-BE49-F238E27FC236}">
                  <a16:creationId xmlns:a16="http://schemas.microsoft.com/office/drawing/2014/main" id="{C367D236-C5BC-EDAD-644E-02407316A081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0" name="Vapaamuotoinen: Muoto 9">
              <a:extLst>
                <a:ext uri="{FF2B5EF4-FFF2-40B4-BE49-F238E27FC236}">
                  <a16:creationId xmlns:a16="http://schemas.microsoft.com/office/drawing/2014/main" id="{998FA421-1A05-8E02-D020-1EF1068B695D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3" name="Vapaamuotoinen: Muoto 12">
              <a:extLst>
                <a:ext uri="{FF2B5EF4-FFF2-40B4-BE49-F238E27FC236}">
                  <a16:creationId xmlns:a16="http://schemas.microsoft.com/office/drawing/2014/main" id="{C6151D38-9EC9-128B-B2CE-1668A5845AF5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4" name="Vapaamuotoinen: Muoto 13">
              <a:extLst>
                <a:ext uri="{FF2B5EF4-FFF2-40B4-BE49-F238E27FC236}">
                  <a16:creationId xmlns:a16="http://schemas.microsoft.com/office/drawing/2014/main" id="{4D843E8A-2422-AC1E-8D69-1E8384431E60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5" name="Vapaamuotoinen: Muoto 14">
              <a:extLst>
                <a:ext uri="{FF2B5EF4-FFF2-40B4-BE49-F238E27FC236}">
                  <a16:creationId xmlns:a16="http://schemas.microsoft.com/office/drawing/2014/main" id="{0B90A116-A908-A7DE-5844-944AF402FC7D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6" name="Vapaamuotoinen: Muoto 15">
              <a:extLst>
                <a:ext uri="{FF2B5EF4-FFF2-40B4-BE49-F238E27FC236}">
                  <a16:creationId xmlns:a16="http://schemas.microsoft.com/office/drawing/2014/main" id="{269DC064-0657-5593-56AA-C386F00B51B3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7" name="Vapaamuotoinen: Muoto 16">
              <a:extLst>
                <a:ext uri="{FF2B5EF4-FFF2-40B4-BE49-F238E27FC236}">
                  <a16:creationId xmlns:a16="http://schemas.microsoft.com/office/drawing/2014/main" id="{75EEC3F9-2DC3-521E-9D89-8DDF7C675C95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8" name="Vapaamuotoinen: Muoto 17">
              <a:extLst>
                <a:ext uri="{FF2B5EF4-FFF2-40B4-BE49-F238E27FC236}">
                  <a16:creationId xmlns:a16="http://schemas.microsoft.com/office/drawing/2014/main" id="{F77A7E84-7488-FFF6-C559-5475382FA10C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</p:grp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E996DCA-8E68-4F4A-A4A6-ACE6BC7F24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9B5793-2081-47DB-BCBB-D25209BFEA74}" type="datetime1">
              <a:rPr lang="fi-FI" noProof="0" smtClean="0"/>
              <a:t>12.3.2026</a:t>
            </a:fld>
            <a:endParaRPr lang="fi-FI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11986865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raphic 24">
            <a:extLst>
              <a:ext uri="{FF2B5EF4-FFF2-40B4-BE49-F238E27FC236}">
                <a16:creationId xmlns:a16="http://schemas.microsoft.com/office/drawing/2014/main" id="{412E2FC6-3DC7-A5C6-CB76-702A1185B2EA}"/>
              </a:ext>
            </a:extLst>
          </p:cNvPr>
          <p:cNvSpPr/>
          <p:nvPr/>
        </p:nvSpPr>
        <p:spPr>
          <a:xfrm>
            <a:off x="0" y="-3"/>
            <a:ext cx="12191877" cy="6858000"/>
          </a:xfrm>
          <a:custGeom>
            <a:avLst/>
            <a:gdLst>
              <a:gd name="connsiteX0" fmla="*/ 0 w 12191877"/>
              <a:gd name="connsiteY0" fmla="*/ 6858000 h 6858000"/>
              <a:gd name="connsiteX1" fmla="*/ 8102520 w 12191877"/>
              <a:gd name="connsiteY1" fmla="*/ 6858000 h 6858000"/>
              <a:gd name="connsiteX2" fmla="*/ 8102520 w 12191877"/>
              <a:gd name="connsiteY2" fmla="*/ 6051708 h 6858000"/>
              <a:gd name="connsiteX3" fmla="*/ 12191878 w 12191877"/>
              <a:gd name="connsiteY3" fmla="*/ 1962310 h 6858000"/>
              <a:gd name="connsiteX4" fmla="*/ 12191878 w 12191877"/>
              <a:gd name="connsiteY4" fmla="*/ 1850371 h 6858000"/>
              <a:gd name="connsiteX5" fmla="*/ 8102520 w 12191877"/>
              <a:gd name="connsiteY5" fmla="*/ 5939766 h 6858000"/>
              <a:gd name="connsiteX6" fmla="*/ 8102520 w 12191877"/>
              <a:gd name="connsiteY6" fmla="*/ 4931057 h 6858000"/>
              <a:gd name="connsiteX7" fmla="*/ 12191878 w 12191877"/>
              <a:gd name="connsiteY7" fmla="*/ 841658 h 6858000"/>
              <a:gd name="connsiteX8" fmla="*/ 12191878 w 12191877"/>
              <a:gd name="connsiteY8" fmla="*/ 729724 h 6858000"/>
              <a:gd name="connsiteX9" fmla="*/ 8102520 w 12191877"/>
              <a:gd name="connsiteY9" fmla="*/ 4819122 h 6858000"/>
              <a:gd name="connsiteX10" fmla="*/ 8102520 w 12191877"/>
              <a:gd name="connsiteY10" fmla="*/ 3810409 h 6858000"/>
              <a:gd name="connsiteX11" fmla="*/ 11912894 w 12191877"/>
              <a:gd name="connsiteY11" fmla="*/ 0 h 6858000"/>
              <a:gd name="connsiteX12" fmla="*/ 11800954 w 12191877"/>
              <a:gd name="connsiteY12" fmla="*/ 0 h 6858000"/>
              <a:gd name="connsiteX13" fmla="*/ 8102520 w 12191877"/>
              <a:gd name="connsiteY13" fmla="*/ 3698475 h 6858000"/>
              <a:gd name="connsiteX14" fmla="*/ 8102520 w 12191877"/>
              <a:gd name="connsiteY14" fmla="*/ 2689762 h 6858000"/>
              <a:gd name="connsiteX15" fmla="*/ 10792254 w 12191877"/>
              <a:gd name="connsiteY15" fmla="*/ 0 h 6858000"/>
              <a:gd name="connsiteX16" fmla="*/ 10680314 w 12191877"/>
              <a:gd name="connsiteY16" fmla="*/ 0 h 6858000"/>
              <a:gd name="connsiteX17" fmla="*/ 8102520 w 12191877"/>
              <a:gd name="connsiteY17" fmla="*/ 2577820 h 6858000"/>
              <a:gd name="connsiteX18" fmla="*/ 8102520 w 12191877"/>
              <a:gd name="connsiteY18" fmla="*/ 1569100 h 6858000"/>
              <a:gd name="connsiteX19" fmla="*/ 9671614 w 12191877"/>
              <a:gd name="connsiteY19" fmla="*/ 0 h 6858000"/>
              <a:gd name="connsiteX20" fmla="*/ 9559677 w 12191877"/>
              <a:gd name="connsiteY20" fmla="*/ 0 h 6858000"/>
              <a:gd name="connsiteX21" fmla="*/ 8102520 w 12191877"/>
              <a:gd name="connsiteY21" fmla="*/ 1457172 h 6858000"/>
              <a:gd name="connsiteX22" fmla="*/ 8102520 w 12191877"/>
              <a:gd name="connsiteY22" fmla="*/ 560902 h 6858000"/>
              <a:gd name="connsiteX23" fmla="*/ 8644717 w 12191877"/>
              <a:gd name="connsiteY23" fmla="*/ 0 h 6858000"/>
              <a:gd name="connsiteX24" fmla="*/ 8536632 w 12191877"/>
              <a:gd name="connsiteY24" fmla="*/ 0 h 6858000"/>
              <a:gd name="connsiteX25" fmla="*/ 8102520 w 12191877"/>
              <a:gd name="connsiteY25" fmla="*/ 448970 h 6858000"/>
              <a:gd name="connsiteX26" fmla="*/ 8102520 w 12191877"/>
              <a:gd name="connsiteY26" fmla="*/ 0 h 6858000"/>
              <a:gd name="connsiteX27" fmla="*/ 0 w 12191877"/>
              <a:gd name="connsiteY27" fmla="*/ 0 h 6858000"/>
              <a:gd name="connsiteX28" fmla="*/ 0 w 12191877"/>
              <a:gd name="connsiteY28" fmla="*/ 6857997 h 6858000"/>
              <a:gd name="connsiteX29" fmla="*/ 8304935 w 12191877"/>
              <a:gd name="connsiteY29" fmla="*/ 6858000 h 6858000"/>
              <a:gd name="connsiteX30" fmla="*/ 8416875 w 12191877"/>
              <a:gd name="connsiteY30" fmla="*/ 6858000 h 6858000"/>
              <a:gd name="connsiteX31" fmla="*/ 12191878 w 12191877"/>
              <a:gd name="connsiteY31" fmla="*/ 3082961 h 6858000"/>
              <a:gd name="connsiteX32" fmla="*/ 12191878 w 12191877"/>
              <a:gd name="connsiteY32" fmla="*/ 2971019 h 6858000"/>
              <a:gd name="connsiteX33" fmla="*/ 8304935 w 12191877"/>
              <a:gd name="connsiteY33" fmla="*/ 6858000 h 6858000"/>
              <a:gd name="connsiteX34" fmla="*/ 9425589 w 12191877"/>
              <a:gd name="connsiteY34" fmla="*/ 6858000 h 6858000"/>
              <a:gd name="connsiteX35" fmla="*/ 9537516 w 12191877"/>
              <a:gd name="connsiteY35" fmla="*/ 6858000 h 6858000"/>
              <a:gd name="connsiteX36" fmla="*/ 12191878 w 12191877"/>
              <a:gd name="connsiteY36" fmla="*/ 4203612 h 6858000"/>
              <a:gd name="connsiteX37" fmla="*/ 12191878 w 12191877"/>
              <a:gd name="connsiteY37" fmla="*/ 4091670 h 6858000"/>
              <a:gd name="connsiteX38" fmla="*/ 9425589 w 12191877"/>
              <a:gd name="connsiteY38" fmla="*/ 6858000 h 6858000"/>
              <a:gd name="connsiteX39" fmla="*/ 10544933 w 12191877"/>
              <a:gd name="connsiteY39" fmla="*/ 6858000 h 6858000"/>
              <a:gd name="connsiteX40" fmla="*/ 10658156 w 12191877"/>
              <a:gd name="connsiteY40" fmla="*/ 6858000 h 6858000"/>
              <a:gd name="connsiteX41" fmla="*/ 12191878 w 12191877"/>
              <a:gd name="connsiteY41" fmla="*/ 5324264 h 6858000"/>
              <a:gd name="connsiteX42" fmla="*/ 12191878 w 12191877"/>
              <a:gd name="connsiteY42" fmla="*/ 5211040 h 6858000"/>
              <a:gd name="connsiteX43" fmla="*/ 10544933 w 12191877"/>
              <a:gd name="connsiteY43" fmla="*/ 6858000 h 6858000"/>
              <a:gd name="connsiteX44" fmla="*/ 11665573 w 12191877"/>
              <a:gd name="connsiteY44" fmla="*/ 6858000 h 6858000"/>
              <a:gd name="connsiteX45" fmla="*/ 11777507 w 12191877"/>
              <a:gd name="connsiteY45" fmla="*/ 6858000 h 6858000"/>
              <a:gd name="connsiteX46" fmla="*/ 12191878 w 12191877"/>
              <a:gd name="connsiteY46" fmla="*/ 6443630 h 6858000"/>
              <a:gd name="connsiteX47" fmla="*/ 12191878 w 12191877"/>
              <a:gd name="connsiteY47" fmla="*/ 6331691 h 6858000"/>
              <a:gd name="connsiteX48" fmla="*/ 11665573 w 12191877"/>
              <a:gd name="connsiteY4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2191877" h="6858000">
                <a:moveTo>
                  <a:pt x="0" y="6858000"/>
                </a:moveTo>
                <a:lnTo>
                  <a:pt x="8102520" y="6858000"/>
                </a:lnTo>
                <a:lnTo>
                  <a:pt x="8102520" y="6051708"/>
                </a:lnTo>
                <a:lnTo>
                  <a:pt x="12191878" y="1962310"/>
                </a:lnTo>
                <a:lnTo>
                  <a:pt x="12191878" y="1850371"/>
                </a:lnTo>
                <a:lnTo>
                  <a:pt x="8102520" y="5939766"/>
                </a:lnTo>
                <a:lnTo>
                  <a:pt x="8102520" y="4931057"/>
                </a:lnTo>
                <a:lnTo>
                  <a:pt x="12191878" y="841658"/>
                </a:lnTo>
                <a:lnTo>
                  <a:pt x="12191878" y="729724"/>
                </a:lnTo>
                <a:lnTo>
                  <a:pt x="8102520" y="4819122"/>
                </a:lnTo>
                <a:lnTo>
                  <a:pt x="8102520" y="3810409"/>
                </a:lnTo>
                <a:lnTo>
                  <a:pt x="11912894" y="0"/>
                </a:lnTo>
                <a:lnTo>
                  <a:pt x="11800954" y="0"/>
                </a:lnTo>
                <a:lnTo>
                  <a:pt x="8102520" y="3698475"/>
                </a:lnTo>
                <a:lnTo>
                  <a:pt x="8102520" y="2689762"/>
                </a:lnTo>
                <a:lnTo>
                  <a:pt x="10792254" y="0"/>
                </a:lnTo>
                <a:lnTo>
                  <a:pt x="10680314" y="0"/>
                </a:lnTo>
                <a:lnTo>
                  <a:pt x="8102520" y="2577820"/>
                </a:lnTo>
                <a:lnTo>
                  <a:pt x="8102520" y="1569100"/>
                </a:lnTo>
                <a:lnTo>
                  <a:pt x="9671614" y="0"/>
                </a:lnTo>
                <a:lnTo>
                  <a:pt x="9559677" y="0"/>
                </a:lnTo>
                <a:lnTo>
                  <a:pt x="8102520" y="1457172"/>
                </a:lnTo>
                <a:lnTo>
                  <a:pt x="8102520" y="560902"/>
                </a:lnTo>
                <a:lnTo>
                  <a:pt x="8644717" y="0"/>
                </a:lnTo>
                <a:lnTo>
                  <a:pt x="8536632" y="0"/>
                </a:lnTo>
                <a:lnTo>
                  <a:pt x="8102520" y="448970"/>
                </a:lnTo>
                <a:lnTo>
                  <a:pt x="8102520" y="0"/>
                </a:lnTo>
                <a:lnTo>
                  <a:pt x="0" y="0"/>
                </a:lnTo>
                <a:lnTo>
                  <a:pt x="0" y="6857997"/>
                </a:lnTo>
                <a:close/>
                <a:moveTo>
                  <a:pt x="8304935" y="6858000"/>
                </a:moveTo>
                <a:lnTo>
                  <a:pt x="8416875" y="6858000"/>
                </a:lnTo>
                <a:lnTo>
                  <a:pt x="12191878" y="3082961"/>
                </a:lnTo>
                <a:lnTo>
                  <a:pt x="12191878" y="2971019"/>
                </a:lnTo>
                <a:lnTo>
                  <a:pt x="8304935" y="6858000"/>
                </a:lnTo>
                <a:close/>
                <a:moveTo>
                  <a:pt x="9425589" y="6858000"/>
                </a:moveTo>
                <a:lnTo>
                  <a:pt x="9537516" y="6858000"/>
                </a:lnTo>
                <a:lnTo>
                  <a:pt x="12191878" y="4203612"/>
                </a:lnTo>
                <a:lnTo>
                  <a:pt x="12191878" y="4091670"/>
                </a:lnTo>
                <a:lnTo>
                  <a:pt x="9425589" y="6858000"/>
                </a:lnTo>
                <a:close/>
                <a:moveTo>
                  <a:pt x="10544933" y="6858000"/>
                </a:moveTo>
                <a:lnTo>
                  <a:pt x="10658156" y="6858000"/>
                </a:lnTo>
                <a:lnTo>
                  <a:pt x="12191878" y="5324264"/>
                </a:lnTo>
                <a:lnTo>
                  <a:pt x="12191878" y="5211040"/>
                </a:lnTo>
                <a:lnTo>
                  <a:pt x="10544933" y="6858000"/>
                </a:lnTo>
                <a:close/>
                <a:moveTo>
                  <a:pt x="11665573" y="6858000"/>
                </a:moveTo>
                <a:lnTo>
                  <a:pt x="11777507" y="6858000"/>
                </a:lnTo>
                <a:lnTo>
                  <a:pt x="12191878" y="6443630"/>
                </a:lnTo>
                <a:lnTo>
                  <a:pt x="12191878" y="6331691"/>
                </a:lnTo>
                <a:lnTo>
                  <a:pt x="11665573" y="6858000"/>
                </a:lnTo>
                <a:close/>
              </a:path>
            </a:pathLst>
          </a:custGeom>
          <a:solidFill>
            <a:srgbClr val="F0EBE1"/>
          </a:solidFill>
          <a:ln w="36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6E6260-E36C-484A-9F25-1346EC50A8D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5508" y="2196783"/>
            <a:ext cx="6839712" cy="1876869"/>
          </a:xfrm>
        </p:spPr>
        <p:txBody>
          <a:bodyPr anchor="t" anchorCtr="0"/>
          <a:lstStyle>
            <a:lvl1pPr algn="l">
              <a:lnSpc>
                <a:spcPct val="95000"/>
              </a:lnSpc>
              <a:defRPr sz="4000"/>
            </a:lvl1pPr>
          </a:lstStyle>
          <a:p>
            <a:r>
              <a:rPr lang="fi-FI"/>
              <a:t>Muokkaa perustyyl. napsautt.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1FDDA9F-DC3B-4803-9730-F564F287AC8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35508" y="5070348"/>
            <a:ext cx="6839712" cy="1220724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24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D7FCCBE-EE77-5D47-8CE2-1B409B5E09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915" y="565286"/>
            <a:ext cx="2090175" cy="703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866150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DE34914-B5F2-4084-8552-6153E3BFA8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19.5.2021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3C69628-CCBB-4581-842C-07AC1724D7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etra Kokko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C581D05-5813-4B50-86D4-96A15B78A2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160B98-140E-4345-B1A3-2A7247C42973}" type="slidenum">
              <a:rPr lang="fi-FI" smtClean="0"/>
              <a:t>‹#›</a:t>
            </a:fld>
            <a:endParaRPr lang="fi-FI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414EFF0-E9E2-364E-9793-DF62BACE2D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76380" y="596151"/>
            <a:ext cx="516294" cy="631026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0E5EEC2F-8885-4741-92AA-E21ECE47D5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940" y="484094"/>
            <a:ext cx="9894939" cy="1075323"/>
          </a:xfrm>
        </p:spPr>
        <p:txBody>
          <a:bodyPr anchor="b"/>
          <a:lstStyle/>
          <a:p>
            <a:r>
              <a:rPr lang="fi-FI"/>
              <a:t>Muokkaa perustyyl. napsautt.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20332090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lehti nro ja kuva THL vihreä">
    <p:bg>
      <p:bgPr>
        <a:solidFill>
          <a:srgbClr val="005A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>
            <a:extLst>
              <a:ext uri="{FF2B5EF4-FFF2-40B4-BE49-F238E27FC236}">
                <a16:creationId xmlns:a16="http://schemas.microsoft.com/office/drawing/2014/main" id="{0C0C45B2-2B8F-122D-75C1-2D79B886765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433570" y="0"/>
            <a:ext cx="8758429" cy="6858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None/>
              <a:defRPr sz="1800"/>
            </a:lvl1pPr>
          </a:lstStyle>
          <a:p>
            <a:r>
              <a:rPr lang="fi-FI" noProof="0"/>
              <a:t>Lisää kuva napsauttamalla kuvaketta</a:t>
            </a:r>
          </a:p>
        </p:txBody>
      </p:sp>
      <p:sp>
        <p:nvSpPr>
          <p:cNvPr id="22" name="Suorakulmio 21">
            <a:extLst>
              <a:ext uri="{FF2B5EF4-FFF2-40B4-BE49-F238E27FC236}">
                <a16:creationId xmlns:a16="http://schemas.microsoft.com/office/drawing/2014/main" id="{73767DC7-ABA0-F4CA-4D56-4A6E892E25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3429000"/>
            <a:ext cx="3433571" cy="3429000"/>
          </a:xfrm>
          <a:prstGeom prst="rect">
            <a:avLst/>
          </a:prstGeom>
          <a:solidFill>
            <a:srgbClr val="FFF7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0DB878-8E84-426A-BEF0-AF1AAFA1F9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4785" y="3671398"/>
            <a:ext cx="3089059" cy="2990006"/>
          </a:xfrm>
        </p:spPr>
        <p:txBody>
          <a:bodyPr/>
          <a:lstStyle>
            <a:lvl1pPr>
              <a:defRPr sz="4000" spc="-100" baseline="0">
                <a:latin typeface="Work Sans Light" pitchFamily="2" charset="0"/>
              </a:defRPr>
            </a:lvl1pPr>
          </a:lstStyle>
          <a:p>
            <a:r>
              <a:rPr lang="fi-FI" noProof="0"/>
              <a:t>Lisää otsikko tähän</a:t>
            </a:r>
          </a:p>
        </p:txBody>
      </p:sp>
      <p:sp>
        <p:nvSpPr>
          <p:cNvPr id="4" name="Tekstin paikkamerkki 22">
            <a:extLst>
              <a:ext uri="{FF2B5EF4-FFF2-40B4-BE49-F238E27FC236}">
                <a16:creationId xmlns:a16="http://schemas.microsoft.com/office/drawing/2014/main" id="{F8BB2B58-D8BB-1736-51C6-A65C08E0264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8036" y="1580401"/>
            <a:ext cx="3008376" cy="1929383"/>
          </a:xfrm>
        </p:spPr>
        <p:txBody>
          <a:bodyPr anchor="b" anchorCtr="0"/>
          <a:lstStyle>
            <a:lvl1pPr marL="0" indent="0" algn="l">
              <a:lnSpc>
                <a:spcPct val="80000"/>
              </a:lnSpc>
              <a:buNone/>
              <a:defRPr sz="11500" spc="-50" baseline="0">
                <a:solidFill>
                  <a:srgbClr val="FFF7F0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fi-FI" noProof="0"/>
              <a:t>XX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/>
          </a:p>
        </p:txBody>
      </p:sp>
      <p:grpSp>
        <p:nvGrpSpPr>
          <p:cNvPr id="17" name="Ryhmä 9">
            <a:extLst>
              <a:ext uri="{FF2B5EF4-FFF2-40B4-BE49-F238E27FC236}">
                <a16:creationId xmlns:a16="http://schemas.microsoft.com/office/drawing/2014/main" id="{125BA786-1D5A-D020-1BF7-057635A7987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00537" y="194489"/>
            <a:ext cx="1127964" cy="1072654"/>
            <a:chOff x="203203" y="203198"/>
            <a:chExt cx="1117587" cy="1062785"/>
          </a:xfrm>
          <a:solidFill>
            <a:srgbClr val="FFF7F0"/>
          </a:solidFill>
        </p:grpSpPr>
        <p:sp>
          <p:nvSpPr>
            <p:cNvPr id="18" name="Vapaamuotoinen: Muoto 10">
              <a:extLst>
                <a:ext uri="{FF2B5EF4-FFF2-40B4-BE49-F238E27FC236}">
                  <a16:creationId xmlns:a16="http://schemas.microsoft.com/office/drawing/2014/main" id="{72582A53-2A94-6B32-FD4B-BED572E5DAD4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grpFill/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1" name="Vapaamuotoinen: Muoto 11">
              <a:extLst>
                <a:ext uri="{FF2B5EF4-FFF2-40B4-BE49-F238E27FC236}">
                  <a16:creationId xmlns:a16="http://schemas.microsoft.com/office/drawing/2014/main" id="{F79D1FC7-4294-2901-45D2-BC8556938393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grpFill/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8" name="Vapaamuotoinen: Muoto 12">
              <a:extLst>
                <a:ext uri="{FF2B5EF4-FFF2-40B4-BE49-F238E27FC236}">
                  <a16:creationId xmlns:a16="http://schemas.microsoft.com/office/drawing/2014/main" id="{309BD337-EC79-6EE2-44CA-E15035182405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grpFill/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9" name="Vapaamuotoinen: Muoto 13">
              <a:extLst>
                <a:ext uri="{FF2B5EF4-FFF2-40B4-BE49-F238E27FC236}">
                  <a16:creationId xmlns:a16="http://schemas.microsoft.com/office/drawing/2014/main" id="{E19497C6-4B0A-211A-C080-F84402995FCA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grpFill/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30" name="Vapaamuotoinen: Muoto 14">
              <a:extLst>
                <a:ext uri="{FF2B5EF4-FFF2-40B4-BE49-F238E27FC236}">
                  <a16:creationId xmlns:a16="http://schemas.microsoft.com/office/drawing/2014/main" id="{B8BA6CE9-B27B-7591-952D-A8981F499E95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grpFill/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31" name="Vapaamuotoinen: Muoto 15">
              <a:extLst>
                <a:ext uri="{FF2B5EF4-FFF2-40B4-BE49-F238E27FC236}">
                  <a16:creationId xmlns:a16="http://schemas.microsoft.com/office/drawing/2014/main" id="{200A106B-2FC8-A370-1EE8-00CA7FCCD0CB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grpFill/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32" name="Vapaamuotoinen: Muoto 16">
              <a:extLst>
                <a:ext uri="{FF2B5EF4-FFF2-40B4-BE49-F238E27FC236}">
                  <a16:creationId xmlns:a16="http://schemas.microsoft.com/office/drawing/2014/main" id="{5529E684-E53D-8418-79A9-2238B8771BD7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grpFill/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33" name="Vapaamuotoinen: Muoto 17">
              <a:extLst>
                <a:ext uri="{FF2B5EF4-FFF2-40B4-BE49-F238E27FC236}">
                  <a16:creationId xmlns:a16="http://schemas.microsoft.com/office/drawing/2014/main" id="{AC294AC1-11E3-E20E-9906-D3115CE9B300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grpFill/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</p:grpSp>
    </p:spTree>
    <p:extLst>
      <p:ext uri="{BB962C8B-B14F-4D97-AF65-F5344CB8AC3E}">
        <p14:creationId xmlns:p14="http://schemas.microsoft.com/office/powerpoint/2010/main" val="295381252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lehti nro ja kuva violetti">
    <p:bg>
      <p:bgPr>
        <a:solidFill>
          <a:srgbClr val="FFE1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>
            <a:extLst>
              <a:ext uri="{FF2B5EF4-FFF2-40B4-BE49-F238E27FC236}">
                <a16:creationId xmlns:a16="http://schemas.microsoft.com/office/drawing/2014/main" id="{0C0C45B2-2B8F-122D-75C1-2D79B886765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433570" y="0"/>
            <a:ext cx="8758429" cy="6858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None/>
              <a:defRPr sz="1800"/>
            </a:lvl1pPr>
          </a:lstStyle>
          <a:p>
            <a:r>
              <a:rPr lang="fi-FI" noProof="0"/>
              <a:t>Lisää kuva napsauttamalla kuvaketta</a:t>
            </a:r>
          </a:p>
        </p:txBody>
      </p:sp>
      <p:sp>
        <p:nvSpPr>
          <p:cNvPr id="22" name="Suorakulmio 21">
            <a:extLst>
              <a:ext uri="{FF2B5EF4-FFF2-40B4-BE49-F238E27FC236}">
                <a16:creationId xmlns:a16="http://schemas.microsoft.com/office/drawing/2014/main" id="{73767DC7-ABA0-F4CA-4D56-4A6E892E25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3429000"/>
            <a:ext cx="3433571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0DB878-8E84-426A-BEF0-AF1AAFA1F9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4785" y="3671398"/>
            <a:ext cx="3089059" cy="2990006"/>
          </a:xfrm>
        </p:spPr>
        <p:txBody>
          <a:bodyPr/>
          <a:lstStyle>
            <a:lvl1pPr>
              <a:defRPr sz="4000" spc="-100" baseline="0">
                <a:latin typeface="Work Sans Light" pitchFamily="2" charset="0"/>
              </a:defRPr>
            </a:lvl1pPr>
          </a:lstStyle>
          <a:p>
            <a:r>
              <a:rPr lang="fi-FI" noProof="0"/>
              <a:t>Lisää otsikko tähän</a:t>
            </a:r>
          </a:p>
        </p:txBody>
      </p:sp>
      <p:sp>
        <p:nvSpPr>
          <p:cNvPr id="4" name="Tekstin paikkamerkki 22">
            <a:extLst>
              <a:ext uri="{FF2B5EF4-FFF2-40B4-BE49-F238E27FC236}">
                <a16:creationId xmlns:a16="http://schemas.microsoft.com/office/drawing/2014/main" id="{F8BB2B58-D8BB-1736-51C6-A65C08E0264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8036" y="1580401"/>
            <a:ext cx="3008376" cy="1929383"/>
          </a:xfrm>
        </p:spPr>
        <p:txBody>
          <a:bodyPr anchor="b" anchorCtr="0"/>
          <a:lstStyle>
            <a:lvl1pPr marL="0" indent="0" algn="l">
              <a:lnSpc>
                <a:spcPct val="80000"/>
              </a:lnSpc>
              <a:buNone/>
              <a:defRPr sz="11500" spc="-50" baseline="0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fi-FI" noProof="0"/>
              <a:t>XX</a:t>
            </a:r>
          </a:p>
        </p:txBody>
      </p:sp>
      <p:grpSp>
        <p:nvGrpSpPr>
          <p:cNvPr id="5" name="Ryhmä 4">
            <a:extLst>
              <a:ext uri="{FF2B5EF4-FFF2-40B4-BE49-F238E27FC236}">
                <a16:creationId xmlns:a16="http://schemas.microsoft.com/office/drawing/2014/main" id="{3D2F5A89-E0E1-A352-25B1-1AA73A09A1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03203" y="203198"/>
            <a:ext cx="1117587" cy="1062785"/>
            <a:chOff x="203203" y="203198"/>
            <a:chExt cx="1117587" cy="1062785"/>
          </a:xfrm>
        </p:grpSpPr>
        <p:sp>
          <p:nvSpPr>
            <p:cNvPr id="6" name="Vapaamuotoinen: Muoto 5">
              <a:extLst>
                <a:ext uri="{FF2B5EF4-FFF2-40B4-BE49-F238E27FC236}">
                  <a16:creationId xmlns:a16="http://schemas.microsoft.com/office/drawing/2014/main" id="{525188C8-8609-73C0-4CA3-D47335335A3E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9" name="Vapaamuotoinen: Muoto 18">
              <a:extLst>
                <a:ext uri="{FF2B5EF4-FFF2-40B4-BE49-F238E27FC236}">
                  <a16:creationId xmlns:a16="http://schemas.microsoft.com/office/drawing/2014/main" id="{174D65B1-43CA-B503-D86E-62DE503C3A9C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0" name="Vapaamuotoinen: Muoto 19">
              <a:extLst>
                <a:ext uri="{FF2B5EF4-FFF2-40B4-BE49-F238E27FC236}">
                  <a16:creationId xmlns:a16="http://schemas.microsoft.com/office/drawing/2014/main" id="{96CF7BEF-9841-C636-4833-CF44883795A1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3" name="Vapaamuotoinen: Muoto 22">
              <a:extLst>
                <a:ext uri="{FF2B5EF4-FFF2-40B4-BE49-F238E27FC236}">
                  <a16:creationId xmlns:a16="http://schemas.microsoft.com/office/drawing/2014/main" id="{C71327A0-9565-018A-9ED5-8224A3584A97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4" name="Vapaamuotoinen: Muoto 23">
              <a:extLst>
                <a:ext uri="{FF2B5EF4-FFF2-40B4-BE49-F238E27FC236}">
                  <a16:creationId xmlns:a16="http://schemas.microsoft.com/office/drawing/2014/main" id="{9A4F7338-AA11-8845-AA60-8733E64633FD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5" name="Vapaamuotoinen: Muoto 24">
              <a:extLst>
                <a:ext uri="{FF2B5EF4-FFF2-40B4-BE49-F238E27FC236}">
                  <a16:creationId xmlns:a16="http://schemas.microsoft.com/office/drawing/2014/main" id="{010F6C3A-37A5-2ED4-EE90-7DF85320A24C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6" name="Vapaamuotoinen: Muoto 25">
              <a:extLst>
                <a:ext uri="{FF2B5EF4-FFF2-40B4-BE49-F238E27FC236}">
                  <a16:creationId xmlns:a16="http://schemas.microsoft.com/office/drawing/2014/main" id="{970D8043-07BB-8CCE-12FF-65764ACC2EE3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7" name="Vapaamuotoinen: Muoto 26">
              <a:extLst>
                <a:ext uri="{FF2B5EF4-FFF2-40B4-BE49-F238E27FC236}">
                  <a16:creationId xmlns:a16="http://schemas.microsoft.com/office/drawing/2014/main" id="{83FCC69D-E18E-DEAF-F65D-8274BB4C9739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</p:grp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3805442972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lehti nro ja kuva vihreä">
    <p:bg>
      <p:bgPr>
        <a:solidFill>
          <a:srgbClr val="B4FFA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>
            <a:extLst>
              <a:ext uri="{FF2B5EF4-FFF2-40B4-BE49-F238E27FC236}">
                <a16:creationId xmlns:a16="http://schemas.microsoft.com/office/drawing/2014/main" id="{0C0C45B2-2B8F-122D-75C1-2D79B886765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433570" y="0"/>
            <a:ext cx="8758429" cy="6858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None/>
              <a:defRPr sz="1800"/>
            </a:lvl1pPr>
          </a:lstStyle>
          <a:p>
            <a:r>
              <a:rPr lang="fi-FI" noProof="0"/>
              <a:t>Lisää kuva napsauttamalla kuvaketta</a:t>
            </a:r>
          </a:p>
        </p:txBody>
      </p:sp>
      <p:sp>
        <p:nvSpPr>
          <p:cNvPr id="22" name="Suorakulmio 21">
            <a:extLst>
              <a:ext uri="{FF2B5EF4-FFF2-40B4-BE49-F238E27FC236}">
                <a16:creationId xmlns:a16="http://schemas.microsoft.com/office/drawing/2014/main" id="{73767DC7-ABA0-F4CA-4D56-4A6E892E25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3429000"/>
            <a:ext cx="3433571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0DB878-8E84-426A-BEF0-AF1AAFA1F9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4785" y="3671398"/>
            <a:ext cx="3089059" cy="2990006"/>
          </a:xfrm>
        </p:spPr>
        <p:txBody>
          <a:bodyPr/>
          <a:lstStyle>
            <a:lvl1pPr>
              <a:defRPr sz="4000" spc="-100" baseline="0">
                <a:latin typeface="Work Sans Light" pitchFamily="2" charset="0"/>
              </a:defRPr>
            </a:lvl1pPr>
          </a:lstStyle>
          <a:p>
            <a:r>
              <a:rPr lang="fi-FI" noProof="0"/>
              <a:t>Lisää otsikko tähän</a:t>
            </a:r>
          </a:p>
        </p:txBody>
      </p:sp>
      <p:sp>
        <p:nvSpPr>
          <p:cNvPr id="4" name="Tekstin paikkamerkki 22">
            <a:extLst>
              <a:ext uri="{FF2B5EF4-FFF2-40B4-BE49-F238E27FC236}">
                <a16:creationId xmlns:a16="http://schemas.microsoft.com/office/drawing/2014/main" id="{F8BB2B58-D8BB-1736-51C6-A65C08E0264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8036" y="1580401"/>
            <a:ext cx="3008376" cy="1929383"/>
          </a:xfrm>
        </p:spPr>
        <p:txBody>
          <a:bodyPr anchor="b" anchorCtr="0"/>
          <a:lstStyle>
            <a:lvl1pPr marL="0" indent="0" algn="l">
              <a:lnSpc>
                <a:spcPct val="80000"/>
              </a:lnSpc>
              <a:buNone/>
              <a:defRPr sz="11500" spc="-50" baseline="0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fi-FI" noProof="0"/>
              <a:t>XX</a:t>
            </a:r>
          </a:p>
        </p:txBody>
      </p:sp>
      <p:grpSp>
        <p:nvGrpSpPr>
          <p:cNvPr id="5" name="Ryhmä 4">
            <a:extLst>
              <a:ext uri="{FF2B5EF4-FFF2-40B4-BE49-F238E27FC236}">
                <a16:creationId xmlns:a16="http://schemas.microsoft.com/office/drawing/2014/main" id="{3D2F5A89-E0E1-A352-25B1-1AA73A09A1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03203" y="203198"/>
            <a:ext cx="1117587" cy="1062785"/>
            <a:chOff x="203203" y="203198"/>
            <a:chExt cx="1117587" cy="1062785"/>
          </a:xfrm>
        </p:grpSpPr>
        <p:sp>
          <p:nvSpPr>
            <p:cNvPr id="6" name="Vapaamuotoinen: Muoto 5">
              <a:extLst>
                <a:ext uri="{FF2B5EF4-FFF2-40B4-BE49-F238E27FC236}">
                  <a16:creationId xmlns:a16="http://schemas.microsoft.com/office/drawing/2014/main" id="{525188C8-8609-73C0-4CA3-D47335335A3E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9" name="Vapaamuotoinen: Muoto 18">
              <a:extLst>
                <a:ext uri="{FF2B5EF4-FFF2-40B4-BE49-F238E27FC236}">
                  <a16:creationId xmlns:a16="http://schemas.microsoft.com/office/drawing/2014/main" id="{174D65B1-43CA-B503-D86E-62DE503C3A9C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0" name="Vapaamuotoinen: Muoto 19">
              <a:extLst>
                <a:ext uri="{FF2B5EF4-FFF2-40B4-BE49-F238E27FC236}">
                  <a16:creationId xmlns:a16="http://schemas.microsoft.com/office/drawing/2014/main" id="{96CF7BEF-9841-C636-4833-CF44883795A1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3" name="Vapaamuotoinen: Muoto 22">
              <a:extLst>
                <a:ext uri="{FF2B5EF4-FFF2-40B4-BE49-F238E27FC236}">
                  <a16:creationId xmlns:a16="http://schemas.microsoft.com/office/drawing/2014/main" id="{C71327A0-9565-018A-9ED5-8224A3584A97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4" name="Vapaamuotoinen: Muoto 23">
              <a:extLst>
                <a:ext uri="{FF2B5EF4-FFF2-40B4-BE49-F238E27FC236}">
                  <a16:creationId xmlns:a16="http://schemas.microsoft.com/office/drawing/2014/main" id="{9A4F7338-AA11-8845-AA60-8733E64633FD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5" name="Vapaamuotoinen: Muoto 24">
              <a:extLst>
                <a:ext uri="{FF2B5EF4-FFF2-40B4-BE49-F238E27FC236}">
                  <a16:creationId xmlns:a16="http://schemas.microsoft.com/office/drawing/2014/main" id="{010F6C3A-37A5-2ED4-EE90-7DF85320A24C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6" name="Vapaamuotoinen: Muoto 25">
              <a:extLst>
                <a:ext uri="{FF2B5EF4-FFF2-40B4-BE49-F238E27FC236}">
                  <a16:creationId xmlns:a16="http://schemas.microsoft.com/office/drawing/2014/main" id="{970D8043-07BB-8CCE-12FF-65764ACC2EE3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7" name="Vapaamuotoinen: Muoto 26">
              <a:extLst>
                <a:ext uri="{FF2B5EF4-FFF2-40B4-BE49-F238E27FC236}">
                  <a16:creationId xmlns:a16="http://schemas.microsoft.com/office/drawing/2014/main" id="{83FCC69D-E18E-DEAF-F65D-8274BB4C9739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</p:grp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2488334817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lehti nro ja kuva sininen">
    <p:bg>
      <p:bgPr>
        <a:solidFill>
          <a:srgbClr val="DCEFF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>
            <a:extLst>
              <a:ext uri="{FF2B5EF4-FFF2-40B4-BE49-F238E27FC236}">
                <a16:creationId xmlns:a16="http://schemas.microsoft.com/office/drawing/2014/main" id="{0C0C45B2-2B8F-122D-75C1-2D79B886765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433570" y="0"/>
            <a:ext cx="8758429" cy="6858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None/>
              <a:defRPr sz="1800"/>
            </a:lvl1pPr>
          </a:lstStyle>
          <a:p>
            <a:r>
              <a:rPr lang="fi-FI" noProof="0"/>
              <a:t>Lisää kuva napsauttamalla kuvaketta</a:t>
            </a:r>
          </a:p>
        </p:txBody>
      </p:sp>
      <p:sp>
        <p:nvSpPr>
          <p:cNvPr id="22" name="Suorakulmio 21">
            <a:extLst>
              <a:ext uri="{FF2B5EF4-FFF2-40B4-BE49-F238E27FC236}">
                <a16:creationId xmlns:a16="http://schemas.microsoft.com/office/drawing/2014/main" id="{73767DC7-ABA0-F4CA-4D56-4A6E892E25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3429000"/>
            <a:ext cx="3433571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0DB878-8E84-426A-BEF0-AF1AAFA1F9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4785" y="3671398"/>
            <a:ext cx="3089059" cy="2990006"/>
          </a:xfrm>
        </p:spPr>
        <p:txBody>
          <a:bodyPr/>
          <a:lstStyle>
            <a:lvl1pPr>
              <a:defRPr sz="4000" spc="-100" baseline="0">
                <a:latin typeface="Work Sans Light" pitchFamily="2" charset="0"/>
              </a:defRPr>
            </a:lvl1pPr>
          </a:lstStyle>
          <a:p>
            <a:r>
              <a:rPr lang="fi-FI" noProof="0"/>
              <a:t>Lisää otsikko tähän</a:t>
            </a:r>
          </a:p>
        </p:txBody>
      </p:sp>
      <p:sp>
        <p:nvSpPr>
          <p:cNvPr id="4" name="Tekstin paikkamerkki 22">
            <a:extLst>
              <a:ext uri="{FF2B5EF4-FFF2-40B4-BE49-F238E27FC236}">
                <a16:creationId xmlns:a16="http://schemas.microsoft.com/office/drawing/2014/main" id="{F8BB2B58-D8BB-1736-51C6-A65C08E0264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8036" y="1580401"/>
            <a:ext cx="3008376" cy="1929383"/>
          </a:xfrm>
        </p:spPr>
        <p:txBody>
          <a:bodyPr anchor="b" anchorCtr="0"/>
          <a:lstStyle>
            <a:lvl1pPr marL="0" indent="0" algn="l">
              <a:lnSpc>
                <a:spcPct val="80000"/>
              </a:lnSpc>
              <a:buNone/>
              <a:defRPr sz="11500" spc="-50" baseline="0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fi-FI" noProof="0"/>
              <a:t>XX</a:t>
            </a:r>
          </a:p>
        </p:txBody>
      </p:sp>
      <p:grpSp>
        <p:nvGrpSpPr>
          <p:cNvPr id="5" name="Ryhmä 4">
            <a:extLst>
              <a:ext uri="{FF2B5EF4-FFF2-40B4-BE49-F238E27FC236}">
                <a16:creationId xmlns:a16="http://schemas.microsoft.com/office/drawing/2014/main" id="{3D2F5A89-E0E1-A352-25B1-1AA73A09A1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03203" y="203198"/>
            <a:ext cx="1117587" cy="1062785"/>
            <a:chOff x="203203" y="203198"/>
            <a:chExt cx="1117587" cy="1062785"/>
          </a:xfrm>
        </p:grpSpPr>
        <p:sp>
          <p:nvSpPr>
            <p:cNvPr id="6" name="Vapaamuotoinen: Muoto 5">
              <a:extLst>
                <a:ext uri="{FF2B5EF4-FFF2-40B4-BE49-F238E27FC236}">
                  <a16:creationId xmlns:a16="http://schemas.microsoft.com/office/drawing/2014/main" id="{525188C8-8609-73C0-4CA3-D47335335A3E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9" name="Vapaamuotoinen: Muoto 18">
              <a:extLst>
                <a:ext uri="{FF2B5EF4-FFF2-40B4-BE49-F238E27FC236}">
                  <a16:creationId xmlns:a16="http://schemas.microsoft.com/office/drawing/2014/main" id="{174D65B1-43CA-B503-D86E-62DE503C3A9C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0" name="Vapaamuotoinen: Muoto 19">
              <a:extLst>
                <a:ext uri="{FF2B5EF4-FFF2-40B4-BE49-F238E27FC236}">
                  <a16:creationId xmlns:a16="http://schemas.microsoft.com/office/drawing/2014/main" id="{96CF7BEF-9841-C636-4833-CF44883795A1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3" name="Vapaamuotoinen: Muoto 22">
              <a:extLst>
                <a:ext uri="{FF2B5EF4-FFF2-40B4-BE49-F238E27FC236}">
                  <a16:creationId xmlns:a16="http://schemas.microsoft.com/office/drawing/2014/main" id="{C71327A0-9565-018A-9ED5-8224A3584A97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4" name="Vapaamuotoinen: Muoto 23">
              <a:extLst>
                <a:ext uri="{FF2B5EF4-FFF2-40B4-BE49-F238E27FC236}">
                  <a16:creationId xmlns:a16="http://schemas.microsoft.com/office/drawing/2014/main" id="{9A4F7338-AA11-8845-AA60-8733E64633FD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5" name="Vapaamuotoinen: Muoto 24">
              <a:extLst>
                <a:ext uri="{FF2B5EF4-FFF2-40B4-BE49-F238E27FC236}">
                  <a16:creationId xmlns:a16="http://schemas.microsoft.com/office/drawing/2014/main" id="{010F6C3A-37A5-2ED4-EE90-7DF85320A24C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6" name="Vapaamuotoinen: Muoto 25">
              <a:extLst>
                <a:ext uri="{FF2B5EF4-FFF2-40B4-BE49-F238E27FC236}">
                  <a16:creationId xmlns:a16="http://schemas.microsoft.com/office/drawing/2014/main" id="{970D8043-07BB-8CCE-12FF-65764ACC2EE3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7" name="Vapaamuotoinen: Muoto 26">
              <a:extLst>
                <a:ext uri="{FF2B5EF4-FFF2-40B4-BE49-F238E27FC236}">
                  <a16:creationId xmlns:a16="http://schemas.microsoft.com/office/drawing/2014/main" id="{83FCC69D-E18E-DEAF-F65D-8274BB4C9739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</p:grp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2076329107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lehti nro ja kuva punainen">
    <p:bg>
      <p:bgPr>
        <a:solidFill>
          <a:srgbClr val="FE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>
            <a:extLst>
              <a:ext uri="{FF2B5EF4-FFF2-40B4-BE49-F238E27FC236}">
                <a16:creationId xmlns:a16="http://schemas.microsoft.com/office/drawing/2014/main" id="{0C0C45B2-2B8F-122D-75C1-2D79B886765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433570" y="0"/>
            <a:ext cx="8758429" cy="6858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None/>
              <a:defRPr sz="1800"/>
            </a:lvl1pPr>
          </a:lstStyle>
          <a:p>
            <a:r>
              <a:rPr lang="fi-FI" noProof="0"/>
              <a:t>Lisää kuva napsauttamalla kuvaketta</a:t>
            </a:r>
          </a:p>
        </p:txBody>
      </p:sp>
      <p:sp>
        <p:nvSpPr>
          <p:cNvPr id="22" name="Suorakulmio 21">
            <a:extLst>
              <a:ext uri="{FF2B5EF4-FFF2-40B4-BE49-F238E27FC236}">
                <a16:creationId xmlns:a16="http://schemas.microsoft.com/office/drawing/2014/main" id="{73767DC7-ABA0-F4CA-4D56-4A6E892E25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3429000"/>
            <a:ext cx="3433571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0DB878-8E84-426A-BEF0-AF1AAFA1F9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4785" y="3671398"/>
            <a:ext cx="3089059" cy="2990006"/>
          </a:xfrm>
        </p:spPr>
        <p:txBody>
          <a:bodyPr/>
          <a:lstStyle>
            <a:lvl1pPr>
              <a:defRPr sz="4000" spc="-100" baseline="0">
                <a:latin typeface="Work Sans Light" pitchFamily="2" charset="0"/>
              </a:defRPr>
            </a:lvl1pPr>
          </a:lstStyle>
          <a:p>
            <a:r>
              <a:rPr lang="fi-FI" noProof="0"/>
              <a:t>Lisää otsikko tähän</a:t>
            </a:r>
          </a:p>
        </p:txBody>
      </p:sp>
      <p:sp>
        <p:nvSpPr>
          <p:cNvPr id="4" name="Tekstin paikkamerkki 22">
            <a:extLst>
              <a:ext uri="{FF2B5EF4-FFF2-40B4-BE49-F238E27FC236}">
                <a16:creationId xmlns:a16="http://schemas.microsoft.com/office/drawing/2014/main" id="{F8BB2B58-D8BB-1736-51C6-A65C08E0264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8036" y="1580401"/>
            <a:ext cx="3008376" cy="1929383"/>
          </a:xfrm>
        </p:spPr>
        <p:txBody>
          <a:bodyPr anchor="b" anchorCtr="0"/>
          <a:lstStyle>
            <a:lvl1pPr marL="0" indent="0" algn="l">
              <a:lnSpc>
                <a:spcPct val="80000"/>
              </a:lnSpc>
              <a:buNone/>
              <a:defRPr sz="11500" spc="-50" baseline="0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fi-FI" noProof="0"/>
              <a:t>XX</a:t>
            </a:r>
          </a:p>
        </p:txBody>
      </p:sp>
      <p:grpSp>
        <p:nvGrpSpPr>
          <p:cNvPr id="5" name="Ryhmä 4">
            <a:extLst>
              <a:ext uri="{FF2B5EF4-FFF2-40B4-BE49-F238E27FC236}">
                <a16:creationId xmlns:a16="http://schemas.microsoft.com/office/drawing/2014/main" id="{3D2F5A89-E0E1-A352-25B1-1AA73A09A1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03203" y="203198"/>
            <a:ext cx="1117587" cy="1062785"/>
            <a:chOff x="203203" y="203198"/>
            <a:chExt cx="1117587" cy="1062785"/>
          </a:xfrm>
        </p:grpSpPr>
        <p:sp>
          <p:nvSpPr>
            <p:cNvPr id="6" name="Vapaamuotoinen: Muoto 5">
              <a:extLst>
                <a:ext uri="{FF2B5EF4-FFF2-40B4-BE49-F238E27FC236}">
                  <a16:creationId xmlns:a16="http://schemas.microsoft.com/office/drawing/2014/main" id="{525188C8-8609-73C0-4CA3-D47335335A3E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9" name="Vapaamuotoinen: Muoto 18">
              <a:extLst>
                <a:ext uri="{FF2B5EF4-FFF2-40B4-BE49-F238E27FC236}">
                  <a16:creationId xmlns:a16="http://schemas.microsoft.com/office/drawing/2014/main" id="{174D65B1-43CA-B503-D86E-62DE503C3A9C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0" name="Vapaamuotoinen: Muoto 19">
              <a:extLst>
                <a:ext uri="{FF2B5EF4-FFF2-40B4-BE49-F238E27FC236}">
                  <a16:creationId xmlns:a16="http://schemas.microsoft.com/office/drawing/2014/main" id="{96CF7BEF-9841-C636-4833-CF44883795A1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3" name="Vapaamuotoinen: Muoto 22">
              <a:extLst>
                <a:ext uri="{FF2B5EF4-FFF2-40B4-BE49-F238E27FC236}">
                  <a16:creationId xmlns:a16="http://schemas.microsoft.com/office/drawing/2014/main" id="{C71327A0-9565-018A-9ED5-8224A3584A97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4" name="Vapaamuotoinen: Muoto 23">
              <a:extLst>
                <a:ext uri="{FF2B5EF4-FFF2-40B4-BE49-F238E27FC236}">
                  <a16:creationId xmlns:a16="http://schemas.microsoft.com/office/drawing/2014/main" id="{9A4F7338-AA11-8845-AA60-8733E64633FD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5" name="Vapaamuotoinen: Muoto 24">
              <a:extLst>
                <a:ext uri="{FF2B5EF4-FFF2-40B4-BE49-F238E27FC236}">
                  <a16:creationId xmlns:a16="http://schemas.microsoft.com/office/drawing/2014/main" id="{010F6C3A-37A5-2ED4-EE90-7DF85320A24C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6" name="Vapaamuotoinen: Muoto 25">
              <a:extLst>
                <a:ext uri="{FF2B5EF4-FFF2-40B4-BE49-F238E27FC236}">
                  <a16:creationId xmlns:a16="http://schemas.microsoft.com/office/drawing/2014/main" id="{970D8043-07BB-8CCE-12FF-65764ACC2EE3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7" name="Vapaamuotoinen: Muoto 26">
              <a:extLst>
                <a:ext uri="{FF2B5EF4-FFF2-40B4-BE49-F238E27FC236}">
                  <a16:creationId xmlns:a16="http://schemas.microsoft.com/office/drawing/2014/main" id="{83FCC69D-E18E-DEAF-F65D-8274BB4C9739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</p:grp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3592420414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lehti nro ja kuva keltainen">
    <p:bg>
      <p:bgPr>
        <a:solidFill>
          <a:srgbClr val="FFFAC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>
            <a:extLst>
              <a:ext uri="{FF2B5EF4-FFF2-40B4-BE49-F238E27FC236}">
                <a16:creationId xmlns:a16="http://schemas.microsoft.com/office/drawing/2014/main" id="{0C0C45B2-2B8F-122D-75C1-2D79B886765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433570" y="0"/>
            <a:ext cx="8758429" cy="6858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None/>
              <a:defRPr sz="1800"/>
            </a:lvl1pPr>
          </a:lstStyle>
          <a:p>
            <a:r>
              <a:rPr lang="fi-FI" noProof="0"/>
              <a:t>Lisää kuva napsauttamalla kuvaketta</a:t>
            </a:r>
          </a:p>
        </p:txBody>
      </p:sp>
      <p:sp>
        <p:nvSpPr>
          <p:cNvPr id="22" name="Suorakulmio 21">
            <a:extLst>
              <a:ext uri="{FF2B5EF4-FFF2-40B4-BE49-F238E27FC236}">
                <a16:creationId xmlns:a16="http://schemas.microsoft.com/office/drawing/2014/main" id="{73767DC7-ABA0-F4CA-4D56-4A6E892E25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3429000"/>
            <a:ext cx="3433571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0DB878-8E84-426A-BEF0-AF1AAFA1F9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4785" y="3671398"/>
            <a:ext cx="3089059" cy="2990006"/>
          </a:xfrm>
        </p:spPr>
        <p:txBody>
          <a:bodyPr/>
          <a:lstStyle>
            <a:lvl1pPr>
              <a:defRPr sz="4000" spc="-100" baseline="0">
                <a:latin typeface="Work Sans Light" pitchFamily="2" charset="0"/>
              </a:defRPr>
            </a:lvl1pPr>
          </a:lstStyle>
          <a:p>
            <a:r>
              <a:rPr lang="fi-FI" noProof="0"/>
              <a:t>Lisää otsikko tähän</a:t>
            </a:r>
          </a:p>
        </p:txBody>
      </p:sp>
      <p:sp>
        <p:nvSpPr>
          <p:cNvPr id="4" name="Tekstin paikkamerkki 22">
            <a:extLst>
              <a:ext uri="{FF2B5EF4-FFF2-40B4-BE49-F238E27FC236}">
                <a16:creationId xmlns:a16="http://schemas.microsoft.com/office/drawing/2014/main" id="{F8BB2B58-D8BB-1736-51C6-A65C08E0264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8036" y="1580401"/>
            <a:ext cx="3008376" cy="1929383"/>
          </a:xfrm>
        </p:spPr>
        <p:txBody>
          <a:bodyPr anchor="b" anchorCtr="0"/>
          <a:lstStyle>
            <a:lvl1pPr marL="0" indent="0" algn="l">
              <a:lnSpc>
                <a:spcPct val="80000"/>
              </a:lnSpc>
              <a:buNone/>
              <a:defRPr sz="11500" spc="-50" baseline="0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fi-FI" noProof="0"/>
              <a:t>XX</a:t>
            </a:r>
          </a:p>
        </p:txBody>
      </p:sp>
      <p:grpSp>
        <p:nvGrpSpPr>
          <p:cNvPr id="5" name="Ryhmä 4">
            <a:extLst>
              <a:ext uri="{FF2B5EF4-FFF2-40B4-BE49-F238E27FC236}">
                <a16:creationId xmlns:a16="http://schemas.microsoft.com/office/drawing/2014/main" id="{3D2F5A89-E0E1-A352-25B1-1AA73A09A1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03203" y="203198"/>
            <a:ext cx="1117587" cy="1062785"/>
            <a:chOff x="203203" y="203198"/>
            <a:chExt cx="1117587" cy="1062785"/>
          </a:xfrm>
        </p:grpSpPr>
        <p:sp>
          <p:nvSpPr>
            <p:cNvPr id="6" name="Vapaamuotoinen: Muoto 5">
              <a:extLst>
                <a:ext uri="{FF2B5EF4-FFF2-40B4-BE49-F238E27FC236}">
                  <a16:creationId xmlns:a16="http://schemas.microsoft.com/office/drawing/2014/main" id="{525188C8-8609-73C0-4CA3-D47335335A3E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9" name="Vapaamuotoinen: Muoto 18">
              <a:extLst>
                <a:ext uri="{FF2B5EF4-FFF2-40B4-BE49-F238E27FC236}">
                  <a16:creationId xmlns:a16="http://schemas.microsoft.com/office/drawing/2014/main" id="{174D65B1-43CA-B503-D86E-62DE503C3A9C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0" name="Vapaamuotoinen: Muoto 19">
              <a:extLst>
                <a:ext uri="{FF2B5EF4-FFF2-40B4-BE49-F238E27FC236}">
                  <a16:creationId xmlns:a16="http://schemas.microsoft.com/office/drawing/2014/main" id="{96CF7BEF-9841-C636-4833-CF44883795A1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3" name="Vapaamuotoinen: Muoto 22">
              <a:extLst>
                <a:ext uri="{FF2B5EF4-FFF2-40B4-BE49-F238E27FC236}">
                  <a16:creationId xmlns:a16="http://schemas.microsoft.com/office/drawing/2014/main" id="{C71327A0-9565-018A-9ED5-8224A3584A97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4" name="Vapaamuotoinen: Muoto 23">
              <a:extLst>
                <a:ext uri="{FF2B5EF4-FFF2-40B4-BE49-F238E27FC236}">
                  <a16:creationId xmlns:a16="http://schemas.microsoft.com/office/drawing/2014/main" id="{9A4F7338-AA11-8845-AA60-8733E64633FD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5" name="Vapaamuotoinen: Muoto 24">
              <a:extLst>
                <a:ext uri="{FF2B5EF4-FFF2-40B4-BE49-F238E27FC236}">
                  <a16:creationId xmlns:a16="http://schemas.microsoft.com/office/drawing/2014/main" id="{010F6C3A-37A5-2ED4-EE90-7DF85320A24C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6" name="Vapaamuotoinen: Muoto 25">
              <a:extLst>
                <a:ext uri="{FF2B5EF4-FFF2-40B4-BE49-F238E27FC236}">
                  <a16:creationId xmlns:a16="http://schemas.microsoft.com/office/drawing/2014/main" id="{970D8043-07BB-8CCE-12FF-65764ACC2EE3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7" name="Vapaamuotoinen: Muoto 26">
              <a:extLst>
                <a:ext uri="{FF2B5EF4-FFF2-40B4-BE49-F238E27FC236}">
                  <a16:creationId xmlns:a16="http://schemas.microsoft.com/office/drawing/2014/main" id="{83FCC69D-E18E-DEAF-F65D-8274BB4C9739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</p:grp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174245008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lehti THL vihreä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Suorakulmio 21">
            <a:extLst>
              <a:ext uri="{FF2B5EF4-FFF2-40B4-BE49-F238E27FC236}">
                <a16:creationId xmlns:a16="http://schemas.microsoft.com/office/drawing/2014/main" id="{73767DC7-ABA0-F4CA-4D56-4A6E892E25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0"/>
            <a:ext cx="343357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0DB878-8E84-426A-BEF0-AF1AAFA1F9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4785" y="1627632"/>
            <a:ext cx="3089059" cy="3781044"/>
          </a:xfrm>
        </p:spPr>
        <p:txBody>
          <a:bodyPr anchor="ctr" anchorCtr="0"/>
          <a:lstStyle>
            <a:lvl1pPr>
              <a:defRPr sz="4000" spc="-100" baseline="0">
                <a:latin typeface="Work Sans Light" pitchFamily="2" charset="0"/>
              </a:defRPr>
            </a:lvl1pPr>
          </a:lstStyle>
          <a:p>
            <a:r>
              <a:rPr lang="fi-FI" noProof="0"/>
              <a:t>Lisää otsikko tähän</a:t>
            </a:r>
          </a:p>
        </p:txBody>
      </p:sp>
      <p:grpSp>
        <p:nvGrpSpPr>
          <p:cNvPr id="5" name="Ryhmä 4">
            <a:extLst>
              <a:ext uri="{FF2B5EF4-FFF2-40B4-BE49-F238E27FC236}">
                <a16:creationId xmlns:a16="http://schemas.microsoft.com/office/drawing/2014/main" id="{3D2F5A89-E0E1-A352-25B1-1AA73A09A1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03203" y="203198"/>
            <a:ext cx="1117587" cy="1062785"/>
            <a:chOff x="203203" y="203198"/>
            <a:chExt cx="1117587" cy="1062785"/>
          </a:xfrm>
        </p:grpSpPr>
        <p:sp>
          <p:nvSpPr>
            <p:cNvPr id="6" name="Vapaamuotoinen: Muoto 5">
              <a:extLst>
                <a:ext uri="{FF2B5EF4-FFF2-40B4-BE49-F238E27FC236}">
                  <a16:creationId xmlns:a16="http://schemas.microsoft.com/office/drawing/2014/main" id="{525188C8-8609-73C0-4CA3-D47335335A3E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9" name="Vapaamuotoinen: Muoto 18">
              <a:extLst>
                <a:ext uri="{FF2B5EF4-FFF2-40B4-BE49-F238E27FC236}">
                  <a16:creationId xmlns:a16="http://schemas.microsoft.com/office/drawing/2014/main" id="{174D65B1-43CA-B503-D86E-62DE503C3A9C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0" name="Vapaamuotoinen: Muoto 19">
              <a:extLst>
                <a:ext uri="{FF2B5EF4-FFF2-40B4-BE49-F238E27FC236}">
                  <a16:creationId xmlns:a16="http://schemas.microsoft.com/office/drawing/2014/main" id="{96CF7BEF-9841-C636-4833-CF44883795A1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3" name="Vapaamuotoinen: Muoto 22">
              <a:extLst>
                <a:ext uri="{FF2B5EF4-FFF2-40B4-BE49-F238E27FC236}">
                  <a16:creationId xmlns:a16="http://schemas.microsoft.com/office/drawing/2014/main" id="{C71327A0-9565-018A-9ED5-8224A3584A97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4" name="Vapaamuotoinen: Muoto 23">
              <a:extLst>
                <a:ext uri="{FF2B5EF4-FFF2-40B4-BE49-F238E27FC236}">
                  <a16:creationId xmlns:a16="http://schemas.microsoft.com/office/drawing/2014/main" id="{9A4F7338-AA11-8845-AA60-8733E64633FD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5" name="Vapaamuotoinen: Muoto 24">
              <a:extLst>
                <a:ext uri="{FF2B5EF4-FFF2-40B4-BE49-F238E27FC236}">
                  <a16:creationId xmlns:a16="http://schemas.microsoft.com/office/drawing/2014/main" id="{010F6C3A-37A5-2ED4-EE90-7DF85320A24C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6" name="Vapaamuotoinen: Muoto 25">
              <a:extLst>
                <a:ext uri="{FF2B5EF4-FFF2-40B4-BE49-F238E27FC236}">
                  <a16:creationId xmlns:a16="http://schemas.microsoft.com/office/drawing/2014/main" id="{970D8043-07BB-8CCE-12FF-65764ACC2EE3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7" name="Vapaamuotoinen: Muoto 26">
              <a:extLst>
                <a:ext uri="{FF2B5EF4-FFF2-40B4-BE49-F238E27FC236}">
                  <a16:creationId xmlns:a16="http://schemas.microsoft.com/office/drawing/2014/main" id="{83FCC69D-E18E-DEAF-F65D-8274BB4C9739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</p:grp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2361258214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lehti violetti">
    <p:bg>
      <p:bgPr>
        <a:solidFill>
          <a:srgbClr val="FFE1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Suorakulmio 21">
            <a:extLst>
              <a:ext uri="{FF2B5EF4-FFF2-40B4-BE49-F238E27FC236}">
                <a16:creationId xmlns:a16="http://schemas.microsoft.com/office/drawing/2014/main" id="{73767DC7-ABA0-F4CA-4D56-4A6E892E25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0"/>
            <a:ext cx="343357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0DB878-8E84-426A-BEF0-AF1AAFA1F9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4785" y="1627632"/>
            <a:ext cx="3089059" cy="3781044"/>
          </a:xfrm>
        </p:spPr>
        <p:txBody>
          <a:bodyPr anchor="ctr" anchorCtr="0"/>
          <a:lstStyle>
            <a:lvl1pPr>
              <a:defRPr sz="4000" spc="-100" baseline="0">
                <a:latin typeface="Work Sans Light" pitchFamily="2" charset="0"/>
              </a:defRPr>
            </a:lvl1pPr>
          </a:lstStyle>
          <a:p>
            <a:r>
              <a:rPr lang="fi-FI" noProof="0"/>
              <a:t>Lisää otsikko tähän</a:t>
            </a:r>
          </a:p>
        </p:txBody>
      </p:sp>
      <p:grpSp>
        <p:nvGrpSpPr>
          <p:cNvPr id="5" name="Ryhmä 4">
            <a:extLst>
              <a:ext uri="{FF2B5EF4-FFF2-40B4-BE49-F238E27FC236}">
                <a16:creationId xmlns:a16="http://schemas.microsoft.com/office/drawing/2014/main" id="{3D2F5A89-E0E1-A352-25B1-1AA73A09A1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03203" y="203198"/>
            <a:ext cx="1117587" cy="1062785"/>
            <a:chOff x="203203" y="203198"/>
            <a:chExt cx="1117587" cy="1062785"/>
          </a:xfrm>
        </p:grpSpPr>
        <p:sp>
          <p:nvSpPr>
            <p:cNvPr id="6" name="Vapaamuotoinen: Muoto 5">
              <a:extLst>
                <a:ext uri="{FF2B5EF4-FFF2-40B4-BE49-F238E27FC236}">
                  <a16:creationId xmlns:a16="http://schemas.microsoft.com/office/drawing/2014/main" id="{525188C8-8609-73C0-4CA3-D47335335A3E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9" name="Vapaamuotoinen: Muoto 18">
              <a:extLst>
                <a:ext uri="{FF2B5EF4-FFF2-40B4-BE49-F238E27FC236}">
                  <a16:creationId xmlns:a16="http://schemas.microsoft.com/office/drawing/2014/main" id="{174D65B1-43CA-B503-D86E-62DE503C3A9C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0" name="Vapaamuotoinen: Muoto 19">
              <a:extLst>
                <a:ext uri="{FF2B5EF4-FFF2-40B4-BE49-F238E27FC236}">
                  <a16:creationId xmlns:a16="http://schemas.microsoft.com/office/drawing/2014/main" id="{96CF7BEF-9841-C636-4833-CF44883795A1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3" name="Vapaamuotoinen: Muoto 22">
              <a:extLst>
                <a:ext uri="{FF2B5EF4-FFF2-40B4-BE49-F238E27FC236}">
                  <a16:creationId xmlns:a16="http://schemas.microsoft.com/office/drawing/2014/main" id="{C71327A0-9565-018A-9ED5-8224A3584A97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4" name="Vapaamuotoinen: Muoto 23">
              <a:extLst>
                <a:ext uri="{FF2B5EF4-FFF2-40B4-BE49-F238E27FC236}">
                  <a16:creationId xmlns:a16="http://schemas.microsoft.com/office/drawing/2014/main" id="{9A4F7338-AA11-8845-AA60-8733E64633FD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5" name="Vapaamuotoinen: Muoto 24">
              <a:extLst>
                <a:ext uri="{FF2B5EF4-FFF2-40B4-BE49-F238E27FC236}">
                  <a16:creationId xmlns:a16="http://schemas.microsoft.com/office/drawing/2014/main" id="{010F6C3A-37A5-2ED4-EE90-7DF85320A24C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6" name="Vapaamuotoinen: Muoto 25">
              <a:extLst>
                <a:ext uri="{FF2B5EF4-FFF2-40B4-BE49-F238E27FC236}">
                  <a16:creationId xmlns:a16="http://schemas.microsoft.com/office/drawing/2014/main" id="{970D8043-07BB-8CCE-12FF-65764ACC2EE3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7" name="Vapaamuotoinen: Muoto 26">
              <a:extLst>
                <a:ext uri="{FF2B5EF4-FFF2-40B4-BE49-F238E27FC236}">
                  <a16:creationId xmlns:a16="http://schemas.microsoft.com/office/drawing/2014/main" id="{83FCC69D-E18E-DEAF-F65D-8274BB4C9739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</p:grp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67A09F6E-5547-1BAE-EC42-9BCE56A70D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3916644733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lehti vihreä">
    <p:bg>
      <p:bgPr>
        <a:solidFill>
          <a:srgbClr val="B4FFA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Suorakulmio 21">
            <a:extLst>
              <a:ext uri="{FF2B5EF4-FFF2-40B4-BE49-F238E27FC236}">
                <a16:creationId xmlns:a16="http://schemas.microsoft.com/office/drawing/2014/main" id="{73767DC7-ABA0-F4CA-4D56-4A6E892E25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0"/>
            <a:ext cx="343357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0DB878-8E84-426A-BEF0-AF1AAFA1F9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4785" y="1627632"/>
            <a:ext cx="3089059" cy="3781044"/>
          </a:xfrm>
        </p:spPr>
        <p:txBody>
          <a:bodyPr anchor="ctr" anchorCtr="0"/>
          <a:lstStyle>
            <a:lvl1pPr>
              <a:defRPr sz="4000" spc="-100" baseline="0">
                <a:latin typeface="Work Sans Light" pitchFamily="2" charset="0"/>
              </a:defRPr>
            </a:lvl1pPr>
          </a:lstStyle>
          <a:p>
            <a:r>
              <a:rPr lang="fi-FI" noProof="0"/>
              <a:t>Lisää otsikko tähän</a:t>
            </a:r>
          </a:p>
        </p:txBody>
      </p:sp>
      <p:grpSp>
        <p:nvGrpSpPr>
          <p:cNvPr id="5" name="Ryhmä 4">
            <a:extLst>
              <a:ext uri="{FF2B5EF4-FFF2-40B4-BE49-F238E27FC236}">
                <a16:creationId xmlns:a16="http://schemas.microsoft.com/office/drawing/2014/main" id="{3D2F5A89-E0E1-A352-25B1-1AA73A09A1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03203" y="203198"/>
            <a:ext cx="1117587" cy="1062785"/>
            <a:chOff x="203203" y="203198"/>
            <a:chExt cx="1117587" cy="1062785"/>
          </a:xfrm>
        </p:grpSpPr>
        <p:sp>
          <p:nvSpPr>
            <p:cNvPr id="6" name="Vapaamuotoinen: Muoto 5">
              <a:extLst>
                <a:ext uri="{FF2B5EF4-FFF2-40B4-BE49-F238E27FC236}">
                  <a16:creationId xmlns:a16="http://schemas.microsoft.com/office/drawing/2014/main" id="{525188C8-8609-73C0-4CA3-D47335335A3E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9" name="Vapaamuotoinen: Muoto 18">
              <a:extLst>
                <a:ext uri="{FF2B5EF4-FFF2-40B4-BE49-F238E27FC236}">
                  <a16:creationId xmlns:a16="http://schemas.microsoft.com/office/drawing/2014/main" id="{174D65B1-43CA-B503-D86E-62DE503C3A9C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0" name="Vapaamuotoinen: Muoto 19">
              <a:extLst>
                <a:ext uri="{FF2B5EF4-FFF2-40B4-BE49-F238E27FC236}">
                  <a16:creationId xmlns:a16="http://schemas.microsoft.com/office/drawing/2014/main" id="{96CF7BEF-9841-C636-4833-CF44883795A1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3" name="Vapaamuotoinen: Muoto 22">
              <a:extLst>
                <a:ext uri="{FF2B5EF4-FFF2-40B4-BE49-F238E27FC236}">
                  <a16:creationId xmlns:a16="http://schemas.microsoft.com/office/drawing/2014/main" id="{C71327A0-9565-018A-9ED5-8224A3584A97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4" name="Vapaamuotoinen: Muoto 23">
              <a:extLst>
                <a:ext uri="{FF2B5EF4-FFF2-40B4-BE49-F238E27FC236}">
                  <a16:creationId xmlns:a16="http://schemas.microsoft.com/office/drawing/2014/main" id="{9A4F7338-AA11-8845-AA60-8733E64633FD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5" name="Vapaamuotoinen: Muoto 24">
              <a:extLst>
                <a:ext uri="{FF2B5EF4-FFF2-40B4-BE49-F238E27FC236}">
                  <a16:creationId xmlns:a16="http://schemas.microsoft.com/office/drawing/2014/main" id="{010F6C3A-37A5-2ED4-EE90-7DF85320A24C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6" name="Vapaamuotoinen: Muoto 25">
              <a:extLst>
                <a:ext uri="{FF2B5EF4-FFF2-40B4-BE49-F238E27FC236}">
                  <a16:creationId xmlns:a16="http://schemas.microsoft.com/office/drawing/2014/main" id="{970D8043-07BB-8CCE-12FF-65764ACC2EE3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7" name="Vapaamuotoinen: Muoto 26">
              <a:extLst>
                <a:ext uri="{FF2B5EF4-FFF2-40B4-BE49-F238E27FC236}">
                  <a16:creationId xmlns:a16="http://schemas.microsoft.com/office/drawing/2014/main" id="{83FCC69D-E18E-DEAF-F65D-8274BB4C9739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</p:grp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1838148777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lehti keltainen">
    <p:bg>
      <p:bgPr>
        <a:solidFill>
          <a:srgbClr val="FFFAC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Suorakulmio 21">
            <a:extLst>
              <a:ext uri="{FF2B5EF4-FFF2-40B4-BE49-F238E27FC236}">
                <a16:creationId xmlns:a16="http://schemas.microsoft.com/office/drawing/2014/main" id="{73767DC7-ABA0-F4CA-4D56-4A6E892E25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0"/>
            <a:ext cx="343357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0DB878-8E84-426A-BEF0-AF1AAFA1F9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4785" y="1627632"/>
            <a:ext cx="3089059" cy="3781044"/>
          </a:xfrm>
        </p:spPr>
        <p:txBody>
          <a:bodyPr anchor="ctr" anchorCtr="0"/>
          <a:lstStyle>
            <a:lvl1pPr>
              <a:defRPr sz="4000" spc="-100" baseline="0">
                <a:latin typeface="Work Sans Light" pitchFamily="2" charset="0"/>
              </a:defRPr>
            </a:lvl1pPr>
          </a:lstStyle>
          <a:p>
            <a:r>
              <a:rPr lang="fi-FI" noProof="0"/>
              <a:t>Lisää otsikko tähän</a:t>
            </a:r>
          </a:p>
        </p:txBody>
      </p:sp>
      <p:grpSp>
        <p:nvGrpSpPr>
          <p:cNvPr id="5" name="Ryhmä 4">
            <a:extLst>
              <a:ext uri="{FF2B5EF4-FFF2-40B4-BE49-F238E27FC236}">
                <a16:creationId xmlns:a16="http://schemas.microsoft.com/office/drawing/2014/main" id="{3D2F5A89-E0E1-A352-25B1-1AA73A09A1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03203" y="203198"/>
            <a:ext cx="1117587" cy="1062785"/>
            <a:chOff x="203203" y="203198"/>
            <a:chExt cx="1117587" cy="1062785"/>
          </a:xfrm>
        </p:grpSpPr>
        <p:sp>
          <p:nvSpPr>
            <p:cNvPr id="6" name="Vapaamuotoinen: Muoto 5">
              <a:extLst>
                <a:ext uri="{FF2B5EF4-FFF2-40B4-BE49-F238E27FC236}">
                  <a16:creationId xmlns:a16="http://schemas.microsoft.com/office/drawing/2014/main" id="{525188C8-8609-73C0-4CA3-D47335335A3E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9" name="Vapaamuotoinen: Muoto 18">
              <a:extLst>
                <a:ext uri="{FF2B5EF4-FFF2-40B4-BE49-F238E27FC236}">
                  <a16:creationId xmlns:a16="http://schemas.microsoft.com/office/drawing/2014/main" id="{174D65B1-43CA-B503-D86E-62DE503C3A9C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0" name="Vapaamuotoinen: Muoto 19">
              <a:extLst>
                <a:ext uri="{FF2B5EF4-FFF2-40B4-BE49-F238E27FC236}">
                  <a16:creationId xmlns:a16="http://schemas.microsoft.com/office/drawing/2014/main" id="{96CF7BEF-9841-C636-4833-CF44883795A1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3" name="Vapaamuotoinen: Muoto 22">
              <a:extLst>
                <a:ext uri="{FF2B5EF4-FFF2-40B4-BE49-F238E27FC236}">
                  <a16:creationId xmlns:a16="http://schemas.microsoft.com/office/drawing/2014/main" id="{C71327A0-9565-018A-9ED5-8224A3584A97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4" name="Vapaamuotoinen: Muoto 23">
              <a:extLst>
                <a:ext uri="{FF2B5EF4-FFF2-40B4-BE49-F238E27FC236}">
                  <a16:creationId xmlns:a16="http://schemas.microsoft.com/office/drawing/2014/main" id="{9A4F7338-AA11-8845-AA60-8733E64633FD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5" name="Vapaamuotoinen: Muoto 24">
              <a:extLst>
                <a:ext uri="{FF2B5EF4-FFF2-40B4-BE49-F238E27FC236}">
                  <a16:creationId xmlns:a16="http://schemas.microsoft.com/office/drawing/2014/main" id="{010F6C3A-37A5-2ED4-EE90-7DF85320A24C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6" name="Vapaamuotoinen: Muoto 25">
              <a:extLst>
                <a:ext uri="{FF2B5EF4-FFF2-40B4-BE49-F238E27FC236}">
                  <a16:creationId xmlns:a16="http://schemas.microsoft.com/office/drawing/2014/main" id="{970D8043-07BB-8CCE-12FF-65764ACC2EE3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7" name="Vapaamuotoinen: Muoto 26">
              <a:extLst>
                <a:ext uri="{FF2B5EF4-FFF2-40B4-BE49-F238E27FC236}">
                  <a16:creationId xmlns:a16="http://schemas.microsoft.com/office/drawing/2014/main" id="{83FCC69D-E18E-DEAF-F65D-8274BB4C9739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</p:grp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264221132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7C8C091-C242-4851-9826-ECBA43530F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19.5.2021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5B64547-60FB-4F82-B034-DC7F10F48F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etra Kokko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7519037-54EE-46F6-8610-A2A8D9E613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160B98-140E-4345-B1A3-2A7247C42973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49778213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lehti sininen">
    <p:bg>
      <p:bgPr>
        <a:solidFill>
          <a:srgbClr val="DCEFF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Suorakulmio 21">
            <a:extLst>
              <a:ext uri="{FF2B5EF4-FFF2-40B4-BE49-F238E27FC236}">
                <a16:creationId xmlns:a16="http://schemas.microsoft.com/office/drawing/2014/main" id="{73767DC7-ABA0-F4CA-4D56-4A6E892E25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0"/>
            <a:ext cx="343357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0DB878-8E84-426A-BEF0-AF1AAFA1F9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4785" y="1627632"/>
            <a:ext cx="3089059" cy="3781044"/>
          </a:xfrm>
        </p:spPr>
        <p:txBody>
          <a:bodyPr anchor="ctr" anchorCtr="0"/>
          <a:lstStyle>
            <a:lvl1pPr>
              <a:defRPr sz="4000" spc="-100" baseline="0">
                <a:latin typeface="Work Sans Light" pitchFamily="2" charset="0"/>
              </a:defRPr>
            </a:lvl1pPr>
          </a:lstStyle>
          <a:p>
            <a:r>
              <a:rPr lang="fi-FI" noProof="0"/>
              <a:t>Lisää otsikko tähän</a:t>
            </a:r>
          </a:p>
        </p:txBody>
      </p:sp>
      <p:grpSp>
        <p:nvGrpSpPr>
          <p:cNvPr id="5" name="Ryhmä 4">
            <a:extLst>
              <a:ext uri="{FF2B5EF4-FFF2-40B4-BE49-F238E27FC236}">
                <a16:creationId xmlns:a16="http://schemas.microsoft.com/office/drawing/2014/main" id="{3D2F5A89-E0E1-A352-25B1-1AA73A09A1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03203" y="203198"/>
            <a:ext cx="1117587" cy="1062785"/>
            <a:chOff x="203203" y="203198"/>
            <a:chExt cx="1117587" cy="1062785"/>
          </a:xfrm>
        </p:grpSpPr>
        <p:sp>
          <p:nvSpPr>
            <p:cNvPr id="6" name="Vapaamuotoinen: Muoto 5">
              <a:extLst>
                <a:ext uri="{FF2B5EF4-FFF2-40B4-BE49-F238E27FC236}">
                  <a16:creationId xmlns:a16="http://schemas.microsoft.com/office/drawing/2014/main" id="{525188C8-8609-73C0-4CA3-D47335335A3E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9" name="Vapaamuotoinen: Muoto 18">
              <a:extLst>
                <a:ext uri="{FF2B5EF4-FFF2-40B4-BE49-F238E27FC236}">
                  <a16:creationId xmlns:a16="http://schemas.microsoft.com/office/drawing/2014/main" id="{174D65B1-43CA-B503-D86E-62DE503C3A9C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0" name="Vapaamuotoinen: Muoto 19">
              <a:extLst>
                <a:ext uri="{FF2B5EF4-FFF2-40B4-BE49-F238E27FC236}">
                  <a16:creationId xmlns:a16="http://schemas.microsoft.com/office/drawing/2014/main" id="{96CF7BEF-9841-C636-4833-CF44883795A1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3" name="Vapaamuotoinen: Muoto 22">
              <a:extLst>
                <a:ext uri="{FF2B5EF4-FFF2-40B4-BE49-F238E27FC236}">
                  <a16:creationId xmlns:a16="http://schemas.microsoft.com/office/drawing/2014/main" id="{C71327A0-9565-018A-9ED5-8224A3584A97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4" name="Vapaamuotoinen: Muoto 23">
              <a:extLst>
                <a:ext uri="{FF2B5EF4-FFF2-40B4-BE49-F238E27FC236}">
                  <a16:creationId xmlns:a16="http://schemas.microsoft.com/office/drawing/2014/main" id="{9A4F7338-AA11-8845-AA60-8733E64633FD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5" name="Vapaamuotoinen: Muoto 24">
              <a:extLst>
                <a:ext uri="{FF2B5EF4-FFF2-40B4-BE49-F238E27FC236}">
                  <a16:creationId xmlns:a16="http://schemas.microsoft.com/office/drawing/2014/main" id="{010F6C3A-37A5-2ED4-EE90-7DF85320A24C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6" name="Vapaamuotoinen: Muoto 25">
              <a:extLst>
                <a:ext uri="{FF2B5EF4-FFF2-40B4-BE49-F238E27FC236}">
                  <a16:creationId xmlns:a16="http://schemas.microsoft.com/office/drawing/2014/main" id="{970D8043-07BB-8CCE-12FF-65764ACC2EE3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7" name="Vapaamuotoinen: Muoto 26">
              <a:extLst>
                <a:ext uri="{FF2B5EF4-FFF2-40B4-BE49-F238E27FC236}">
                  <a16:creationId xmlns:a16="http://schemas.microsoft.com/office/drawing/2014/main" id="{83FCC69D-E18E-DEAF-F65D-8274BB4C9739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</p:grp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4142483957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lehti punainen">
    <p:bg>
      <p:bgPr>
        <a:solidFill>
          <a:srgbClr val="FE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Suorakulmio 21">
            <a:extLst>
              <a:ext uri="{FF2B5EF4-FFF2-40B4-BE49-F238E27FC236}">
                <a16:creationId xmlns:a16="http://schemas.microsoft.com/office/drawing/2014/main" id="{73767DC7-ABA0-F4CA-4D56-4A6E892E25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0"/>
            <a:ext cx="343357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0DB878-8E84-426A-BEF0-AF1AAFA1F9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4785" y="1627632"/>
            <a:ext cx="3089059" cy="3781044"/>
          </a:xfrm>
        </p:spPr>
        <p:txBody>
          <a:bodyPr anchor="ctr" anchorCtr="0"/>
          <a:lstStyle>
            <a:lvl1pPr>
              <a:defRPr sz="4000" spc="-100" baseline="0">
                <a:latin typeface="Work Sans Light" pitchFamily="2" charset="0"/>
              </a:defRPr>
            </a:lvl1pPr>
          </a:lstStyle>
          <a:p>
            <a:r>
              <a:rPr lang="fi-FI" noProof="0"/>
              <a:t>Lisää otsikko tähän</a:t>
            </a:r>
          </a:p>
        </p:txBody>
      </p:sp>
      <p:grpSp>
        <p:nvGrpSpPr>
          <p:cNvPr id="5" name="Ryhmä 4">
            <a:extLst>
              <a:ext uri="{FF2B5EF4-FFF2-40B4-BE49-F238E27FC236}">
                <a16:creationId xmlns:a16="http://schemas.microsoft.com/office/drawing/2014/main" id="{3D2F5A89-E0E1-A352-25B1-1AA73A09A1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03203" y="203198"/>
            <a:ext cx="1117587" cy="1062785"/>
            <a:chOff x="203203" y="203198"/>
            <a:chExt cx="1117587" cy="1062785"/>
          </a:xfrm>
        </p:grpSpPr>
        <p:sp>
          <p:nvSpPr>
            <p:cNvPr id="6" name="Vapaamuotoinen: Muoto 5">
              <a:extLst>
                <a:ext uri="{FF2B5EF4-FFF2-40B4-BE49-F238E27FC236}">
                  <a16:creationId xmlns:a16="http://schemas.microsoft.com/office/drawing/2014/main" id="{525188C8-8609-73C0-4CA3-D47335335A3E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9" name="Vapaamuotoinen: Muoto 18">
              <a:extLst>
                <a:ext uri="{FF2B5EF4-FFF2-40B4-BE49-F238E27FC236}">
                  <a16:creationId xmlns:a16="http://schemas.microsoft.com/office/drawing/2014/main" id="{174D65B1-43CA-B503-D86E-62DE503C3A9C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0" name="Vapaamuotoinen: Muoto 19">
              <a:extLst>
                <a:ext uri="{FF2B5EF4-FFF2-40B4-BE49-F238E27FC236}">
                  <a16:creationId xmlns:a16="http://schemas.microsoft.com/office/drawing/2014/main" id="{96CF7BEF-9841-C636-4833-CF44883795A1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3" name="Vapaamuotoinen: Muoto 22">
              <a:extLst>
                <a:ext uri="{FF2B5EF4-FFF2-40B4-BE49-F238E27FC236}">
                  <a16:creationId xmlns:a16="http://schemas.microsoft.com/office/drawing/2014/main" id="{C71327A0-9565-018A-9ED5-8224A3584A97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4" name="Vapaamuotoinen: Muoto 23">
              <a:extLst>
                <a:ext uri="{FF2B5EF4-FFF2-40B4-BE49-F238E27FC236}">
                  <a16:creationId xmlns:a16="http://schemas.microsoft.com/office/drawing/2014/main" id="{9A4F7338-AA11-8845-AA60-8733E64633FD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5" name="Vapaamuotoinen: Muoto 24">
              <a:extLst>
                <a:ext uri="{FF2B5EF4-FFF2-40B4-BE49-F238E27FC236}">
                  <a16:creationId xmlns:a16="http://schemas.microsoft.com/office/drawing/2014/main" id="{010F6C3A-37A5-2ED4-EE90-7DF85320A24C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6" name="Vapaamuotoinen: Muoto 25">
              <a:extLst>
                <a:ext uri="{FF2B5EF4-FFF2-40B4-BE49-F238E27FC236}">
                  <a16:creationId xmlns:a16="http://schemas.microsoft.com/office/drawing/2014/main" id="{970D8043-07BB-8CCE-12FF-65764ACC2EE3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27" name="Vapaamuotoinen: Muoto 26">
              <a:extLst>
                <a:ext uri="{FF2B5EF4-FFF2-40B4-BE49-F238E27FC236}">
                  <a16:creationId xmlns:a16="http://schemas.microsoft.com/office/drawing/2014/main" id="{83FCC69D-E18E-DEAF-F65D-8274BB4C9739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</p:grp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67A09F6E-5547-1BAE-EC42-9BCE56A70D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1908954323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äätössivu">
    <p:bg>
      <p:bgPr>
        <a:solidFill>
          <a:srgbClr val="005A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6E6260-E36C-484A-9F25-1346EC50A8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56953" y="1951001"/>
            <a:ext cx="10477035" cy="2082841"/>
          </a:xfrm>
        </p:spPr>
        <p:txBody>
          <a:bodyPr anchor="b">
            <a:noAutofit/>
          </a:bodyPr>
          <a:lstStyle>
            <a:lvl1pPr algn="ctr">
              <a:defRPr sz="13800" spc="-300" baseline="0">
                <a:solidFill>
                  <a:srgbClr val="FFF7F1"/>
                </a:solidFill>
                <a:latin typeface="Work Sans Light" pitchFamily="2" charset="0"/>
              </a:defRPr>
            </a:lvl1pPr>
          </a:lstStyle>
          <a:p>
            <a:r>
              <a:rPr lang="fi-FI" noProof="0"/>
              <a:t>Päätössivu</a:t>
            </a:r>
          </a:p>
        </p:txBody>
      </p:sp>
      <p:sp>
        <p:nvSpPr>
          <p:cNvPr id="23" name="Tekstin paikkamerkki 22">
            <a:extLst>
              <a:ext uri="{FF2B5EF4-FFF2-40B4-BE49-F238E27FC236}">
                <a16:creationId xmlns:a16="http://schemas.microsoft.com/office/drawing/2014/main" id="{463699EA-6FB5-11FA-EFF4-9EF634830ED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6953" y="4664704"/>
            <a:ext cx="10477035" cy="440072"/>
          </a:xfrm>
        </p:spPr>
        <p:txBody>
          <a:bodyPr anchor="b" anchorCtr="0"/>
          <a:lstStyle>
            <a:lvl1pPr marL="0" indent="0" algn="ctr">
              <a:buNone/>
              <a:defRPr>
                <a:solidFill>
                  <a:srgbClr val="FFF7F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fi-FI" noProof="0"/>
              <a:t>Lisää tekstiä tähän</a:t>
            </a:r>
          </a:p>
        </p:txBody>
      </p:sp>
      <p:sp>
        <p:nvSpPr>
          <p:cNvPr id="10" name="Tekstin paikkamerkki 9">
            <a:extLst>
              <a:ext uri="{FF2B5EF4-FFF2-40B4-BE49-F238E27FC236}">
                <a16:creationId xmlns:a16="http://schemas.microsoft.com/office/drawing/2014/main" id="{BA0D528A-E45F-D426-FD02-B0B54E827D8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57250" y="5401791"/>
            <a:ext cx="10477500" cy="336484"/>
          </a:xfrm>
        </p:spPr>
        <p:txBody>
          <a:bodyPr/>
          <a:lstStyle>
            <a:lvl1pPr marL="0" indent="0" algn="ctr">
              <a:buNone/>
              <a:defRPr sz="1800">
                <a:solidFill>
                  <a:srgbClr val="FFF7F1"/>
                </a:solidFill>
              </a:defRPr>
            </a:lvl1pPr>
          </a:lstStyle>
          <a:p>
            <a:pPr lvl="0"/>
            <a:r>
              <a:rPr lang="fi-FI" noProof="0"/>
              <a:t>Lisää tekstiä tähän</a:t>
            </a:r>
          </a:p>
        </p:txBody>
      </p:sp>
      <p:grpSp>
        <p:nvGrpSpPr>
          <p:cNvPr id="42" name="Ryhmä 9">
            <a:extLst>
              <a:ext uri="{FF2B5EF4-FFF2-40B4-BE49-F238E27FC236}">
                <a16:creationId xmlns:a16="http://schemas.microsoft.com/office/drawing/2014/main" id="{61A8B933-523D-18D5-1617-3C73FE86A3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197447" y="200023"/>
            <a:ext cx="1126884" cy="1071627"/>
            <a:chOff x="203203" y="203198"/>
            <a:chExt cx="1117587" cy="1062785"/>
          </a:xfrm>
          <a:solidFill>
            <a:srgbClr val="FFF7F0"/>
          </a:solidFill>
        </p:grpSpPr>
        <p:sp>
          <p:nvSpPr>
            <p:cNvPr id="43" name="Vapaamuotoinen: Muoto 10">
              <a:extLst>
                <a:ext uri="{FF2B5EF4-FFF2-40B4-BE49-F238E27FC236}">
                  <a16:creationId xmlns:a16="http://schemas.microsoft.com/office/drawing/2014/main" id="{95EF54DF-E6CC-4973-DE1C-28BF4B8CABF5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grpFill/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44" name="Vapaamuotoinen: Muoto 11">
              <a:extLst>
                <a:ext uri="{FF2B5EF4-FFF2-40B4-BE49-F238E27FC236}">
                  <a16:creationId xmlns:a16="http://schemas.microsoft.com/office/drawing/2014/main" id="{3A717948-9DC4-C7C2-DF0B-0A741D4C9697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grpFill/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45" name="Vapaamuotoinen: Muoto 12">
              <a:extLst>
                <a:ext uri="{FF2B5EF4-FFF2-40B4-BE49-F238E27FC236}">
                  <a16:creationId xmlns:a16="http://schemas.microsoft.com/office/drawing/2014/main" id="{510CCB9C-85C9-6BC1-80CF-DCB7525EAC50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grpFill/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46" name="Vapaamuotoinen: Muoto 13">
              <a:extLst>
                <a:ext uri="{FF2B5EF4-FFF2-40B4-BE49-F238E27FC236}">
                  <a16:creationId xmlns:a16="http://schemas.microsoft.com/office/drawing/2014/main" id="{94EC2F65-E9E5-D1B0-514B-1CAB2546F0E9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grpFill/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47" name="Vapaamuotoinen: Muoto 14">
              <a:extLst>
                <a:ext uri="{FF2B5EF4-FFF2-40B4-BE49-F238E27FC236}">
                  <a16:creationId xmlns:a16="http://schemas.microsoft.com/office/drawing/2014/main" id="{8854FBAC-F823-CDF4-0BC8-3C0AB7DFD2A5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grpFill/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48" name="Vapaamuotoinen: Muoto 15">
              <a:extLst>
                <a:ext uri="{FF2B5EF4-FFF2-40B4-BE49-F238E27FC236}">
                  <a16:creationId xmlns:a16="http://schemas.microsoft.com/office/drawing/2014/main" id="{859508E6-E81D-6007-C89C-F3302D643BFE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grpFill/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49" name="Vapaamuotoinen: Muoto 16">
              <a:extLst>
                <a:ext uri="{FF2B5EF4-FFF2-40B4-BE49-F238E27FC236}">
                  <a16:creationId xmlns:a16="http://schemas.microsoft.com/office/drawing/2014/main" id="{91ADE866-BE02-3759-6D97-B4E6CC29CAB2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grpFill/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50" name="Vapaamuotoinen: Muoto 17">
              <a:extLst>
                <a:ext uri="{FF2B5EF4-FFF2-40B4-BE49-F238E27FC236}">
                  <a16:creationId xmlns:a16="http://schemas.microsoft.com/office/drawing/2014/main" id="{48ED4965-5270-89A6-9D6C-CC4669A8B5D7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grpFill/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</p:grpSp>
    </p:spTree>
    <p:extLst>
      <p:ext uri="{BB962C8B-B14F-4D97-AF65-F5344CB8AC3E}">
        <p14:creationId xmlns:p14="http://schemas.microsoft.com/office/powerpoint/2010/main" val="4006724557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nsi kuvalla vauhdissa">
    <p:bg>
      <p:bgPr>
        <a:solidFill>
          <a:srgbClr val="FFE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Kuvan paikkamerkki 8">
            <a:extLst>
              <a:ext uri="{FF2B5EF4-FFF2-40B4-BE49-F238E27FC236}">
                <a16:creationId xmlns:a16="http://schemas.microsoft.com/office/drawing/2014/main" id="{4F5851F0-8A4C-E2B6-B7E8-F18419363F84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33572" y="0"/>
            <a:ext cx="8758428" cy="6858000"/>
          </a:xfrm>
          <a:prstGeom prst="rect">
            <a:avLst/>
          </a:prstGeom>
        </p:spPr>
      </p:pic>
      <p:sp>
        <p:nvSpPr>
          <p:cNvPr id="3" name="Suorakulmio 21">
            <a:extLst>
              <a:ext uri="{FF2B5EF4-FFF2-40B4-BE49-F238E27FC236}">
                <a16:creationId xmlns:a16="http://schemas.microsoft.com/office/drawing/2014/main" id="{0414F822-80E9-F7F3-5E9B-3F51D8AE44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3433570" y="3429000"/>
            <a:ext cx="3433571" cy="3429000"/>
          </a:xfrm>
          <a:prstGeom prst="rect">
            <a:avLst/>
          </a:prstGeom>
          <a:solidFill>
            <a:srgbClr val="FFE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 dirty="0"/>
          </a:p>
        </p:txBody>
      </p:sp>
      <p:sp>
        <p:nvSpPr>
          <p:cNvPr id="22" name="Suorakulmio 21">
            <a:extLst>
              <a:ext uri="{FF2B5EF4-FFF2-40B4-BE49-F238E27FC236}">
                <a16:creationId xmlns:a16="http://schemas.microsoft.com/office/drawing/2014/main" id="{73767DC7-ABA0-F4CA-4D56-4A6E892E25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3429000"/>
            <a:ext cx="3433571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 dirty="0"/>
          </a:p>
        </p:txBody>
      </p:sp>
      <p:grpSp>
        <p:nvGrpSpPr>
          <p:cNvPr id="10" name="Ryhmä 9">
            <a:extLst>
              <a:ext uri="{FF2B5EF4-FFF2-40B4-BE49-F238E27FC236}">
                <a16:creationId xmlns:a16="http://schemas.microsoft.com/office/drawing/2014/main" id="{6B17C079-3319-DC26-44A9-380683636D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163835" y="237701"/>
            <a:ext cx="3105897" cy="2953599"/>
            <a:chOff x="203203" y="203198"/>
            <a:chExt cx="1117587" cy="1062785"/>
          </a:xfrm>
        </p:grpSpPr>
        <p:sp>
          <p:nvSpPr>
            <p:cNvPr id="11" name="Vapaamuotoinen: Muoto 10">
              <a:extLst>
                <a:ext uri="{FF2B5EF4-FFF2-40B4-BE49-F238E27FC236}">
                  <a16:creationId xmlns:a16="http://schemas.microsoft.com/office/drawing/2014/main" id="{BCABC861-8524-85F9-F756-A6ED24CB82EB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2" name="Vapaamuotoinen: Muoto 11">
              <a:extLst>
                <a:ext uri="{FF2B5EF4-FFF2-40B4-BE49-F238E27FC236}">
                  <a16:creationId xmlns:a16="http://schemas.microsoft.com/office/drawing/2014/main" id="{527BBF29-0D7D-E7D2-0C6B-F52CED370805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3" name="Vapaamuotoinen: Muoto 12">
              <a:extLst>
                <a:ext uri="{FF2B5EF4-FFF2-40B4-BE49-F238E27FC236}">
                  <a16:creationId xmlns:a16="http://schemas.microsoft.com/office/drawing/2014/main" id="{6891EF07-6FE5-932D-5471-6AB8430B2877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4" name="Vapaamuotoinen: Muoto 13">
              <a:extLst>
                <a:ext uri="{FF2B5EF4-FFF2-40B4-BE49-F238E27FC236}">
                  <a16:creationId xmlns:a16="http://schemas.microsoft.com/office/drawing/2014/main" id="{BA895791-B656-59A9-01FB-C88134131A15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5" name="Vapaamuotoinen: Muoto 14">
              <a:extLst>
                <a:ext uri="{FF2B5EF4-FFF2-40B4-BE49-F238E27FC236}">
                  <a16:creationId xmlns:a16="http://schemas.microsoft.com/office/drawing/2014/main" id="{CC5BF34A-D3C5-29AF-0507-491580995DE1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6" name="Vapaamuotoinen: Muoto 15">
              <a:extLst>
                <a:ext uri="{FF2B5EF4-FFF2-40B4-BE49-F238E27FC236}">
                  <a16:creationId xmlns:a16="http://schemas.microsoft.com/office/drawing/2014/main" id="{5312F966-2A5D-80FA-E0C6-78D5AC981A34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7" name="Vapaamuotoinen: Muoto 16">
              <a:extLst>
                <a:ext uri="{FF2B5EF4-FFF2-40B4-BE49-F238E27FC236}">
                  <a16:creationId xmlns:a16="http://schemas.microsoft.com/office/drawing/2014/main" id="{530F09BF-1A2D-B1DC-9B9F-1171E3E2DBB2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8" name="Vapaamuotoinen: Muoto 17">
              <a:extLst>
                <a:ext uri="{FF2B5EF4-FFF2-40B4-BE49-F238E27FC236}">
                  <a16:creationId xmlns:a16="http://schemas.microsoft.com/office/drawing/2014/main" id="{B1EFF7B6-19DF-63BA-8D9F-AAC3119D0AE8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</p:grpSp>
      <p:sp>
        <p:nvSpPr>
          <p:cNvPr id="6" name="Title 1">
            <a:extLst>
              <a:ext uri="{FF2B5EF4-FFF2-40B4-BE49-F238E27FC236}">
                <a16:creationId xmlns:a16="http://schemas.microsoft.com/office/drawing/2014/main" id="{EC5E043E-0D3C-A52B-0B43-14E6B80179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4785" y="3671398"/>
            <a:ext cx="3089059" cy="2883185"/>
          </a:xfrm>
        </p:spPr>
        <p:txBody>
          <a:bodyPr/>
          <a:lstStyle>
            <a:lvl1pPr>
              <a:defRPr sz="4000" spc="-100" baseline="0">
                <a:latin typeface="Work Sans Light" pitchFamily="2" charset="0"/>
              </a:defRPr>
            </a:lvl1pPr>
          </a:lstStyle>
          <a:p>
            <a:r>
              <a:rPr lang="fi-FI" noProof="0" dirty="0"/>
              <a:t>Lisää otsikko tähän</a:t>
            </a:r>
          </a:p>
        </p:txBody>
      </p:sp>
      <p:sp>
        <p:nvSpPr>
          <p:cNvPr id="2" name="Tekstin paikkamerkki 22">
            <a:extLst>
              <a:ext uri="{FF2B5EF4-FFF2-40B4-BE49-F238E27FC236}">
                <a16:creationId xmlns:a16="http://schemas.microsoft.com/office/drawing/2014/main" id="{FA7B5BB6-94B5-1508-6DA2-074BA5581F4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36000" y="3693599"/>
            <a:ext cx="3006000" cy="1929600"/>
          </a:xfrm>
        </p:spPr>
        <p:txBody>
          <a:bodyPr anchor="t" anchorCtr="0"/>
          <a:lstStyle>
            <a:lvl1pPr marL="0" indent="0" algn="l">
              <a:lnSpc>
                <a:spcPct val="95000"/>
              </a:lnSpc>
              <a:buNone/>
              <a:defRPr spc="-50" baseline="0"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fi-FI" noProof="0" dirty="0"/>
              <a:t>Lisää tekstiä tähän</a:t>
            </a:r>
          </a:p>
        </p:txBody>
      </p:sp>
      <p:sp>
        <p:nvSpPr>
          <p:cNvPr id="4" name="Tekstiruutu 18">
            <a:extLst>
              <a:ext uri="{FF2B5EF4-FFF2-40B4-BE49-F238E27FC236}">
                <a16:creationId xmlns:a16="http://schemas.microsoft.com/office/drawing/2014/main" id="{A52EB042-77D2-65F1-CF36-CBD6264658D4}"/>
              </a:ext>
            </a:extLst>
          </p:cNvPr>
          <p:cNvSpPr txBox="1"/>
          <p:nvPr userDrawn="1"/>
        </p:nvSpPr>
        <p:spPr>
          <a:xfrm>
            <a:off x="3636000" y="5704241"/>
            <a:ext cx="3006000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i-FI" sz="1600" spc="-20" baseline="0" noProof="0" dirty="0"/>
              <a:t>Terveyden ja </a:t>
            </a:r>
          </a:p>
          <a:p>
            <a:r>
              <a:rPr lang="fi-FI" sz="1600" spc="-20" baseline="0" noProof="0" dirty="0"/>
              <a:t>hyvinvoinnin laito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3233A35-B1A9-F45B-88B5-3FCB5F4370F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635451" y="6269995"/>
            <a:ext cx="1972568" cy="28481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 spc="-40" baseline="0">
                <a:solidFill>
                  <a:schemeClr val="tx1"/>
                </a:solidFill>
              </a:defRPr>
            </a:lvl1pPr>
          </a:lstStyle>
          <a:p>
            <a:fld id="{76BE8DE8-6261-4CD3-8D49-9AB11C9718BA}" type="datetime1">
              <a:rPr lang="fi-FI" noProof="0" smtClean="0"/>
              <a:pPr/>
              <a:t>12.3.2026</a:t>
            </a:fld>
            <a:endParaRPr lang="fi-FI" noProof="0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 dirty="0"/>
          </a:p>
        </p:txBody>
      </p:sp>
    </p:spTree>
    <p:extLst>
      <p:ext uri="{BB962C8B-B14F-4D97-AF65-F5344CB8AC3E}">
        <p14:creationId xmlns:p14="http://schemas.microsoft.com/office/powerpoint/2010/main" val="2338187470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nsi kuvalla pipo">
    <p:bg>
      <p:bgPr>
        <a:solidFill>
          <a:srgbClr val="B4FFA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Kuvan paikkamerkki 8">
            <a:extLst>
              <a:ext uri="{FF2B5EF4-FFF2-40B4-BE49-F238E27FC236}">
                <a16:creationId xmlns:a16="http://schemas.microsoft.com/office/drawing/2014/main" id="{81052C35-1278-CF9B-90CE-2492735AD73B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33572" y="0"/>
            <a:ext cx="8758428" cy="6858000"/>
          </a:xfrm>
          <a:prstGeom prst="rect">
            <a:avLst/>
          </a:prstGeom>
        </p:spPr>
      </p:pic>
      <p:sp>
        <p:nvSpPr>
          <p:cNvPr id="3" name="Suorakulmio 21">
            <a:extLst>
              <a:ext uri="{FF2B5EF4-FFF2-40B4-BE49-F238E27FC236}">
                <a16:creationId xmlns:a16="http://schemas.microsoft.com/office/drawing/2014/main" id="{CC14B373-2F5E-D127-4F6D-B77258845C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3433570" y="3429000"/>
            <a:ext cx="3433571" cy="3429000"/>
          </a:xfrm>
          <a:prstGeom prst="rect">
            <a:avLst/>
          </a:prstGeom>
          <a:solidFill>
            <a:srgbClr val="B4FF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 dirty="0"/>
          </a:p>
        </p:txBody>
      </p:sp>
      <p:sp>
        <p:nvSpPr>
          <p:cNvPr id="22" name="Suorakulmio 21">
            <a:extLst>
              <a:ext uri="{FF2B5EF4-FFF2-40B4-BE49-F238E27FC236}">
                <a16:creationId xmlns:a16="http://schemas.microsoft.com/office/drawing/2014/main" id="{73767DC7-ABA0-F4CA-4D56-4A6E892E25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3429000"/>
            <a:ext cx="3433571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 dirty="0"/>
          </a:p>
        </p:txBody>
      </p:sp>
      <p:grpSp>
        <p:nvGrpSpPr>
          <p:cNvPr id="10" name="Ryhmä 9">
            <a:extLst>
              <a:ext uri="{FF2B5EF4-FFF2-40B4-BE49-F238E27FC236}">
                <a16:creationId xmlns:a16="http://schemas.microsoft.com/office/drawing/2014/main" id="{6B17C079-3319-DC26-44A9-380683636D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163835" y="237701"/>
            <a:ext cx="3105897" cy="2953599"/>
            <a:chOff x="203203" y="203198"/>
            <a:chExt cx="1117587" cy="1062785"/>
          </a:xfrm>
        </p:grpSpPr>
        <p:sp>
          <p:nvSpPr>
            <p:cNvPr id="11" name="Vapaamuotoinen: Muoto 10">
              <a:extLst>
                <a:ext uri="{FF2B5EF4-FFF2-40B4-BE49-F238E27FC236}">
                  <a16:creationId xmlns:a16="http://schemas.microsoft.com/office/drawing/2014/main" id="{BCABC861-8524-85F9-F756-A6ED24CB82EB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2" name="Vapaamuotoinen: Muoto 11">
              <a:extLst>
                <a:ext uri="{FF2B5EF4-FFF2-40B4-BE49-F238E27FC236}">
                  <a16:creationId xmlns:a16="http://schemas.microsoft.com/office/drawing/2014/main" id="{527BBF29-0D7D-E7D2-0C6B-F52CED370805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3" name="Vapaamuotoinen: Muoto 12">
              <a:extLst>
                <a:ext uri="{FF2B5EF4-FFF2-40B4-BE49-F238E27FC236}">
                  <a16:creationId xmlns:a16="http://schemas.microsoft.com/office/drawing/2014/main" id="{6891EF07-6FE5-932D-5471-6AB8430B2877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4" name="Vapaamuotoinen: Muoto 13">
              <a:extLst>
                <a:ext uri="{FF2B5EF4-FFF2-40B4-BE49-F238E27FC236}">
                  <a16:creationId xmlns:a16="http://schemas.microsoft.com/office/drawing/2014/main" id="{BA895791-B656-59A9-01FB-C88134131A15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5" name="Vapaamuotoinen: Muoto 14">
              <a:extLst>
                <a:ext uri="{FF2B5EF4-FFF2-40B4-BE49-F238E27FC236}">
                  <a16:creationId xmlns:a16="http://schemas.microsoft.com/office/drawing/2014/main" id="{CC5BF34A-D3C5-29AF-0507-491580995DE1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6" name="Vapaamuotoinen: Muoto 15">
              <a:extLst>
                <a:ext uri="{FF2B5EF4-FFF2-40B4-BE49-F238E27FC236}">
                  <a16:creationId xmlns:a16="http://schemas.microsoft.com/office/drawing/2014/main" id="{5312F966-2A5D-80FA-E0C6-78D5AC981A34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7" name="Vapaamuotoinen: Muoto 16">
              <a:extLst>
                <a:ext uri="{FF2B5EF4-FFF2-40B4-BE49-F238E27FC236}">
                  <a16:creationId xmlns:a16="http://schemas.microsoft.com/office/drawing/2014/main" id="{530F09BF-1A2D-B1DC-9B9F-1171E3E2DBB2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8" name="Vapaamuotoinen: Muoto 17">
              <a:extLst>
                <a:ext uri="{FF2B5EF4-FFF2-40B4-BE49-F238E27FC236}">
                  <a16:creationId xmlns:a16="http://schemas.microsoft.com/office/drawing/2014/main" id="{B1EFF7B6-19DF-63BA-8D9F-AAC3119D0AE8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</p:grpSp>
      <p:sp>
        <p:nvSpPr>
          <p:cNvPr id="5" name="Title 1">
            <a:extLst>
              <a:ext uri="{FF2B5EF4-FFF2-40B4-BE49-F238E27FC236}">
                <a16:creationId xmlns:a16="http://schemas.microsoft.com/office/drawing/2014/main" id="{D5BF6AD2-2A55-712D-15E3-5CD600E766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4785" y="3671398"/>
            <a:ext cx="3089059" cy="2883185"/>
          </a:xfrm>
        </p:spPr>
        <p:txBody>
          <a:bodyPr/>
          <a:lstStyle>
            <a:lvl1pPr>
              <a:defRPr sz="4000" spc="-100" baseline="0">
                <a:latin typeface="Work Sans Light" pitchFamily="2" charset="0"/>
              </a:defRPr>
            </a:lvl1pPr>
          </a:lstStyle>
          <a:p>
            <a:r>
              <a:rPr lang="fi-FI" noProof="0" dirty="0"/>
              <a:t>Lisää otsikko tähän</a:t>
            </a:r>
          </a:p>
        </p:txBody>
      </p:sp>
      <p:sp>
        <p:nvSpPr>
          <p:cNvPr id="2" name="Tekstin paikkamerkki 22">
            <a:extLst>
              <a:ext uri="{FF2B5EF4-FFF2-40B4-BE49-F238E27FC236}">
                <a16:creationId xmlns:a16="http://schemas.microsoft.com/office/drawing/2014/main" id="{F2A26BBC-33CA-82E8-66E2-053FAE1A049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36000" y="3693599"/>
            <a:ext cx="3006000" cy="1929600"/>
          </a:xfrm>
        </p:spPr>
        <p:txBody>
          <a:bodyPr anchor="t" anchorCtr="0"/>
          <a:lstStyle>
            <a:lvl1pPr marL="0" indent="0" algn="l">
              <a:lnSpc>
                <a:spcPct val="95000"/>
              </a:lnSpc>
              <a:buNone/>
              <a:defRPr spc="-50" baseline="0"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fi-FI" noProof="0" dirty="0"/>
              <a:t>Lisää tekstiä tähän</a:t>
            </a:r>
          </a:p>
        </p:txBody>
      </p:sp>
      <p:sp>
        <p:nvSpPr>
          <p:cNvPr id="4" name="Tekstiruutu 18">
            <a:extLst>
              <a:ext uri="{FF2B5EF4-FFF2-40B4-BE49-F238E27FC236}">
                <a16:creationId xmlns:a16="http://schemas.microsoft.com/office/drawing/2014/main" id="{F8225031-91D1-86EF-B16A-D2E576D371DD}"/>
              </a:ext>
            </a:extLst>
          </p:cNvPr>
          <p:cNvSpPr txBox="1"/>
          <p:nvPr userDrawn="1"/>
        </p:nvSpPr>
        <p:spPr>
          <a:xfrm>
            <a:off x="3636000" y="5704241"/>
            <a:ext cx="3006000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i-FI" sz="1600" spc="-20" baseline="0" noProof="0" dirty="0"/>
              <a:t>Terveyden ja </a:t>
            </a:r>
          </a:p>
          <a:p>
            <a:r>
              <a:rPr lang="fi-FI" sz="1600" spc="-20" baseline="0" noProof="0" dirty="0"/>
              <a:t>hyvinvoinnin laito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791CE8C-75CC-8BC9-581D-B06FBA83B48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635451" y="6269995"/>
            <a:ext cx="1972568" cy="28481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 spc="-40" baseline="0">
                <a:solidFill>
                  <a:schemeClr val="tx1"/>
                </a:solidFill>
              </a:defRPr>
            </a:lvl1pPr>
          </a:lstStyle>
          <a:p>
            <a:fld id="{76BE8DE8-6261-4CD3-8D49-9AB11C9718BA}" type="datetime1">
              <a:rPr lang="fi-FI" noProof="0" smtClean="0"/>
              <a:pPr/>
              <a:t>12.3.2026</a:t>
            </a:fld>
            <a:endParaRPr lang="fi-FI" noProof="0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 dirty="0"/>
          </a:p>
        </p:txBody>
      </p:sp>
    </p:spTree>
    <p:extLst>
      <p:ext uri="{BB962C8B-B14F-4D97-AF65-F5344CB8AC3E}">
        <p14:creationId xmlns:p14="http://schemas.microsoft.com/office/powerpoint/2010/main" val="4235607039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nsi kuvalla avanto">
    <p:bg>
      <p:bgPr>
        <a:solidFill>
          <a:srgbClr val="DCEFF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Kuvan paikkamerkki 7">
            <a:extLst>
              <a:ext uri="{FF2B5EF4-FFF2-40B4-BE49-F238E27FC236}">
                <a16:creationId xmlns:a16="http://schemas.microsoft.com/office/drawing/2014/main" id="{6251BA80-83BB-CE85-E7FC-BE02853F7B8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33572" y="0"/>
            <a:ext cx="8758428" cy="6858000"/>
          </a:xfrm>
          <a:prstGeom prst="rect">
            <a:avLst/>
          </a:prstGeom>
        </p:spPr>
      </p:pic>
      <p:sp>
        <p:nvSpPr>
          <p:cNvPr id="3" name="Suorakulmio 21">
            <a:extLst>
              <a:ext uri="{FF2B5EF4-FFF2-40B4-BE49-F238E27FC236}">
                <a16:creationId xmlns:a16="http://schemas.microsoft.com/office/drawing/2014/main" id="{08CD8FCD-475F-BA79-3521-10CE36F63B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3433570" y="3429000"/>
            <a:ext cx="3433571" cy="3429000"/>
          </a:xfrm>
          <a:prstGeom prst="rect">
            <a:avLst/>
          </a:prstGeom>
          <a:solidFill>
            <a:srgbClr val="DCEF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 dirty="0"/>
          </a:p>
        </p:txBody>
      </p:sp>
      <p:sp>
        <p:nvSpPr>
          <p:cNvPr id="22" name="Suorakulmio 21">
            <a:extLst>
              <a:ext uri="{FF2B5EF4-FFF2-40B4-BE49-F238E27FC236}">
                <a16:creationId xmlns:a16="http://schemas.microsoft.com/office/drawing/2014/main" id="{73767DC7-ABA0-F4CA-4D56-4A6E892E25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3429000"/>
            <a:ext cx="3433571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 dirty="0"/>
          </a:p>
        </p:txBody>
      </p:sp>
      <p:grpSp>
        <p:nvGrpSpPr>
          <p:cNvPr id="10" name="Ryhmä 9">
            <a:extLst>
              <a:ext uri="{FF2B5EF4-FFF2-40B4-BE49-F238E27FC236}">
                <a16:creationId xmlns:a16="http://schemas.microsoft.com/office/drawing/2014/main" id="{6B17C079-3319-DC26-44A9-380683636D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163835" y="237701"/>
            <a:ext cx="3105897" cy="2953599"/>
            <a:chOff x="203203" y="203198"/>
            <a:chExt cx="1117587" cy="1062785"/>
          </a:xfrm>
        </p:grpSpPr>
        <p:sp>
          <p:nvSpPr>
            <p:cNvPr id="11" name="Vapaamuotoinen: Muoto 10">
              <a:extLst>
                <a:ext uri="{FF2B5EF4-FFF2-40B4-BE49-F238E27FC236}">
                  <a16:creationId xmlns:a16="http://schemas.microsoft.com/office/drawing/2014/main" id="{BCABC861-8524-85F9-F756-A6ED24CB82EB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2" name="Vapaamuotoinen: Muoto 11">
              <a:extLst>
                <a:ext uri="{FF2B5EF4-FFF2-40B4-BE49-F238E27FC236}">
                  <a16:creationId xmlns:a16="http://schemas.microsoft.com/office/drawing/2014/main" id="{527BBF29-0D7D-E7D2-0C6B-F52CED370805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3" name="Vapaamuotoinen: Muoto 12">
              <a:extLst>
                <a:ext uri="{FF2B5EF4-FFF2-40B4-BE49-F238E27FC236}">
                  <a16:creationId xmlns:a16="http://schemas.microsoft.com/office/drawing/2014/main" id="{6891EF07-6FE5-932D-5471-6AB8430B2877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4" name="Vapaamuotoinen: Muoto 13">
              <a:extLst>
                <a:ext uri="{FF2B5EF4-FFF2-40B4-BE49-F238E27FC236}">
                  <a16:creationId xmlns:a16="http://schemas.microsoft.com/office/drawing/2014/main" id="{BA895791-B656-59A9-01FB-C88134131A15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5" name="Vapaamuotoinen: Muoto 14">
              <a:extLst>
                <a:ext uri="{FF2B5EF4-FFF2-40B4-BE49-F238E27FC236}">
                  <a16:creationId xmlns:a16="http://schemas.microsoft.com/office/drawing/2014/main" id="{CC5BF34A-D3C5-29AF-0507-491580995DE1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6" name="Vapaamuotoinen: Muoto 15">
              <a:extLst>
                <a:ext uri="{FF2B5EF4-FFF2-40B4-BE49-F238E27FC236}">
                  <a16:creationId xmlns:a16="http://schemas.microsoft.com/office/drawing/2014/main" id="{5312F966-2A5D-80FA-E0C6-78D5AC981A34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7" name="Vapaamuotoinen: Muoto 16">
              <a:extLst>
                <a:ext uri="{FF2B5EF4-FFF2-40B4-BE49-F238E27FC236}">
                  <a16:creationId xmlns:a16="http://schemas.microsoft.com/office/drawing/2014/main" id="{530F09BF-1A2D-B1DC-9B9F-1171E3E2DBB2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8" name="Vapaamuotoinen: Muoto 17">
              <a:extLst>
                <a:ext uri="{FF2B5EF4-FFF2-40B4-BE49-F238E27FC236}">
                  <a16:creationId xmlns:a16="http://schemas.microsoft.com/office/drawing/2014/main" id="{B1EFF7B6-19DF-63BA-8D9F-AAC3119D0AE8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</p:grpSp>
      <p:sp>
        <p:nvSpPr>
          <p:cNvPr id="5" name="Title 1">
            <a:extLst>
              <a:ext uri="{FF2B5EF4-FFF2-40B4-BE49-F238E27FC236}">
                <a16:creationId xmlns:a16="http://schemas.microsoft.com/office/drawing/2014/main" id="{0937D4D6-1194-C3B0-5D17-C1DA48C12C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4785" y="3671398"/>
            <a:ext cx="3089059" cy="2883185"/>
          </a:xfrm>
        </p:spPr>
        <p:txBody>
          <a:bodyPr/>
          <a:lstStyle>
            <a:lvl1pPr>
              <a:defRPr sz="4000" spc="-100" baseline="0">
                <a:latin typeface="Work Sans Light" pitchFamily="2" charset="0"/>
              </a:defRPr>
            </a:lvl1pPr>
          </a:lstStyle>
          <a:p>
            <a:r>
              <a:rPr lang="fi-FI" noProof="0" dirty="0"/>
              <a:t>Lisää otsikko tähän</a:t>
            </a:r>
          </a:p>
        </p:txBody>
      </p:sp>
      <p:sp>
        <p:nvSpPr>
          <p:cNvPr id="2" name="Tekstin paikkamerkki 22">
            <a:extLst>
              <a:ext uri="{FF2B5EF4-FFF2-40B4-BE49-F238E27FC236}">
                <a16:creationId xmlns:a16="http://schemas.microsoft.com/office/drawing/2014/main" id="{E261E14C-AD68-080D-C81D-A51E8AF17C2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36000" y="3693599"/>
            <a:ext cx="3006000" cy="1929600"/>
          </a:xfrm>
        </p:spPr>
        <p:txBody>
          <a:bodyPr anchor="t" anchorCtr="0"/>
          <a:lstStyle>
            <a:lvl1pPr marL="0" indent="0" algn="l">
              <a:lnSpc>
                <a:spcPct val="95000"/>
              </a:lnSpc>
              <a:buNone/>
              <a:defRPr spc="-50" baseline="0"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fi-FI" noProof="0" dirty="0"/>
              <a:t>Lisää tekstiä tähän</a:t>
            </a:r>
          </a:p>
        </p:txBody>
      </p:sp>
      <p:sp>
        <p:nvSpPr>
          <p:cNvPr id="4" name="Tekstiruutu 18">
            <a:extLst>
              <a:ext uri="{FF2B5EF4-FFF2-40B4-BE49-F238E27FC236}">
                <a16:creationId xmlns:a16="http://schemas.microsoft.com/office/drawing/2014/main" id="{17CD63AC-2C7E-7B24-69A8-0BE3D405D685}"/>
              </a:ext>
            </a:extLst>
          </p:cNvPr>
          <p:cNvSpPr txBox="1"/>
          <p:nvPr userDrawn="1"/>
        </p:nvSpPr>
        <p:spPr>
          <a:xfrm>
            <a:off x="3636000" y="5704241"/>
            <a:ext cx="3006000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i-FI" sz="1600" spc="-20" baseline="0" noProof="0" dirty="0"/>
              <a:t>Terveyden ja </a:t>
            </a:r>
          </a:p>
          <a:p>
            <a:r>
              <a:rPr lang="fi-FI" sz="1600" spc="-20" baseline="0" noProof="0" dirty="0"/>
              <a:t>hyvinvoinnin laito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3FE2FC8-3CB7-BD74-6299-38CB1EBD3A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635451" y="6269995"/>
            <a:ext cx="1972568" cy="28481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 spc="-40" baseline="0">
                <a:solidFill>
                  <a:schemeClr val="tx1"/>
                </a:solidFill>
              </a:defRPr>
            </a:lvl1pPr>
          </a:lstStyle>
          <a:p>
            <a:fld id="{76BE8DE8-6261-4CD3-8D49-9AB11C9718BA}" type="datetime1">
              <a:rPr lang="fi-FI" noProof="0" smtClean="0"/>
              <a:pPr/>
              <a:t>12.3.2026</a:t>
            </a:fld>
            <a:endParaRPr lang="fi-FI" noProof="0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 dirty="0"/>
          </a:p>
        </p:txBody>
      </p:sp>
    </p:spTree>
    <p:extLst>
      <p:ext uri="{BB962C8B-B14F-4D97-AF65-F5344CB8AC3E}">
        <p14:creationId xmlns:p14="http://schemas.microsoft.com/office/powerpoint/2010/main" val="1917753602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nsi kuvalla valo">
    <p:bg>
      <p:bgPr>
        <a:solidFill>
          <a:srgbClr val="FE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Kuvan paikkamerkki 7">
            <a:extLst>
              <a:ext uri="{FF2B5EF4-FFF2-40B4-BE49-F238E27FC236}">
                <a16:creationId xmlns:a16="http://schemas.microsoft.com/office/drawing/2014/main" id="{A650E2AC-0029-9DD5-5B33-21A35810ADDD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3433569" y="0"/>
            <a:ext cx="8758429" cy="6858000"/>
          </a:xfrm>
          <a:prstGeom prst="rect">
            <a:avLst/>
          </a:prstGeom>
        </p:spPr>
      </p:pic>
      <p:sp>
        <p:nvSpPr>
          <p:cNvPr id="5" name="Suorakulmio 21">
            <a:extLst>
              <a:ext uri="{FF2B5EF4-FFF2-40B4-BE49-F238E27FC236}">
                <a16:creationId xmlns:a16="http://schemas.microsoft.com/office/drawing/2014/main" id="{3510C498-F38C-7B9D-F21B-6BFA425A44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3433570" y="3429000"/>
            <a:ext cx="3433571" cy="3429000"/>
          </a:xfrm>
          <a:prstGeom prst="rect">
            <a:avLst/>
          </a:prstGeom>
          <a:solidFill>
            <a:srgbClr val="FF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 dirty="0"/>
          </a:p>
        </p:txBody>
      </p:sp>
      <p:sp>
        <p:nvSpPr>
          <p:cNvPr id="22" name="Suorakulmio 21">
            <a:extLst>
              <a:ext uri="{FF2B5EF4-FFF2-40B4-BE49-F238E27FC236}">
                <a16:creationId xmlns:a16="http://schemas.microsoft.com/office/drawing/2014/main" id="{73767DC7-ABA0-F4CA-4D56-4A6E892E25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3429000"/>
            <a:ext cx="3433571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0DB878-8E84-426A-BEF0-AF1AAFA1F9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4785" y="3671398"/>
            <a:ext cx="3089059" cy="2883185"/>
          </a:xfrm>
        </p:spPr>
        <p:txBody>
          <a:bodyPr/>
          <a:lstStyle>
            <a:lvl1pPr>
              <a:defRPr sz="4000" spc="-100" baseline="0">
                <a:latin typeface="Work Sans Light" pitchFamily="2" charset="0"/>
              </a:defRPr>
            </a:lvl1pPr>
          </a:lstStyle>
          <a:p>
            <a:r>
              <a:rPr lang="fi-FI" noProof="0" dirty="0"/>
              <a:t>Lisää otsikko tähän</a:t>
            </a:r>
          </a:p>
        </p:txBody>
      </p:sp>
      <p:grpSp>
        <p:nvGrpSpPr>
          <p:cNvPr id="10" name="Ryhmä 9">
            <a:extLst>
              <a:ext uri="{FF2B5EF4-FFF2-40B4-BE49-F238E27FC236}">
                <a16:creationId xmlns:a16="http://schemas.microsoft.com/office/drawing/2014/main" id="{6B17C079-3319-DC26-44A9-380683636D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163835" y="237701"/>
            <a:ext cx="3105897" cy="2953599"/>
            <a:chOff x="203203" y="203198"/>
            <a:chExt cx="1117587" cy="1062785"/>
          </a:xfrm>
        </p:grpSpPr>
        <p:sp>
          <p:nvSpPr>
            <p:cNvPr id="11" name="Vapaamuotoinen: Muoto 10">
              <a:extLst>
                <a:ext uri="{FF2B5EF4-FFF2-40B4-BE49-F238E27FC236}">
                  <a16:creationId xmlns:a16="http://schemas.microsoft.com/office/drawing/2014/main" id="{BCABC861-8524-85F9-F756-A6ED24CB82EB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2" name="Vapaamuotoinen: Muoto 11">
              <a:extLst>
                <a:ext uri="{FF2B5EF4-FFF2-40B4-BE49-F238E27FC236}">
                  <a16:creationId xmlns:a16="http://schemas.microsoft.com/office/drawing/2014/main" id="{527BBF29-0D7D-E7D2-0C6B-F52CED370805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3" name="Vapaamuotoinen: Muoto 12">
              <a:extLst>
                <a:ext uri="{FF2B5EF4-FFF2-40B4-BE49-F238E27FC236}">
                  <a16:creationId xmlns:a16="http://schemas.microsoft.com/office/drawing/2014/main" id="{6891EF07-6FE5-932D-5471-6AB8430B2877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4" name="Vapaamuotoinen: Muoto 13">
              <a:extLst>
                <a:ext uri="{FF2B5EF4-FFF2-40B4-BE49-F238E27FC236}">
                  <a16:creationId xmlns:a16="http://schemas.microsoft.com/office/drawing/2014/main" id="{BA895791-B656-59A9-01FB-C88134131A15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5" name="Vapaamuotoinen: Muoto 14">
              <a:extLst>
                <a:ext uri="{FF2B5EF4-FFF2-40B4-BE49-F238E27FC236}">
                  <a16:creationId xmlns:a16="http://schemas.microsoft.com/office/drawing/2014/main" id="{CC5BF34A-D3C5-29AF-0507-491580995DE1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6" name="Vapaamuotoinen: Muoto 15">
              <a:extLst>
                <a:ext uri="{FF2B5EF4-FFF2-40B4-BE49-F238E27FC236}">
                  <a16:creationId xmlns:a16="http://schemas.microsoft.com/office/drawing/2014/main" id="{5312F966-2A5D-80FA-E0C6-78D5AC981A34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7" name="Vapaamuotoinen: Muoto 16">
              <a:extLst>
                <a:ext uri="{FF2B5EF4-FFF2-40B4-BE49-F238E27FC236}">
                  <a16:creationId xmlns:a16="http://schemas.microsoft.com/office/drawing/2014/main" id="{530F09BF-1A2D-B1DC-9B9F-1171E3E2DBB2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8" name="Vapaamuotoinen: Muoto 17">
              <a:extLst>
                <a:ext uri="{FF2B5EF4-FFF2-40B4-BE49-F238E27FC236}">
                  <a16:creationId xmlns:a16="http://schemas.microsoft.com/office/drawing/2014/main" id="{B1EFF7B6-19DF-63BA-8D9F-AAC3119D0AE8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</p:grpSp>
      <p:sp>
        <p:nvSpPr>
          <p:cNvPr id="8" name="Tekstin paikkamerkki 22">
            <a:extLst>
              <a:ext uri="{FF2B5EF4-FFF2-40B4-BE49-F238E27FC236}">
                <a16:creationId xmlns:a16="http://schemas.microsoft.com/office/drawing/2014/main" id="{9841F321-700A-DC0D-37B6-F4726675171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36000" y="3693599"/>
            <a:ext cx="3006000" cy="1929600"/>
          </a:xfrm>
        </p:spPr>
        <p:txBody>
          <a:bodyPr anchor="t" anchorCtr="0"/>
          <a:lstStyle>
            <a:lvl1pPr marL="0" indent="0" algn="l">
              <a:lnSpc>
                <a:spcPct val="95000"/>
              </a:lnSpc>
              <a:buNone/>
              <a:defRPr spc="-50" baseline="0"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fi-FI" noProof="0" dirty="0"/>
              <a:t>Lisää tekstiä tähän</a:t>
            </a:r>
          </a:p>
        </p:txBody>
      </p:sp>
      <p:sp>
        <p:nvSpPr>
          <p:cNvPr id="19" name="Tekstiruutu 18">
            <a:extLst>
              <a:ext uri="{FF2B5EF4-FFF2-40B4-BE49-F238E27FC236}">
                <a16:creationId xmlns:a16="http://schemas.microsoft.com/office/drawing/2014/main" id="{C1BEDD40-AE69-848D-2013-5C2CA932513A}"/>
              </a:ext>
            </a:extLst>
          </p:cNvPr>
          <p:cNvSpPr txBox="1"/>
          <p:nvPr userDrawn="1"/>
        </p:nvSpPr>
        <p:spPr>
          <a:xfrm>
            <a:off x="3636000" y="5704241"/>
            <a:ext cx="3006000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i-FI" sz="1600" spc="-20" baseline="0" noProof="0" dirty="0"/>
              <a:t>Terveyden ja </a:t>
            </a:r>
          </a:p>
          <a:p>
            <a:r>
              <a:rPr lang="fi-FI" sz="1600" spc="-20" baseline="0" noProof="0" dirty="0"/>
              <a:t>hyvinvoinnin laitos</a:t>
            </a:r>
          </a:p>
        </p:txBody>
      </p:sp>
      <p:sp>
        <p:nvSpPr>
          <p:cNvPr id="4" name="Date Placeholder 6">
            <a:extLst>
              <a:ext uri="{FF2B5EF4-FFF2-40B4-BE49-F238E27FC236}">
                <a16:creationId xmlns:a16="http://schemas.microsoft.com/office/drawing/2014/main" id="{E1B1335E-3BFF-D71E-95F5-1D1ED69D57B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635451" y="6269995"/>
            <a:ext cx="1972568" cy="28481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 spc="-40" baseline="0">
                <a:solidFill>
                  <a:schemeClr val="tx1"/>
                </a:solidFill>
              </a:defRPr>
            </a:lvl1pPr>
          </a:lstStyle>
          <a:p>
            <a:fld id="{76BE8DE8-6261-4CD3-8D49-9AB11C9718BA}" type="datetime1">
              <a:rPr lang="fi-FI" noProof="0" smtClean="0"/>
              <a:pPr/>
              <a:t>12.3.2026</a:t>
            </a:fld>
            <a:endParaRPr lang="fi-FI" noProof="0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 dirty="0"/>
          </a:p>
        </p:txBody>
      </p:sp>
    </p:spTree>
    <p:extLst>
      <p:ext uri="{BB962C8B-B14F-4D97-AF65-F5344CB8AC3E}">
        <p14:creationId xmlns:p14="http://schemas.microsoft.com/office/powerpoint/2010/main" val="3062860958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nsi kuvalla silmä">
    <p:bg>
      <p:bgPr>
        <a:solidFill>
          <a:srgbClr val="B4FFA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Kuvan paikkamerkki 7">
            <a:extLst>
              <a:ext uri="{FF2B5EF4-FFF2-40B4-BE49-F238E27FC236}">
                <a16:creationId xmlns:a16="http://schemas.microsoft.com/office/drawing/2014/main" id="{B4D1090D-3E0E-1D6C-BF6F-79D888D9CEB9}"/>
              </a:ext>
            </a:extLst>
          </p:cNvPr>
          <p:cNvPicPr/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8" r="17776"/>
          <a:stretch/>
        </p:blipFill>
        <p:spPr>
          <a:xfrm>
            <a:off x="3433572" y="-23547"/>
            <a:ext cx="8758428" cy="6907056"/>
          </a:xfrm>
          <a:prstGeom prst="rect">
            <a:avLst/>
          </a:prstGeom>
        </p:spPr>
      </p:pic>
      <p:sp>
        <p:nvSpPr>
          <p:cNvPr id="3" name="Suorakulmio 21">
            <a:extLst>
              <a:ext uri="{FF2B5EF4-FFF2-40B4-BE49-F238E27FC236}">
                <a16:creationId xmlns:a16="http://schemas.microsoft.com/office/drawing/2014/main" id="{CC14B373-2F5E-D127-4F6D-B77258845C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3433570" y="3429000"/>
            <a:ext cx="3433571" cy="3429000"/>
          </a:xfrm>
          <a:prstGeom prst="rect">
            <a:avLst/>
          </a:prstGeom>
          <a:solidFill>
            <a:srgbClr val="B4FF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 dirty="0"/>
          </a:p>
        </p:txBody>
      </p:sp>
      <p:sp>
        <p:nvSpPr>
          <p:cNvPr id="22" name="Suorakulmio 21">
            <a:extLst>
              <a:ext uri="{FF2B5EF4-FFF2-40B4-BE49-F238E27FC236}">
                <a16:creationId xmlns:a16="http://schemas.microsoft.com/office/drawing/2014/main" id="{73767DC7-ABA0-F4CA-4D56-4A6E892E25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3429000"/>
            <a:ext cx="3433571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 dirty="0"/>
          </a:p>
        </p:txBody>
      </p:sp>
      <p:grpSp>
        <p:nvGrpSpPr>
          <p:cNvPr id="10" name="Ryhmä 9">
            <a:extLst>
              <a:ext uri="{FF2B5EF4-FFF2-40B4-BE49-F238E27FC236}">
                <a16:creationId xmlns:a16="http://schemas.microsoft.com/office/drawing/2014/main" id="{6B17C079-3319-DC26-44A9-380683636D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163835" y="237701"/>
            <a:ext cx="3105897" cy="2953599"/>
            <a:chOff x="203203" y="203198"/>
            <a:chExt cx="1117587" cy="1062785"/>
          </a:xfrm>
        </p:grpSpPr>
        <p:sp>
          <p:nvSpPr>
            <p:cNvPr id="11" name="Vapaamuotoinen: Muoto 10">
              <a:extLst>
                <a:ext uri="{FF2B5EF4-FFF2-40B4-BE49-F238E27FC236}">
                  <a16:creationId xmlns:a16="http://schemas.microsoft.com/office/drawing/2014/main" id="{BCABC861-8524-85F9-F756-A6ED24CB82EB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2" name="Vapaamuotoinen: Muoto 11">
              <a:extLst>
                <a:ext uri="{FF2B5EF4-FFF2-40B4-BE49-F238E27FC236}">
                  <a16:creationId xmlns:a16="http://schemas.microsoft.com/office/drawing/2014/main" id="{527BBF29-0D7D-E7D2-0C6B-F52CED370805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3" name="Vapaamuotoinen: Muoto 12">
              <a:extLst>
                <a:ext uri="{FF2B5EF4-FFF2-40B4-BE49-F238E27FC236}">
                  <a16:creationId xmlns:a16="http://schemas.microsoft.com/office/drawing/2014/main" id="{6891EF07-6FE5-932D-5471-6AB8430B2877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4" name="Vapaamuotoinen: Muoto 13">
              <a:extLst>
                <a:ext uri="{FF2B5EF4-FFF2-40B4-BE49-F238E27FC236}">
                  <a16:creationId xmlns:a16="http://schemas.microsoft.com/office/drawing/2014/main" id="{BA895791-B656-59A9-01FB-C88134131A15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5" name="Vapaamuotoinen: Muoto 14">
              <a:extLst>
                <a:ext uri="{FF2B5EF4-FFF2-40B4-BE49-F238E27FC236}">
                  <a16:creationId xmlns:a16="http://schemas.microsoft.com/office/drawing/2014/main" id="{CC5BF34A-D3C5-29AF-0507-491580995DE1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6" name="Vapaamuotoinen: Muoto 15">
              <a:extLst>
                <a:ext uri="{FF2B5EF4-FFF2-40B4-BE49-F238E27FC236}">
                  <a16:creationId xmlns:a16="http://schemas.microsoft.com/office/drawing/2014/main" id="{5312F966-2A5D-80FA-E0C6-78D5AC981A34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7" name="Vapaamuotoinen: Muoto 16">
              <a:extLst>
                <a:ext uri="{FF2B5EF4-FFF2-40B4-BE49-F238E27FC236}">
                  <a16:creationId xmlns:a16="http://schemas.microsoft.com/office/drawing/2014/main" id="{530F09BF-1A2D-B1DC-9B9F-1171E3E2DBB2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8" name="Vapaamuotoinen: Muoto 17">
              <a:extLst>
                <a:ext uri="{FF2B5EF4-FFF2-40B4-BE49-F238E27FC236}">
                  <a16:creationId xmlns:a16="http://schemas.microsoft.com/office/drawing/2014/main" id="{B1EFF7B6-19DF-63BA-8D9F-AAC3119D0AE8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</p:grpSp>
      <p:sp>
        <p:nvSpPr>
          <p:cNvPr id="5" name="Title 1">
            <a:extLst>
              <a:ext uri="{FF2B5EF4-FFF2-40B4-BE49-F238E27FC236}">
                <a16:creationId xmlns:a16="http://schemas.microsoft.com/office/drawing/2014/main" id="{D5BF6AD2-2A55-712D-15E3-5CD600E766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4785" y="3671398"/>
            <a:ext cx="3089059" cy="2883185"/>
          </a:xfrm>
        </p:spPr>
        <p:txBody>
          <a:bodyPr/>
          <a:lstStyle>
            <a:lvl1pPr>
              <a:defRPr sz="4000" spc="-100" baseline="0">
                <a:latin typeface="Work Sans Light" pitchFamily="2" charset="0"/>
              </a:defRPr>
            </a:lvl1pPr>
          </a:lstStyle>
          <a:p>
            <a:r>
              <a:rPr lang="fi-FI" noProof="0" dirty="0"/>
              <a:t>Lisää otsikko tähän</a:t>
            </a:r>
          </a:p>
        </p:txBody>
      </p:sp>
      <p:sp>
        <p:nvSpPr>
          <p:cNvPr id="2" name="Tekstin paikkamerkki 22">
            <a:extLst>
              <a:ext uri="{FF2B5EF4-FFF2-40B4-BE49-F238E27FC236}">
                <a16:creationId xmlns:a16="http://schemas.microsoft.com/office/drawing/2014/main" id="{F2A26BBC-33CA-82E8-66E2-053FAE1A049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36000" y="3693599"/>
            <a:ext cx="3006000" cy="1929600"/>
          </a:xfrm>
        </p:spPr>
        <p:txBody>
          <a:bodyPr anchor="t" anchorCtr="0"/>
          <a:lstStyle>
            <a:lvl1pPr marL="0" indent="0" algn="l">
              <a:lnSpc>
                <a:spcPct val="95000"/>
              </a:lnSpc>
              <a:buNone/>
              <a:defRPr spc="-50" baseline="0"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fi-FI" noProof="0" dirty="0"/>
              <a:t>Lisää tekstiä tähän</a:t>
            </a:r>
          </a:p>
        </p:txBody>
      </p:sp>
      <p:sp>
        <p:nvSpPr>
          <p:cNvPr id="4" name="Tekstiruutu 18">
            <a:extLst>
              <a:ext uri="{FF2B5EF4-FFF2-40B4-BE49-F238E27FC236}">
                <a16:creationId xmlns:a16="http://schemas.microsoft.com/office/drawing/2014/main" id="{F8225031-91D1-86EF-B16A-D2E576D371DD}"/>
              </a:ext>
            </a:extLst>
          </p:cNvPr>
          <p:cNvSpPr txBox="1"/>
          <p:nvPr userDrawn="1"/>
        </p:nvSpPr>
        <p:spPr>
          <a:xfrm>
            <a:off x="3636000" y="5704241"/>
            <a:ext cx="3006000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i-FI" sz="1600" spc="-20" baseline="0" noProof="0" dirty="0"/>
              <a:t>Terveyden ja </a:t>
            </a:r>
          </a:p>
          <a:p>
            <a:r>
              <a:rPr lang="fi-FI" sz="1600" spc="-20" baseline="0" noProof="0" dirty="0"/>
              <a:t>hyvinvoinnin laito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791CE8C-75CC-8BC9-581D-B06FBA83B48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635451" y="6269995"/>
            <a:ext cx="1972568" cy="28481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 spc="-40" baseline="0">
                <a:solidFill>
                  <a:schemeClr val="tx1"/>
                </a:solidFill>
              </a:defRPr>
            </a:lvl1pPr>
          </a:lstStyle>
          <a:p>
            <a:fld id="{76BE8DE8-6261-4CD3-8D49-9AB11C9718BA}" type="datetime1">
              <a:rPr lang="fi-FI" noProof="0" smtClean="0"/>
              <a:pPr/>
              <a:t>12.3.2026</a:t>
            </a:fld>
            <a:endParaRPr lang="fi-FI" noProof="0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 dirty="0"/>
          </a:p>
        </p:txBody>
      </p:sp>
    </p:spTree>
    <p:extLst>
      <p:ext uri="{BB962C8B-B14F-4D97-AF65-F5344CB8AC3E}">
        <p14:creationId xmlns:p14="http://schemas.microsoft.com/office/powerpoint/2010/main" val="3681073279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nsi kuvalla lehti">
    <p:bg>
      <p:bgPr>
        <a:solidFill>
          <a:srgbClr val="B4FFA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Kuvan paikkamerkki 7">
            <a:extLst>
              <a:ext uri="{FF2B5EF4-FFF2-40B4-BE49-F238E27FC236}">
                <a16:creationId xmlns:a16="http://schemas.microsoft.com/office/drawing/2014/main" id="{B4D1090D-3E0E-1D6C-BF6F-79D888D9CEB9}"/>
              </a:ext>
            </a:extLst>
          </p:cNvPr>
          <p:cNvPicPr/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" r="173"/>
          <a:stretch/>
        </p:blipFill>
        <p:spPr>
          <a:xfrm>
            <a:off x="3433572" y="0"/>
            <a:ext cx="8758428" cy="6858000"/>
          </a:xfrm>
          <a:prstGeom prst="rect">
            <a:avLst/>
          </a:prstGeom>
        </p:spPr>
      </p:pic>
      <p:sp>
        <p:nvSpPr>
          <p:cNvPr id="3" name="Suorakulmio 21">
            <a:extLst>
              <a:ext uri="{FF2B5EF4-FFF2-40B4-BE49-F238E27FC236}">
                <a16:creationId xmlns:a16="http://schemas.microsoft.com/office/drawing/2014/main" id="{CC14B373-2F5E-D127-4F6D-B77258845C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3433570" y="3429000"/>
            <a:ext cx="3433571" cy="3429000"/>
          </a:xfrm>
          <a:prstGeom prst="rect">
            <a:avLst/>
          </a:prstGeom>
          <a:solidFill>
            <a:srgbClr val="B4FF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 dirty="0"/>
          </a:p>
        </p:txBody>
      </p:sp>
      <p:sp>
        <p:nvSpPr>
          <p:cNvPr id="22" name="Suorakulmio 21">
            <a:extLst>
              <a:ext uri="{FF2B5EF4-FFF2-40B4-BE49-F238E27FC236}">
                <a16:creationId xmlns:a16="http://schemas.microsoft.com/office/drawing/2014/main" id="{73767DC7-ABA0-F4CA-4D56-4A6E892E25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3429000"/>
            <a:ext cx="3433571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 dirty="0"/>
          </a:p>
        </p:txBody>
      </p:sp>
      <p:grpSp>
        <p:nvGrpSpPr>
          <p:cNvPr id="10" name="Ryhmä 9">
            <a:extLst>
              <a:ext uri="{FF2B5EF4-FFF2-40B4-BE49-F238E27FC236}">
                <a16:creationId xmlns:a16="http://schemas.microsoft.com/office/drawing/2014/main" id="{6B17C079-3319-DC26-44A9-380683636D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163835" y="237701"/>
            <a:ext cx="3105897" cy="2953599"/>
            <a:chOff x="203203" y="203198"/>
            <a:chExt cx="1117587" cy="1062785"/>
          </a:xfrm>
        </p:grpSpPr>
        <p:sp>
          <p:nvSpPr>
            <p:cNvPr id="11" name="Vapaamuotoinen: Muoto 10">
              <a:extLst>
                <a:ext uri="{FF2B5EF4-FFF2-40B4-BE49-F238E27FC236}">
                  <a16:creationId xmlns:a16="http://schemas.microsoft.com/office/drawing/2014/main" id="{BCABC861-8524-85F9-F756-A6ED24CB82EB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2" name="Vapaamuotoinen: Muoto 11">
              <a:extLst>
                <a:ext uri="{FF2B5EF4-FFF2-40B4-BE49-F238E27FC236}">
                  <a16:creationId xmlns:a16="http://schemas.microsoft.com/office/drawing/2014/main" id="{527BBF29-0D7D-E7D2-0C6B-F52CED370805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3" name="Vapaamuotoinen: Muoto 12">
              <a:extLst>
                <a:ext uri="{FF2B5EF4-FFF2-40B4-BE49-F238E27FC236}">
                  <a16:creationId xmlns:a16="http://schemas.microsoft.com/office/drawing/2014/main" id="{6891EF07-6FE5-932D-5471-6AB8430B2877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4" name="Vapaamuotoinen: Muoto 13">
              <a:extLst>
                <a:ext uri="{FF2B5EF4-FFF2-40B4-BE49-F238E27FC236}">
                  <a16:creationId xmlns:a16="http://schemas.microsoft.com/office/drawing/2014/main" id="{BA895791-B656-59A9-01FB-C88134131A15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5" name="Vapaamuotoinen: Muoto 14">
              <a:extLst>
                <a:ext uri="{FF2B5EF4-FFF2-40B4-BE49-F238E27FC236}">
                  <a16:creationId xmlns:a16="http://schemas.microsoft.com/office/drawing/2014/main" id="{CC5BF34A-D3C5-29AF-0507-491580995DE1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6" name="Vapaamuotoinen: Muoto 15">
              <a:extLst>
                <a:ext uri="{FF2B5EF4-FFF2-40B4-BE49-F238E27FC236}">
                  <a16:creationId xmlns:a16="http://schemas.microsoft.com/office/drawing/2014/main" id="{5312F966-2A5D-80FA-E0C6-78D5AC981A34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7" name="Vapaamuotoinen: Muoto 16">
              <a:extLst>
                <a:ext uri="{FF2B5EF4-FFF2-40B4-BE49-F238E27FC236}">
                  <a16:creationId xmlns:a16="http://schemas.microsoft.com/office/drawing/2014/main" id="{530F09BF-1A2D-B1DC-9B9F-1171E3E2DBB2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8" name="Vapaamuotoinen: Muoto 17">
              <a:extLst>
                <a:ext uri="{FF2B5EF4-FFF2-40B4-BE49-F238E27FC236}">
                  <a16:creationId xmlns:a16="http://schemas.microsoft.com/office/drawing/2014/main" id="{B1EFF7B6-19DF-63BA-8D9F-AAC3119D0AE8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</p:grpSp>
      <p:sp>
        <p:nvSpPr>
          <p:cNvPr id="5" name="Title 1">
            <a:extLst>
              <a:ext uri="{FF2B5EF4-FFF2-40B4-BE49-F238E27FC236}">
                <a16:creationId xmlns:a16="http://schemas.microsoft.com/office/drawing/2014/main" id="{D5BF6AD2-2A55-712D-15E3-5CD600E766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4785" y="3671398"/>
            <a:ext cx="3089059" cy="2883185"/>
          </a:xfrm>
        </p:spPr>
        <p:txBody>
          <a:bodyPr/>
          <a:lstStyle>
            <a:lvl1pPr>
              <a:defRPr sz="4000" spc="-100" baseline="0">
                <a:latin typeface="Work Sans Light" pitchFamily="2" charset="0"/>
              </a:defRPr>
            </a:lvl1pPr>
          </a:lstStyle>
          <a:p>
            <a:r>
              <a:rPr lang="fi-FI" noProof="0" dirty="0"/>
              <a:t>Lisää otsikko tähän</a:t>
            </a:r>
          </a:p>
        </p:txBody>
      </p:sp>
      <p:sp>
        <p:nvSpPr>
          <p:cNvPr id="2" name="Tekstin paikkamerkki 22">
            <a:extLst>
              <a:ext uri="{FF2B5EF4-FFF2-40B4-BE49-F238E27FC236}">
                <a16:creationId xmlns:a16="http://schemas.microsoft.com/office/drawing/2014/main" id="{F2A26BBC-33CA-82E8-66E2-053FAE1A049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36000" y="3693599"/>
            <a:ext cx="3006000" cy="1929600"/>
          </a:xfrm>
        </p:spPr>
        <p:txBody>
          <a:bodyPr anchor="t" anchorCtr="0"/>
          <a:lstStyle>
            <a:lvl1pPr marL="0" indent="0" algn="l">
              <a:lnSpc>
                <a:spcPct val="95000"/>
              </a:lnSpc>
              <a:buNone/>
              <a:defRPr spc="-50" baseline="0"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4" name="Tekstiruutu 18">
            <a:extLst>
              <a:ext uri="{FF2B5EF4-FFF2-40B4-BE49-F238E27FC236}">
                <a16:creationId xmlns:a16="http://schemas.microsoft.com/office/drawing/2014/main" id="{F8225031-91D1-86EF-B16A-D2E576D371DD}"/>
              </a:ext>
            </a:extLst>
          </p:cNvPr>
          <p:cNvSpPr txBox="1"/>
          <p:nvPr userDrawn="1"/>
        </p:nvSpPr>
        <p:spPr>
          <a:xfrm>
            <a:off x="3636000" y="5704241"/>
            <a:ext cx="3006000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i-FI" sz="1600" spc="-20" baseline="0" noProof="0" dirty="0"/>
              <a:t>Terveyden ja </a:t>
            </a:r>
          </a:p>
          <a:p>
            <a:r>
              <a:rPr lang="fi-FI" sz="1600" spc="-20" baseline="0" noProof="0" dirty="0"/>
              <a:t>hyvinvoinnin laito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791CE8C-75CC-8BC9-581D-B06FBA83B48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635451" y="6269995"/>
            <a:ext cx="1972568" cy="28481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 spc="-40" baseline="0">
                <a:solidFill>
                  <a:schemeClr val="tx1"/>
                </a:solidFill>
              </a:defRPr>
            </a:lvl1pPr>
          </a:lstStyle>
          <a:p>
            <a:fld id="{DEE2F389-5A1F-4476-9600-D88DAE697EB5}" type="datetime1">
              <a:rPr lang="fi-FI" noProof="0" smtClean="0"/>
              <a:t>12.3.2026</a:t>
            </a:fld>
            <a:endParaRPr lang="fi-FI" noProof="0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 dirty="0"/>
          </a:p>
        </p:txBody>
      </p:sp>
    </p:spTree>
    <p:extLst>
      <p:ext uri="{BB962C8B-B14F-4D97-AF65-F5344CB8AC3E}">
        <p14:creationId xmlns:p14="http://schemas.microsoft.com/office/powerpoint/2010/main" val="1205946155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nsi kuvalla jäälautat">
    <p:bg>
      <p:bgPr>
        <a:solidFill>
          <a:srgbClr val="DCEFF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Kuvan paikkamerkki 7">
            <a:extLst>
              <a:ext uri="{FF2B5EF4-FFF2-40B4-BE49-F238E27FC236}">
                <a16:creationId xmlns:a16="http://schemas.microsoft.com/office/drawing/2014/main" id="{31AEE49C-59D8-1DC0-6D69-F6CCCCA302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435858" y="0"/>
            <a:ext cx="8753856" cy="6858000"/>
          </a:xfrm>
          <a:prstGeom prst="rect">
            <a:avLst/>
          </a:prstGeom>
        </p:spPr>
      </p:pic>
      <p:sp>
        <p:nvSpPr>
          <p:cNvPr id="3" name="Suorakulmio 21">
            <a:extLst>
              <a:ext uri="{FF2B5EF4-FFF2-40B4-BE49-F238E27FC236}">
                <a16:creationId xmlns:a16="http://schemas.microsoft.com/office/drawing/2014/main" id="{08CD8FCD-475F-BA79-3521-10CE36F63B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3433570" y="3429000"/>
            <a:ext cx="3433571" cy="3429000"/>
          </a:xfrm>
          <a:prstGeom prst="rect">
            <a:avLst/>
          </a:prstGeom>
          <a:solidFill>
            <a:srgbClr val="DCEF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 dirty="0"/>
          </a:p>
        </p:txBody>
      </p:sp>
      <p:sp>
        <p:nvSpPr>
          <p:cNvPr id="22" name="Suorakulmio 21">
            <a:extLst>
              <a:ext uri="{FF2B5EF4-FFF2-40B4-BE49-F238E27FC236}">
                <a16:creationId xmlns:a16="http://schemas.microsoft.com/office/drawing/2014/main" id="{73767DC7-ABA0-F4CA-4D56-4A6E892E25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3429000"/>
            <a:ext cx="3433571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 dirty="0"/>
          </a:p>
        </p:txBody>
      </p:sp>
      <p:grpSp>
        <p:nvGrpSpPr>
          <p:cNvPr id="10" name="Ryhmä 9">
            <a:extLst>
              <a:ext uri="{FF2B5EF4-FFF2-40B4-BE49-F238E27FC236}">
                <a16:creationId xmlns:a16="http://schemas.microsoft.com/office/drawing/2014/main" id="{6B17C079-3319-DC26-44A9-380683636D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163835" y="237701"/>
            <a:ext cx="3105897" cy="2953599"/>
            <a:chOff x="203203" y="203198"/>
            <a:chExt cx="1117587" cy="1062785"/>
          </a:xfrm>
        </p:grpSpPr>
        <p:sp>
          <p:nvSpPr>
            <p:cNvPr id="11" name="Vapaamuotoinen: Muoto 10">
              <a:extLst>
                <a:ext uri="{FF2B5EF4-FFF2-40B4-BE49-F238E27FC236}">
                  <a16:creationId xmlns:a16="http://schemas.microsoft.com/office/drawing/2014/main" id="{BCABC861-8524-85F9-F756-A6ED24CB82EB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2" name="Vapaamuotoinen: Muoto 11">
              <a:extLst>
                <a:ext uri="{FF2B5EF4-FFF2-40B4-BE49-F238E27FC236}">
                  <a16:creationId xmlns:a16="http://schemas.microsoft.com/office/drawing/2014/main" id="{527BBF29-0D7D-E7D2-0C6B-F52CED370805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3" name="Vapaamuotoinen: Muoto 12">
              <a:extLst>
                <a:ext uri="{FF2B5EF4-FFF2-40B4-BE49-F238E27FC236}">
                  <a16:creationId xmlns:a16="http://schemas.microsoft.com/office/drawing/2014/main" id="{6891EF07-6FE5-932D-5471-6AB8430B2877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4" name="Vapaamuotoinen: Muoto 13">
              <a:extLst>
                <a:ext uri="{FF2B5EF4-FFF2-40B4-BE49-F238E27FC236}">
                  <a16:creationId xmlns:a16="http://schemas.microsoft.com/office/drawing/2014/main" id="{BA895791-B656-59A9-01FB-C88134131A15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5" name="Vapaamuotoinen: Muoto 14">
              <a:extLst>
                <a:ext uri="{FF2B5EF4-FFF2-40B4-BE49-F238E27FC236}">
                  <a16:creationId xmlns:a16="http://schemas.microsoft.com/office/drawing/2014/main" id="{CC5BF34A-D3C5-29AF-0507-491580995DE1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6" name="Vapaamuotoinen: Muoto 15">
              <a:extLst>
                <a:ext uri="{FF2B5EF4-FFF2-40B4-BE49-F238E27FC236}">
                  <a16:creationId xmlns:a16="http://schemas.microsoft.com/office/drawing/2014/main" id="{5312F966-2A5D-80FA-E0C6-78D5AC981A34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7" name="Vapaamuotoinen: Muoto 16">
              <a:extLst>
                <a:ext uri="{FF2B5EF4-FFF2-40B4-BE49-F238E27FC236}">
                  <a16:creationId xmlns:a16="http://schemas.microsoft.com/office/drawing/2014/main" id="{530F09BF-1A2D-B1DC-9B9F-1171E3E2DBB2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8" name="Vapaamuotoinen: Muoto 17">
              <a:extLst>
                <a:ext uri="{FF2B5EF4-FFF2-40B4-BE49-F238E27FC236}">
                  <a16:creationId xmlns:a16="http://schemas.microsoft.com/office/drawing/2014/main" id="{B1EFF7B6-19DF-63BA-8D9F-AAC3119D0AE8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</p:grpSp>
      <p:sp>
        <p:nvSpPr>
          <p:cNvPr id="5" name="Title 1">
            <a:extLst>
              <a:ext uri="{FF2B5EF4-FFF2-40B4-BE49-F238E27FC236}">
                <a16:creationId xmlns:a16="http://schemas.microsoft.com/office/drawing/2014/main" id="{0937D4D6-1194-C3B0-5D17-C1DA48C12C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4785" y="3671398"/>
            <a:ext cx="3089059" cy="2883185"/>
          </a:xfrm>
        </p:spPr>
        <p:txBody>
          <a:bodyPr/>
          <a:lstStyle>
            <a:lvl1pPr>
              <a:defRPr sz="4000" spc="-100" baseline="0">
                <a:latin typeface="Work Sans Light" pitchFamily="2" charset="0"/>
              </a:defRPr>
            </a:lvl1pPr>
          </a:lstStyle>
          <a:p>
            <a:r>
              <a:rPr lang="fi-FI" noProof="0" dirty="0"/>
              <a:t>Lisää otsikko tähän</a:t>
            </a:r>
          </a:p>
        </p:txBody>
      </p:sp>
      <p:sp>
        <p:nvSpPr>
          <p:cNvPr id="2" name="Tekstin paikkamerkki 22">
            <a:extLst>
              <a:ext uri="{FF2B5EF4-FFF2-40B4-BE49-F238E27FC236}">
                <a16:creationId xmlns:a16="http://schemas.microsoft.com/office/drawing/2014/main" id="{E261E14C-AD68-080D-C81D-A51E8AF17C2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36000" y="3693599"/>
            <a:ext cx="3006000" cy="1929600"/>
          </a:xfrm>
        </p:spPr>
        <p:txBody>
          <a:bodyPr anchor="t" anchorCtr="0"/>
          <a:lstStyle>
            <a:lvl1pPr marL="0" indent="0" algn="l">
              <a:lnSpc>
                <a:spcPct val="95000"/>
              </a:lnSpc>
              <a:buNone/>
              <a:defRPr spc="-50" baseline="0"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4" name="Tekstiruutu 18">
            <a:extLst>
              <a:ext uri="{FF2B5EF4-FFF2-40B4-BE49-F238E27FC236}">
                <a16:creationId xmlns:a16="http://schemas.microsoft.com/office/drawing/2014/main" id="{17CD63AC-2C7E-7B24-69A8-0BE3D405D685}"/>
              </a:ext>
            </a:extLst>
          </p:cNvPr>
          <p:cNvSpPr txBox="1"/>
          <p:nvPr userDrawn="1"/>
        </p:nvSpPr>
        <p:spPr>
          <a:xfrm>
            <a:off x="3636000" y="5704241"/>
            <a:ext cx="3006000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i-FI" sz="1600" spc="-20" baseline="0" noProof="0" dirty="0"/>
              <a:t>Terveyden ja </a:t>
            </a:r>
          </a:p>
          <a:p>
            <a:r>
              <a:rPr lang="fi-FI" sz="1600" spc="-20" baseline="0" noProof="0" dirty="0"/>
              <a:t>hyvinvoinnin laito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3FE2FC8-3CB7-BD74-6299-38CB1EBD3A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635451" y="6269995"/>
            <a:ext cx="1972568" cy="28481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 spc="-40" baseline="0">
                <a:solidFill>
                  <a:schemeClr val="tx1"/>
                </a:solidFill>
              </a:defRPr>
            </a:lvl1pPr>
          </a:lstStyle>
          <a:p>
            <a:fld id="{DF000B1A-3316-43D6-B934-10B5289E87DB}" type="datetime1">
              <a:rPr lang="fi-FI" noProof="0" smtClean="0"/>
              <a:t>12.3.2026</a:t>
            </a:fld>
            <a:endParaRPr lang="fi-FI" noProof="0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 dirty="0"/>
          </a:p>
        </p:txBody>
      </p:sp>
    </p:spTree>
    <p:extLst>
      <p:ext uri="{BB962C8B-B14F-4D97-AF65-F5344CB8AC3E}">
        <p14:creationId xmlns:p14="http://schemas.microsoft.com/office/powerpoint/2010/main" val="332636792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5A2C256-48C1-C245-998A-D7A2CF1BED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19.5.2021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7EB178E-AE4B-9E4E-829F-B50E365C89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etra Kokk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20DB95B-9D99-B948-B3F0-A1E3541EDC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975956-C45A-444E-9050-E8F36A744109}" type="slidenum">
              <a:rPr lang="fi-FI" smtClean="0"/>
              <a:t>‹#›</a:t>
            </a:fld>
            <a:endParaRPr lang="fi-FI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FD3A2109-DA11-3742-983D-F38B49A201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6651" y="365124"/>
            <a:ext cx="9679743" cy="1325563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fi-FI"/>
              <a:t>Muokkaa perustyyl. napsautt.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67B765B0-6361-C04D-ADC5-B6CEF6BA18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6652" y="1825625"/>
            <a:ext cx="10807148" cy="4320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</p:spTree>
    <p:extLst>
      <p:ext uri="{BB962C8B-B14F-4D97-AF65-F5344CB8AC3E}">
        <p14:creationId xmlns:p14="http://schemas.microsoft.com/office/powerpoint/2010/main" val="1542946496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nsi kuvalla henkilöt">
    <p:bg>
      <p:bgPr>
        <a:solidFill>
          <a:srgbClr val="FFFAC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Kuvan paikkamerkki 7">
            <a:extLst>
              <a:ext uri="{FF2B5EF4-FFF2-40B4-BE49-F238E27FC236}">
                <a16:creationId xmlns:a16="http://schemas.microsoft.com/office/drawing/2014/main" id="{6251BA80-83BB-CE85-E7FC-BE02853F7B8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435858" y="0"/>
            <a:ext cx="8753856" cy="6858000"/>
          </a:xfrm>
          <a:prstGeom prst="rect">
            <a:avLst/>
          </a:prstGeom>
        </p:spPr>
      </p:pic>
      <p:sp>
        <p:nvSpPr>
          <p:cNvPr id="3" name="Suorakulmio 21">
            <a:extLst>
              <a:ext uri="{FF2B5EF4-FFF2-40B4-BE49-F238E27FC236}">
                <a16:creationId xmlns:a16="http://schemas.microsoft.com/office/drawing/2014/main" id="{08CD8FCD-475F-BA79-3521-10CE36F63B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3433570" y="3429000"/>
            <a:ext cx="3433571" cy="3429000"/>
          </a:xfrm>
          <a:prstGeom prst="rect">
            <a:avLst/>
          </a:prstGeom>
          <a:solidFill>
            <a:srgbClr val="FFFA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 dirty="0"/>
          </a:p>
        </p:txBody>
      </p:sp>
      <p:sp>
        <p:nvSpPr>
          <p:cNvPr id="22" name="Suorakulmio 21">
            <a:extLst>
              <a:ext uri="{FF2B5EF4-FFF2-40B4-BE49-F238E27FC236}">
                <a16:creationId xmlns:a16="http://schemas.microsoft.com/office/drawing/2014/main" id="{73767DC7-ABA0-F4CA-4D56-4A6E892E25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3429000"/>
            <a:ext cx="3433571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 dirty="0"/>
          </a:p>
        </p:txBody>
      </p:sp>
      <p:grpSp>
        <p:nvGrpSpPr>
          <p:cNvPr id="10" name="Ryhmä 9">
            <a:extLst>
              <a:ext uri="{FF2B5EF4-FFF2-40B4-BE49-F238E27FC236}">
                <a16:creationId xmlns:a16="http://schemas.microsoft.com/office/drawing/2014/main" id="{6B17C079-3319-DC26-44A9-380683636D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163835" y="237701"/>
            <a:ext cx="3105897" cy="2953599"/>
            <a:chOff x="203203" y="203198"/>
            <a:chExt cx="1117587" cy="1062785"/>
          </a:xfrm>
        </p:grpSpPr>
        <p:sp>
          <p:nvSpPr>
            <p:cNvPr id="11" name="Vapaamuotoinen: Muoto 10">
              <a:extLst>
                <a:ext uri="{FF2B5EF4-FFF2-40B4-BE49-F238E27FC236}">
                  <a16:creationId xmlns:a16="http://schemas.microsoft.com/office/drawing/2014/main" id="{BCABC861-8524-85F9-F756-A6ED24CB82EB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2" name="Vapaamuotoinen: Muoto 11">
              <a:extLst>
                <a:ext uri="{FF2B5EF4-FFF2-40B4-BE49-F238E27FC236}">
                  <a16:creationId xmlns:a16="http://schemas.microsoft.com/office/drawing/2014/main" id="{527BBF29-0D7D-E7D2-0C6B-F52CED370805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3" name="Vapaamuotoinen: Muoto 12">
              <a:extLst>
                <a:ext uri="{FF2B5EF4-FFF2-40B4-BE49-F238E27FC236}">
                  <a16:creationId xmlns:a16="http://schemas.microsoft.com/office/drawing/2014/main" id="{6891EF07-6FE5-932D-5471-6AB8430B2877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4" name="Vapaamuotoinen: Muoto 13">
              <a:extLst>
                <a:ext uri="{FF2B5EF4-FFF2-40B4-BE49-F238E27FC236}">
                  <a16:creationId xmlns:a16="http://schemas.microsoft.com/office/drawing/2014/main" id="{BA895791-B656-59A9-01FB-C88134131A15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5" name="Vapaamuotoinen: Muoto 14">
              <a:extLst>
                <a:ext uri="{FF2B5EF4-FFF2-40B4-BE49-F238E27FC236}">
                  <a16:creationId xmlns:a16="http://schemas.microsoft.com/office/drawing/2014/main" id="{CC5BF34A-D3C5-29AF-0507-491580995DE1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6" name="Vapaamuotoinen: Muoto 15">
              <a:extLst>
                <a:ext uri="{FF2B5EF4-FFF2-40B4-BE49-F238E27FC236}">
                  <a16:creationId xmlns:a16="http://schemas.microsoft.com/office/drawing/2014/main" id="{5312F966-2A5D-80FA-E0C6-78D5AC981A34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7" name="Vapaamuotoinen: Muoto 16">
              <a:extLst>
                <a:ext uri="{FF2B5EF4-FFF2-40B4-BE49-F238E27FC236}">
                  <a16:creationId xmlns:a16="http://schemas.microsoft.com/office/drawing/2014/main" id="{530F09BF-1A2D-B1DC-9B9F-1171E3E2DBB2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8" name="Vapaamuotoinen: Muoto 17">
              <a:extLst>
                <a:ext uri="{FF2B5EF4-FFF2-40B4-BE49-F238E27FC236}">
                  <a16:creationId xmlns:a16="http://schemas.microsoft.com/office/drawing/2014/main" id="{B1EFF7B6-19DF-63BA-8D9F-AAC3119D0AE8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</p:grpSp>
      <p:sp>
        <p:nvSpPr>
          <p:cNvPr id="5" name="Title 1">
            <a:extLst>
              <a:ext uri="{FF2B5EF4-FFF2-40B4-BE49-F238E27FC236}">
                <a16:creationId xmlns:a16="http://schemas.microsoft.com/office/drawing/2014/main" id="{0937D4D6-1194-C3B0-5D17-C1DA48C12C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4785" y="3671398"/>
            <a:ext cx="3089059" cy="2883185"/>
          </a:xfrm>
        </p:spPr>
        <p:txBody>
          <a:bodyPr/>
          <a:lstStyle>
            <a:lvl1pPr>
              <a:defRPr sz="4000" spc="-100" baseline="0">
                <a:latin typeface="Work Sans Light" pitchFamily="2" charset="0"/>
              </a:defRPr>
            </a:lvl1pPr>
          </a:lstStyle>
          <a:p>
            <a:r>
              <a:rPr lang="fi-FI" noProof="0" dirty="0"/>
              <a:t>Lisää otsikko tähän</a:t>
            </a:r>
          </a:p>
        </p:txBody>
      </p:sp>
      <p:sp>
        <p:nvSpPr>
          <p:cNvPr id="2" name="Tekstin paikkamerkki 22">
            <a:extLst>
              <a:ext uri="{FF2B5EF4-FFF2-40B4-BE49-F238E27FC236}">
                <a16:creationId xmlns:a16="http://schemas.microsoft.com/office/drawing/2014/main" id="{E261E14C-AD68-080D-C81D-A51E8AF17C2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36000" y="3693599"/>
            <a:ext cx="3006000" cy="1929600"/>
          </a:xfrm>
        </p:spPr>
        <p:txBody>
          <a:bodyPr anchor="t" anchorCtr="0"/>
          <a:lstStyle>
            <a:lvl1pPr marL="0" indent="0" algn="l">
              <a:lnSpc>
                <a:spcPct val="95000"/>
              </a:lnSpc>
              <a:buNone/>
              <a:defRPr spc="-50" baseline="0"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4" name="Tekstiruutu 18">
            <a:extLst>
              <a:ext uri="{FF2B5EF4-FFF2-40B4-BE49-F238E27FC236}">
                <a16:creationId xmlns:a16="http://schemas.microsoft.com/office/drawing/2014/main" id="{17CD63AC-2C7E-7B24-69A8-0BE3D405D685}"/>
              </a:ext>
            </a:extLst>
          </p:cNvPr>
          <p:cNvSpPr txBox="1"/>
          <p:nvPr userDrawn="1"/>
        </p:nvSpPr>
        <p:spPr>
          <a:xfrm>
            <a:off x="3636000" y="5704241"/>
            <a:ext cx="3006000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i-FI" sz="1600" spc="-20" baseline="0" noProof="0" dirty="0"/>
              <a:t>Terveyden ja </a:t>
            </a:r>
          </a:p>
          <a:p>
            <a:r>
              <a:rPr lang="fi-FI" sz="1600" spc="-20" baseline="0" noProof="0" dirty="0"/>
              <a:t>hyvinvoinnin laito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3FE2FC8-3CB7-BD74-6299-38CB1EBD3A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635451" y="6269995"/>
            <a:ext cx="1972568" cy="28481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 spc="-40" baseline="0">
                <a:solidFill>
                  <a:schemeClr val="tx1"/>
                </a:solidFill>
              </a:defRPr>
            </a:lvl1pPr>
          </a:lstStyle>
          <a:p>
            <a:fld id="{DF000B1A-3316-43D6-B934-10B5289E87DB}" type="datetime1">
              <a:rPr lang="fi-FI" noProof="0" smtClean="0"/>
              <a:t>12.3.2026</a:t>
            </a:fld>
            <a:endParaRPr lang="fi-FI" noProof="0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 dirty="0"/>
          </a:p>
        </p:txBody>
      </p:sp>
    </p:spTree>
    <p:extLst>
      <p:ext uri="{BB962C8B-B14F-4D97-AF65-F5344CB8AC3E}">
        <p14:creationId xmlns:p14="http://schemas.microsoft.com/office/powerpoint/2010/main" val="2155479698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nsi kuvalla kaupunkinäkymä">
    <p:bg>
      <p:bgPr>
        <a:solidFill>
          <a:srgbClr val="DCEFF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Kuvan paikkamerkki 7">
            <a:extLst>
              <a:ext uri="{FF2B5EF4-FFF2-40B4-BE49-F238E27FC236}">
                <a16:creationId xmlns:a16="http://schemas.microsoft.com/office/drawing/2014/main" id="{6251BA80-83BB-CE85-E7FC-BE02853F7B8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435858" y="0"/>
            <a:ext cx="8753856" cy="6858000"/>
          </a:xfrm>
          <a:prstGeom prst="rect">
            <a:avLst/>
          </a:prstGeom>
        </p:spPr>
      </p:pic>
      <p:sp>
        <p:nvSpPr>
          <p:cNvPr id="3" name="Suorakulmio 21">
            <a:extLst>
              <a:ext uri="{FF2B5EF4-FFF2-40B4-BE49-F238E27FC236}">
                <a16:creationId xmlns:a16="http://schemas.microsoft.com/office/drawing/2014/main" id="{08CD8FCD-475F-BA79-3521-10CE36F63B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3433570" y="3429000"/>
            <a:ext cx="3433571" cy="3429000"/>
          </a:xfrm>
          <a:prstGeom prst="rect">
            <a:avLst/>
          </a:prstGeom>
          <a:solidFill>
            <a:srgbClr val="DCEF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 dirty="0"/>
          </a:p>
        </p:txBody>
      </p:sp>
      <p:sp>
        <p:nvSpPr>
          <p:cNvPr id="22" name="Suorakulmio 21">
            <a:extLst>
              <a:ext uri="{FF2B5EF4-FFF2-40B4-BE49-F238E27FC236}">
                <a16:creationId xmlns:a16="http://schemas.microsoft.com/office/drawing/2014/main" id="{73767DC7-ABA0-F4CA-4D56-4A6E892E25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3429000"/>
            <a:ext cx="3433571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 dirty="0"/>
          </a:p>
        </p:txBody>
      </p:sp>
      <p:grpSp>
        <p:nvGrpSpPr>
          <p:cNvPr id="10" name="Ryhmä 9">
            <a:extLst>
              <a:ext uri="{FF2B5EF4-FFF2-40B4-BE49-F238E27FC236}">
                <a16:creationId xmlns:a16="http://schemas.microsoft.com/office/drawing/2014/main" id="{6B17C079-3319-DC26-44A9-380683636D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163835" y="237701"/>
            <a:ext cx="3105897" cy="2953599"/>
            <a:chOff x="203203" y="203198"/>
            <a:chExt cx="1117587" cy="1062785"/>
          </a:xfrm>
        </p:grpSpPr>
        <p:sp>
          <p:nvSpPr>
            <p:cNvPr id="11" name="Vapaamuotoinen: Muoto 10">
              <a:extLst>
                <a:ext uri="{FF2B5EF4-FFF2-40B4-BE49-F238E27FC236}">
                  <a16:creationId xmlns:a16="http://schemas.microsoft.com/office/drawing/2014/main" id="{BCABC861-8524-85F9-F756-A6ED24CB82EB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2" name="Vapaamuotoinen: Muoto 11">
              <a:extLst>
                <a:ext uri="{FF2B5EF4-FFF2-40B4-BE49-F238E27FC236}">
                  <a16:creationId xmlns:a16="http://schemas.microsoft.com/office/drawing/2014/main" id="{527BBF29-0D7D-E7D2-0C6B-F52CED370805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3" name="Vapaamuotoinen: Muoto 12">
              <a:extLst>
                <a:ext uri="{FF2B5EF4-FFF2-40B4-BE49-F238E27FC236}">
                  <a16:creationId xmlns:a16="http://schemas.microsoft.com/office/drawing/2014/main" id="{6891EF07-6FE5-932D-5471-6AB8430B2877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4" name="Vapaamuotoinen: Muoto 13">
              <a:extLst>
                <a:ext uri="{FF2B5EF4-FFF2-40B4-BE49-F238E27FC236}">
                  <a16:creationId xmlns:a16="http://schemas.microsoft.com/office/drawing/2014/main" id="{BA895791-B656-59A9-01FB-C88134131A15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5" name="Vapaamuotoinen: Muoto 14">
              <a:extLst>
                <a:ext uri="{FF2B5EF4-FFF2-40B4-BE49-F238E27FC236}">
                  <a16:creationId xmlns:a16="http://schemas.microsoft.com/office/drawing/2014/main" id="{CC5BF34A-D3C5-29AF-0507-491580995DE1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6" name="Vapaamuotoinen: Muoto 15">
              <a:extLst>
                <a:ext uri="{FF2B5EF4-FFF2-40B4-BE49-F238E27FC236}">
                  <a16:creationId xmlns:a16="http://schemas.microsoft.com/office/drawing/2014/main" id="{5312F966-2A5D-80FA-E0C6-78D5AC981A34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7" name="Vapaamuotoinen: Muoto 16">
              <a:extLst>
                <a:ext uri="{FF2B5EF4-FFF2-40B4-BE49-F238E27FC236}">
                  <a16:creationId xmlns:a16="http://schemas.microsoft.com/office/drawing/2014/main" id="{530F09BF-1A2D-B1DC-9B9F-1171E3E2DBB2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8" name="Vapaamuotoinen: Muoto 17">
              <a:extLst>
                <a:ext uri="{FF2B5EF4-FFF2-40B4-BE49-F238E27FC236}">
                  <a16:creationId xmlns:a16="http://schemas.microsoft.com/office/drawing/2014/main" id="{B1EFF7B6-19DF-63BA-8D9F-AAC3119D0AE8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</p:grpSp>
      <p:sp>
        <p:nvSpPr>
          <p:cNvPr id="5" name="Title 1">
            <a:extLst>
              <a:ext uri="{FF2B5EF4-FFF2-40B4-BE49-F238E27FC236}">
                <a16:creationId xmlns:a16="http://schemas.microsoft.com/office/drawing/2014/main" id="{0937D4D6-1194-C3B0-5D17-C1DA48C12C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4785" y="3671398"/>
            <a:ext cx="3089059" cy="2883185"/>
          </a:xfrm>
        </p:spPr>
        <p:txBody>
          <a:bodyPr/>
          <a:lstStyle>
            <a:lvl1pPr>
              <a:defRPr sz="4000" spc="-100" baseline="0">
                <a:latin typeface="Work Sans Light" pitchFamily="2" charset="0"/>
              </a:defRPr>
            </a:lvl1pPr>
          </a:lstStyle>
          <a:p>
            <a:r>
              <a:rPr lang="fi-FI" noProof="0" dirty="0"/>
              <a:t>Lisää otsikko tähän</a:t>
            </a:r>
          </a:p>
        </p:txBody>
      </p:sp>
      <p:sp>
        <p:nvSpPr>
          <p:cNvPr id="2" name="Tekstin paikkamerkki 22">
            <a:extLst>
              <a:ext uri="{FF2B5EF4-FFF2-40B4-BE49-F238E27FC236}">
                <a16:creationId xmlns:a16="http://schemas.microsoft.com/office/drawing/2014/main" id="{E261E14C-AD68-080D-C81D-A51E8AF17C2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36000" y="3693599"/>
            <a:ext cx="3006000" cy="1929600"/>
          </a:xfrm>
        </p:spPr>
        <p:txBody>
          <a:bodyPr anchor="t" anchorCtr="0"/>
          <a:lstStyle>
            <a:lvl1pPr marL="0" indent="0" algn="l">
              <a:lnSpc>
                <a:spcPct val="95000"/>
              </a:lnSpc>
              <a:buNone/>
              <a:defRPr spc="-50" baseline="0"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4" name="Tekstiruutu 18">
            <a:extLst>
              <a:ext uri="{FF2B5EF4-FFF2-40B4-BE49-F238E27FC236}">
                <a16:creationId xmlns:a16="http://schemas.microsoft.com/office/drawing/2014/main" id="{17CD63AC-2C7E-7B24-69A8-0BE3D405D685}"/>
              </a:ext>
            </a:extLst>
          </p:cNvPr>
          <p:cNvSpPr txBox="1"/>
          <p:nvPr userDrawn="1"/>
        </p:nvSpPr>
        <p:spPr>
          <a:xfrm>
            <a:off x="3636000" y="5704241"/>
            <a:ext cx="3006000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i-FI" sz="1600" spc="-20" baseline="0" noProof="0" dirty="0"/>
              <a:t>Terveyden ja </a:t>
            </a:r>
          </a:p>
          <a:p>
            <a:r>
              <a:rPr lang="fi-FI" sz="1600" spc="-20" baseline="0" noProof="0" dirty="0"/>
              <a:t>hyvinvoinnin laito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3FE2FC8-3CB7-BD74-6299-38CB1EBD3A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635451" y="6269995"/>
            <a:ext cx="1972568" cy="28481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 spc="-40" baseline="0">
                <a:solidFill>
                  <a:schemeClr val="tx1"/>
                </a:solidFill>
              </a:defRPr>
            </a:lvl1pPr>
          </a:lstStyle>
          <a:p>
            <a:fld id="{DF000B1A-3316-43D6-B934-10B5289E87DB}" type="datetime1">
              <a:rPr lang="fi-FI" noProof="0" smtClean="0"/>
              <a:t>12.3.2026</a:t>
            </a:fld>
            <a:endParaRPr lang="fi-FI" noProof="0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 dirty="0"/>
          </a:p>
        </p:txBody>
      </p:sp>
    </p:spTree>
    <p:extLst>
      <p:ext uri="{BB962C8B-B14F-4D97-AF65-F5344CB8AC3E}">
        <p14:creationId xmlns:p14="http://schemas.microsoft.com/office/powerpoint/2010/main" val="2524897875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nsi THL vihreä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6E6260-E36C-484A-9F25-1346EC50A8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56953" y="1733266"/>
            <a:ext cx="10477035" cy="2914270"/>
          </a:xfrm>
        </p:spPr>
        <p:txBody>
          <a:bodyPr anchor="ctr">
            <a:normAutofit/>
          </a:bodyPr>
          <a:lstStyle>
            <a:lvl1pPr algn="ctr">
              <a:defRPr sz="9200" spc="-250" baseline="0">
                <a:solidFill>
                  <a:srgbClr val="FFF6EF"/>
                </a:solidFill>
                <a:latin typeface="Work Sans Light" pitchFamily="2" charset="0"/>
              </a:defRPr>
            </a:lvl1pPr>
          </a:lstStyle>
          <a:p>
            <a:r>
              <a:rPr lang="fi-FI" noProof="0" dirty="0"/>
              <a:t>Lisää otsikko tähä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1FDDA9F-DC3B-4803-9730-F564F287AC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56953" y="4894614"/>
            <a:ext cx="10477035" cy="77434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4000" spc="-100" baseline="0">
                <a:solidFill>
                  <a:srgbClr val="FFF6E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 dirty="0"/>
              <a:t>Lisää alaotsikko tähän</a:t>
            </a:r>
          </a:p>
        </p:txBody>
      </p:sp>
      <p:sp>
        <p:nvSpPr>
          <p:cNvPr id="23" name="Tekstin paikkamerkki 22">
            <a:extLst>
              <a:ext uri="{FF2B5EF4-FFF2-40B4-BE49-F238E27FC236}">
                <a16:creationId xmlns:a16="http://schemas.microsoft.com/office/drawing/2014/main" id="{463699EA-6FB5-11FA-EFF4-9EF634830ED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6953" y="5780868"/>
            <a:ext cx="10477035" cy="423716"/>
          </a:xfrm>
        </p:spPr>
        <p:txBody>
          <a:bodyPr anchor="b" anchorCtr="0"/>
          <a:lstStyle>
            <a:lvl1pPr marL="0" indent="0" algn="ctr">
              <a:buNone/>
              <a:defRPr baseline="0">
                <a:solidFill>
                  <a:srgbClr val="FFF6EF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fi-FI" noProof="0" dirty="0"/>
              <a:t>Lisää tekstiä tähän</a:t>
            </a:r>
          </a:p>
        </p:txBody>
      </p:sp>
      <p:grpSp>
        <p:nvGrpSpPr>
          <p:cNvPr id="12" name="Ryhmä 11">
            <a:extLst>
              <a:ext uri="{FF2B5EF4-FFF2-40B4-BE49-F238E27FC236}">
                <a16:creationId xmlns:a16="http://schemas.microsoft.com/office/drawing/2014/main" id="{D95F8E98-A2D7-E30E-1319-368CDF1FAEE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03203" y="203198"/>
            <a:ext cx="1117587" cy="1062785"/>
            <a:chOff x="203203" y="203198"/>
            <a:chExt cx="1117587" cy="1062785"/>
          </a:xfrm>
        </p:grpSpPr>
        <p:sp>
          <p:nvSpPr>
            <p:cNvPr id="13" name="Vapaamuotoinen: Muoto 12">
              <a:extLst>
                <a:ext uri="{FF2B5EF4-FFF2-40B4-BE49-F238E27FC236}">
                  <a16:creationId xmlns:a16="http://schemas.microsoft.com/office/drawing/2014/main" id="{440C446F-BCAC-7D6F-98A9-A7C2ED4872D4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4" name="Vapaamuotoinen: Muoto 13">
              <a:extLst>
                <a:ext uri="{FF2B5EF4-FFF2-40B4-BE49-F238E27FC236}">
                  <a16:creationId xmlns:a16="http://schemas.microsoft.com/office/drawing/2014/main" id="{4A7ADBEA-CE66-1301-501B-E3F7BAAF2E82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5" name="Vapaamuotoinen: Muoto 14">
              <a:extLst>
                <a:ext uri="{FF2B5EF4-FFF2-40B4-BE49-F238E27FC236}">
                  <a16:creationId xmlns:a16="http://schemas.microsoft.com/office/drawing/2014/main" id="{59A9E6E2-53EA-2E07-7385-4B02839D5454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6" name="Vapaamuotoinen: Muoto 15">
              <a:extLst>
                <a:ext uri="{FF2B5EF4-FFF2-40B4-BE49-F238E27FC236}">
                  <a16:creationId xmlns:a16="http://schemas.microsoft.com/office/drawing/2014/main" id="{5C12932F-FB13-37D4-DC9D-BBEF385C1C8C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7" name="Vapaamuotoinen: Muoto 16">
              <a:extLst>
                <a:ext uri="{FF2B5EF4-FFF2-40B4-BE49-F238E27FC236}">
                  <a16:creationId xmlns:a16="http://schemas.microsoft.com/office/drawing/2014/main" id="{A821A406-3190-93B4-506F-F6D30DD05EA6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8" name="Vapaamuotoinen: Muoto 17">
              <a:extLst>
                <a:ext uri="{FF2B5EF4-FFF2-40B4-BE49-F238E27FC236}">
                  <a16:creationId xmlns:a16="http://schemas.microsoft.com/office/drawing/2014/main" id="{B5B8BA96-4CED-7926-08D7-0E05D61B06AC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9" name="Vapaamuotoinen: Muoto 18">
              <a:extLst>
                <a:ext uri="{FF2B5EF4-FFF2-40B4-BE49-F238E27FC236}">
                  <a16:creationId xmlns:a16="http://schemas.microsoft.com/office/drawing/2014/main" id="{F7DE9934-1616-3AF5-1843-D98F7A954971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20" name="Vapaamuotoinen: Muoto 19">
              <a:extLst>
                <a:ext uri="{FF2B5EF4-FFF2-40B4-BE49-F238E27FC236}">
                  <a16:creationId xmlns:a16="http://schemas.microsoft.com/office/drawing/2014/main" id="{EABD3533-6A1F-7B8F-3045-7145CF403F02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</p:grp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0DD658E-3473-4681-B845-DA52394CB7D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107635" y="6269995"/>
            <a:ext cx="1972568" cy="284816"/>
          </a:xfrm>
        </p:spPr>
        <p:txBody>
          <a:bodyPr/>
          <a:lstStyle>
            <a:lvl1pPr algn="ctr">
              <a:defRPr>
                <a:solidFill>
                  <a:srgbClr val="FFF6EF"/>
                </a:solidFill>
              </a:defRPr>
            </a:lvl1pPr>
          </a:lstStyle>
          <a:p>
            <a:fld id="{B6171CE6-0F86-4FC3-9615-CC39A4C11FD4}" type="datetime1">
              <a:rPr lang="fi-FI" noProof="0" smtClean="0"/>
              <a:pPr/>
              <a:t>12.3.2026</a:t>
            </a:fld>
            <a:endParaRPr lang="fi-FI" noProof="0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FA0F746-8E6A-4C7F-AE36-5BDBE3883D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6EF"/>
                </a:solidFill>
              </a:defRPr>
            </a:lvl1pPr>
          </a:lstStyle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 dirty="0"/>
          </a:p>
        </p:txBody>
      </p:sp>
      <p:grpSp>
        <p:nvGrpSpPr>
          <p:cNvPr id="25" name="Ryhmä 9">
            <a:extLst>
              <a:ext uri="{FF2B5EF4-FFF2-40B4-BE49-F238E27FC236}">
                <a16:creationId xmlns:a16="http://schemas.microsoft.com/office/drawing/2014/main" id="{1DB43CB8-F204-3540-9B5A-59F26CB01F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197447" y="200023"/>
            <a:ext cx="1126884" cy="1071627"/>
            <a:chOff x="203203" y="203198"/>
            <a:chExt cx="1117587" cy="1062785"/>
          </a:xfrm>
          <a:solidFill>
            <a:srgbClr val="FFF7F0"/>
          </a:solidFill>
        </p:grpSpPr>
        <p:sp>
          <p:nvSpPr>
            <p:cNvPr id="26" name="Vapaamuotoinen: Muoto 10">
              <a:extLst>
                <a:ext uri="{FF2B5EF4-FFF2-40B4-BE49-F238E27FC236}">
                  <a16:creationId xmlns:a16="http://schemas.microsoft.com/office/drawing/2014/main" id="{ACB09954-4942-1663-F41A-543AF9FA5310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grpFill/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27" name="Vapaamuotoinen: Muoto 11">
              <a:extLst>
                <a:ext uri="{FF2B5EF4-FFF2-40B4-BE49-F238E27FC236}">
                  <a16:creationId xmlns:a16="http://schemas.microsoft.com/office/drawing/2014/main" id="{44690D21-FE7D-9F0F-98C7-8723541DD727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grpFill/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28" name="Vapaamuotoinen: Muoto 12">
              <a:extLst>
                <a:ext uri="{FF2B5EF4-FFF2-40B4-BE49-F238E27FC236}">
                  <a16:creationId xmlns:a16="http://schemas.microsoft.com/office/drawing/2014/main" id="{9BFBFB9C-ABDD-CB8B-E191-3D1FF3C33AE5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grpFill/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29" name="Vapaamuotoinen: Muoto 13">
              <a:extLst>
                <a:ext uri="{FF2B5EF4-FFF2-40B4-BE49-F238E27FC236}">
                  <a16:creationId xmlns:a16="http://schemas.microsoft.com/office/drawing/2014/main" id="{8A668618-49E2-6DBE-54AF-30E80955B726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grpFill/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30" name="Vapaamuotoinen: Muoto 14">
              <a:extLst>
                <a:ext uri="{FF2B5EF4-FFF2-40B4-BE49-F238E27FC236}">
                  <a16:creationId xmlns:a16="http://schemas.microsoft.com/office/drawing/2014/main" id="{8ECFB1E5-3BB2-483F-E1E6-7ED41D07B16A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grpFill/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31" name="Vapaamuotoinen: Muoto 15">
              <a:extLst>
                <a:ext uri="{FF2B5EF4-FFF2-40B4-BE49-F238E27FC236}">
                  <a16:creationId xmlns:a16="http://schemas.microsoft.com/office/drawing/2014/main" id="{4C3973CC-3AE4-8E06-68E9-97C0C6B1D2F8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grpFill/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32" name="Vapaamuotoinen: Muoto 16">
              <a:extLst>
                <a:ext uri="{FF2B5EF4-FFF2-40B4-BE49-F238E27FC236}">
                  <a16:creationId xmlns:a16="http://schemas.microsoft.com/office/drawing/2014/main" id="{9B6C6612-339C-F62F-90DB-F392459C04A8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grpFill/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33" name="Vapaamuotoinen: Muoto 17">
              <a:extLst>
                <a:ext uri="{FF2B5EF4-FFF2-40B4-BE49-F238E27FC236}">
                  <a16:creationId xmlns:a16="http://schemas.microsoft.com/office/drawing/2014/main" id="{733157FA-F941-2BC4-1929-901D2D471212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grpFill/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</p:grpSp>
    </p:spTree>
    <p:extLst>
      <p:ext uri="{BB962C8B-B14F-4D97-AF65-F5344CB8AC3E}">
        <p14:creationId xmlns:p14="http://schemas.microsoft.com/office/powerpoint/2010/main" val="33214298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nsi violetti">
    <p:bg>
      <p:bgPr>
        <a:solidFill>
          <a:srgbClr val="FFE1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6E6260-E36C-484A-9F25-1346EC50A8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56953" y="1733266"/>
            <a:ext cx="10477035" cy="2914270"/>
          </a:xfrm>
        </p:spPr>
        <p:txBody>
          <a:bodyPr anchor="ctr">
            <a:normAutofit/>
          </a:bodyPr>
          <a:lstStyle>
            <a:lvl1pPr algn="ctr">
              <a:defRPr sz="9200" spc="-250" baseline="0">
                <a:latin typeface="Work Sans Light" pitchFamily="2" charset="0"/>
              </a:defRPr>
            </a:lvl1pPr>
          </a:lstStyle>
          <a:p>
            <a:r>
              <a:rPr lang="fi-FI" noProof="0" dirty="0"/>
              <a:t>Lisää otsikko tähä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1FDDA9F-DC3B-4803-9730-F564F287AC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56953" y="4894614"/>
            <a:ext cx="10477035" cy="77434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4000" spc="-10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 dirty="0"/>
              <a:t>Lisää alaotsikko tähän</a:t>
            </a:r>
          </a:p>
        </p:txBody>
      </p:sp>
      <p:sp>
        <p:nvSpPr>
          <p:cNvPr id="23" name="Tekstin paikkamerkki 22">
            <a:extLst>
              <a:ext uri="{FF2B5EF4-FFF2-40B4-BE49-F238E27FC236}">
                <a16:creationId xmlns:a16="http://schemas.microsoft.com/office/drawing/2014/main" id="{463699EA-6FB5-11FA-EFF4-9EF634830ED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6953" y="5780868"/>
            <a:ext cx="10477035" cy="423716"/>
          </a:xfrm>
        </p:spPr>
        <p:txBody>
          <a:bodyPr anchor="b" anchorCtr="0"/>
          <a:lstStyle>
            <a:lvl1pPr marL="0" indent="0" algn="ctr">
              <a:buNone/>
              <a:defRPr baseline="0"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fi-FI" noProof="0" dirty="0"/>
              <a:t>Lisää tekstiä tähän</a:t>
            </a:r>
          </a:p>
        </p:txBody>
      </p:sp>
      <p:grpSp>
        <p:nvGrpSpPr>
          <p:cNvPr id="12" name="Ryhmä 11">
            <a:extLst>
              <a:ext uri="{FF2B5EF4-FFF2-40B4-BE49-F238E27FC236}">
                <a16:creationId xmlns:a16="http://schemas.microsoft.com/office/drawing/2014/main" id="{D95F8E98-A2D7-E30E-1319-368CDF1FAEE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03203" y="203198"/>
            <a:ext cx="1117587" cy="1062785"/>
            <a:chOff x="203203" y="203198"/>
            <a:chExt cx="1117587" cy="1062785"/>
          </a:xfrm>
        </p:grpSpPr>
        <p:sp>
          <p:nvSpPr>
            <p:cNvPr id="13" name="Vapaamuotoinen: Muoto 12">
              <a:extLst>
                <a:ext uri="{FF2B5EF4-FFF2-40B4-BE49-F238E27FC236}">
                  <a16:creationId xmlns:a16="http://schemas.microsoft.com/office/drawing/2014/main" id="{440C446F-BCAC-7D6F-98A9-A7C2ED4872D4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4" name="Vapaamuotoinen: Muoto 13">
              <a:extLst>
                <a:ext uri="{FF2B5EF4-FFF2-40B4-BE49-F238E27FC236}">
                  <a16:creationId xmlns:a16="http://schemas.microsoft.com/office/drawing/2014/main" id="{4A7ADBEA-CE66-1301-501B-E3F7BAAF2E82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5" name="Vapaamuotoinen: Muoto 14">
              <a:extLst>
                <a:ext uri="{FF2B5EF4-FFF2-40B4-BE49-F238E27FC236}">
                  <a16:creationId xmlns:a16="http://schemas.microsoft.com/office/drawing/2014/main" id="{59A9E6E2-53EA-2E07-7385-4B02839D5454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6" name="Vapaamuotoinen: Muoto 15">
              <a:extLst>
                <a:ext uri="{FF2B5EF4-FFF2-40B4-BE49-F238E27FC236}">
                  <a16:creationId xmlns:a16="http://schemas.microsoft.com/office/drawing/2014/main" id="{5C12932F-FB13-37D4-DC9D-BBEF385C1C8C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7" name="Vapaamuotoinen: Muoto 16">
              <a:extLst>
                <a:ext uri="{FF2B5EF4-FFF2-40B4-BE49-F238E27FC236}">
                  <a16:creationId xmlns:a16="http://schemas.microsoft.com/office/drawing/2014/main" id="{A821A406-3190-93B4-506F-F6D30DD05EA6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8" name="Vapaamuotoinen: Muoto 17">
              <a:extLst>
                <a:ext uri="{FF2B5EF4-FFF2-40B4-BE49-F238E27FC236}">
                  <a16:creationId xmlns:a16="http://schemas.microsoft.com/office/drawing/2014/main" id="{B5B8BA96-4CED-7926-08D7-0E05D61B06AC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9" name="Vapaamuotoinen: Muoto 18">
              <a:extLst>
                <a:ext uri="{FF2B5EF4-FFF2-40B4-BE49-F238E27FC236}">
                  <a16:creationId xmlns:a16="http://schemas.microsoft.com/office/drawing/2014/main" id="{F7DE9934-1616-3AF5-1843-D98F7A954971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20" name="Vapaamuotoinen: Muoto 19">
              <a:extLst>
                <a:ext uri="{FF2B5EF4-FFF2-40B4-BE49-F238E27FC236}">
                  <a16:creationId xmlns:a16="http://schemas.microsoft.com/office/drawing/2014/main" id="{EABD3533-6A1F-7B8F-3045-7145CF403F02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</p:grp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0DD658E-3473-4681-B845-DA52394CB7D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107635" y="6269995"/>
            <a:ext cx="1972568" cy="284816"/>
          </a:xfrm>
        </p:spPr>
        <p:txBody>
          <a:bodyPr/>
          <a:lstStyle>
            <a:lvl1pPr algn="ctr">
              <a:defRPr/>
            </a:lvl1pPr>
          </a:lstStyle>
          <a:p>
            <a:fld id="{B6171CE6-0F86-4FC3-9615-CC39A4C11FD4}" type="datetime1">
              <a:rPr lang="fi-FI" noProof="0" smtClean="0"/>
              <a:pPr/>
              <a:t>12.3.2026</a:t>
            </a:fld>
            <a:endParaRPr lang="fi-FI" noProof="0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FA0F746-8E6A-4C7F-AE36-5BDBE3883D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160B98-140E-4345-B1A3-2A7247C42973}" type="slidenum">
              <a:rPr lang="fi-FI" noProof="0" smtClean="0"/>
              <a:t>‹#›</a:t>
            </a:fld>
            <a:endParaRPr lang="fi-FI" noProof="0" dirty="0"/>
          </a:p>
        </p:txBody>
      </p:sp>
    </p:spTree>
    <p:extLst>
      <p:ext uri="{BB962C8B-B14F-4D97-AF65-F5344CB8AC3E}">
        <p14:creationId xmlns:p14="http://schemas.microsoft.com/office/powerpoint/2010/main" val="2170507990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nsi vihreä">
    <p:bg>
      <p:bgPr>
        <a:solidFill>
          <a:srgbClr val="B4FFA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6E6260-E36C-484A-9F25-1346EC50A8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56953" y="1733266"/>
            <a:ext cx="10477035" cy="2914270"/>
          </a:xfrm>
        </p:spPr>
        <p:txBody>
          <a:bodyPr anchor="ctr">
            <a:normAutofit/>
          </a:bodyPr>
          <a:lstStyle>
            <a:lvl1pPr algn="ctr">
              <a:defRPr sz="9200" spc="-250" baseline="0">
                <a:latin typeface="Work Sans Light" pitchFamily="2" charset="0"/>
              </a:defRPr>
            </a:lvl1pPr>
          </a:lstStyle>
          <a:p>
            <a:r>
              <a:rPr lang="fi-FI" noProof="0" dirty="0"/>
              <a:t>Lisää otsikko tähä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1FDDA9F-DC3B-4803-9730-F564F287AC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56953" y="4894614"/>
            <a:ext cx="10477035" cy="77434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4000" spc="-10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 dirty="0"/>
              <a:t>Lisää alaotsikko tähän</a:t>
            </a:r>
          </a:p>
        </p:txBody>
      </p:sp>
      <p:sp>
        <p:nvSpPr>
          <p:cNvPr id="23" name="Tekstin paikkamerkki 22">
            <a:extLst>
              <a:ext uri="{FF2B5EF4-FFF2-40B4-BE49-F238E27FC236}">
                <a16:creationId xmlns:a16="http://schemas.microsoft.com/office/drawing/2014/main" id="{463699EA-6FB5-11FA-EFF4-9EF634830ED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6953" y="5780868"/>
            <a:ext cx="10477035" cy="423716"/>
          </a:xfrm>
        </p:spPr>
        <p:txBody>
          <a:bodyPr anchor="b" anchorCtr="0"/>
          <a:lstStyle>
            <a:lvl1pPr marL="0" indent="0" algn="ctr">
              <a:buNone/>
              <a:defRPr baseline="0"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fi-FI" noProof="0" dirty="0"/>
              <a:t>Lisää tekstiä tähän</a:t>
            </a:r>
          </a:p>
        </p:txBody>
      </p:sp>
      <p:grpSp>
        <p:nvGrpSpPr>
          <p:cNvPr id="12" name="Ryhmä 11">
            <a:extLst>
              <a:ext uri="{FF2B5EF4-FFF2-40B4-BE49-F238E27FC236}">
                <a16:creationId xmlns:a16="http://schemas.microsoft.com/office/drawing/2014/main" id="{D95F8E98-A2D7-E30E-1319-368CDF1FAEE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03203" y="203198"/>
            <a:ext cx="1117587" cy="1062785"/>
            <a:chOff x="203203" y="203198"/>
            <a:chExt cx="1117587" cy="1062785"/>
          </a:xfrm>
        </p:grpSpPr>
        <p:sp>
          <p:nvSpPr>
            <p:cNvPr id="13" name="Vapaamuotoinen: Muoto 12">
              <a:extLst>
                <a:ext uri="{FF2B5EF4-FFF2-40B4-BE49-F238E27FC236}">
                  <a16:creationId xmlns:a16="http://schemas.microsoft.com/office/drawing/2014/main" id="{440C446F-BCAC-7D6F-98A9-A7C2ED4872D4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4" name="Vapaamuotoinen: Muoto 13">
              <a:extLst>
                <a:ext uri="{FF2B5EF4-FFF2-40B4-BE49-F238E27FC236}">
                  <a16:creationId xmlns:a16="http://schemas.microsoft.com/office/drawing/2014/main" id="{4A7ADBEA-CE66-1301-501B-E3F7BAAF2E82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5" name="Vapaamuotoinen: Muoto 14">
              <a:extLst>
                <a:ext uri="{FF2B5EF4-FFF2-40B4-BE49-F238E27FC236}">
                  <a16:creationId xmlns:a16="http://schemas.microsoft.com/office/drawing/2014/main" id="{59A9E6E2-53EA-2E07-7385-4B02839D5454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6" name="Vapaamuotoinen: Muoto 15">
              <a:extLst>
                <a:ext uri="{FF2B5EF4-FFF2-40B4-BE49-F238E27FC236}">
                  <a16:creationId xmlns:a16="http://schemas.microsoft.com/office/drawing/2014/main" id="{5C12932F-FB13-37D4-DC9D-BBEF385C1C8C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7" name="Vapaamuotoinen: Muoto 16">
              <a:extLst>
                <a:ext uri="{FF2B5EF4-FFF2-40B4-BE49-F238E27FC236}">
                  <a16:creationId xmlns:a16="http://schemas.microsoft.com/office/drawing/2014/main" id="{A821A406-3190-93B4-506F-F6D30DD05EA6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8" name="Vapaamuotoinen: Muoto 17">
              <a:extLst>
                <a:ext uri="{FF2B5EF4-FFF2-40B4-BE49-F238E27FC236}">
                  <a16:creationId xmlns:a16="http://schemas.microsoft.com/office/drawing/2014/main" id="{B5B8BA96-4CED-7926-08D7-0E05D61B06AC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9" name="Vapaamuotoinen: Muoto 18">
              <a:extLst>
                <a:ext uri="{FF2B5EF4-FFF2-40B4-BE49-F238E27FC236}">
                  <a16:creationId xmlns:a16="http://schemas.microsoft.com/office/drawing/2014/main" id="{F7DE9934-1616-3AF5-1843-D98F7A954971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20" name="Vapaamuotoinen: Muoto 19">
              <a:extLst>
                <a:ext uri="{FF2B5EF4-FFF2-40B4-BE49-F238E27FC236}">
                  <a16:creationId xmlns:a16="http://schemas.microsoft.com/office/drawing/2014/main" id="{EABD3533-6A1F-7B8F-3045-7145CF403F02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</p:grp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0DD658E-3473-4681-B845-DA52394CB7D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107635" y="6269995"/>
            <a:ext cx="1972568" cy="284816"/>
          </a:xfrm>
        </p:spPr>
        <p:txBody>
          <a:bodyPr/>
          <a:lstStyle>
            <a:lvl1pPr algn="ctr">
              <a:defRPr/>
            </a:lvl1pPr>
          </a:lstStyle>
          <a:p>
            <a:fld id="{B6171CE6-0F86-4FC3-9615-CC39A4C11FD4}" type="datetime1">
              <a:rPr lang="fi-FI" noProof="0" smtClean="0"/>
              <a:pPr/>
              <a:t>12.3.2026</a:t>
            </a:fld>
            <a:endParaRPr lang="fi-FI" noProof="0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FA0F746-8E6A-4C7F-AE36-5BDBE3883D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160B98-140E-4345-B1A3-2A7247C42973}" type="slidenum">
              <a:rPr lang="fi-FI" noProof="0" smtClean="0"/>
              <a:t>‹#›</a:t>
            </a:fld>
            <a:endParaRPr lang="fi-FI" noProof="0" dirty="0"/>
          </a:p>
        </p:txBody>
      </p:sp>
    </p:spTree>
    <p:extLst>
      <p:ext uri="{BB962C8B-B14F-4D97-AF65-F5344CB8AC3E}">
        <p14:creationId xmlns:p14="http://schemas.microsoft.com/office/powerpoint/2010/main" val="2657196899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nsi sininen">
    <p:bg>
      <p:bgPr>
        <a:solidFill>
          <a:srgbClr val="DCEFF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6E6260-E36C-484A-9F25-1346EC50A8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56953" y="1733266"/>
            <a:ext cx="10477035" cy="2914270"/>
          </a:xfrm>
        </p:spPr>
        <p:txBody>
          <a:bodyPr anchor="ctr">
            <a:normAutofit/>
          </a:bodyPr>
          <a:lstStyle>
            <a:lvl1pPr algn="ctr">
              <a:defRPr sz="9200" spc="-250" baseline="0">
                <a:latin typeface="Work Sans Light" pitchFamily="2" charset="0"/>
              </a:defRPr>
            </a:lvl1pPr>
          </a:lstStyle>
          <a:p>
            <a:r>
              <a:rPr lang="fi-FI" noProof="0" dirty="0"/>
              <a:t>Lisää otsikko tähä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1FDDA9F-DC3B-4803-9730-F564F287AC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56953" y="4894614"/>
            <a:ext cx="10477035" cy="77434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4000" spc="-10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 dirty="0"/>
              <a:t>Lisää alaotsikko tähän</a:t>
            </a:r>
          </a:p>
        </p:txBody>
      </p:sp>
      <p:sp>
        <p:nvSpPr>
          <p:cNvPr id="23" name="Tekstin paikkamerkki 22">
            <a:extLst>
              <a:ext uri="{FF2B5EF4-FFF2-40B4-BE49-F238E27FC236}">
                <a16:creationId xmlns:a16="http://schemas.microsoft.com/office/drawing/2014/main" id="{463699EA-6FB5-11FA-EFF4-9EF634830ED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6953" y="5780868"/>
            <a:ext cx="10477035" cy="423716"/>
          </a:xfrm>
        </p:spPr>
        <p:txBody>
          <a:bodyPr anchor="b" anchorCtr="0"/>
          <a:lstStyle>
            <a:lvl1pPr marL="0" indent="0" algn="ctr">
              <a:buNone/>
              <a:defRPr baseline="0"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fi-FI" noProof="0" dirty="0"/>
              <a:t>Lisää tekstiä tähän</a:t>
            </a:r>
          </a:p>
        </p:txBody>
      </p:sp>
      <p:grpSp>
        <p:nvGrpSpPr>
          <p:cNvPr id="12" name="Ryhmä 11">
            <a:extLst>
              <a:ext uri="{FF2B5EF4-FFF2-40B4-BE49-F238E27FC236}">
                <a16:creationId xmlns:a16="http://schemas.microsoft.com/office/drawing/2014/main" id="{D95F8E98-A2D7-E30E-1319-368CDF1FAEE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03203" y="203198"/>
            <a:ext cx="1117587" cy="1062785"/>
            <a:chOff x="203203" y="203198"/>
            <a:chExt cx="1117587" cy="1062785"/>
          </a:xfrm>
        </p:grpSpPr>
        <p:sp>
          <p:nvSpPr>
            <p:cNvPr id="13" name="Vapaamuotoinen: Muoto 12">
              <a:extLst>
                <a:ext uri="{FF2B5EF4-FFF2-40B4-BE49-F238E27FC236}">
                  <a16:creationId xmlns:a16="http://schemas.microsoft.com/office/drawing/2014/main" id="{440C446F-BCAC-7D6F-98A9-A7C2ED4872D4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4" name="Vapaamuotoinen: Muoto 13">
              <a:extLst>
                <a:ext uri="{FF2B5EF4-FFF2-40B4-BE49-F238E27FC236}">
                  <a16:creationId xmlns:a16="http://schemas.microsoft.com/office/drawing/2014/main" id="{4A7ADBEA-CE66-1301-501B-E3F7BAAF2E82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5" name="Vapaamuotoinen: Muoto 14">
              <a:extLst>
                <a:ext uri="{FF2B5EF4-FFF2-40B4-BE49-F238E27FC236}">
                  <a16:creationId xmlns:a16="http://schemas.microsoft.com/office/drawing/2014/main" id="{59A9E6E2-53EA-2E07-7385-4B02839D5454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6" name="Vapaamuotoinen: Muoto 15">
              <a:extLst>
                <a:ext uri="{FF2B5EF4-FFF2-40B4-BE49-F238E27FC236}">
                  <a16:creationId xmlns:a16="http://schemas.microsoft.com/office/drawing/2014/main" id="{5C12932F-FB13-37D4-DC9D-BBEF385C1C8C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7" name="Vapaamuotoinen: Muoto 16">
              <a:extLst>
                <a:ext uri="{FF2B5EF4-FFF2-40B4-BE49-F238E27FC236}">
                  <a16:creationId xmlns:a16="http://schemas.microsoft.com/office/drawing/2014/main" id="{A821A406-3190-93B4-506F-F6D30DD05EA6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8" name="Vapaamuotoinen: Muoto 17">
              <a:extLst>
                <a:ext uri="{FF2B5EF4-FFF2-40B4-BE49-F238E27FC236}">
                  <a16:creationId xmlns:a16="http://schemas.microsoft.com/office/drawing/2014/main" id="{B5B8BA96-4CED-7926-08D7-0E05D61B06AC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9" name="Vapaamuotoinen: Muoto 18">
              <a:extLst>
                <a:ext uri="{FF2B5EF4-FFF2-40B4-BE49-F238E27FC236}">
                  <a16:creationId xmlns:a16="http://schemas.microsoft.com/office/drawing/2014/main" id="{F7DE9934-1616-3AF5-1843-D98F7A954971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20" name="Vapaamuotoinen: Muoto 19">
              <a:extLst>
                <a:ext uri="{FF2B5EF4-FFF2-40B4-BE49-F238E27FC236}">
                  <a16:creationId xmlns:a16="http://schemas.microsoft.com/office/drawing/2014/main" id="{EABD3533-6A1F-7B8F-3045-7145CF403F02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</p:grp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0DD658E-3473-4681-B845-DA52394CB7D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107635" y="6269995"/>
            <a:ext cx="1972568" cy="284816"/>
          </a:xfrm>
        </p:spPr>
        <p:txBody>
          <a:bodyPr/>
          <a:lstStyle>
            <a:lvl1pPr algn="ctr">
              <a:defRPr/>
            </a:lvl1pPr>
          </a:lstStyle>
          <a:p>
            <a:fld id="{B6171CE6-0F86-4FC3-9615-CC39A4C11FD4}" type="datetime1">
              <a:rPr lang="fi-FI" noProof="0" smtClean="0"/>
              <a:pPr/>
              <a:t>12.3.2026</a:t>
            </a:fld>
            <a:endParaRPr lang="fi-FI" noProof="0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FA0F746-8E6A-4C7F-AE36-5BDBE3883D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160B98-140E-4345-B1A3-2A7247C42973}" type="slidenum">
              <a:rPr lang="fi-FI" noProof="0" smtClean="0"/>
              <a:t>‹#›</a:t>
            </a:fld>
            <a:endParaRPr lang="fi-FI" noProof="0" dirty="0"/>
          </a:p>
        </p:txBody>
      </p:sp>
    </p:spTree>
    <p:extLst>
      <p:ext uri="{BB962C8B-B14F-4D97-AF65-F5344CB8AC3E}">
        <p14:creationId xmlns:p14="http://schemas.microsoft.com/office/powerpoint/2010/main" val="2588257412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nsi punainen">
    <p:bg>
      <p:bgPr>
        <a:solidFill>
          <a:srgbClr val="FF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6E6260-E36C-484A-9F25-1346EC50A8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56953" y="1733266"/>
            <a:ext cx="10477035" cy="2914270"/>
          </a:xfrm>
        </p:spPr>
        <p:txBody>
          <a:bodyPr anchor="ctr">
            <a:normAutofit/>
          </a:bodyPr>
          <a:lstStyle>
            <a:lvl1pPr algn="ctr">
              <a:defRPr sz="9200" spc="-250" baseline="0">
                <a:latin typeface="Work Sans Light" pitchFamily="2" charset="0"/>
              </a:defRPr>
            </a:lvl1pPr>
          </a:lstStyle>
          <a:p>
            <a:r>
              <a:rPr lang="fi-FI" noProof="0" dirty="0"/>
              <a:t>Lisää otsikko tähä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1FDDA9F-DC3B-4803-9730-F564F287AC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56953" y="4894614"/>
            <a:ext cx="10477035" cy="77434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4000" spc="-10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 dirty="0"/>
              <a:t>Lisää alaotsikko tähän</a:t>
            </a:r>
          </a:p>
        </p:txBody>
      </p:sp>
      <p:sp>
        <p:nvSpPr>
          <p:cNvPr id="23" name="Tekstin paikkamerkki 22">
            <a:extLst>
              <a:ext uri="{FF2B5EF4-FFF2-40B4-BE49-F238E27FC236}">
                <a16:creationId xmlns:a16="http://schemas.microsoft.com/office/drawing/2014/main" id="{463699EA-6FB5-11FA-EFF4-9EF634830ED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6953" y="5780868"/>
            <a:ext cx="10477035" cy="423716"/>
          </a:xfrm>
        </p:spPr>
        <p:txBody>
          <a:bodyPr anchor="b" anchorCtr="0"/>
          <a:lstStyle>
            <a:lvl1pPr marL="0" indent="0" algn="ctr">
              <a:buNone/>
              <a:defRPr baseline="0"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fi-FI" noProof="0" dirty="0"/>
              <a:t>Lisää tekstiä tähän</a:t>
            </a:r>
          </a:p>
        </p:txBody>
      </p:sp>
      <p:grpSp>
        <p:nvGrpSpPr>
          <p:cNvPr id="12" name="Ryhmä 11">
            <a:extLst>
              <a:ext uri="{FF2B5EF4-FFF2-40B4-BE49-F238E27FC236}">
                <a16:creationId xmlns:a16="http://schemas.microsoft.com/office/drawing/2014/main" id="{D95F8E98-A2D7-E30E-1319-368CDF1FAEE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03203" y="203198"/>
            <a:ext cx="1117587" cy="1062785"/>
            <a:chOff x="203203" y="203198"/>
            <a:chExt cx="1117587" cy="1062785"/>
          </a:xfrm>
        </p:grpSpPr>
        <p:sp>
          <p:nvSpPr>
            <p:cNvPr id="13" name="Vapaamuotoinen: Muoto 12">
              <a:extLst>
                <a:ext uri="{FF2B5EF4-FFF2-40B4-BE49-F238E27FC236}">
                  <a16:creationId xmlns:a16="http://schemas.microsoft.com/office/drawing/2014/main" id="{440C446F-BCAC-7D6F-98A9-A7C2ED4872D4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4" name="Vapaamuotoinen: Muoto 13">
              <a:extLst>
                <a:ext uri="{FF2B5EF4-FFF2-40B4-BE49-F238E27FC236}">
                  <a16:creationId xmlns:a16="http://schemas.microsoft.com/office/drawing/2014/main" id="{4A7ADBEA-CE66-1301-501B-E3F7BAAF2E82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5" name="Vapaamuotoinen: Muoto 14">
              <a:extLst>
                <a:ext uri="{FF2B5EF4-FFF2-40B4-BE49-F238E27FC236}">
                  <a16:creationId xmlns:a16="http://schemas.microsoft.com/office/drawing/2014/main" id="{59A9E6E2-53EA-2E07-7385-4B02839D5454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6" name="Vapaamuotoinen: Muoto 15">
              <a:extLst>
                <a:ext uri="{FF2B5EF4-FFF2-40B4-BE49-F238E27FC236}">
                  <a16:creationId xmlns:a16="http://schemas.microsoft.com/office/drawing/2014/main" id="{5C12932F-FB13-37D4-DC9D-BBEF385C1C8C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7" name="Vapaamuotoinen: Muoto 16">
              <a:extLst>
                <a:ext uri="{FF2B5EF4-FFF2-40B4-BE49-F238E27FC236}">
                  <a16:creationId xmlns:a16="http://schemas.microsoft.com/office/drawing/2014/main" id="{A821A406-3190-93B4-506F-F6D30DD05EA6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8" name="Vapaamuotoinen: Muoto 17">
              <a:extLst>
                <a:ext uri="{FF2B5EF4-FFF2-40B4-BE49-F238E27FC236}">
                  <a16:creationId xmlns:a16="http://schemas.microsoft.com/office/drawing/2014/main" id="{B5B8BA96-4CED-7926-08D7-0E05D61B06AC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9" name="Vapaamuotoinen: Muoto 18">
              <a:extLst>
                <a:ext uri="{FF2B5EF4-FFF2-40B4-BE49-F238E27FC236}">
                  <a16:creationId xmlns:a16="http://schemas.microsoft.com/office/drawing/2014/main" id="{F7DE9934-1616-3AF5-1843-D98F7A954971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20" name="Vapaamuotoinen: Muoto 19">
              <a:extLst>
                <a:ext uri="{FF2B5EF4-FFF2-40B4-BE49-F238E27FC236}">
                  <a16:creationId xmlns:a16="http://schemas.microsoft.com/office/drawing/2014/main" id="{EABD3533-6A1F-7B8F-3045-7145CF403F02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</p:grp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0DD658E-3473-4681-B845-DA52394CB7D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107635" y="6269995"/>
            <a:ext cx="1972568" cy="284816"/>
          </a:xfrm>
        </p:spPr>
        <p:txBody>
          <a:bodyPr/>
          <a:lstStyle>
            <a:lvl1pPr algn="ctr">
              <a:defRPr/>
            </a:lvl1pPr>
          </a:lstStyle>
          <a:p>
            <a:fld id="{B6171CE6-0F86-4FC3-9615-CC39A4C11FD4}" type="datetime1">
              <a:rPr lang="fi-FI" noProof="0" smtClean="0"/>
              <a:pPr/>
              <a:t>12.3.2026</a:t>
            </a:fld>
            <a:endParaRPr lang="fi-FI" noProof="0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FA0F746-8E6A-4C7F-AE36-5BDBE3883D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160B98-140E-4345-B1A3-2A7247C42973}" type="slidenum">
              <a:rPr lang="fi-FI" noProof="0" smtClean="0"/>
              <a:t>‹#›</a:t>
            </a:fld>
            <a:endParaRPr lang="fi-FI" noProof="0" dirty="0"/>
          </a:p>
        </p:txBody>
      </p:sp>
    </p:spTree>
    <p:extLst>
      <p:ext uri="{BB962C8B-B14F-4D97-AF65-F5344CB8AC3E}">
        <p14:creationId xmlns:p14="http://schemas.microsoft.com/office/powerpoint/2010/main" val="2421506499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nsi keltainen">
    <p:bg>
      <p:bgPr>
        <a:solidFill>
          <a:srgbClr val="FFFAC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6E6260-E36C-484A-9F25-1346EC50A8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56953" y="1733266"/>
            <a:ext cx="10477035" cy="2914270"/>
          </a:xfrm>
        </p:spPr>
        <p:txBody>
          <a:bodyPr anchor="ctr">
            <a:normAutofit/>
          </a:bodyPr>
          <a:lstStyle>
            <a:lvl1pPr algn="ctr">
              <a:defRPr sz="9200" spc="-250" baseline="0">
                <a:latin typeface="Work Sans Light" pitchFamily="2" charset="0"/>
              </a:defRPr>
            </a:lvl1pPr>
          </a:lstStyle>
          <a:p>
            <a:r>
              <a:rPr lang="fi-FI" noProof="0" dirty="0"/>
              <a:t>Lisää otsikko tähä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1FDDA9F-DC3B-4803-9730-F564F287AC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56953" y="4894614"/>
            <a:ext cx="10477035" cy="77434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4000" spc="-10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 dirty="0"/>
              <a:t>Lisää alaotsikko tähän</a:t>
            </a:r>
          </a:p>
        </p:txBody>
      </p:sp>
      <p:sp>
        <p:nvSpPr>
          <p:cNvPr id="23" name="Tekstin paikkamerkki 22">
            <a:extLst>
              <a:ext uri="{FF2B5EF4-FFF2-40B4-BE49-F238E27FC236}">
                <a16:creationId xmlns:a16="http://schemas.microsoft.com/office/drawing/2014/main" id="{463699EA-6FB5-11FA-EFF4-9EF634830ED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6953" y="5780868"/>
            <a:ext cx="10477035" cy="423716"/>
          </a:xfrm>
        </p:spPr>
        <p:txBody>
          <a:bodyPr anchor="b" anchorCtr="0"/>
          <a:lstStyle>
            <a:lvl1pPr marL="0" indent="0" algn="ctr">
              <a:buNone/>
              <a:defRPr baseline="0"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fi-FI" noProof="0" dirty="0"/>
              <a:t>Lisää tekstiä tähän</a:t>
            </a:r>
          </a:p>
        </p:txBody>
      </p:sp>
      <p:grpSp>
        <p:nvGrpSpPr>
          <p:cNvPr id="12" name="Ryhmä 11">
            <a:extLst>
              <a:ext uri="{FF2B5EF4-FFF2-40B4-BE49-F238E27FC236}">
                <a16:creationId xmlns:a16="http://schemas.microsoft.com/office/drawing/2014/main" id="{D95F8E98-A2D7-E30E-1319-368CDF1FAEE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03203" y="203198"/>
            <a:ext cx="1117587" cy="1062785"/>
            <a:chOff x="203203" y="203198"/>
            <a:chExt cx="1117587" cy="1062785"/>
          </a:xfrm>
        </p:grpSpPr>
        <p:sp>
          <p:nvSpPr>
            <p:cNvPr id="13" name="Vapaamuotoinen: Muoto 12">
              <a:extLst>
                <a:ext uri="{FF2B5EF4-FFF2-40B4-BE49-F238E27FC236}">
                  <a16:creationId xmlns:a16="http://schemas.microsoft.com/office/drawing/2014/main" id="{440C446F-BCAC-7D6F-98A9-A7C2ED4872D4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4" name="Vapaamuotoinen: Muoto 13">
              <a:extLst>
                <a:ext uri="{FF2B5EF4-FFF2-40B4-BE49-F238E27FC236}">
                  <a16:creationId xmlns:a16="http://schemas.microsoft.com/office/drawing/2014/main" id="{4A7ADBEA-CE66-1301-501B-E3F7BAAF2E82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5" name="Vapaamuotoinen: Muoto 14">
              <a:extLst>
                <a:ext uri="{FF2B5EF4-FFF2-40B4-BE49-F238E27FC236}">
                  <a16:creationId xmlns:a16="http://schemas.microsoft.com/office/drawing/2014/main" id="{59A9E6E2-53EA-2E07-7385-4B02839D5454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6" name="Vapaamuotoinen: Muoto 15">
              <a:extLst>
                <a:ext uri="{FF2B5EF4-FFF2-40B4-BE49-F238E27FC236}">
                  <a16:creationId xmlns:a16="http://schemas.microsoft.com/office/drawing/2014/main" id="{5C12932F-FB13-37D4-DC9D-BBEF385C1C8C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7" name="Vapaamuotoinen: Muoto 16">
              <a:extLst>
                <a:ext uri="{FF2B5EF4-FFF2-40B4-BE49-F238E27FC236}">
                  <a16:creationId xmlns:a16="http://schemas.microsoft.com/office/drawing/2014/main" id="{A821A406-3190-93B4-506F-F6D30DD05EA6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8" name="Vapaamuotoinen: Muoto 17">
              <a:extLst>
                <a:ext uri="{FF2B5EF4-FFF2-40B4-BE49-F238E27FC236}">
                  <a16:creationId xmlns:a16="http://schemas.microsoft.com/office/drawing/2014/main" id="{B5B8BA96-4CED-7926-08D7-0E05D61B06AC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9" name="Vapaamuotoinen: Muoto 18">
              <a:extLst>
                <a:ext uri="{FF2B5EF4-FFF2-40B4-BE49-F238E27FC236}">
                  <a16:creationId xmlns:a16="http://schemas.microsoft.com/office/drawing/2014/main" id="{F7DE9934-1616-3AF5-1843-D98F7A954971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20" name="Vapaamuotoinen: Muoto 19">
              <a:extLst>
                <a:ext uri="{FF2B5EF4-FFF2-40B4-BE49-F238E27FC236}">
                  <a16:creationId xmlns:a16="http://schemas.microsoft.com/office/drawing/2014/main" id="{EABD3533-6A1F-7B8F-3045-7145CF403F02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</p:grp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0DD658E-3473-4681-B845-DA52394CB7D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107635" y="6269995"/>
            <a:ext cx="1972568" cy="284816"/>
          </a:xfrm>
        </p:spPr>
        <p:txBody>
          <a:bodyPr/>
          <a:lstStyle>
            <a:lvl1pPr algn="ctr">
              <a:defRPr/>
            </a:lvl1pPr>
          </a:lstStyle>
          <a:p>
            <a:fld id="{B6171CE6-0F86-4FC3-9615-CC39A4C11FD4}" type="datetime1">
              <a:rPr lang="fi-FI" noProof="0" smtClean="0"/>
              <a:pPr/>
              <a:t>12.3.2026</a:t>
            </a:fld>
            <a:endParaRPr lang="fi-FI" noProof="0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FA0F746-8E6A-4C7F-AE36-5BDBE3883D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160B98-140E-4345-B1A3-2A7247C42973}" type="slidenum">
              <a:rPr lang="fi-FI" noProof="0" smtClean="0"/>
              <a:t>‹#›</a:t>
            </a:fld>
            <a:endParaRPr lang="fi-FI" noProof="0" dirty="0"/>
          </a:p>
        </p:txBody>
      </p:sp>
    </p:spTree>
    <p:extLst>
      <p:ext uri="{BB962C8B-B14F-4D97-AF65-F5344CB8AC3E}">
        <p14:creationId xmlns:p14="http://schemas.microsoft.com/office/powerpoint/2010/main" val="1762051306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0DB878-8E84-426A-BEF0-AF1AAFA1F9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i-FI" noProof="0" dirty="0"/>
              <a:t>Lisää otsikko tähä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E3B6CAA-4767-42B4-A19C-0CFD9AFC822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76517" y="2272553"/>
            <a:ext cx="11447929" cy="3375893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i-FI" noProof="0" dirty="0"/>
              <a:t>Lisää ensimmäisen tason tekstiä tähän</a:t>
            </a:r>
          </a:p>
          <a:p>
            <a:pPr lvl="1"/>
            <a:r>
              <a:rPr lang="fi-FI" noProof="0" dirty="0"/>
              <a:t>Toisen tason teksti</a:t>
            </a:r>
          </a:p>
          <a:p>
            <a:pPr lvl="2"/>
            <a:r>
              <a:rPr lang="fi-FI" noProof="0" dirty="0"/>
              <a:t>Kolmannen tason teksti</a:t>
            </a:r>
          </a:p>
          <a:p>
            <a:pPr lvl="3"/>
            <a:r>
              <a:rPr lang="fi-FI" noProof="0" dirty="0"/>
              <a:t>Neljännen tason teksti</a:t>
            </a:r>
          </a:p>
          <a:p>
            <a:pPr lvl="4"/>
            <a:r>
              <a:rPr lang="fi-FI" noProof="0" dirty="0"/>
              <a:t>Viidennen tason teksti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E996DCA-8E68-4F4A-A4A6-ACE6BC7F24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19F51-E5C9-4EA5-AD5A-0E73BC02374E}" type="datetime1">
              <a:rPr lang="fi-FI" noProof="0" smtClean="0"/>
              <a:t>12.3.2026</a:t>
            </a:fld>
            <a:endParaRPr lang="fi-FI" noProof="0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DC7B94-042D-44C2-B7B2-1128AAFA57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 noProof="0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160B98-140E-4345-B1A3-2A7247C42973}" type="slidenum">
              <a:rPr lang="fi-FI" noProof="0" smtClean="0"/>
              <a:t>‹#›</a:t>
            </a:fld>
            <a:endParaRPr lang="fi-FI" noProof="0" dirty="0"/>
          </a:p>
        </p:txBody>
      </p:sp>
    </p:spTree>
    <p:extLst>
      <p:ext uri="{BB962C8B-B14F-4D97-AF65-F5344CB8AC3E}">
        <p14:creationId xmlns:p14="http://schemas.microsoft.com/office/powerpoint/2010/main" val="3696316445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2 palst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0DB878-8E84-426A-BEF0-AF1AAFA1F9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fi-FI" noProof="0" dirty="0"/>
              <a:t>Lisää otsikko tähä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E3B6CAA-4767-42B4-A19C-0CFD9AFC822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76517" y="2272553"/>
            <a:ext cx="5402491" cy="3375893"/>
          </a:xfrm>
        </p:spPr>
        <p:txBody>
          <a:bodyPr/>
          <a:lstStyle/>
          <a:p>
            <a:pPr lvl="0"/>
            <a:r>
              <a:rPr lang="fi-FI" noProof="0" dirty="0"/>
              <a:t>Lisää ensimmäisen tason tekstiä tähän</a:t>
            </a:r>
          </a:p>
          <a:p>
            <a:pPr lvl="1"/>
            <a:r>
              <a:rPr lang="fi-FI" noProof="0" dirty="0"/>
              <a:t>Toisen tason teksti</a:t>
            </a:r>
          </a:p>
          <a:p>
            <a:pPr lvl="2"/>
            <a:r>
              <a:rPr lang="fi-FI" noProof="0" dirty="0"/>
              <a:t>Kolmannen tason teksti</a:t>
            </a:r>
          </a:p>
          <a:p>
            <a:pPr lvl="3"/>
            <a:r>
              <a:rPr lang="fi-FI" noProof="0" dirty="0"/>
              <a:t>Neljännen tason teksti</a:t>
            </a:r>
          </a:p>
          <a:p>
            <a:pPr lvl="4"/>
            <a:r>
              <a:rPr lang="fi-FI" noProof="0" dirty="0"/>
              <a:t>Viidennen tason teksti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8B50D57F-92B8-8C62-9F06-00B251928CA3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05233" y="2272553"/>
            <a:ext cx="5402491" cy="3375893"/>
          </a:xfrm>
        </p:spPr>
        <p:txBody>
          <a:bodyPr/>
          <a:lstStyle/>
          <a:p>
            <a:pPr lvl="0"/>
            <a:r>
              <a:rPr lang="fi-FI" noProof="0" dirty="0"/>
              <a:t>Lisää ensimmäisen tason tekstiä tähän</a:t>
            </a:r>
          </a:p>
          <a:p>
            <a:pPr lvl="1"/>
            <a:r>
              <a:rPr lang="fi-FI" noProof="0" dirty="0"/>
              <a:t>Toisen tason teksti</a:t>
            </a:r>
          </a:p>
          <a:p>
            <a:pPr lvl="2"/>
            <a:r>
              <a:rPr lang="fi-FI" noProof="0" dirty="0"/>
              <a:t>Kolmannen tason teksti</a:t>
            </a:r>
          </a:p>
          <a:p>
            <a:pPr lvl="3"/>
            <a:r>
              <a:rPr lang="fi-FI" noProof="0" dirty="0"/>
              <a:t>Neljännen tason teksti</a:t>
            </a:r>
          </a:p>
          <a:p>
            <a:pPr lvl="4"/>
            <a:r>
              <a:rPr lang="fi-FI" noProof="0" dirty="0"/>
              <a:t>Viidennen tason teksti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E996DCA-8E68-4F4A-A4A6-ACE6BC7F24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593A75-1D0C-4BBF-BE8E-1C65555F6618}" type="datetime1">
              <a:rPr lang="fi-FI" noProof="0" smtClean="0"/>
              <a:t>12.3.2026</a:t>
            </a:fld>
            <a:endParaRPr lang="fi-FI" noProof="0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DC7B94-042D-44C2-B7B2-1128AAFA57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 noProof="0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160B98-140E-4345-B1A3-2A7247C42973}" type="slidenum">
              <a:rPr lang="fi-FI" noProof="0" smtClean="0"/>
              <a:t>‹#›</a:t>
            </a:fld>
            <a:endParaRPr lang="fi-FI" noProof="0" dirty="0"/>
          </a:p>
        </p:txBody>
      </p:sp>
    </p:spTree>
    <p:extLst>
      <p:ext uri="{BB962C8B-B14F-4D97-AF65-F5344CB8AC3E}">
        <p14:creationId xmlns:p14="http://schemas.microsoft.com/office/powerpoint/2010/main" val="322988875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1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raphic 24">
            <a:extLst>
              <a:ext uri="{FF2B5EF4-FFF2-40B4-BE49-F238E27FC236}">
                <a16:creationId xmlns:a16="http://schemas.microsoft.com/office/drawing/2014/main" id="{412E2FC6-3DC7-A5C6-CB76-702A1185B2EA}"/>
              </a:ext>
            </a:extLst>
          </p:cNvPr>
          <p:cNvSpPr/>
          <p:nvPr/>
        </p:nvSpPr>
        <p:spPr>
          <a:xfrm>
            <a:off x="0" y="-3"/>
            <a:ext cx="12191877" cy="6858000"/>
          </a:xfrm>
          <a:custGeom>
            <a:avLst/>
            <a:gdLst>
              <a:gd name="connsiteX0" fmla="*/ 0 w 12191877"/>
              <a:gd name="connsiteY0" fmla="*/ 6858000 h 6858000"/>
              <a:gd name="connsiteX1" fmla="*/ 8102520 w 12191877"/>
              <a:gd name="connsiteY1" fmla="*/ 6858000 h 6858000"/>
              <a:gd name="connsiteX2" fmla="*/ 8102520 w 12191877"/>
              <a:gd name="connsiteY2" fmla="*/ 6051708 h 6858000"/>
              <a:gd name="connsiteX3" fmla="*/ 12191878 w 12191877"/>
              <a:gd name="connsiteY3" fmla="*/ 1962310 h 6858000"/>
              <a:gd name="connsiteX4" fmla="*/ 12191878 w 12191877"/>
              <a:gd name="connsiteY4" fmla="*/ 1850371 h 6858000"/>
              <a:gd name="connsiteX5" fmla="*/ 8102520 w 12191877"/>
              <a:gd name="connsiteY5" fmla="*/ 5939766 h 6858000"/>
              <a:gd name="connsiteX6" fmla="*/ 8102520 w 12191877"/>
              <a:gd name="connsiteY6" fmla="*/ 4931057 h 6858000"/>
              <a:gd name="connsiteX7" fmla="*/ 12191878 w 12191877"/>
              <a:gd name="connsiteY7" fmla="*/ 841658 h 6858000"/>
              <a:gd name="connsiteX8" fmla="*/ 12191878 w 12191877"/>
              <a:gd name="connsiteY8" fmla="*/ 729724 h 6858000"/>
              <a:gd name="connsiteX9" fmla="*/ 8102520 w 12191877"/>
              <a:gd name="connsiteY9" fmla="*/ 4819122 h 6858000"/>
              <a:gd name="connsiteX10" fmla="*/ 8102520 w 12191877"/>
              <a:gd name="connsiteY10" fmla="*/ 3810409 h 6858000"/>
              <a:gd name="connsiteX11" fmla="*/ 11912894 w 12191877"/>
              <a:gd name="connsiteY11" fmla="*/ 0 h 6858000"/>
              <a:gd name="connsiteX12" fmla="*/ 11800954 w 12191877"/>
              <a:gd name="connsiteY12" fmla="*/ 0 h 6858000"/>
              <a:gd name="connsiteX13" fmla="*/ 8102520 w 12191877"/>
              <a:gd name="connsiteY13" fmla="*/ 3698475 h 6858000"/>
              <a:gd name="connsiteX14" fmla="*/ 8102520 w 12191877"/>
              <a:gd name="connsiteY14" fmla="*/ 2689762 h 6858000"/>
              <a:gd name="connsiteX15" fmla="*/ 10792254 w 12191877"/>
              <a:gd name="connsiteY15" fmla="*/ 0 h 6858000"/>
              <a:gd name="connsiteX16" fmla="*/ 10680314 w 12191877"/>
              <a:gd name="connsiteY16" fmla="*/ 0 h 6858000"/>
              <a:gd name="connsiteX17" fmla="*/ 8102520 w 12191877"/>
              <a:gd name="connsiteY17" fmla="*/ 2577820 h 6858000"/>
              <a:gd name="connsiteX18" fmla="*/ 8102520 w 12191877"/>
              <a:gd name="connsiteY18" fmla="*/ 1569100 h 6858000"/>
              <a:gd name="connsiteX19" fmla="*/ 9671614 w 12191877"/>
              <a:gd name="connsiteY19" fmla="*/ 0 h 6858000"/>
              <a:gd name="connsiteX20" fmla="*/ 9559677 w 12191877"/>
              <a:gd name="connsiteY20" fmla="*/ 0 h 6858000"/>
              <a:gd name="connsiteX21" fmla="*/ 8102520 w 12191877"/>
              <a:gd name="connsiteY21" fmla="*/ 1457172 h 6858000"/>
              <a:gd name="connsiteX22" fmla="*/ 8102520 w 12191877"/>
              <a:gd name="connsiteY22" fmla="*/ 560902 h 6858000"/>
              <a:gd name="connsiteX23" fmla="*/ 8644717 w 12191877"/>
              <a:gd name="connsiteY23" fmla="*/ 0 h 6858000"/>
              <a:gd name="connsiteX24" fmla="*/ 8536632 w 12191877"/>
              <a:gd name="connsiteY24" fmla="*/ 0 h 6858000"/>
              <a:gd name="connsiteX25" fmla="*/ 8102520 w 12191877"/>
              <a:gd name="connsiteY25" fmla="*/ 448970 h 6858000"/>
              <a:gd name="connsiteX26" fmla="*/ 8102520 w 12191877"/>
              <a:gd name="connsiteY26" fmla="*/ 0 h 6858000"/>
              <a:gd name="connsiteX27" fmla="*/ 0 w 12191877"/>
              <a:gd name="connsiteY27" fmla="*/ 0 h 6858000"/>
              <a:gd name="connsiteX28" fmla="*/ 0 w 12191877"/>
              <a:gd name="connsiteY28" fmla="*/ 6857997 h 6858000"/>
              <a:gd name="connsiteX29" fmla="*/ 8304935 w 12191877"/>
              <a:gd name="connsiteY29" fmla="*/ 6858000 h 6858000"/>
              <a:gd name="connsiteX30" fmla="*/ 8416875 w 12191877"/>
              <a:gd name="connsiteY30" fmla="*/ 6858000 h 6858000"/>
              <a:gd name="connsiteX31" fmla="*/ 12191878 w 12191877"/>
              <a:gd name="connsiteY31" fmla="*/ 3082961 h 6858000"/>
              <a:gd name="connsiteX32" fmla="*/ 12191878 w 12191877"/>
              <a:gd name="connsiteY32" fmla="*/ 2971019 h 6858000"/>
              <a:gd name="connsiteX33" fmla="*/ 8304935 w 12191877"/>
              <a:gd name="connsiteY33" fmla="*/ 6858000 h 6858000"/>
              <a:gd name="connsiteX34" fmla="*/ 9425589 w 12191877"/>
              <a:gd name="connsiteY34" fmla="*/ 6858000 h 6858000"/>
              <a:gd name="connsiteX35" fmla="*/ 9537516 w 12191877"/>
              <a:gd name="connsiteY35" fmla="*/ 6858000 h 6858000"/>
              <a:gd name="connsiteX36" fmla="*/ 12191878 w 12191877"/>
              <a:gd name="connsiteY36" fmla="*/ 4203612 h 6858000"/>
              <a:gd name="connsiteX37" fmla="*/ 12191878 w 12191877"/>
              <a:gd name="connsiteY37" fmla="*/ 4091670 h 6858000"/>
              <a:gd name="connsiteX38" fmla="*/ 9425589 w 12191877"/>
              <a:gd name="connsiteY38" fmla="*/ 6858000 h 6858000"/>
              <a:gd name="connsiteX39" fmla="*/ 10544933 w 12191877"/>
              <a:gd name="connsiteY39" fmla="*/ 6858000 h 6858000"/>
              <a:gd name="connsiteX40" fmla="*/ 10658156 w 12191877"/>
              <a:gd name="connsiteY40" fmla="*/ 6858000 h 6858000"/>
              <a:gd name="connsiteX41" fmla="*/ 12191878 w 12191877"/>
              <a:gd name="connsiteY41" fmla="*/ 5324264 h 6858000"/>
              <a:gd name="connsiteX42" fmla="*/ 12191878 w 12191877"/>
              <a:gd name="connsiteY42" fmla="*/ 5211040 h 6858000"/>
              <a:gd name="connsiteX43" fmla="*/ 10544933 w 12191877"/>
              <a:gd name="connsiteY43" fmla="*/ 6858000 h 6858000"/>
              <a:gd name="connsiteX44" fmla="*/ 11665573 w 12191877"/>
              <a:gd name="connsiteY44" fmla="*/ 6858000 h 6858000"/>
              <a:gd name="connsiteX45" fmla="*/ 11777507 w 12191877"/>
              <a:gd name="connsiteY45" fmla="*/ 6858000 h 6858000"/>
              <a:gd name="connsiteX46" fmla="*/ 12191878 w 12191877"/>
              <a:gd name="connsiteY46" fmla="*/ 6443630 h 6858000"/>
              <a:gd name="connsiteX47" fmla="*/ 12191878 w 12191877"/>
              <a:gd name="connsiteY47" fmla="*/ 6331691 h 6858000"/>
              <a:gd name="connsiteX48" fmla="*/ 11665573 w 12191877"/>
              <a:gd name="connsiteY4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2191877" h="6858000">
                <a:moveTo>
                  <a:pt x="0" y="6858000"/>
                </a:moveTo>
                <a:lnTo>
                  <a:pt x="8102520" y="6858000"/>
                </a:lnTo>
                <a:lnTo>
                  <a:pt x="8102520" y="6051708"/>
                </a:lnTo>
                <a:lnTo>
                  <a:pt x="12191878" y="1962310"/>
                </a:lnTo>
                <a:lnTo>
                  <a:pt x="12191878" y="1850371"/>
                </a:lnTo>
                <a:lnTo>
                  <a:pt x="8102520" y="5939766"/>
                </a:lnTo>
                <a:lnTo>
                  <a:pt x="8102520" y="4931057"/>
                </a:lnTo>
                <a:lnTo>
                  <a:pt x="12191878" y="841658"/>
                </a:lnTo>
                <a:lnTo>
                  <a:pt x="12191878" y="729724"/>
                </a:lnTo>
                <a:lnTo>
                  <a:pt x="8102520" y="4819122"/>
                </a:lnTo>
                <a:lnTo>
                  <a:pt x="8102520" y="3810409"/>
                </a:lnTo>
                <a:lnTo>
                  <a:pt x="11912894" y="0"/>
                </a:lnTo>
                <a:lnTo>
                  <a:pt x="11800954" y="0"/>
                </a:lnTo>
                <a:lnTo>
                  <a:pt x="8102520" y="3698475"/>
                </a:lnTo>
                <a:lnTo>
                  <a:pt x="8102520" y="2689762"/>
                </a:lnTo>
                <a:lnTo>
                  <a:pt x="10792254" y="0"/>
                </a:lnTo>
                <a:lnTo>
                  <a:pt x="10680314" y="0"/>
                </a:lnTo>
                <a:lnTo>
                  <a:pt x="8102520" y="2577820"/>
                </a:lnTo>
                <a:lnTo>
                  <a:pt x="8102520" y="1569100"/>
                </a:lnTo>
                <a:lnTo>
                  <a:pt x="9671614" y="0"/>
                </a:lnTo>
                <a:lnTo>
                  <a:pt x="9559677" y="0"/>
                </a:lnTo>
                <a:lnTo>
                  <a:pt x="8102520" y="1457172"/>
                </a:lnTo>
                <a:lnTo>
                  <a:pt x="8102520" y="560902"/>
                </a:lnTo>
                <a:lnTo>
                  <a:pt x="8644717" y="0"/>
                </a:lnTo>
                <a:lnTo>
                  <a:pt x="8536632" y="0"/>
                </a:lnTo>
                <a:lnTo>
                  <a:pt x="8102520" y="448970"/>
                </a:lnTo>
                <a:lnTo>
                  <a:pt x="8102520" y="0"/>
                </a:lnTo>
                <a:lnTo>
                  <a:pt x="0" y="0"/>
                </a:lnTo>
                <a:lnTo>
                  <a:pt x="0" y="6857997"/>
                </a:lnTo>
                <a:close/>
                <a:moveTo>
                  <a:pt x="8304935" y="6858000"/>
                </a:moveTo>
                <a:lnTo>
                  <a:pt x="8416875" y="6858000"/>
                </a:lnTo>
                <a:lnTo>
                  <a:pt x="12191878" y="3082961"/>
                </a:lnTo>
                <a:lnTo>
                  <a:pt x="12191878" y="2971019"/>
                </a:lnTo>
                <a:lnTo>
                  <a:pt x="8304935" y="6858000"/>
                </a:lnTo>
                <a:close/>
                <a:moveTo>
                  <a:pt x="9425589" y="6858000"/>
                </a:moveTo>
                <a:lnTo>
                  <a:pt x="9537516" y="6858000"/>
                </a:lnTo>
                <a:lnTo>
                  <a:pt x="12191878" y="4203612"/>
                </a:lnTo>
                <a:lnTo>
                  <a:pt x="12191878" y="4091670"/>
                </a:lnTo>
                <a:lnTo>
                  <a:pt x="9425589" y="6858000"/>
                </a:lnTo>
                <a:close/>
                <a:moveTo>
                  <a:pt x="10544933" y="6858000"/>
                </a:moveTo>
                <a:lnTo>
                  <a:pt x="10658156" y="6858000"/>
                </a:lnTo>
                <a:lnTo>
                  <a:pt x="12191878" y="5324264"/>
                </a:lnTo>
                <a:lnTo>
                  <a:pt x="12191878" y="5211040"/>
                </a:lnTo>
                <a:lnTo>
                  <a:pt x="10544933" y="6858000"/>
                </a:lnTo>
                <a:close/>
                <a:moveTo>
                  <a:pt x="11665573" y="6858000"/>
                </a:moveTo>
                <a:lnTo>
                  <a:pt x="11777507" y="6858000"/>
                </a:lnTo>
                <a:lnTo>
                  <a:pt x="12191878" y="6443630"/>
                </a:lnTo>
                <a:lnTo>
                  <a:pt x="12191878" y="6331691"/>
                </a:lnTo>
                <a:lnTo>
                  <a:pt x="11665573" y="6858000"/>
                </a:lnTo>
                <a:close/>
              </a:path>
            </a:pathLst>
          </a:custGeom>
          <a:solidFill>
            <a:srgbClr val="F0EBE1"/>
          </a:solidFill>
          <a:ln w="36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6E6260-E36C-484A-9F25-1346EC50A8D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5508" y="2196783"/>
            <a:ext cx="6839712" cy="1876869"/>
          </a:xfrm>
        </p:spPr>
        <p:txBody>
          <a:bodyPr anchor="t" anchorCtr="0"/>
          <a:lstStyle>
            <a:lvl1pPr algn="l">
              <a:lnSpc>
                <a:spcPct val="95000"/>
              </a:lnSpc>
              <a:defRPr sz="4000"/>
            </a:lvl1pPr>
          </a:lstStyle>
          <a:p>
            <a:r>
              <a:rPr lang="fi-FI"/>
              <a:t>Muokkaa perustyyl. napsautt.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1FDDA9F-DC3B-4803-9730-F564F287AC8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35508" y="5070348"/>
            <a:ext cx="6839712" cy="1220724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24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D7FCCBE-EE77-5D47-8CE2-1B409B5E09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915" y="565286"/>
            <a:ext cx="2090175" cy="703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324673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afi tai taulu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0DB878-8E84-426A-BEF0-AF1AAFA1F9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518" y="557865"/>
            <a:ext cx="5317846" cy="1988565"/>
          </a:xfrm>
        </p:spPr>
        <p:txBody>
          <a:bodyPr anchor="b"/>
          <a:lstStyle>
            <a:lvl1pPr>
              <a:defRPr spc="-200" baseline="0"/>
            </a:lvl1pPr>
          </a:lstStyle>
          <a:p>
            <a:r>
              <a:rPr lang="fi-FI" noProof="0" dirty="0"/>
              <a:t>Lisää otsikko tähän</a:t>
            </a:r>
          </a:p>
        </p:txBody>
      </p:sp>
      <p:sp>
        <p:nvSpPr>
          <p:cNvPr id="10" name="Tekstin paikkamerkki 9">
            <a:extLst>
              <a:ext uri="{FF2B5EF4-FFF2-40B4-BE49-F238E27FC236}">
                <a16:creationId xmlns:a16="http://schemas.microsoft.com/office/drawing/2014/main" id="{0F7B559E-6045-F357-12A2-EE12102F2E7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2774122"/>
            <a:ext cx="5318125" cy="2848465"/>
          </a:xfrm>
        </p:spPr>
        <p:txBody>
          <a:bodyPr/>
          <a:lstStyle/>
          <a:p>
            <a:pPr lvl="0"/>
            <a:r>
              <a:rPr lang="fi-FI" noProof="0" dirty="0"/>
              <a:t>Lisää ensimmäisen tason tekstiä tähän</a:t>
            </a:r>
          </a:p>
          <a:p>
            <a:pPr lvl="1"/>
            <a:r>
              <a:rPr lang="fi-FI" noProof="0" dirty="0"/>
              <a:t>Toisen tason teksti</a:t>
            </a:r>
          </a:p>
          <a:p>
            <a:pPr lvl="2"/>
            <a:r>
              <a:rPr lang="fi-FI" noProof="0" dirty="0"/>
              <a:t>Kolmannen tason teksti</a:t>
            </a:r>
          </a:p>
          <a:p>
            <a:pPr lvl="3"/>
            <a:r>
              <a:rPr lang="fi-FI" noProof="0" dirty="0"/>
              <a:t>Neljännen tason teksti</a:t>
            </a:r>
          </a:p>
          <a:p>
            <a:pPr lvl="4"/>
            <a:r>
              <a:rPr lang="fi-FI" noProof="0" dirty="0"/>
              <a:t>Viidennen tason teksti</a:t>
            </a:r>
          </a:p>
        </p:txBody>
      </p:sp>
      <p:sp>
        <p:nvSpPr>
          <p:cNvPr id="14" name="Tekstin paikkamerkki 13">
            <a:extLst>
              <a:ext uri="{FF2B5EF4-FFF2-40B4-BE49-F238E27FC236}">
                <a16:creationId xmlns:a16="http://schemas.microsoft.com/office/drawing/2014/main" id="{4954B59D-6963-E772-85EF-175EAA3F8B5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96000" y="753978"/>
            <a:ext cx="5728446" cy="753979"/>
          </a:xfrm>
        </p:spPr>
        <p:txBody>
          <a:bodyPr anchor="b"/>
          <a:lstStyle>
            <a:lvl1pPr marL="0" indent="0">
              <a:lnSpc>
                <a:spcPct val="90000"/>
              </a:lnSpc>
              <a:buNone/>
              <a:defRPr sz="2800"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fi-FI" noProof="0" dirty="0"/>
              <a:t>Lisää tekstiä tähän</a:t>
            </a:r>
          </a:p>
        </p:txBody>
      </p:sp>
      <p:sp>
        <p:nvSpPr>
          <p:cNvPr id="12" name="Kaavion paikkamerkki 11">
            <a:extLst>
              <a:ext uri="{FF2B5EF4-FFF2-40B4-BE49-F238E27FC236}">
                <a16:creationId xmlns:a16="http://schemas.microsoft.com/office/drawing/2014/main" id="{BB611A4E-DEEE-A0E8-D114-FCFC93862A68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6096000" y="1700463"/>
            <a:ext cx="5719482" cy="3922124"/>
          </a:xfr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fi-FI" noProof="0"/>
              <a:t>Lisää kaavio napsauttamalla kuvaketta</a:t>
            </a:r>
            <a:endParaRPr lang="fi-FI" noProof="0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E996DCA-8E68-4F4A-A4A6-ACE6BC7F24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19F51-E5C9-4EA5-AD5A-0E73BC02374E}" type="datetime1">
              <a:rPr lang="fi-FI" noProof="0" smtClean="0"/>
              <a:t>12.3.2026</a:t>
            </a:fld>
            <a:endParaRPr lang="fi-FI" noProof="0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DC7B94-042D-44C2-B7B2-1128AAFA57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 noProof="0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160B98-140E-4345-B1A3-2A7247C42973}" type="slidenum">
              <a:rPr lang="fi-FI" noProof="0" smtClean="0"/>
              <a:t>‹#›</a:t>
            </a:fld>
            <a:endParaRPr lang="fi-FI" noProof="0" dirty="0"/>
          </a:p>
        </p:txBody>
      </p:sp>
    </p:spTree>
    <p:extLst>
      <p:ext uri="{BB962C8B-B14F-4D97-AF65-F5344CB8AC3E}">
        <p14:creationId xmlns:p14="http://schemas.microsoft.com/office/powerpoint/2010/main" val="169957519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nkilöesitte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0DB878-8E84-426A-BEF0-AF1AAFA1F9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518" y="545030"/>
            <a:ext cx="11293593" cy="754100"/>
          </a:xfrm>
        </p:spPr>
        <p:txBody>
          <a:bodyPr>
            <a:normAutofit/>
          </a:bodyPr>
          <a:lstStyle>
            <a:lvl1pPr>
              <a:defRPr sz="5000" spc="-200" baseline="0"/>
            </a:lvl1pPr>
          </a:lstStyle>
          <a:p>
            <a:r>
              <a:rPr lang="fi-FI" noProof="0" dirty="0"/>
              <a:t>Lisää otsikko tähän</a:t>
            </a:r>
          </a:p>
        </p:txBody>
      </p:sp>
      <p:sp>
        <p:nvSpPr>
          <p:cNvPr id="6" name="Picture Placeholder 7">
            <a:extLst>
              <a:ext uri="{FF2B5EF4-FFF2-40B4-BE49-F238E27FC236}">
                <a16:creationId xmlns:a16="http://schemas.microsoft.com/office/drawing/2014/main" id="{3C6DFD1E-25B9-3130-78C2-F506DD351C6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76519" y="1462157"/>
            <a:ext cx="2088000" cy="2191026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None/>
              <a:defRPr sz="1800"/>
            </a:lvl1pPr>
          </a:lstStyle>
          <a:p>
            <a:r>
              <a:rPr lang="fi-FI" noProof="0"/>
              <a:t>Lisää kuva napsauttamalla kuvaketta</a:t>
            </a:r>
            <a:endParaRPr lang="fi-FI" noProof="0" dirty="0"/>
          </a:p>
        </p:txBody>
      </p:sp>
      <p:sp>
        <p:nvSpPr>
          <p:cNvPr id="11" name="Tekstin paikkamerkki 10">
            <a:extLst>
              <a:ext uri="{FF2B5EF4-FFF2-40B4-BE49-F238E27FC236}">
                <a16:creationId xmlns:a16="http://schemas.microsoft.com/office/drawing/2014/main" id="{2003F933-4036-B73D-C25D-1264A7279CE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5491" y="3816210"/>
            <a:ext cx="2088000" cy="688975"/>
          </a:xfrm>
        </p:spPr>
        <p:txBody>
          <a:bodyPr/>
          <a:lstStyle>
            <a:lvl1pPr marL="0" indent="0">
              <a:lnSpc>
                <a:spcPct val="95000"/>
              </a:lnSpc>
              <a:buNone/>
              <a:defRPr spc="-50" baseline="0">
                <a:latin typeface="+mj-lt"/>
              </a:defRPr>
            </a:lvl1pPr>
          </a:lstStyle>
          <a:p>
            <a:pPr lvl="0"/>
            <a:r>
              <a:rPr lang="fi-FI" noProof="0" dirty="0"/>
              <a:t>Lisää tekstiä tähän</a:t>
            </a:r>
          </a:p>
        </p:txBody>
      </p:sp>
      <p:sp>
        <p:nvSpPr>
          <p:cNvPr id="12" name="Tekstin paikkamerkki 10">
            <a:extLst>
              <a:ext uri="{FF2B5EF4-FFF2-40B4-BE49-F238E27FC236}">
                <a16:creationId xmlns:a16="http://schemas.microsoft.com/office/drawing/2014/main" id="{71D354F0-5E0A-1D3D-B980-867CDBB4737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5491" y="4653121"/>
            <a:ext cx="2088000" cy="963406"/>
          </a:xfrm>
        </p:spPr>
        <p:txBody>
          <a:bodyPr/>
          <a:lstStyle>
            <a:lvl1pPr marL="0" indent="0">
              <a:lnSpc>
                <a:spcPct val="95000"/>
              </a:lnSpc>
              <a:buNone/>
              <a:defRPr sz="1800">
                <a:latin typeface="+mn-lt"/>
              </a:defRPr>
            </a:lvl1pPr>
          </a:lstStyle>
          <a:p>
            <a:pPr lvl="0"/>
            <a:r>
              <a:rPr lang="fi-FI" noProof="0" dirty="0"/>
              <a:t>Lisää tekstiä tähän</a:t>
            </a:r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94025492-7AE0-36A5-8BE4-FAC3F9840C1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677917" y="1462157"/>
            <a:ext cx="2088000" cy="2191026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None/>
              <a:defRPr sz="1800"/>
            </a:lvl1pPr>
          </a:lstStyle>
          <a:p>
            <a:r>
              <a:rPr lang="fi-FI" noProof="0"/>
              <a:t>Lisää kuva napsauttamalla kuvaketta</a:t>
            </a:r>
            <a:endParaRPr lang="fi-FI" noProof="0" dirty="0"/>
          </a:p>
        </p:txBody>
      </p:sp>
      <p:sp>
        <p:nvSpPr>
          <p:cNvPr id="14" name="Tekstin paikkamerkki 10">
            <a:extLst>
              <a:ext uri="{FF2B5EF4-FFF2-40B4-BE49-F238E27FC236}">
                <a16:creationId xmlns:a16="http://schemas.microsoft.com/office/drawing/2014/main" id="{9759F812-6A78-B94C-7736-7B1EB6F1FE2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677917" y="3816210"/>
            <a:ext cx="2088000" cy="688975"/>
          </a:xfrm>
        </p:spPr>
        <p:txBody>
          <a:bodyPr/>
          <a:lstStyle>
            <a:lvl1pPr marL="0" indent="0">
              <a:lnSpc>
                <a:spcPct val="95000"/>
              </a:lnSpc>
              <a:buNone/>
              <a:defRPr spc="-50" baseline="0">
                <a:latin typeface="+mj-lt"/>
              </a:defRPr>
            </a:lvl1pPr>
          </a:lstStyle>
          <a:p>
            <a:pPr lvl="0"/>
            <a:r>
              <a:rPr lang="fi-FI" noProof="0" dirty="0"/>
              <a:t>Lisää tekstiä tähän</a:t>
            </a:r>
          </a:p>
        </p:txBody>
      </p:sp>
      <p:sp>
        <p:nvSpPr>
          <p:cNvPr id="15" name="Tekstin paikkamerkki 10">
            <a:extLst>
              <a:ext uri="{FF2B5EF4-FFF2-40B4-BE49-F238E27FC236}">
                <a16:creationId xmlns:a16="http://schemas.microsoft.com/office/drawing/2014/main" id="{F10FC5E0-9C18-ABE4-1C1D-199D3DC17D2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677917" y="4653121"/>
            <a:ext cx="2088000" cy="963406"/>
          </a:xfrm>
        </p:spPr>
        <p:txBody>
          <a:bodyPr/>
          <a:lstStyle>
            <a:lvl1pPr marL="0" indent="0">
              <a:lnSpc>
                <a:spcPct val="95000"/>
              </a:lnSpc>
              <a:buNone/>
              <a:defRPr sz="1800">
                <a:latin typeface="+mn-lt"/>
              </a:defRPr>
            </a:lvl1pPr>
          </a:lstStyle>
          <a:p>
            <a:pPr lvl="0"/>
            <a:r>
              <a:rPr lang="fi-FI" noProof="0" dirty="0"/>
              <a:t>Lisää tekstiä tähän</a:t>
            </a:r>
          </a:p>
        </p:txBody>
      </p:sp>
      <p:sp>
        <p:nvSpPr>
          <p:cNvPr id="16" name="Picture Placeholder 7">
            <a:extLst>
              <a:ext uri="{FF2B5EF4-FFF2-40B4-BE49-F238E27FC236}">
                <a16:creationId xmlns:a16="http://schemas.microsoft.com/office/drawing/2014/main" id="{B9E0C15F-CB46-1A9E-672F-794D125ACECD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979315" y="1462157"/>
            <a:ext cx="2088000" cy="21924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None/>
              <a:defRPr sz="1800"/>
            </a:lvl1pPr>
          </a:lstStyle>
          <a:p>
            <a:r>
              <a:rPr lang="fi-FI" noProof="0"/>
              <a:t>Lisää kuva napsauttamalla kuvaketta</a:t>
            </a:r>
            <a:endParaRPr lang="fi-FI" noProof="0" dirty="0"/>
          </a:p>
        </p:txBody>
      </p:sp>
      <p:sp>
        <p:nvSpPr>
          <p:cNvPr id="17" name="Tekstin paikkamerkki 10">
            <a:extLst>
              <a:ext uri="{FF2B5EF4-FFF2-40B4-BE49-F238E27FC236}">
                <a16:creationId xmlns:a16="http://schemas.microsoft.com/office/drawing/2014/main" id="{4056000E-738D-0FB6-B542-9719E2D9789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70343" y="3816210"/>
            <a:ext cx="2096972" cy="688975"/>
          </a:xfrm>
        </p:spPr>
        <p:txBody>
          <a:bodyPr/>
          <a:lstStyle>
            <a:lvl1pPr marL="0" indent="0">
              <a:lnSpc>
                <a:spcPct val="95000"/>
              </a:lnSpc>
              <a:buNone/>
              <a:defRPr spc="-50" baseline="0">
                <a:latin typeface="+mj-lt"/>
              </a:defRPr>
            </a:lvl1pPr>
          </a:lstStyle>
          <a:p>
            <a:pPr lvl="0"/>
            <a:r>
              <a:rPr lang="fi-FI" noProof="0" dirty="0"/>
              <a:t>Lisää tekstiä tähän</a:t>
            </a:r>
          </a:p>
        </p:txBody>
      </p:sp>
      <p:sp>
        <p:nvSpPr>
          <p:cNvPr id="18" name="Tekstin paikkamerkki 10">
            <a:extLst>
              <a:ext uri="{FF2B5EF4-FFF2-40B4-BE49-F238E27FC236}">
                <a16:creationId xmlns:a16="http://schemas.microsoft.com/office/drawing/2014/main" id="{6BD22EF5-9153-5222-D7A5-F62B5427CD1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979315" y="4653121"/>
            <a:ext cx="2096972" cy="963406"/>
          </a:xfrm>
        </p:spPr>
        <p:txBody>
          <a:bodyPr/>
          <a:lstStyle>
            <a:lvl1pPr marL="0" indent="0">
              <a:lnSpc>
                <a:spcPct val="95000"/>
              </a:lnSpc>
              <a:buNone/>
              <a:defRPr sz="1800">
                <a:latin typeface="+mn-lt"/>
              </a:defRPr>
            </a:lvl1pPr>
          </a:lstStyle>
          <a:p>
            <a:pPr lvl="0"/>
            <a:r>
              <a:rPr lang="fi-FI" noProof="0" dirty="0"/>
              <a:t>Lisää tekstiä tähän</a:t>
            </a:r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98DE1965-1677-8A90-2B34-004BAD2FEB6C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80713" y="1462157"/>
            <a:ext cx="2088000" cy="2191026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None/>
              <a:defRPr sz="1800"/>
            </a:lvl1pPr>
          </a:lstStyle>
          <a:p>
            <a:r>
              <a:rPr lang="fi-FI" noProof="0"/>
              <a:t>Lisää kuva napsauttamalla kuvaketta</a:t>
            </a:r>
            <a:endParaRPr lang="fi-FI" noProof="0" dirty="0"/>
          </a:p>
        </p:txBody>
      </p:sp>
      <p:sp>
        <p:nvSpPr>
          <p:cNvPr id="20" name="Tekstin paikkamerkki 10">
            <a:extLst>
              <a:ext uri="{FF2B5EF4-FFF2-40B4-BE49-F238E27FC236}">
                <a16:creationId xmlns:a16="http://schemas.microsoft.com/office/drawing/2014/main" id="{9A00C853-70F5-D639-E3A2-2176CA2CED4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271742" y="3816210"/>
            <a:ext cx="2096972" cy="688975"/>
          </a:xfrm>
        </p:spPr>
        <p:txBody>
          <a:bodyPr/>
          <a:lstStyle>
            <a:lvl1pPr marL="0" indent="0">
              <a:lnSpc>
                <a:spcPct val="95000"/>
              </a:lnSpc>
              <a:buNone/>
              <a:defRPr spc="-50" baseline="0">
                <a:latin typeface="+mj-lt"/>
              </a:defRPr>
            </a:lvl1pPr>
          </a:lstStyle>
          <a:p>
            <a:pPr lvl="0"/>
            <a:r>
              <a:rPr lang="fi-FI" noProof="0" dirty="0"/>
              <a:t>Lisää tekstiä tähän</a:t>
            </a:r>
          </a:p>
        </p:txBody>
      </p:sp>
      <p:sp>
        <p:nvSpPr>
          <p:cNvPr id="21" name="Tekstin paikkamerkki 10">
            <a:extLst>
              <a:ext uri="{FF2B5EF4-FFF2-40B4-BE49-F238E27FC236}">
                <a16:creationId xmlns:a16="http://schemas.microsoft.com/office/drawing/2014/main" id="{503FF37F-2F8A-20AF-B309-D0D2E31B243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289685" y="4653121"/>
            <a:ext cx="2088001" cy="963406"/>
          </a:xfrm>
        </p:spPr>
        <p:txBody>
          <a:bodyPr/>
          <a:lstStyle>
            <a:lvl1pPr marL="0" indent="0">
              <a:lnSpc>
                <a:spcPct val="95000"/>
              </a:lnSpc>
              <a:buNone/>
              <a:defRPr sz="1800">
                <a:latin typeface="+mn-lt"/>
              </a:defRPr>
            </a:lvl1pPr>
          </a:lstStyle>
          <a:p>
            <a:pPr lvl="0"/>
            <a:r>
              <a:rPr lang="fi-FI" noProof="0" dirty="0"/>
              <a:t>Lisää tekstiä tähän</a:t>
            </a:r>
          </a:p>
        </p:txBody>
      </p:sp>
      <p:sp>
        <p:nvSpPr>
          <p:cNvPr id="4" name="Picture Placeholder 7">
            <a:extLst>
              <a:ext uri="{FF2B5EF4-FFF2-40B4-BE49-F238E27FC236}">
                <a16:creationId xmlns:a16="http://schemas.microsoft.com/office/drawing/2014/main" id="{9BC5DE80-4959-34E9-2754-7FEBB4109061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9582111" y="1462157"/>
            <a:ext cx="2088000" cy="2191026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None/>
              <a:defRPr sz="1800"/>
            </a:lvl1pPr>
          </a:lstStyle>
          <a:p>
            <a:r>
              <a:rPr lang="fi-FI" noProof="0"/>
              <a:t>Lisää kuva napsauttamalla kuvaketta</a:t>
            </a:r>
            <a:endParaRPr lang="fi-FI" noProof="0" dirty="0"/>
          </a:p>
        </p:txBody>
      </p:sp>
      <p:sp>
        <p:nvSpPr>
          <p:cNvPr id="5" name="Tekstin paikkamerkki 10">
            <a:extLst>
              <a:ext uri="{FF2B5EF4-FFF2-40B4-BE49-F238E27FC236}">
                <a16:creationId xmlns:a16="http://schemas.microsoft.com/office/drawing/2014/main" id="{170525FA-72D8-A877-0B0C-64BE3B2121A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582112" y="3816210"/>
            <a:ext cx="2088000" cy="688975"/>
          </a:xfrm>
        </p:spPr>
        <p:txBody>
          <a:bodyPr/>
          <a:lstStyle>
            <a:lvl1pPr marL="0" indent="0">
              <a:lnSpc>
                <a:spcPct val="95000"/>
              </a:lnSpc>
              <a:buNone/>
              <a:defRPr spc="-50" baseline="0">
                <a:latin typeface="+mj-lt"/>
              </a:defRPr>
            </a:lvl1pPr>
          </a:lstStyle>
          <a:p>
            <a:pPr lvl="0"/>
            <a:r>
              <a:rPr lang="fi-FI" noProof="0" dirty="0"/>
              <a:t>Lisää tekstiä tähän</a:t>
            </a:r>
          </a:p>
        </p:txBody>
      </p:sp>
      <p:sp>
        <p:nvSpPr>
          <p:cNvPr id="10" name="Tekstin paikkamerkki 10">
            <a:extLst>
              <a:ext uri="{FF2B5EF4-FFF2-40B4-BE49-F238E27FC236}">
                <a16:creationId xmlns:a16="http://schemas.microsoft.com/office/drawing/2014/main" id="{7F1F6485-99C5-FB54-D191-3C1001269DC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582112" y="4653121"/>
            <a:ext cx="2088000" cy="963406"/>
          </a:xfrm>
        </p:spPr>
        <p:txBody>
          <a:bodyPr/>
          <a:lstStyle>
            <a:lvl1pPr marL="0" indent="0">
              <a:lnSpc>
                <a:spcPct val="95000"/>
              </a:lnSpc>
              <a:buNone/>
              <a:defRPr sz="1800">
                <a:latin typeface="+mn-lt"/>
              </a:defRPr>
            </a:lvl1pPr>
          </a:lstStyle>
          <a:p>
            <a:pPr lvl="0"/>
            <a:r>
              <a:rPr lang="fi-FI" noProof="0" dirty="0"/>
              <a:t>Lisää tekstiä tähän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E996DCA-8E68-4F4A-A4A6-ACE6BC7F24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19F51-E5C9-4EA5-AD5A-0E73BC02374E}" type="datetime1">
              <a:rPr lang="fi-FI" noProof="0" smtClean="0"/>
              <a:t>12.3.2026</a:t>
            </a:fld>
            <a:endParaRPr lang="fi-FI" noProof="0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DC7B94-042D-44C2-B7B2-1128AAFA57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 noProof="0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160B98-140E-4345-B1A3-2A7247C42973}" type="slidenum">
              <a:rPr lang="fi-FI" noProof="0" smtClean="0"/>
              <a:t>‹#›</a:t>
            </a:fld>
            <a:endParaRPr lang="fi-FI" noProof="0" dirty="0"/>
          </a:p>
        </p:txBody>
      </p:sp>
    </p:spTree>
    <p:extLst>
      <p:ext uri="{BB962C8B-B14F-4D97-AF65-F5344CB8AC3E}">
        <p14:creationId xmlns:p14="http://schemas.microsoft.com/office/powerpoint/2010/main" val="2626239963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ain otsikko 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05B7F3-1215-4921-A314-96E4FC2B12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i-FI" noProof="0" dirty="0"/>
              <a:t>Lisää otsikko tähän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DE34914-B5F2-4084-8552-6153E3BFA8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FDCF7E-D6E4-477D-A5E7-E03E473A7D52}" type="datetime1">
              <a:rPr lang="fi-FI" noProof="0" smtClean="0"/>
              <a:t>12.3.2026</a:t>
            </a:fld>
            <a:endParaRPr lang="fi-FI" noProof="0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3C69628-CCBB-4581-842C-07AC1724D7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 noProof="0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C581D05-5813-4B50-86D4-96A15B78A2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160B98-140E-4345-B1A3-2A7247C42973}" type="slidenum">
              <a:rPr lang="fi-FI" noProof="0" smtClean="0"/>
              <a:t>‹#›</a:t>
            </a:fld>
            <a:endParaRPr lang="fi-FI" noProof="0" dirty="0"/>
          </a:p>
        </p:txBody>
      </p:sp>
    </p:spTree>
    <p:extLst>
      <p:ext uri="{BB962C8B-B14F-4D97-AF65-F5344CB8AC3E}">
        <p14:creationId xmlns:p14="http://schemas.microsoft.com/office/powerpoint/2010/main" val="132056078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yhjä 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0A614DC4-811D-E732-E1A9-766492F074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517" y="-428169"/>
            <a:ext cx="11447929" cy="301754"/>
          </a:xfrm>
        </p:spPr>
        <p:txBody>
          <a:bodyPr anchor="b" anchorCtr="0"/>
          <a:lstStyle>
            <a:lvl1pPr>
              <a:defRPr sz="1400" spc="-50" baseline="0"/>
            </a:lvl1pPr>
          </a:lstStyle>
          <a:p>
            <a:r>
              <a:rPr lang="fi-FI" noProof="0" dirty="0"/>
              <a:t>Otsikko lukulaitteita varten</a:t>
            </a:r>
          </a:p>
        </p:txBody>
      </p:sp>
    </p:spTree>
    <p:extLst>
      <p:ext uri="{BB962C8B-B14F-4D97-AF65-F5344CB8AC3E}">
        <p14:creationId xmlns:p14="http://schemas.microsoft.com/office/powerpoint/2010/main" val="2702150115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ain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0A614DC4-811D-E732-E1A9-766492F074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517" y="-428169"/>
            <a:ext cx="11447929" cy="301754"/>
          </a:xfrm>
        </p:spPr>
        <p:txBody>
          <a:bodyPr anchor="b" anchorCtr="0"/>
          <a:lstStyle>
            <a:lvl1pPr>
              <a:defRPr sz="1400" spc="-50" baseline="0"/>
            </a:lvl1pPr>
          </a:lstStyle>
          <a:p>
            <a:r>
              <a:rPr lang="fi-FI" noProof="0" dirty="0"/>
              <a:t>Otsikko lukulaitteita varten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518D071-2B59-C96E-6104-2A3A83A23A8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i-FI" noProof="0"/>
              <a:t>Lisää kuva napsauttamalla kuvaketta</a:t>
            </a:r>
            <a:endParaRPr lang="fi-FI" noProof="0" dirty="0"/>
          </a:p>
        </p:txBody>
      </p:sp>
    </p:spTree>
    <p:extLst>
      <p:ext uri="{BB962C8B-B14F-4D97-AF65-F5344CB8AC3E}">
        <p14:creationId xmlns:p14="http://schemas.microsoft.com/office/powerpoint/2010/main" val="1155226987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olen sivun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>
            <a:extLst>
              <a:ext uri="{FF2B5EF4-FFF2-40B4-BE49-F238E27FC236}">
                <a16:creationId xmlns:a16="http://schemas.microsoft.com/office/drawing/2014/main" id="{AB8E4D65-CABD-C79C-680A-7F71422D48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5999" cy="6858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None/>
              <a:defRPr sz="1800"/>
            </a:lvl1pPr>
          </a:lstStyle>
          <a:p>
            <a:r>
              <a:rPr lang="fi-FI" noProof="0"/>
              <a:t>Lisää kuva napsauttamalla kuvaketta</a:t>
            </a:r>
            <a:endParaRPr lang="fi-FI" noProof="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0DB878-8E84-426A-BEF0-AF1AAFA1F9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518" y="557866"/>
            <a:ext cx="5231502" cy="1988564"/>
          </a:xfrm>
        </p:spPr>
        <p:txBody>
          <a:bodyPr anchor="b"/>
          <a:lstStyle/>
          <a:p>
            <a:r>
              <a:rPr lang="fi-FI" noProof="0" dirty="0"/>
              <a:t>Lisää otsikko tähän</a:t>
            </a:r>
          </a:p>
        </p:txBody>
      </p:sp>
      <p:sp>
        <p:nvSpPr>
          <p:cNvPr id="11" name="Tekstin paikkamerkki 10">
            <a:extLst>
              <a:ext uri="{FF2B5EF4-FFF2-40B4-BE49-F238E27FC236}">
                <a16:creationId xmlns:a16="http://schemas.microsoft.com/office/drawing/2014/main" id="{7B9F0533-6D2D-7E7F-A366-F9F3682A7B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6238" y="2798064"/>
            <a:ext cx="5232400" cy="2811780"/>
          </a:xfrm>
        </p:spPr>
        <p:txBody>
          <a:bodyPr/>
          <a:lstStyle/>
          <a:p>
            <a:pPr lvl="0"/>
            <a:r>
              <a:rPr lang="fi-FI" noProof="0" dirty="0"/>
              <a:t>Lisää ensimmäisen tason tekstiä tähän</a:t>
            </a:r>
          </a:p>
          <a:p>
            <a:pPr lvl="1"/>
            <a:r>
              <a:rPr lang="fi-FI" noProof="0" dirty="0"/>
              <a:t>Toisen tason teksti</a:t>
            </a:r>
          </a:p>
          <a:p>
            <a:pPr lvl="2"/>
            <a:r>
              <a:rPr lang="fi-FI" noProof="0" dirty="0"/>
              <a:t>Kolmannen tason teksti</a:t>
            </a:r>
          </a:p>
          <a:p>
            <a:pPr lvl="3"/>
            <a:r>
              <a:rPr lang="fi-FI" noProof="0" dirty="0"/>
              <a:t>Neljännen tason teksti</a:t>
            </a:r>
          </a:p>
          <a:p>
            <a:pPr lvl="4"/>
            <a:r>
              <a:rPr lang="fi-FI" noProof="0" dirty="0"/>
              <a:t>Viidennen tason teksti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C8E29D9-0822-D49C-1B29-63768B851AF1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76BE8DE8-6261-4CD3-8D49-9AB11C9718BA}" type="datetime1">
              <a:rPr lang="fi-FI" noProof="0" smtClean="0"/>
              <a:pPr/>
              <a:t>12.3.2026</a:t>
            </a:fld>
            <a:endParaRPr lang="fi-FI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D40D5E-85B1-0C56-D007-56A27740976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 dirty="0"/>
          </a:p>
        </p:txBody>
      </p:sp>
    </p:spTree>
    <p:extLst>
      <p:ext uri="{BB962C8B-B14F-4D97-AF65-F5344CB8AC3E}">
        <p14:creationId xmlns:p14="http://schemas.microsoft.com/office/powerpoint/2010/main" val="2885795952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olen sivun kuva violetti no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0DB878-8E84-426A-BEF0-AF1AAFA1F9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518" y="557866"/>
            <a:ext cx="5231502" cy="1988564"/>
          </a:xfrm>
        </p:spPr>
        <p:txBody>
          <a:bodyPr anchor="b"/>
          <a:lstStyle/>
          <a:p>
            <a:r>
              <a:rPr lang="fi-FI" noProof="0" dirty="0"/>
              <a:t>Lisää otsikko tähän</a:t>
            </a:r>
          </a:p>
        </p:txBody>
      </p:sp>
      <p:sp>
        <p:nvSpPr>
          <p:cNvPr id="11" name="Tekstin paikkamerkki 10">
            <a:extLst>
              <a:ext uri="{FF2B5EF4-FFF2-40B4-BE49-F238E27FC236}">
                <a16:creationId xmlns:a16="http://schemas.microsoft.com/office/drawing/2014/main" id="{7B9F0533-6D2D-7E7F-A366-F9F3682A7B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6238" y="2798064"/>
            <a:ext cx="5232400" cy="2811780"/>
          </a:xfrm>
        </p:spPr>
        <p:txBody>
          <a:bodyPr/>
          <a:lstStyle/>
          <a:p>
            <a:pPr lvl="0"/>
            <a:r>
              <a:rPr lang="fi-FI" noProof="0" dirty="0"/>
              <a:t>Lisää ensimmäisen tason tekstiä tähän</a:t>
            </a:r>
          </a:p>
          <a:p>
            <a:pPr lvl="1"/>
            <a:r>
              <a:rPr lang="fi-FI" noProof="0" dirty="0"/>
              <a:t>Toisen tason teksti</a:t>
            </a:r>
          </a:p>
          <a:p>
            <a:pPr lvl="2"/>
            <a:r>
              <a:rPr lang="fi-FI" noProof="0" dirty="0"/>
              <a:t>Kolmannen tason teksti</a:t>
            </a:r>
          </a:p>
          <a:p>
            <a:pPr lvl="3"/>
            <a:r>
              <a:rPr lang="fi-FI" noProof="0" dirty="0"/>
              <a:t>Neljännen tason teksti</a:t>
            </a:r>
          </a:p>
          <a:p>
            <a:pPr lvl="4"/>
            <a:r>
              <a:rPr lang="fi-FI" noProof="0" dirty="0"/>
              <a:t>Viidennen tason teksti</a:t>
            </a:r>
          </a:p>
        </p:txBody>
      </p:sp>
      <p:sp>
        <p:nvSpPr>
          <p:cNvPr id="3" name="Picture Placeholder 7">
            <a:extLst>
              <a:ext uri="{FF2B5EF4-FFF2-40B4-BE49-F238E27FC236}">
                <a16:creationId xmlns:a16="http://schemas.microsoft.com/office/drawing/2014/main" id="{58B4C86C-6C41-0B0F-179D-39748A67D4A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5999" cy="6858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None/>
              <a:defRPr sz="1800"/>
            </a:lvl1pPr>
          </a:lstStyle>
          <a:p>
            <a:r>
              <a:rPr lang="fi-FI" noProof="0"/>
              <a:t>Lisää kuva napsauttamalla kuvaketta</a:t>
            </a:r>
            <a:endParaRPr lang="fi-FI" noProof="0" dirty="0"/>
          </a:p>
        </p:txBody>
      </p:sp>
      <p:sp>
        <p:nvSpPr>
          <p:cNvPr id="12" name="Tekstin paikkamerkki 11">
            <a:extLst>
              <a:ext uri="{FF2B5EF4-FFF2-40B4-BE49-F238E27FC236}">
                <a16:creationId xmlns:a16="http://schemas.microsoft.com/office/drawing/2014/main" id="{4788870C-EEEC-0256-F974-F3A60DD573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96000" y="3812208"/>
            <a:ext cx="3043583" cy="3045791"/>
          </a:xfrm>
          <a:solidFill>
            <a:srgbClr val="FFE1FF"/>
          </a:solidFill>
        </p:spPr>
        <p:txBody>
          <a:bodyPr lIns="180000" tIns="180000" rIns="72000"/>
          <a:lstStyle>
            <a:lvl1pPr marL="0" indent="0">
              <a:lnSpc>
                <a:spcPct val="95000"/>
              </a:lnSpc>
              <a:buNone/>
              <a:defRPr sz="2800" spc="-70" baseline="0"/>
            </a:lvl1pPr>
          </a:lstStyle>
          <a:p>
            <a:pPr lvl="0"/>
            <a:r>
              <a:rPr lang="fi-FI" noProof="0" dirty="0"/>
              <a:t>Lisää tekstiä tähän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E996DCA-8E68-4F4A-A4A6-ACE6BC7F24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19F51-E5C9-4EA5-AD5A-0E73BC02374E}" type="datetime1">
              <a:rPr lang="fi-FI" noProof="0" smtClean="0"/>
              <a:t>12.3.2026</a:t>
            </a:fld>
            <a:endParaRPr lang="fi-FI" noProof="0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 dirty="0"/>
          </a:p>
        </p:txBody>
      </p:sp>
    </p:spTree>
    <p:extLst>
      <p:ext uri="{BB962C8B-B14F-4D97-AF65-F5344CB8AC3E}">
        <p14:creationId xmlns:p14="http://schemas.microsoft.com/office/powerpoint/2010/main" val="4283057977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olen sivun kuva vihreä no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>
            <a:extLst>
              <a:ext uri="{FF2B5EF4-FFF2-40B4-BE49-F238E27FC236}">
                <a16:creationId xmlns:a16="http://schemas.microsoft.com/office/drawing/2014/main" id="{A6B46CC0-9B08-F6BD-6B08-FF8F34EFE78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5999" cy="6858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None/>
              <a:defRPr sz="1800"/>
            </a:lvl1pPr>
          </a:lstStyle>
          <a:p>
            <a:r>
              <a:rPr lang="fi-FI" noProof="0"/>
              <a:t>Lisää kuva napsauttamalla kuvaketta</a:t>
            </a:r>
            <a:endParaRPr lang="fi-FI" noProof="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0DB878-8E84-426A-BEF0-AF1AAFA1F9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518" y="557866"/>
            <a:ext cx="5231502" cy="1988564"/>
          </a:xfrm>
        </p:spPr>
        <p:txBody>
          <a:bodyPr anchor="b"/>
          <a:lstStyle>
            <a:lvl1pPr>
              <a:defRPr baseline="0"/>
            </a:lvl1pPr>
          </a:lstStyle>
          <a:p>
            <a:r>
              <a:rPr lang="fi-FI" noProof="0" dirty="0"/>
              <a:t>Lisää otsikko tähän</a:t>
            </a:r>
          </a:p>
        </p:txBody>
      </p:sp>
      <p:sp>
        <p:nvSpPr>
          <p:cNvPr id="11" name="Tekstin paikkamerkki 10">
            <a:extLst>
              <a:ext uri="{FF2B5EF4-FFF2-40B4-BE49-F238E27FC236}">
                <a16:creationId xmlns:a16="http://schemas.microsoft.com/office/drawing/2014/main" id="{7B9F0533-6D2D-7E7F-A366-F9F3682A7B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6238" y="2798064"/>
            <a:ext cx="5232400" cy="2811780"/>
          </a:xfrm>
        </p:spPr>
        <p:txBody>
          <a:bodyPr/>
          <a:lstStyle/>
          <a:p>
            <a:pPr lvl="0"/>
            <a:r>
              <a:rPr lang="fi-FI" noProof="0" dirty="0"/>
              <a:t>Lisää ensimmäisen tason tekstiä tähän</a:t>
            </a:r>
          </a:p>
          <a:p>
            <a:pPr lvl="1"/>
            <a:r>
              <a:rPr lang="fi-FI" noProof="0" dirty="0"/>
              <a:t>Toisen tason teksti</a:t>
            </a:r>
          </a:p>
          <a:p>
            <a:pPr lvl="2"/>
            <a:r>
              <a:rPr lang="fi-FI" noProof="0" dirty="0"/>
              <a:t>Kolmannen tason teksti</a:t>
            </a:r>
          </a:p>
          <a:p>
            <a:pPr lvl="3"/>
            <a:r>
              <a:rPr lang="fi-FI" noProof="0" dirty="0"/>
              <a:t>Neljännen tason teksti</a:t>
            </a:r>
          </a:p>
          <a:p>
            <a:pPr lvl="4"/>
            <a:r>
              <a:rPr lang="fi-FI" noProof="0" dirty="0"/>
              <a:t>Viidennen tason teksti</a:t>
            </a:r>
          </a:p>
        </p:txBody>
      </p:sp>
      <p:sp>
        <p:nvSpPr>
          <p:cNvPr id="13" name="Tekstin paikkamerkki 11">
            <a:extLst>
              <a:ext uri="{FF2B5EF4-FFF2-40B4-BE49-F238E27FC236}">
                <a16:creationId xmlns:a16="http://schemas.microsoft.com/office/drawing/2014/main" id="{128E762A-4CE0-A725-4E9E-4E9AC3EA253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144000" y="3812208"/>
            <a:ext cx="3043583" cy="3045791"/>
          </a:xfrm>
          <a:solidFill>
            <a:srgbClr val="B4FFAA"/>
          </a:solidFill>
        </p:spPr>
        <p:txBody>
          <a:bodyPr lIns="180000" tIns="180000" rIns="72000"/>
          <a:lstStyle>
            <a:lvl1pPr marL="0" indent="0">
              <a:lnSpc>
                <a:spcPct val="95000"/>
              </a:lnSpc>
              <a:buNone/>
              <a:defRPr sz="2800" spc="-70" baseline="0"/>
            </a:lvl1pPr>
          </a:lstStyle>
          <a:p>
            <a:pPr lvl="0"/>
            <a:r>
              <a:rPr lang="fi-FI" noProof="0" dirty="0"/>
              <a:t>Lisää tekstiä tähän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E996DCA-8E68-4F4A-A4A6-ACE6BC7F24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19F51-E5C9-4EA5-AD5A-0E73BC02374E}" type="datetime1">
              <a:rPr lang="fi-FI" noProof="0" smtClean="0"/>
              <a:t>12.3.2026</a:t>
            </a:fld>
            <a:endParaRPr lang="fi-FI" noProof="0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 dirty="0"/>
          </a:p>
        </p:txBody>
      </p:sp>
    </p:spTree>
    <p:extLst>
      <p:ext uri="{BB962C8B-B14F-4D97-AF65-F5344CB8AC3E}">
        <p14:creationId xmlns:p14="http://schemas.microsoft.com/office/powerpoint/2010/main" val="3471720709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olen sivun kuva sininen no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>
            <a:extLst>
              <a:ext uri="{FF2B5EF4-FFF2-40B4-BE49-F238E27FC236}">
                <a16:creationId xmlns:a16="http://schemas.microsoft.com/office/drawing/2014/main" id="{32F809D4-1743-A3E9-3A4F-FD688BED92C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5999" cy="6858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None/>
              <a:defRPr sz="1800"/>
            </a:lvl1pPr>
          </a:lstStyle>
          <a:p>
            <a:r>
              <a:rPr lang="fi-FI" noProof="0"/>
              <a:t>Lisää kuva napsauttamalla kuvaketta</a:t>
            </a:r>
            <a:endParaRPr lang="fi-FI" noProof="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0DB878-8E84-426A-BEF0-AF1AAFA1F9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518" y="557866"/>
            <a:ext cx="5231502" cy="1988564"/>
          </a:xfrm>
        </p:spPr>
        <p:txBody>
          <a:bodyPr anchor="b"/>
          <a:lstStyle/>
          <a:p>
            <a:r>
              <a:rPr lang="fi-FI" noProof="0" dirty="0"/>
              <a:t>Lisää otsikko tähän</a:t>
            </a:r>
          </a:p>
        </p:txBody>
      </p:sp>
      <p:sp>
        <p:nvSpPr>
          <p:cNvPr id="11" name="Tekstin paikkamerkki 10">
            <a:extLst>
              <a:ext uri="{FF2B5EF4-FFF2-40B4-BE49-F238E27FC236}">
                <a16:creationId xmlns:a16="http://schemas.microsoft.com/office/drawing/2014/main" id="{7B9F0533-6D2D-7E7F-A366-F9F3682A7B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6238" y="2798064"/>
            <a:ext cx="5232400" cy="2811780"/>
          </a:xfrm>
        </p:spPr>
        <p:txBody>
          <a:bodyPr/>
          <a:lstStyle/>
          <a:p>
            <a:pPr lvl="0"/>
            <a:r>
              <a:rPr lang="fi-FI" noProof="0" dirty="0"/>
              <a:t>Lisää ensimmäisen tason tekstiä tähän</a:t>
            </a:r>
          </a:p>
          <a:p>
            <a:pPr lvl="1"/>
            <a:r>
              <a:rPr lang="fi-FI" noProof="0" dirty="0"/>
              <a:t>Toisen tason teksti</a:t>
            </a:r>
          </a:p>
          <a:p>
            <a:pPr lvl="2"/>
            <a:r>
              <a:rPr lang="fi-FI" noProof="0" dirty="0"/>
              <a:t>Kolmannen tason teksti</a:t>
            </a:r>
          </a:p>
          <a:p>
            <a:pPr lvl="3"/>
            <a:r>
              <a:rPr lang="fi-FI" noProof="0" dirty="0"/>
              <a:t>Neljännen tason teksti</a:t>
            </a:r>
          </a:p>
          <a:p>
            <a:pPr lvl="4"/>
            <a:r>
              <a:rPr lang="fi-FI" noProof="0" dirty="0"/>
              <a:t>Viidennen tason teksti</a:t>
            </a:r>
          </a:p>
        </p:txBody>
      </p:sp>
      <p:sp>
        <p:nvSpPr>
          <p:cNvPr id="13" name="Tekstin paikkamerkki 11">
            <a:extLst>
              <a:ext uri="{FF2B5EF4-FFF2-40B4-BE49-F238E27FC236}">
                <a16:creationId xmlns:a16="http://schemas.microsoft.com/office/drawing/2014/main" id="{128E762A-4CE0-A725-4E9E-4E9AC3EA253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5382" y="0"/>
            <a:ext cx="3021723" cy="3045791"/>
          </a:xfrm>
          <a:solidFill>
            <a:srgbClr val="DCEFFE"/>
          </a:solidFill>
        </p:spPr>
        <p:txBody>
          <a:bodyPr lIns="180000" tIns="180000" rIns="72000"/>
          <a:lstStyle>
            <a:lvl1pPr marL="0" indent="0">
              <a:lnSpc>
                <a:spcPct val="95000"/>
              </a:lnSpc>
              <a:buNone/>
              <a:defRPr sz="2800" spc="-70" baseline="0"/>
            </a:lvl1pPr>
          </a:lstStyle>
          <a:p>
            <a:pPr lvl="0"/>
            <a:r>
              <a:rPr lang="fi-FI" noProof="0" dirty="0"/>
              <a:t>Lisää tekstiä tähän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E996DCA-8E68-4F4A-A4A6-ACE6BC7F24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19F51-E5C9-4EA5-AD5A-0E73BC02374E}" type="datetime1">
              <a:rPr lang="fi-FI" noProof="0" smtClean="0"/>
              <a:t>12.3.2026</a:t>
            </a:fld>
            <a:endParaRPr lang="fi-FI" noProof="0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 dirty="0"/>
          </a:p>
        </p:txBody>
      </p:sp>
    </p:spTree>
    <p:extLst>
      <p:ext uri="{BB962C8B-B14F-4D97-AF65-F5344CB8AC3E}">
        <p14:creationId xmlns:p14="http://schemas.microsoft.com/office/powerpoint/2010/main" val="1089658186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olen sivun kuva punainen no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>
            <a:extLst>
              <a:ext uri="{FF2B5EF4-FFF2-40B4-BE49-F238E27FC236}">
                <a16:creationId xmlns:a16="http://schemas.microsoft.com/office/drawing/2014/main" id="{461A3ACA-035B-13A6-1289-B9430BC286B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5999" cy="6858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None/>
              <a:defRPr sz="1800"/>
            </a:lvl1pPr>
          </a:lstStyle>
          <a:p>
            <a:r>
              <a:rPr lang="fi-FI" noProof="0"/>
              <a:t>Lisää kuva napsauttamalla kuvaketta</a:t>
            </a:r>
            <a:endParaRPr lang="fi-FI" noProof="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0DB878-8E84-426A-BEF0-AF1AAFA1F9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518" y="557866"/>
            <a:ext cx="5231502" cy="1988564"/>
          </a:xfrm>
        </p:spPr>
        <p:txBody>
          <a:bodyPr anchor="b"/>
          <a:lstStyle/>
          <a:p>
            <a:r>
              <a:rPr lang="fi-FI" noProof="0" dirty="0"/>
              <a:t>Lisää otsikko tähän</a:t>
            </a:r>
          </a:p>
        </p:txBody>
      </p:sp>
      <p:sp>
        <p:nvSpPr>
          <p:cNvPr id="11" name="Tekstin paikkamerkki 10">
            <a:extLst>
              <a:ext uri="{FF2B5EF4-FFF2-40B4-BE49-F238E27FC236}">
                <a16:creationId xmlns:a16="http://schemas.microsoft.com/office/drawing/2014/main" id="{7B9F0533-6D2D-7E7F-A366-F9F3682A7B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6238" y="2798064"/>
            <a:ext cx="5232400" cy="2811780"/>
          </a:xfrm>
        </p:spPr>
        <p:txBody>
          <a:bodyPr/>
          <a:lstStyle/>
          <a:p>
            <a:pPr lvl="0"/>
            <a:r>
              <a:rPr lang="fi-FI" noProof="0" dirty="0"/>
              <a:t>Lisää ensimmäisen tason tekstiä tähän</a:t>
            </a:r>
          </a:p>
          <a:p>
            <a:pPr lvl="1"/>
            <a:r>
              <a:rPr lang="fi-FI" noProof="0" dirty="0"/>
              <a:t>Toisen tason teksti</a:t>
            </a:r>
          </a:p>
          <a:p>
            <a:pPr lvl="2"/>
            <a:r>
              <a:rPr lang="fi-FI" noProof="0" dirty="0"/>
              <a:t>Kolmannen tason teksti</a:t>
            </a:r>
          </a:p>
          <a:p>
            <a:pPr lvl="3"/>
            <a:r>
              <a:rPr lang="fi-FI" noProof="0" dirty="0"/>
              <a:t>Neljännen tason teksti</a:t>
            </a:r>
          </a:p>
          <a:p>
            <a:pPr lvl="4"/>
            <a:r>
              <a:rPr lang="fi-FI" noProof="0" dirty="0"/>
              <a:t>Viidennen tason teksti</a:t>
            </a:r>
          </a:p>
        </p:txBody>
      </p:sp>
      <p:sp>
        <p:nvSpPr>
          <p:cNvPr id="12" name="Tekstin paikkamerkki 11">
            <a:extLst>
              <a:ext uri="{FF2B5EF4-FFF2-40B4-BE49-F238E27FC236}">
                <a16:creationId xmlns:a16="http://schemas.microsoft.com/office/drawing/2014/main" id="{4788870C-EEEC-0256-F974-F3A60DD573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96000" y="3812209"/>
            <a:ext cx="3043583" cy="3045791"/>
          </a:xfrm>
          <a:solidFill>
            <a:srgbClr val="FFE6E6"/>
          </a:solidFill>
        </p:spPr>
        <p:txBody>
          <a:bodyPr lIns="180000" tIns="180000" rIns="72000"/>
          <a:lstStyle>
            <a:lvl1pPr marL="0" indent="0">
              <a:lnSpc>
                <a:spcPct val="95000"/>
              </a:lnSpc>
              <a:buNone/>
              <a:defRPr sz="2800" spc="-70" baseline="0"/>
            </a:lvl1pPr>
          </a:lstStyle>
          <a:p>
            <a:pPr lvl="0"/>
            <a:r>
              <a:rPr lang="fi-FI" noProof="0" dirty="0"/>
              <a:t>Lisää tekstiä tähän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E996DCA-8E68-4F4A-A4A6-ACE6BC7F24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19F51-E5C9-4EA5-AD5A-0E73BC02374E}" type="datetime1">
              <a:rPr lang="fi-FI" noProof="0" smtClean="0"/>
              <a:t>12.3.2026</a:t>
            </a:fld>
            <a:endParaRPr lang="fi-FI" noProof="0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 dirty="0"/>
          </a:p>
        </p:txBody>
      </p:sp>
    </p:spTree>
    <p:extLst>
      <p:ext uri="{BB962C8B-B14F-4D97-AF65-F5344CB8AC3E}">
        <p14:creationId xmlns:p14="http://schemas.microsoft.com/office/powerpoint/2010/main" val="108584799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raphic 24">
            <a:extLst>
              <a:ext uri="{FF2B5EF4-FFF2-40B4-BE49-F238E27FC236}">
                <a16:creationId xmlns:a16="http://schemas.microsoft.com/office/drawing/2014/main" id="{412E2FC6-3DC7-A5C6-CB76-702A1185B2EA}"/>
              </a:ext>
            </a:extLst>
          </p:cNvPr>
          <p:cNvSpPr/>
          <p:nvPr/>
        </p:nvSpPr>
        <p:spPr>
          <a:xfrm>
            <a:off x="0" y="-3"/>
            <a:ext cx="12191877" cy="6858000"/>
          </a:xfrm>
          <a:custGeom>
            <a:avLst/>
            <a:gdLst>
              <a:gd name="connsiteX0" fmla="*/ 0 w 12191877"/>
              <a:gd name="connsiteY0" fmla="*/ 6858000 h 6858000"/>
              <a:gd name="connsiteX1" fmla="*/ 8102520 w 12191877"/>
              <a:gd name="connsiteY1" fmla="*/ 6858000 h 6858000"/>
              <a:gd name="connsiteX2" fmla="*/ 8102520 w 12191877"/>
              <a:gd name="connsiteY2" fmla="*/ 6051708 h 6858000"/>
              <a:gd name="connsiteX3" fmla="*/ 12191878 w 12191877"/>
              <a:gd name="connsiteY3" fmla="*/ 1962310 h 6858000"/>
              <a:gd name="connsiteX4" fmla="*/ 12191878 w 12191877"/>
              <a:gd name="connsiteY4" fmla="*/ 1850371 h 6858000"/>
              <a:gd name="connsiteX5" fmla="*/ 8102520 w 12191877"/>
              <a:gd name="connsiteY5" fmla="*/ 5939766 h 6858000"/>
              <a:gd name="connsiteX6" fmla="*/ 8102520 w 12191877"/>
              <a:gd name="connsiteY6" fmla="*/ 4931057 h 6858000"/>
              <a:gd name="connsiteX7" fmla="*/ 12191878 w 12191877"/>
              <a:gd name="connsiteY7" fmla="*/ 841658 h 6858000"/>
              <a:gd name="connsiteX8" fmla="*/ 12191878 w 12191877"/>
              <a:gd name="connsiteY8" fmla="*/ 729724 h 6858000"/>
              <a:gd name="connsiteX9" fmla="*/ 8102520 w 12191877"/>
              <a:gd name="connsiteY9" fmla="*/ 4819122 h 6858000"/>
              <a:gd name="connsiteX10" fmla="*/ 8102520 w 12191877"/>
              <a:gd name="connsiteY10" fmla="*/ 3810409 h 6858000"/>
              <a:gd name="connsiteX11" fmla="*/ 11912894 w 12191877"/>
              <a:gd name="connsiteY11" fmla="*/ 0 h 6858000"/>
              <a:gd name="connsiteX12" fmla="*/ 11800954 w 12191877"/>
              <a:gd name="connsiteY12" fmla="*/ 0 h 6858000"/>
              <a:gd name="connsiteX13" fmla="*/ 8102520 w 12191877"/>
              <a:gd name="connsiteY13" fmla="*/ 3698475 h 6858000"/>
              <a:gd name="connsiteX14" fmla="*/ 8102520 w 12191877"/>
              <a:gd name="connsiteY14" fmla="*/ 2689762 h 6858000"/>
              <a:gd name="connsiteX15" fmla="*/ 10792254 w 12191877"/>
              <a:gd name="connsiteY15" fmla="*/ 0 h 6858000"/>
              <a:gd name="connsiteX16" fmla="*/ 10680314 w 12191877"/>
              <a:gd name="connsiteY16" fmla="*/ 0 h 6858000"/>
              <a:gd name="connsiteX17" fmla="*/ 8102520 w 12191877"/>
              <a:gd name="connsiteY17" fmla="*/ 2577820 h 6858000"/>
              <a:gd name="connsiteX18" fmla="*/ 8102520 w 12191877"/>
              <a:gd name="connsiteY18" fmla="*/ 1569100 h 6858000"/>
              <a:gd name="connsiteX19" fmla="*/ 9671614 w 12191877"/>
              <a:gd name="connsiteY19" fmla="*/ 0 h 6858000"/>
              <a:gd name="connsiteX20" fmla="*/ 9559677 w 12191877"/>
              <a:gd name="connsiteY20" fmla="*/ 0 h 6858000"/>
              <a:gd name="connsiteX21" fmla="*/ 8102520 w 12191877"/>
              <a:gd name="connsiteY21" fmla="*/ 1457172 h 6858000"/>
              <a:gd name="connsiteX22" fmla="*/ 8102520 w 12191877"/>
              <a:gd name="connsiteY22" fmla="*/ 560902 h 6858000"/>
              <a:gd name="connsiteX23" fmla="*/ 8644717 w 12191877"/>
              <a:gd name="connsiteY23" fmla="*/ 0 h 6858000"/>
              <a:gd name="connsiteX24" fmla="*/ 8536632 w 12191877"/>
              <a:gd name="connsiteY24" fmla="*/ 0 h 6858000"/>
              <a:gd name="connsiteX25" fmla="*/ 8102520 w 12191877"/>
              <a:gd name="connsiteY25" fmla="*/ 448970 h 6858000"/>
              <a:gd name="connsiteX26" fmla="*/ 8102520 w 12191877"/>
              <a:gd name="connsiteY26" fmla="*/ 0 h 6858000"/>
              <a:gd name="connsiteX27" fmla="*/ 0 w 12191877"/>
              <a:gd name="connsiteY27" fmla="*/ 0 h 6858000"/>
              <a:gd name="connsiteX28" fmla="*/ 0 w 12191877"/>
              <a:gd name="connsiteY28" fmla="*/ 6857997 h 6858000"/>
              <a:gd name="connsiteX29" fmla="*/ 8304935 w 12191877"/>
              <a:gd name="connsiteY29" fmla="*/ 6858000 h 6858000"/>
              <a:gd name="connsiteX30" fmla="*/ 8416875 w 12191877"/>
              <a:gd name="connsiteY30" fmla="*/ 6858000 h 6858000"/>
              <a:gd name="connsiteX31" fmla="*/ 12191878 w 12191877"/>
              <a:gd name="connsiteY31" fmla="*/ 3082961 h 6858000"/>
              <a:gd name="connsiteX32" fmla="*/ 12191878 w 12191877"/>
              <a:gd name="connsiteY32" fmla="*/ 2971019 h 6858000"/>
              <a:gd name="connsiteX33" fmla="*/ 8304935 w 12191877"/>
              <a:gd name="connsiteY33" fmla="*/ 6858000 h 6858000"/>
              <a:gd name="connsiteX34" fmla="*/ 9425589 w 12191877"/>
              <a:gd name="connsiteY34" fmla="*/ 6858000 h 6858000"/>
              <a:gd name="connsiteX35" fmla="*/ 9537516 w 12191877"/>
              <a:gd name="connsiteY35" fmla="*/ 6858000 h 6858000"/>
              <a:gd name="connsiteX36" fmla="*/ 12191878 w 12191877"/>
              <a:gd name="connsiteY36" fmla="*/ 4203612 h 6858000"/>
              <a:gd name="connsiteX37" fmla="*/ 12191878 w 12191877"/>
              <a:gd name="connsiteY37" fmla="*/ 4091670 h 6858000"/>
              <a:gd name="connsiteX38" fmla="*/ 9425589 w 12191877"/>
              <a:gd name="connsiteY38" fmla="*/ 6858000 h 6858000"/>
              <a:gd name="connsiteX39" fmla="*/ 10544933 w 12191877"/>
              <a:gd name="connsiteY39" fmla="*/ 6858000 h 6858000"/>
              <a:gd name="connsiteX40" fmla="*/ 10658156 w 12191877"/>
              <a:gd name="connsiteY40" fmla="*/ 6858000 h 6858000"/>
              <a:gd name="connsiteX41" fmla="*/ 12191878 w 12191877"/>
              <a:gd name="connsiteY41" fmla="*/ 5324264 h 6858000"/>
              <a:gd name="connsiteX42" fmla="*/ 12191878 w 12191877"/>
              <a:gd name="connsiteY42" fmla="*/ 5211040 h 6858000"/>
              <a:gd name="connsiteX43" fmla="*/ 10544933 w 12191877"/>
              <a:gd name="connsiteY43" fmla="*/ 6858000 h 6858000"/>
              <a:gd name="connsiteX44" fmla="*/ 11665573 w 12191877"/>
              <a:gd name="connsiteY44" fmla="*/ 6858000 h 6858000"/>
              <a:gd name="connsiteX45" fmla="*/ 11777507 w 12191877"/>
              <a:gd name="connsiteY45" fmla="*/ 6858000 h 6858000"/>
              <a:gd name="connsiteX46" fmla="*/ 12191878 w 12191877"/>
              <a:gd name="connsiteY46" fmla="*/ 6443630 h 6858000"/>
              <a:gd name="connsiteX47" fmla="*/ 12191878 w 12191877"/>
              <a:gd name="connsiteY47" fmla="*/ 6331691 h 6858000"/>
              <a:gd name="connsiteX48" fmla="*/ 11665573 w 12191877"/>
              <a:gd name="connsiteY4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2191877" h="6858000">
                <a:moveTo>
                  <a:pt x="0" y="6858000"/>
                </a:moveTo>
                <a:lnTo>
                  <a:pt x="8102520" y="6858000"/>
                </a:lnTo>
                <a:lnTo>
                  <a:pt x="8102520" y="6051708"/>
                </a:lnTo>
                <a:lnTo>
                  <a:pt x="12191878" y="1962310"/>
                </a:lnTo>
                <a:lnTo>
                  <a:pt x="12191878" y="1850371"/>
                </a:lnTo>
                <a:lnTo>
                  <a:pt x="8102520" y="5939766"/>
                </a:lnTo>
                <a:lnTo>
                  <a:pt x="8102520" y="4931057"/>
                </a:lnTo>
                <a:lnTo>
                  <a:pt x="12191878" y="841658"/>
                </a:lnTo>
                <a:lnTo>
                  <a:pt x="12191878" y="729724"/>
                </a:lnTo>
                <a:lnTo>
                  <a:pt x="8102520" y="4819122"/>
                </a:lnTo>
                <a:lnTo>
                  <a:pt x="8102520" y="3810409"/>
                </a:lnTo>
                <a:lnTo>
                  <a:pt x="11912894" y="0"/>
                </a:lnTo>
                <a:lnTo>
                  <a:pt x="11800954" y="0"/>
                </a:lnTo>
                <a:lnTo>
                  <a:pt x="8102520" y="3698475"/>
                </a:lnTo>
                <a:lnTo>
                  <a:pt x="8102520" y="2689762"/>
                </a:lnTo>
                <a:lnTo>
                  <a:pt x="10792254" y="0"/>
                </a:lnTo>
                <a:lnTo>
                  <a:pt x="10680314" y="0"/>
                </a:lnTo>
                <a:lnTo>
                  <a:pt x="8102520" y="2577820"/>
                </a:lnTo>
                <a:lnTo>
                  <a:pt x="8102520" y="1569100"/>
                </a:lnTo>
                <a:lnTo>
                  <a:pt x="9671614" y="0"/>
                </a:lnTo>
                <a:lnTo>
                  <a:pt x="9559677" y="0"/>
                </a:lnTo>
                <a:lnTo>
                  <a:pt x="8102520" y="1457172"/>
                </a:lnTo>
                <a:lnTo>
                  <a:pt x="8102520" y="560902"/>
                </a:lnTo>
                <a:lnTo>
                  <a:pt x="8644717" y="0"/>
                </a:lnTo>
                <a:lnTo>
                  <a:pt x="8536632" y="0"/>
                </a:lnTo>
                <a:lnTo>
                  <a:pt x="8102520" y="448970"/>
                </a:lnTo>
                <a:lnTo>
                  <a:pt x="8102520" y="0"/>
                </a:lnTo>
                <a:lnTo>
                  <a:pt x="0" y="0"/>
                </a:lnTo>
                <a:lnTo>
                  <a:pt x="0" y="6857997"/>
                </a:lnTo>
                <a:close/>
                <a:moveTo>
                  <a:pt x="8304935" y="6858000"/>
                </a:moveTo>
                <a:lnTo>
                  <a:pt x="8416875" y="6858000"/>
                </a:lnTo>
                <a:lnTo>
                  <a:pt x="12191878" y="3082961"/>
                </a:lnTo>
                <a:lnTo>
                  <a:pt x="12191878" y="2971019"/>
                </a:lnTo>
                <a:lnTo>
                  <a:pt x="8304935" y="6858000"/>
                </a:lnTo>
                <a:close/>
                <a:moveTo>
                  <a:pt x="9425589" y="6858000"/>
                </a:moveTo>
                <a:lnTo>
                  <a:pt x="9537516" y="6858000"/>
                </a:lnTo>
                <a:lnTo>
                  <a:pt x="12191878" y="4203612"/>
                </a:lnTo>
                <a:lnTo>
                  <a:pt x="12191878" y="4091670"/>
                </a:lnTo>
                <a:lnTo>
                  <a:pt x="9425589" y="6858000"/>
                </a:lnTo>
                <a:close/>
                <a:moveTo>
                  <a:pt x="10544933" y="6858000"/>
                </a:moveTo>
                <a:lnTo>
                  <a:pt x="10658156" y="6858000"/>
                </a:lnTo>
                <a:lnTo>
                  <a:pt x="12191878" y="5324264"/>
                </a:lnTo>
                <a:lnTo>
                  <a:pt x="12191878" y="5211040"/>
                </a:lnTo>
                <a:lnTo>
                  <a:pt x="10544933" y="6858000"/>
                </a:lnTo>
                <a:close/>
                <a:moveTo>
                  <a:pt x="11665573" y="6858000"/>
                </a:moveTo>
                <a:lnTo>
                  <a:pt x="11777507" y="6858000"/>
                </a:lnTo>
                <a:lnTo>
                  <a:pt x="12191878" y="6443630"/>
                </a:lnTo>
                <a:lnTo>
                  <a:pt x="12191878" y="6331691"/>
                </a:lnTo>
                <a:lnTo>
                  <a:pt x="11665573" y="6858000"/>
                </a:lnTo>
                <a:close/>
              </a:path>
            </a:pathLst>
          </a:custGeom>
          <a:solidFill>
            <a:srgbClr val="F0EBE1"/>
          </a:solidFill>
          <a:ln w="36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6E6260-E36C-484A-9F25-1346EC50A8D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5508" y="2196783"/>
            <a:ext cx="6839712" cy="1876869"/>
          </a:xfrm>
        </p:spPr>
        <p:txBody>
          <a:bodyPr anchor="t" anchorCtr="0"/>
          <a:lstStyle>
            <a:lvl1pPr algn="l">
              <a:lnSpc>
                <a:spcPct val="95000"/>
              </a:lnSpc>
              <a:defRPr sz="4000"/>
            </a:lvl1pPr>
          </a:lstStyle>
          <a:p>
            <a:r>
              <a:rPr lang="fi-FI"/>
              <a:t>Muokkaa perustyyl. napsautt.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1FDDA9F-DC3B-4803-9730-F564F287AC8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35508" y="5070348"/>
            <a:ext cx="6839712" cy="1220724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24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D7FCCBE-EE77-5D47-8CE2-1B409B5E09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915" y="565286"/>
            <a:ext cx="2090175" cy="703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4336517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olen sivun kuva keltainen no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>
            <a:extLst>
              <a:ext uri="{FF2B5EF4-FFF2-40B4-BE49-F238E27FC236}">
                <a16:creationId xmlns:a16="http://schemas.microsoft.com/office/drawing/2014/main" id="{A6B46CC0-9B08-F6BD-6B08-FF8F34EFE78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5999" cy="6858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None/>
              <a:defRPr sz="1800"/>
            </a:lvl1pPr>
          </a:lstStyle>
          <a:p>
            <a:r>
              <a:rPr lang="fi-FI" noProof="0"/>
              <a:t>Lisää kuva napsauttamalla kuvaketta</a:t>
            </a:r>
            <a:endParaRPr lang="fi-FI" noProof="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0DB878-8E84-426A-BEF0-AF1AAFA1F9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518" y="557866"/>
            <a:ext cx="5231502" cy="1988564"/>
          </a:xfrm>
        </p:spPr>
        <p:txBody>
          <a:bodyPr anchor="b"/>
          <a:lstStyle>
            <a:lvl1pPr>
              <a:defRPr baseline="0"/>
            </a:lvl1pPr>
          </a:lstStyle>
          <a:p>
            <a:r>
              <a:rPr lang="fi-FI" noProof="0" dirty="0"/>
              <a:t>Lisää otsikko tähän</a:t>
            </a:r>
          </a:p>
        </p:txBody>
      </p:sp>
      <p:sp>
        <p:nvSpPr>
          <p:cNvPr id="11" name="Tekstin paikkamerkki 10">
            <a:extLst>
              <a:ext uri="{FF2B5EF4-FFF2-40B4-BE49-F238E27FC236}">
                <a16:creationId xmlns:a16="http://schemas.microsoft.com/office/drawing/2014/main" id="{7B9F0533-6D2D-7E7F-A366-F9F3682A7B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6238" y="2798064"/>
            <a:ext cx="5232400" cy="2811780"/>
          </a:xfrm>
        </p:spPr>
        <p:txBody>
          <a:bodyPr/>
          <a:lstStyle/>
          <a:p>
            <a:pPr lvl="0"/>
            <a:r>
              <a:rPr lang="fi-FI" noProof="0" dirty="0"/>
              <a:t>Lisää ensimmäisen tason tekstiä tähän</a:t>
            </a:r>
          </a:p>
          <a:p>
            <a:pPr lvl="1"/>
            <a:r>
              <a:rPr lang="fi-FI" noProof="0" dirty="0"/>
              <a:t>Toisen tason teksti</a:t>
            </a:r>
          </a:p>
          <a:p>
            <a:pPr lvl="2"/>
            <a:r>
              <a:rPr lang="fi-FI" noProof="0" dirty="0"/>
              <a:t>Kolmannen tason teksti</a:t>
            </a:r>
          </a:p>
          <a:p>
            <a:pPr lvl="3"/>
            <a:r>
              <a:rPr lang="fi-FI" noProof="0" dirty="0"/>
              <a:t>Neljännen tason teksti</a:t>
            </a:r>
          </a:p>
          <a:p>
            <a:pPr lvl="4"/>
            <a:r>
              <a:rPr lang="fi-FI" noProof="0" dirty="0"/>
              <a:t>Viidennen tason teksti</a:t>
            </a:r>
          </a:p>
        </p:txBody>
      </p:sp>
      <p:sp>
        <p:nvSpPr>
          <p:cNvPr id="13" name="Tekstin paikkamerkki 11">
            <a:extLst>
              <a:ext uri="{FF2B5EF4-FFF2-40B4-BE49-F238E27FC236}">
                <a16:creationId xmlns:a16="http://schemas.microsoft.com/office/drawing/2014/main" id="{128E762A-4CE0-A725-4E9E-4E9AC3EA253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144000" y="0"/>
            <a:ext cx="3043583" cy="3045791"/>
          </a:xfrm>
          <a:solidFill>
            <a:srgbClr val="FFFAC3"/>
          </a:solidFill>
        </p:spPr>
        <p:txBody>
          <a:bodyPr lIns="180000" tIns="180000" rIns="72000"/>
          <a:lstStyle>
            <a:lvl1pPr marL="0" indent="0">
              <a:lnSpc>
                <a:spcPct val="95000"/>
              </a:lnSpc>
              <a:buNone/>
              <a:defRPr sz="2800" spc="-70" baseline="0"/>
            </a:lvl1pPr>
          </a:lstStyle>
          <a:p>
            <a:pPr lvl="0"/>
            <a:r>
              <a:rPr lang="fi-FI" noProof="0" dirty="0"/>
              <a:t>Lisää tekstiä tähän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E996DCA-8E68-4F4A-A4A6-ACE6BC7F24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19F51-E5C9-4EA5-AD5A-0E73BC02374E}" type="datetime1">
              <a:rPr lang="fi-FI" noProof="0" smtClean="0"/>
              <a:t>12.3.2026</a:t>
            </a:fld>
            <a:endParaRPr lang="fi-FI" noProof="0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 dirty="0"/>
          </a:p>
        </p:txBody>
      </p:sp>
    </p:spTree>
    <p:extLst>
      <p:ext uri="{BB962C8B-B14F-4D97-AF65-F5344CB8AC3E}">
        <p14:creationId xmlns:p14="http://schemas.microsoft.com/office/powerpoint/2010/main" val="297115874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 ilman kuvaa violetti">
    <p:bg>
      <p:bgPr>
        <a:solidFill>
          <a:srgbClr val="FFE1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orakulmio 4">
            <a:extLst>
              <a:ext uri="{FF2B5EF4-FFF2-40B4-BE49-F238E27FC236}">
                <a16:creationId xmlns:a16="http://schemas.microsoft.com/office/drawing/2014/main" id="{AC0F3A71-AAB0-F29B-041A-2BC95C03EA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0"/>
            <a:ext cx="6096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0DB878-8E84-426A-BEF0-AF1AAFA1F9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518" y="557866"/>
            <a:ext cx="5231502" cy="1986349"/>
          </a:xfrm>
        </p:spPr>
        <p:txBody>
          <a:bodyPr anchor="b"/>
          <a:lstStyle/>
          <a:p>
            <a:r>
              <a:rPr lang="fi-FI" noProof="0" dirty="0"/>
              <a:t>Lisää otsikko tähän</a:t>
            </a:r>
          </a:p>
        </p:txBody>
      </p:sp>
      <p:sp>
        <p:nvSpPr>
          <p:cNvPr id="11" name="Tekstin paikkamerkki 10">
            <a:extLst>
              <a:ext uri="{FF2B5EF4-FFF2-40B4-BE49-F238E27FC236}">
                <a16:creationId xmlns:a16="http://schemas.microsoft.com/office/drawing/2014/main" id="{7B9F0533-6D2D-7E7F-A366-F9F3682A7B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6238" y="2798064"/>
            <a:ext cx="5232400" cy="2811780"/>
          </a:xfrm>
        </p:spPr>
        <p:txBody>
          <a:bodyPr/>
          <a:lstStyle/>
          <a:p>
            <a:pPr lvl="0"/>
            <a:r>
              <a:rPr lang="fi-FI" noProof="0" dirty="0"/>
              <a:t>Lisää ensimmäisen tason tekstiä tähän</a:t>
            </a:r>
          </a:p>
          <a:p>
            <a:pPr lvl="1"/>
            <a:r>
              <a:rPr lang="fi-FI" noProof="0" dirty="0"/>
              <a:t>Toisen tason teksti</a:t>
            </a:r>
          </a:p>
          <a:p>
            <a:pPr lvl="2"/>
            <a:r>
              <a:rPr lang="fi-FI" noProof="0" dirty="0"/>
              <a:t>Kolmannen tason teksti</a:t>
            </a:r>
          </a:p>
          <a:p>
            <a:pPr lvl="3"/>
            <a:r>
              <a:rPr lang="fi-FI" noProof="0" dirty="0"/>
              <a:t>Neljännen tason teksti</a:t>
            </a:r>
          </a:p>
          <a:p>
            <a:pPr lvl="4"/>
            <a:r>
              <a:rPr lang="fi-FI" noProof="0" dirty="0"/>
              <a:t>Viidennen tason teksti</a:t>
            </a:r>
          </a:p>
        </p:txBody>
      </p:sp>
      <p:sp>
        <p:nvSpPr>
          <p:cNvPr id="12" name="Tekstin paikkamerkki 11">
            <a:extLst>
              <a:ext uri="{FF2B5EF4-FFF2-40B4-BE49-F238E27FC236}">
                <a16:creationId xmlns:a16="http://schemas.microsoft.com/office/drawing/2014/main" id="{4788870C-EEEC-0256-F974-F3A60DD573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87549" y="1594678"/>
            <a:ext cx="5436897" cy="3812207"/>
          </a:xfrm>
          <a:noFill/>
        </p:spPr>
        <p:txBody>
          <a:bodyPr lIns="0" tIns="0" rIns="0" anchor="ctr" anchorCtr="0"/>
          <a:lstStyle>
            <a:lvl1pPr marL="0" indent="0">
              <a:lnSpc>
                <a:spcPct val="90000"/>
              </a:lnSpc>
              <a:buNone/>
              <a:defRPr sz="4000" spc="-130" baseline="0">
                <a:latin typeface="+mj-lt"/>
              </a:defRPr>
            </a:lvl1pPr>
          </a:lstStyle>
          <a:p>
            <a:pPr lvl="0"/>
            <a:r>
              <a:rPr lang="fi-FI" noProof="0" dirty="0"/>
              <a:t>Lisää tekstinosto tähän</a:t>
            </a:r>
          </a:p>
        </p:txBody>
      </p:sp>
      <p:grpSp>
        <p:nvGrpSpPr>
          <p:cNvPr id="6" name="Ryhmä 5">
            <a:extLst>
              <a:ext uri="{FF2B5EF4-FFF2-40B4-BE49-F238E27FC236}">
                <a16:creationId xmlns:a16="http://schemas.microsoft.com/office/drawing/2014/main" id="{E60A3E00-D191-CE2A-0BC2-EC72C60AB5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40807" y="5846175"/>
            <a:ext cx="772691" cy="734802"/>
            <a:chOff x="203203" y="203198"/>
            <a:chExt cx="1117587" cy="1062785"/>
          </a:xfrm>
        </p:grpSpPr>
        <p:sp>
          <p:nvSpPr>
            <p:cNvPr id="8" name="Vapaamuotoinen: Muoto 7">
              <a:extLst>
                <a:ext uri="{FF2B5EF4-FFF2-40B4-BE49-F238E27FC236}">
                  <a16:creationId xmlns:a16="http://schemas.microsoft.com/office/drawing/2014/main" id="{C367D236-C5BC-EDAD-644E-02407316A081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0" name="Vapaamuotoinen: Muoto 9">
              <a:extLst>
                <a:ext uri="{FF2B5EF4-FFF2-40B4-BE49-F238E27FC236}">
                  <a16:creationId xmlns:a16="http://schemas.microsoft.com/office/drawing/2014/main" id="{998FA421-1A05-8E02-D020-1EF1068B695D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3" name="Vapaamuotoinen: Muoto 12">
              <a:extLst>
                <a:ext uri="{FF2B5EF4-FFF2-40B4-BE49-F238E27FC236}">
                  <a16:creationId xmlns:a16="http://schemas.microsoft.com/office/drawing/2014/main" id="{C6151D38-9EC9-128B-B2CE-1668A5845AF5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4" name="Vapaamuotoinen: Muoto 13">
              <a:extLst>
                <a:ext uri="{FF2B5EF4-FFF2-40B4-BE49-F238E27FC236}">
                  <a16:creationId xmlns:a16="http://schemas.microsoft.com/office/drawing/2014/main" id="{4D843E8A-2422-AC1E-8D69-1E8384431E60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5" name="Vapaamuotoinen: Muoto 14">
              <a:extLst>
                <a:ext uri="{FF2B5EF4-FFF2-40B4-BE49-F238E27FC236}">
                  <a16:creationId xmlns:a16="http://schemas.microsoft.com/office/drawing/2014/main" id="{0B90A116-A908-A7DE-5844-944AF402FC7D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6" name="Vapaamuotoinen: Muoto 15">
              <a:extLst>
                <a:ext uri="{FF2B5EF4-FFF2-40B4-BE49-F238E27FC236}">
                  <a16:creationId xmlns:a16="http://schemas.microsoft.com/office/drawing/2014/main" id="{269DC064-0657-5593-56AA-C386F00B51B3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7" name="Vapaamuotoinen: Muoto 16">
              <a:extLst>
                <a:ext uri="{FF2B5EF4-FFF2-40B4-BE49-F238E27FC236}">
                  <a16:creationId xmlns:a16="http://schemas.microsoft.com/office/drawing/2014/main" id="{75EEC3F9-2DC3-521E-9D89-8DDF7C675C95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8" name="Vapaamuotoinen: Muoto 17">
              <a:extLst>
                <a:ext uri="{FF2B5EF4-FFF2-40B4-BE49-F238E27FC236}">
                  <a16:creationId xmlns:a16="http://schemas.microsoft.com/office/drawing/2014/main" id="{F77A7E84-7488-FFF6-C559-5475382FA10C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</p:grp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E996DCA-8E68-4F4A-A4A6-ACE6BC7F24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19F51-E5C9-4EA5-AD5A-0E73BC02374E}" type="datetime1">
              <a:rPr lang="fi-FI" noProof="0" smtClean="0"/>
              <a:t>12.3.2026</a:t>
            </a:fld>
            <a:endParaRPr lang="fi-FI" noProof="0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 dirty="0"/>
          </a:p>
        </p:txBody>
      </p:sp>
    </p:spTree>
    <p:extLst>
      <p:ext uri="{BB962C8B-B14F-4D97-AF65-F5344CB8AC3E}">
        <p14:creationId xmlns:p14="http://schemas.microsoft.com/office/powerpoint/2010/main" val="1409198771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 ilman kuvaa vihreä">
    <p:bg>
      <p:bgPr>
        <a:solidFill>
          <a:srgbClr val="B4FFA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orakulmio 4">
            <a:extLst>
              <a:ext uri="{FF2B5EF4-FFF2-40B4-BE49-F238E27FC236}">
                <a16:creationId xmlns:a16="http://schemas.microsoft.com/office/drawing/2014/main" id="{AC0F3A71-AAB0-F29B-041A-2BC95C03EA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0"/>
            <a:ext cx="6096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0DB878-8E84-426A-BEF0-AF1AAFA1F9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518" y="557866"/>
            <a:ext cx="5231502" cy="1986349"/>
          </a:xfrm>
        </p:spPr>
        <p:txBody>
          <a:bodyPr anchor="b"/>
          <a:lstStyle/>
          <a:p>
            <a:r>
              <a:rPr lang="fi-FI" noProof="0" dirty="0"/>
              <a:t>Lisää otsikko tähän</a:t>
            </a:r>
          </a:p>
        </p:txBody>
      </p:sp>
      <p:sp>
        <p:nvSpPr>
          <p:cNvPr id="11" name="Tekstin paikkamerkki 10">
            <a:extLst>
              <a:ext uri="{FF2B5EF4-FFF2-40B4-BE49-F238E27FC236}">
                <a16:creationId xmlns:a16="http://schemas.microsoft.com/office/drawing/2014/main" id="{7B9F0533-6D2D-7E7F-A366-F9F3682A7B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6238" y="2798064"/>
            <a:ext cx="5232400" cy="2811780"/>
          </a:xfrm>
        </p:spPr>
        <p:txBody>
          <a:bodyPr/>
          <a:lstStyle/>
          <a:p>
            <a:pPr lvl="0"/>
            <a:r>
              <a:rPr lang="fi-FI" noProof="0" dirty="0"/>
              <a:t>Lisää ensimmäisen tason tekstiä tähän</a:t>
            </a:r>
          </a:p>
          <a:p>
            <a:pPr lvl="1"/>
            <a:r>
              <a:rPr lang="fi-FI" noProof="0" dirty="0"/>
              <a:t>Toisen tason teksti</a:t>
            </a:r>
          </a:p>
          <a:p>
            <a:pPr lvl="2"/>
            <a:r>
              <a:rPr lang="fi-FI" noProof="0" dirty="0"/>
              <a:t>Kolmannen tason teksti</a:t>
            </a:r>
          </a:p>
          <a:p>
            <a:pPr lvl="3"/>
            <a:r>
              <a:rPr lang="fi-FI" noProof="0" dirty="0"/>
              <a:t>Neljännen tason teksti</a:t>
            </a:r>
          </a:p>
          <a:p>
            <a:pPr lvl="4"/>
            <a:r>
              <a:rPr lang="fi-FI" noProof="0" dirty="0"/>
              <a:t>Viidennen tason teksti</a:t>
            </a:r>
          </a:p>
        </p:txBody>
      </p:sp>
      <p:sp>
        <p:nvSpPr>
          <p:cNvPr id="12" name="Tekstin paikkamerkki 11">
            <a:extLst>
              <a:ext uri="{FF2B5EF4-FFF2-40B4-BE49-F238E27FC236}">
                <a16:creationId xmlns:a16="http://schemas.microsoft.com/office/drawing/2014/main" id="{4788870C-EEEC-0256-F974-F3A60DD573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87549" y="1594678"/>
            <a:ext cx="5436897" cy="3812207"/>
          </a:xfrm>
          <a:noFill/>
        </p:spPr>
        <p:txBody>
          <a:bodyPr lIns="0" tIns="0" rIns="0" anchor="ctr" anchorCtr="0"/>
          <a:lstStyle>
            <a:lvl1pPr marL="0" indent="0">
              <a:lnSpc>
                <a:spcPct val="90000"/>
              </a:lnSpc>
              <a:buNone/>
              <a:defRPr sz="4000" spc="-130" baseline="0">
                <a:latin typeface="+mj-lt"/>
              </a:defRPr>
            </a:lvl1pPr>
          </a:lstStyle>
          <a:p>
            <a:pPr lvl="0"/>
            <a:r>
              <a:rPr lang="fi-FI" noProof="0" dirty="0"/>
              <a:t>Lisää tekstinosto tähän</a:t>
            </a:r>
          </a:p>
        </p:txBody>
      </p:sp>
      <p:grpSp>
        <p:nvGrpSpPr>
          <p:cNvPr id="6" name="Ryhmä 5">
            <a:extLst>
              <a:ext uri="{FF2B5EF4-FFF2-40B4-BE49-F238E27FC236}">
                <a16:creationId xmlns:a16="http://schemas.microsoft.com/office/drawing/2014/main" id="{E60A3E00-D191-CE2A-0BC2-EC72C60AB5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40807" y="5846175"/>
            <a:ext cx="772691" cy="734802"/>
            <a:chOff x="203203" y="203198"/>
            <a:chExt cx="1117587" cy="1062785"/>
          </a:xfrm>
        </p:grpSpPr>
        <p:sp>
          <p:nvSpPr>
            <p:cNvPr id="8" name="Vapaamuotoinen: Muoto 7">
              <a:extLst>
                <a:ext uri="{FF2B5EF4-FFF2-40B4-BE49-F238E27FC236}">
                  <a16:creationId xmlns:a16="http://schemas.microsoft.com/office/drawing/2014/main" id="{C367D236-C5BC-EDAD-644E-02407316A081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0" name="Vapaamuotoinen: Muoto 9">
              <a:extLst>
                <a:ext uri="{FF2B5EF4-FFF2-40B4-BE49-F238E27FC236}">
                  <a16:creationId xmlns:a16="http://schemas.microsoft.com/office/drawing/2014/main" id="{998FA421-1A05-8E02-D020-1EF1068B695D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3" name="Vapaamuotoinen: Muoto 12">
              <a:extLst>
                <a:ext uri="{FF2B5EF4-FFF2-40B4-BE49-F238E27FC236}">
                  <a16:creationId xmlns:a16="http://schemas.microsoft.com/office/drawing/2014/main" id="{C6151D38-9EC9-128B-B2CE-1668A5845AF5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4" name="Vapaamuotoinen: Muoto 13">
              <a:extLst>
                <a:ext uri="{FF2B5EF4-FFF2-40B4-BE49-F238E27FC236}">
                  <a16:creationId xmlns:a16="http://schemas.microsoft.com/office/drawing/2014/main" id="{4D843E8A-2422-AC1E-8D69-1E8384431E60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5" name="Vapaamuotoinen: Muoto 14">
              <a:extLst>
                <a:ext uri="{FF2B5EF4-FFF2-40B4-BE49-F238E27FC236}">
                  <a16:creationId xmlns:a16="http://schemas.microsoft.com/office/drawing/2014/main" id="{0B90A116-A908-A7DE-5844-944AF402FC7D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6" name="Vapaamuotoinen: Muoto 15">
              <a:extLst>
                <a:ext uri="{FF2B5EF4-FFF2-40B4-BE49-F238E27FC236}">
                  <a16:creationId xmlns:a16="http://schemas.microsoft.com/office/drawing/2014/main" id="{269DC064-0657-5593-56AA-C386F00B51B3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7" name="Vapaamuotoinen: Muoto 16">
              <a:extLst>
                <a:ext uri="{FF2B5EF4-FFF2-40B4-BE49-F238E27FC236}">
                  <a16:creationId xmlns:a16="http://schemas.microsoft.com/office/drawing/2014/main" id="{75EEC3F9-2DC3-521E-9D89-8DDF7C675C95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8" name="Vapaamuotoinen: Muoto 17">
              <a:extLst>
                <a:ext uri="{FF2B5EF4-FFF2-40B4-BE49-F238E27FC236}">
                  <a16:creationId xmlns:a16="http://schemas.microsoft.com/office/drawing/2014/main" id="{F77A7E84-7488-FFF6-C559-5475382FA10C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</p:grp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E996DCA-8E68-4F4A-A4A6-ACE6BC7F24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19F51-E5C9-4EA5-AD5A-0E73BC02374E}" type="datetime1">
              <a:rPr lang="fi-FI" noProof="0" smtClean="0"/>
              <a:t>12.3.2026</a:t>
            </a:fld>
            <a:endParaRPr lang="fi-FI" noProof="0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 dirty="0"/>
          </a:p>
        </p:txBody>
      </p:sp>
    </p:spTree>
    <p:extLst>
      <p:ext uri="{BB962C8B-B14F-4D97-AF65-F5344CB8AC3E}">
        <p14:creationId xmlns:p14="http://schemas.microsoft.com/office/powerpoint/2010/main" val="3993050896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 ilman kuvaa sininen">
    <p:bg>
      <p:bgPr>
        <a:solidFill>
          <a:srgbClr val="B8E1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orakulmio 4">
            <a:extLst>
              <a:ext uri="{FF2B5EF4-FFF2-40B4-BE49-F238E27FC236}">
                <a16:creationId xmlns:a16="http://schemas.microsoft.com/office/drawing/2014/main" id="{AC0F3A71-AAB0-F29B-041A-2BC95C03EA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0"/>
            <a:ext cx="6096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0DB878-8E84-426A-BEF0-AF1AAFA1F9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518" y="557866"/>
            <a:ext cx="5231502" cy="1986349"/>
          </a:xfrm>
        </p:spPr>
        <p:txBody>
          <a:bodyPr anchor="b"/>
          <a:lstStyle/>
          <a:p>
            <a:r>
              <a:rPr lang="fi-FI" noProof="0" dirty="0"/>
              <a:t>Lisää otsikko tähän</a:t>
            </a:r>
          </a:p>
        </p:txBody>
      </p:sp>
      <p:sp>
        <p:nvSpPr>
          <p:cNvPr id="11" name="Tekstin paikkamerkki 10">
            <a:extLst>
              <a:ext uri="{FF2B5EF4-FFF2-40B4-BE49-F238E27FC236}">
                <a16:creationId xmlns:a16="http://schemas.microsoft.com/office/drawing/2014/main" id="{7B9F0533-6D2D-7E7F-A366-F9F3682A7B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6238" y="2798064"/>
            <a:ext cx="5232400" cy="2811780"/>
          </a:xfrm>
        </p:spPr>
        <p:txBody>
          <a:bodyPr/>
          <a:lstStyle/>
          <a:p>
            <a:pPr lvl="0"/>
            <a:r>
              <a:rPr lang="fi-FI" noProof="0" dirty="0"/>
              <a:t>Lisää ensimmäisen tason tekstiä tähän</a:t>
            </a:r>
          </a:p>
          <a:p>
            <a:pPr lvl="1"/>
            <a:r>
              <a:rPr lang="fi-FI" noProof="0" dirty="0"/>
              <a:t>Toisen tason teksti</a:t>
            </a:r>
          </a:p>
          <a:p>
            <a:pPr lvl="2"/>
            <a:r>
              <a:rPr lang="fi-FI" noProof="0" dirty="0"/>
              <a:t>Kolmannen tason teksti</a:t>
            </a:r>
          </a:p>
          <a:p>
            <a:pPr lvl="3"/>
            <a:r>
              <a:rPr lang="fi-FI" noProof="0" dirty="0"/>
              <a:t>Neljännen tason teksti</a:t>
            </a:r>
          </a:p>
          <a:p>
            <a:pPr lvl="4"/>
            <a:r>
              <a:rPr lang="fi-FI" noProof="0" dirty="0"/>
              <a:t>Viidennen tason teksti</a:t>
            </a:r>
          </a:p>
        </p:txBody>
      </p:sp>
      <p:sp>
        <p:nvSpPr>
          <p:cNvPr id="12" name="Tekstin paikkamerkki 11">
            <a:extLst>
              <a:ext uri="{FF2B5EF4-FFF2-40B4-BE49-F238E27FC236}">
                <a16:creationId xmlns:a16="http://schemas.microsoft.com/office/drawing/2014/main" id="{4788870C-EEEC-0256-F974-F3A60DD573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87549" y="1594678"/>
            <a:ext cx="5436897" cy="3812207"/>
          </a:xfrm>
          <a:noFill/>
        </p:spPr>
        <p:txBody>
          <a:bodyPr lIns="0" tIns="0" rIns="0" anchor="ctr" anchorCtr="0"/>
          <a:lstStyle>
            <a:lvl1pPr marL="0" indent="0">
              <a:lnSpc>
                <a:spcPct val="90000"/>
              </a:lnSpc>
              <a:buNone/>
              <a:defRPr sz="4000" spc="-130" baseline="0">
                <a:latin typeface="+mj-lt"/>
              </a:defRPr>
            </a:lvl1pPr>
          </a:lstStyle>
          <a:p>
            <a:pPr lvl="0"/>
            <a:r>
              <a:rPr lang="fi-FI" noProof="0" dirty="0"/>
              <a:t>Lisää tekstinosto tähän</a:t>
            </a:r>
          </a:p>
        </p:txBody>
      </p:sp>
      <p:grpSp>
        <p:nvGrpSpPr>
          <p:cNvPr id="6" name="Ryhmä 5">
            <a:extLst>
              <a:ext uri="{FF2B5EF4-FFF2-40B4-BE49-F238E27FC236}">
                <a16:creationId xmlns:a16="http://schemas.microsoft.com/office/drawing/2014/main" id="{E60A3E00-D191-CE2A-0BC2-EC72C60AB5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40807" y="5846175"/>
            <a:ext cx="772691" cy="734802"/>
            <a:chOff x="203203" y="203198"/>
            <a:chExt cx="1117587" cy="1062785"/>
          </a:xfrm>
        </p:grpSpPr>
        <p:sp>
          <p:nvSpPr>
            <p:cNvPr id="8" name="Vapaamuotoinen: Muoto 7">
              <a:extLst>
                <a:ext uri="{FF2B5EF4-FFF2-40B4-BE49-F238E27FC236}">
                  <a16:creationId xmlns:a16="http://schemas.microsoft.com/office/drawing/2014/main" id="{C367D236-C5BC-EDAD-644E-02407316A081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0" name="Vapaamuotoinen: Muoto 9">
              <a:extLst>
                <a:ext uri="{FF2B5EF4-FFF2-40B4-BE49-F238E27FC236}">
                  <a16:creationId xmlns:a16="http://schemas.microsoft.com/office/drawing/2014/main" id="{998FA421-1A05-8E02-D020-1EF1068B695D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3" name="Vapaamuotoinen: Muoto 12">
              <a:extLst>
                <a:ext uri="{FF2B5EF4-FFF2-40B4-BE49-F238E27FC236}">
                  <a16:creationId xmlns:a16="http://schemas.microsoft.com/office/drawing/2014/main" id="{C6151D38-9EC9-128B-B2CE-1668A5845AF5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4" name="Vapaamuotoinen: Muoto 13">
              <a:extLst>
                <a:ext uri="{FF2B5EF4-FFF2-40B4-BE49-F238E27FC236}">
                  <a16:creationId xmlns:a16="http://schemas.microsoft.com/office/drawing/2014/main" id="{4D843E8A-2422-AC1E-8D69-1E8384431E60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5" name="Vapaamuotoinen: Muoto 14">
              <a:extLst>
                <a:ext uri="{FF2B5EF4-FFF2-40B4-BE49-F238E27FC236}">
                  <a16:creationId xmlns:a16="http://schemas.microsoft.com/office/drawing/2014/main" id="{0B90A116-A908-A7DE-5844-944AF402FC7D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6" name="Vapaamuotoinen: Muoto 15">
              <a:extLst>
                <a:ext uri="{FF2B5EF4-FFF2-40B4-BE49-F238E27FC236}">
                  <a16:creationId xmlns:a16="http://schemas.microsoft.com/office/drawing/2014/main" id="{269DC064-0657-5593-56AA-C386F00B51B3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7" name="Vapaamuotoinen: Muoto 16">
              <a:extLst>
                <a:ext uri="{FF2B5EF4-FFF2-40B4-BE49-F238E27FC236}">
                  <a16:creationId xmlns:a16="http://schemas.microsoft.com/office/drawing/2014/main" id="{75EEC3F9-2DC3-521E-9D89-8DDF7C675C95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8" name="Vapaamuotoinen: Muoto 17">
              <a:extLst>
                <a:ext uri="{FF2B5EF4-FFF2-40B4-BE49-F238E27FC236}">
                  <a16:creationId xmlns:a16="http://schemas.microsoft.com/office/drawing/2014/main" id="{F77A7E84-7488-FFF6-C559-5475382FA10C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</p:grp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E996DCA-8E68-4F4A-A4A6-ACE6BC7F24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19F51-E5C9-4EA5-AD5A-0E73BC02374E}" type="datetime1">
              <a:rPr lang="fi-FI" noProof="0" smtClean="0"/>
              <a:t>12.3.2026</a:t>
            </a:fld>
            <a:endParaRPr lang="fi-FI" noProof="0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 dirty="0"/>
          </a:p>
        </p:txBody>
      </p:sp>
    </p:spTree>
    <p:extLst>
      <p:ext uri="{BB962C8B-B14F-4D97-AF65-F5344CB8AC3E}">
        <p14:creationId xmlns:p14="http://schemas.microsoft.com/office/powerpoint/2010/main" val="85466629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 ilman kuvaa punainen">
    <p:bg>
      <p:bgPr>
        <a:solidFill>
          <a:srgbClr val="FF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orakulmio 4">
            <a:extLst>
              <a:ext uri="{FF2B5EF4-FFF2-40B4-BE49-F238E27FC236}">
                <a16:creationId xmlns:a16="http://schemas.microsoft.com/office/drawing/2014/main" id="{AC0F3A71-AAB0-F29B-041A-2BC95C03EA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0"/>
            <a:ext cx="6096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0DB878-8E84-426A-BEF0-AF1AAFA1F9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518" y="557866"/>
            <a:ext cx="5231502" cy="1986349"/>
          </a:xfrm>
        </p:spPr>
        <p:txBody>
          <a:bodyPr anchor="b"/>
          <a:lstStyle/>
          <a:p>
            <a:r>
              <a:rPr lang="fi-FI" noProof="0" dirty="0"/>
              <a:t>Lisää otsikko tähän</a:t>
            </a:r>
          </a:p>
        </p:txBody>
      </p:sp>
      <p:sp>
        <p:nvSpPr>
          <p:cNvPr id="11" name="Tekstin paikkamerkki 10">
            <a:extLst>
              <a:ext uri="{FF2B5EF4-FFF2-40B4-BE49-F238E27FC236}">
                <a16:creationId xmlns:a16="http://schemas.microsoft.com/office/drawing/2014/main" id="{7B9F0533-6D2D-7E7F-A366-F9F3682A7B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6238" y="2798064"/>
            <a:ext cx="5232400" cy="2811780"/>
          </a:xfrm>
        </p:spPr>
        <p:txBody>
          <a:bodyPr/>
          <a:lstStyle/>
          <a:p>
            <a:pPr lvl="0"/>
            <a:r>
              <a:rPr lang="fi-FI" noProof="0" dirty="0"/>
              <a:t>Lisää ensimmäisen tason tekstiä tähän</a:t>
            </a:r>
          </a:p>
          <a:p>
            <a:pPr lvl="1"/>
            <a:r>
              <a:rPr lang="fi-FI" noProof="0" dirty="0"/>
              <a:t>Toisen tason teksti</a:t>
            </a:r>
          </a:p>
          <a:p>
            <a:pPr lvl="2"/>
            <a:r>
              <a:rPr lang="fi-FI" noProof="0" dirty="0"/>
              <a:t>Kolmannen tason teksti</a:t>
            </a:r>
          </a:p>
          <a:p>
            <a:pPr lvl="3"/>
            <a:r>
              <a:rPr lang="fi-FI" noProof="0" dirty="0"/>
              <a:t>Neljännen tason teksti</a:t>
            </a:r>
          </a:p>
          <a:p>
            <a:pPr lvl="4"/>
            <a:r>
              <a:rPr lang="fi-FI" noProof="0" dirty="0"/>
              <a:t>Viidennen tason teksti</a:t>
            </a:r>
          </a:p>
        </p:txBody>
      </p:sp>
      <p:sp>
        <p:nvSpPr>
          <p:cNvPr id="12" name="Tekstin paikkamerkki 11">
            <a:extLst>
              <a:ext uri="{FF2B5EF4-FFF2-40B4-BE49-F238E27FC236}">
                <a16:creationId xmlns:a16="http://schemas.microsoft.com/office/drawing/2014/main" id="{4788870C-EEEC-0256-F974-F3A60DD573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87549" y="1594678"/>
            <a:ext cx="5436897" cy="3812207"/>
          </a:xfrm>
          <a:noFill/>
        </p:spPr>
        <p:txBody>
          <a:bodyPr lIns="0" tIns="0" rIns="0" anchor="ctr" anchorCtr="0"/>
          <a:lstStyle>
            <a:lvl1pPr marL="0" indent="0">
              <a:lnSpc>
                <a:spcPct val="90000"/>
              </a:lnSpc>
              <a:buNone/>
              <a:defRPr sz="4000" spc="-130" baseline="0">
                <a:latin typeface="+mj-lt"/>
              </a:defRPr>
            </a:lvl1pPr>
          </a:lstStyle>
          <a:p>
            <a:pPr lvl="0"/>
            <a:r>
              <a:rPr lang="fi-FI" noProof="0" dirty="0"/>
              <a:t>Lisää tekstinosto tähän</a:t>
            </a:r>
          </a:p>
        </p:txBody>
      </p:sp>
      <p:grpSp>
        <p:nvGrpSpPr>
          <p:cNvPr id="6" name="Ryhmä 5">
            <a:extLst>
              <a:ext uri="{FF2B5EF4-FFF2-40B4-BE49-F238E27FC236}">
                <a16:creationId xmlns:a16="http://schemas.microsoft.com/office/drawing/2014/main" id="{E60A3E00-D191-CE2A-0BC2-EC72C60AB5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40807" y="5846175"/>
            <a:ext cx="772691" cy="734802"/>
            <a:chOff x="203203" y="203198"/>
            <a:chExt cx="1117587" cy="1062785"/>
          </a:xfrm>
        </p:grpSpPr>
        <p:sp>
          <p:nvSpPr>
            <p:cNvPr id="8" name="Vapaamuotoinen: Muoto 7">
              <a:extLst>
                <a:ext uri="{FF2B5EF4-FFF2-40B4-BE49-F238E27FC236}">
                  <a16:creationId xmlns:a16="http://schemas.microsoft.com/office/drawing/2014/main" id="{C367D236-C5BC-EDAD-644E-02407316A081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0" name="Vapaamuotoinen: Muoto 9">
              <a:extLst>
                <a:ext uri="{FF2B5EF4-FFF2-40B4-BE49-F238E27FC236}">
                  <a16:creationId xmlns:a16="http://schemas.microsoft.com/office/drawing/2014/main" id="{998FA421-1A05-8E02-D020-1EF1068B695D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3" name="Vapaamuotoinen: Muoto 12">
              <a:extLst>
                <a:ext uri="{FF2B5EF4-FFF2-40B4-BE49-F238E27FC236}">
                  <a16:creationId xmlns:a16="http://schemas.microsoft.com/office/drawing/2014/main" id="{C6151D38-9EC9-128B-B2CE-1668A5845AF5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4" name="Vapaamuotoinen: Muoto 13">
              <a:extLst>
                <a:ext uri="{FF2B5EF4-FFF2-40B4-BE49-F238E27FC236}">
                  <a16:creationId xmlns:a16="http://schemas.microsoft.com/office/drawing/2014/main" id="{4D843E8A-2422-AC1E-8D69-1E8384431E60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5" name="Vapaamuotoinen: Muoto 14">
              <a:extLst>
                <a:ext uri="{FF2B5EF4-FFF2-40B4-BE49-F238E27FC236}">
                  <a16:creationId xmlns:a16="http://schemas.microsoft.com/office/drawing/2014/main" id="{0B90A116-A908-A7DE-5844-944AF402FC7D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6" name="Vapaamuotoinen: Muoto 15">
              <a:extLst>
                <a:ext uri="{FF2B5EF4-FFF2-40B4-BE49-F238E27FC236}">
                  <a16:creationId xmlns:a16="http://schemas.microsoft.com/office/drawing/2014/main" id="{269DC064-0657-5593-56AA-C386F00B51B3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7" name="Vapaamuotoinen: Muoto 16">
              <a:extLst>
                <a:ext uri="{FF2B5EF4-FFF2-40B4-BE49-F238E27FC236}">
                  <a16:creationId xmlns:a16="http://schemas.microsoft.com/office/drawing/2014/main" id="{75EEC3F9-2DC3-521E-9D89-8DDF7C675C95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8" name="Vapaamuotoinen: Muoto 17">
              <a:extLst>
                <a:ext uri="{FF2B5EF4-FFF2-40B4-BE49-F238E27FC236}">
                  <a16:creationId xmlns:a16="http://schemas.microsoft.com/office/drawing/2014/main" id="{F77A7E84-7488-FFF6-C559-5475382FA10C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</p:grp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E996DCA-8E68-4F4A-A4A6-ACE6BC7F24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19F51-E5C9-4EA5-AD5A-0E73BC02374E}" type="datetime1">
              <a:rPr lang="fi-FI" noProof="0" smtClean="0"/>
              <a:t>12.3.2026</a:t>
            </a:fld>
            <a:endParaRPr lang="fi-FI" noProof="0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 dirty="0"/>
          </a:p>
        </p:txBody>
      </p:sp>
    </p:spTree>
    <p:extLst>
      <p:ext uri="{BB962C8B-B14F-4D97-AF65-F5344CB8AC3E}">
        <p14:creationId xmlns:p14="http://schemas.microsoft.com/office/powerpoint/2010/main" val="915990638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 ilman kuvaa keltainen">
    <p:bg>
      <p:bgPr>
        <a:solidFill>
          <a:srgbClr val="FFFAC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orakulmio 4">
            <a:extLst>
              <a:ext uri="{FF2B5EF4-FFF2-40B4-BE49-F238E27FC236}">
                <a16:creationId xmlns:a16="http://schemas.microsoft.com/office/drawing/2014/main" id="{AC0F3A71-AAB0-F29B-041A-2BC95C03EA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0"/>
            <a:ext cx="6096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0DB878-8E84-426A-BEF0-AF1AAFA1F9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518" y="557866"/>
            <a:ext cx="5231502" cy="1986349"/>
          </a:xfrm>
        </p:spPr>
        <p:txBody>
          <a:bodyPr anchor="b"/>
          <a:lstStyle/>
          <a:p>
            <a:r>
              <a:rPr lang="fi-FI" noProof="0" dirty="0"/>
              <a:t>Lisää otsikko tähän</a:t>
            </a:r>
          </a:p>
        </p:txBody>
      </p:sp>
      <p:sp>
        <p:nvSpPr>
          <p:cNvPr id="11" name="Tekstin paikkamerkki 10">
            <a:extLst>
              <a:ext uri="{FF2B5EF4-FFF2-40B4-BE49-F238E27FC236}">
                <a16:creationId xmlns:a16="http://schemas.microsoft.com/office/drawing/2014/main" id="{7B9F0533-6D2D-7E7F-A366-F9F3682A7B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6238" y="2798064"/>
            <a:ext cx="5232400" cy="2811780"/>
          </a:xfrm>
        </p:spPr>
        <p:txBody>
          <a:bodyPr/>
          <a:lstStyle/>
          <a:p>
            <a:pPr lvl="0"/>
            <a:r>
              <a:rPr lang="fi-FI" noProof="0" dirty="0"/>
              <a:t>Lisää ensimmäisen tason tekstiä tähän</a:t>
            </a:r>
          </a:p>
          <a:p>
            <a:pPr lvl="1"/>
            <a:r>
              <a:rPr lang="fi-FI" noProof="0" dirty="0"/>
              <a:t>Toisen tason teksti</a:t>
            </a:r>
          </a:p>
          <a:p>
            <a:pPr lvl="2"/>
            <a:r>
              <a:rPr lang="fi-FI" noProof="0" dirty="0"/>
              <a:t>Kolmannen tason teksti</a:t>
            </a:r>
          </a:p>
          <a:p>
            <a:pPr lvl="3"/>
            <a:r>
              <a:rPr lang="fi-FI" noProof="0" dirty="0"/>
              <a:t>Neljännen tason teksti</a:t>
            </a:r>
          </a:p>
          <a:p>
            <a:pPr lvl="4"/>
            <a:r>
              <a:rPr lang="fi-FI" noProof="0" dirty="0"/>
              <a:t>Viidennen tason teksti</a:t>
            </a:r>
          </a:p>
        </p:txBody>
      </p:sp>
      <p:sp>
        <p:nvSpPr>
          <p:cNvPr id="12" name="Tekstin paikkamerkki 11">
            <a:extLst>
              <a:ext uri="{FF2B5EF4-FFF2-40B4-BE49-F238E27FC236}">
                <a16:creationId xmlns:a16="http://schemas.microsoft.com/office/drawing/2014/main" id="{4788870C-EEEC-0256-F974-F3A60DD573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87549" y="1594678"/>
            <a:ext cx="5436897" cy="3812207"/>
          </a:xfrm>
          <a:noFill/>
        </p:spPr>
        <p:txBody>
          <a:bodyPr lIns="0" tIns="0" rIns="0" anchor="ctr" anchorCtr="0"/>
          <a:lstStyle>
            <a:lvl1pPr marL="0" indent="0">
              <a:lnSpc>
                <a:spcPct val="90000"/>
              </a:lnSpc>
              <a:buNone/>
              <a:defRPr sz="4000" spc="-130" baseline="0">
                <a:latin typeface="+mj-lt"/>
              </a:defRPr>
            </a:lvl1pPr>
          </a:lstStyle>
          <a:p>
            <a:pPr lvl="0"/>
            <a:r>
              <a:rPr lang="fi-FI" noProof="0" dirty="0"/>
              <a:t>Lisää tekstinosto tähän</a:t>
            </a:r>
          </a:p>
        </p:txBody>
      </p:sp>
      <p:grpSp>
        <p:nvGrpSpPr>
          <p:cNvPr id="6" name="Ryhmä 5">
            <a:extLst>
              <a:ext uri="{FF2B5EF4-FFF2-40B4-BE49-F238E27FC236}">
                <a16:creationId xmlns:a16="http://schemas.microsoft.com/office/drawing/2014/main" id="{E60A3E00-D191-CE2A-0BC2-EC72C60AB5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40807" y="5846175"/>
            <a:ext cx="772691" cy="734802"/>
            <a:chOff x="203203" y="203198"/>
            <a:chExt cx="1117587" cy="1062785"/>
          </a:xfrm>
        </p:grpSpPr>
        <p:sp>
          <p:nvSpPr>
            <p:cNvPr id="8" name="Vapaamuotoinen: Muoto 7">
              <a:extLst>
                <a:ext uri="{FF2B5EF4-FFF2-40B4-BE49-F238E27FC236}">
                  <a16:creationId xmlns:a16="http://schemas.microsoft.com/office/drawing/2014/main" id="{C367D236-C5BC-EDAD-644E-02407316A081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0" name="Vapaamuotoinen: Muoto 9">
              <a:extLst>
                <a:ext uri="{FF2B5EF4-FFF2-40B4-BE49-F238E27FC236}">
                  <a16:creationId xmlns:a16="http://schemas.microsoft.com/office/drawing/2014/main" id="{998FA421-1A05-8E02-D020-1EF1068B695D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3" name="Vapaamuotoinen: Muoto 12">
              <a:extLst>
                <a:ext uri="{FF2B5EF4-FFF2-40B4-BE49-F238E27FC236}">
                  <a16:creationId xmlns:a16="http://schemas.microsoft.com/office/drawing/2014/main" id="{C6151D38-9EC9-128B-B2CE-1668A5845AF5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4" name="Vapaamuotoinen: Muoto 13">
              <a:extLst>
                <a:ext uri="{FF2B5EF4-FFF2-40B4-BE49-F238E27FC236}">
                  <a16:creationId xmlns:a16="http://schemas.microsoft.com/office/drawing/2014/main" id="{4D843E8A-2422-AC1E-8D69-1E8384431E60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5" name="Vapaamuotoinen: Muoto 14">
              <a:extLst>
                <a:ext uri="{FF2B5EF4-FFF2-40B4-BE49-F238E27FC236}">
                  <a16:creationId xmlns:a16="http://schemas.microsoft.com/office/drawing/2014/main" id="{0B90A116-A908-A7DE-5844-944AF402FC7D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6" name="Vapaamuotoinen: Muoto 15">
              <a:extLst>
                <a:ext uri="{FF2B5EF4-FFF2-40B4-BE49-F238E27FC236}">
                  <a16:creationId xmlns:a16="http://schemas.microsoft.com/office/drawing/2014/main" id="{269DC064-0657-5593-56AA-C386F00B51B3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7" name="Vapaamuotoinen: Muoto 16">
              <a:extLst>
                <a:ext uri="{FF2B5EF4-FFF2-40B4-BE49-F238E27FC236}">
                  <a16:creationId xmlns:a16="http://schemas.microsoft.com/office/drawing/2014/main" id="{75EEC3F9-2DC3-521E-9D89-8DDF7C675C95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8" name="Vapaamuotoinen: Muoto 17">
              <a:extLst>
                <a:ext uri="{FF2B5EF4-FFF2-40B4-BE49-F238E27FC236}">
                  <a16:creationId xmlns:a16="http://schemas.microsoft.com/office/drawing/2014/main" id="{F77A7E84-7488-FFF6-C559-5475382FA10C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</p:grp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E996DCA-8E68-4F4A-A4A6-ACE6BC7F24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19F51-E5C9-4EA5-AD5A-0E73BC02374E}" type="datetime1">
              <a:rPr lang="fi-FI" noProof="0" smtClean="0"/>
              <a:t>12.3.2026</a:t>
            </a:fld>
            <a:endParaRPr lang="fi-FI" noProof="0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 dirty="0"/>
          </a:p>
        </p:txBody>
      </p:sp>
    </p:spTree>
    <p:extLst>
      <p:ext uri="{BB962C8B-B14F-4D97-AF65-F5344CB8AC3E}">
        <p14:creationId xmlns:p14="http://schemas.microsoft.com/office/powerpoint/2010/main" val="1734407127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lehti nro ja kuva THL vihreä">
    <p:bg>
      <p:bgPr>
        <a:solidFill>
          <a:srgbClr val="005A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>
            <a:extLst>
              <a:ext uri="{FF2B5EF4-FFF2-40B4-BE49-F238E27FC236}">
                <a16:creationId xmlns:a16="http://schemas.microsoft.com/office/drawing/2014/main" id="{0C0C45B2-2B8F-122D-75C1-2D79B886765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433570" y="0"/>
            <a:ext cx="8758429" cy="6858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None/>
              <a:defRPr sz="1800"/>
            </a:lvl1pPr>
          </a:lstStyle>
          <a:p>
            <a:r>
              <a:rPr lang="fi-FI" noProof="0"/>
              <a:t>Lisää kuva napsauttamalla kuvaketta</a:t>
            </a:r>
            <a:endParaRPr lang="fi-FI" noProof="0" dirty="0"/>
          </a:p>
        </p:txBody>
      </p:sp>
      <p:sp>
        <p:nvSpPr>
          <p:cNvPr id="22" name="Suorakulmio 21">
            <a:extLst>
              <a:ext uri="{FF2B5EF4-FFF2-40B4-BE49-F238E27FC236}">
                <a16:creationId xmlns:a16="http://schemas.microsoft.com/office/drawing/2014/main" id="{73767DC7-ABA0-F4CA-4D56-4A6E892E25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3429000"/>
            <a:ext cx="3433571" cy="3429000"/>
          </a:xfrm>
          <a:prstGeom prst="rect">
            <a:avLst/>
          </a:prstGeom>
          <a:solidFill>
            <a:srgbClr val="FFF7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0DB878-8E84-426A-BEF0-AF1AAFA1F9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4785" y="3671398"/>
            <a:ext cx="3089059" cy="2990006"/>
          </a:xfrm>
        </p:spPr>
        <p:txBody>
          <a:bodyPr/>
          <a:lstStyle>
            <a:lvl1pPr>
              <a:defRPr sz="4000" spc="-100" baseline="0">
                <a:latin typeface="Work Sans Light" pitchFamily="2" charset="0"/>
              </a:defRPr>
            </a:lvl1pPr>
          </a:lstStyle>
          <a:p>
            <a:r>
              <a:rPr lang="fi-FI" noProof="0" dirty="0"/>
              <a:t>Lisää otsikko tähän</a:t>
            </a:r>
          </a:p>
        </p:txBody>
      </p:sp>
      <p:sp>
        <p:nvSpPr>
          <p:cNvPr id="4" name="Tekstin paikkamerkki 22">
            <a:extLst>
              <a:ext uri="{FF2B5EF4-FFF2-40B4-BE49-F238E27FC236}">
                <a16:creationId xmlns:a16="http://schemas.microsoft.com/office/drawing/2014/main" id="{F8BB2B58-D8BB-1736-51C6-A65C08E0264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8036" y="1580401"/>
            <a:ext cx="3008376" cy="1929383"/>
          </a:xfrm>
        </p:spPr>
        <p:txBody>
          <a:bodyPr anchor="b" anchorCtr="0"/>
          <a:lstStyle>
            <a:lvl1pPr marL="0" indent="0" algn="l">
              <a:lnSpc>
                <a:spcPct val="80000"/>
              </a:lnSpc>
              <a:buNone/>
              <a:defRPr sz="11500" spc="-50" baseline="0">
                <a:solidFill>
                  <a:srgbClr val="FFF7F0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fi-FI" noProof="0" dirty="0"/>
              <a:t>XX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 dirty="0"/>
          </a:p>
        </p:txBody>
      </p:sp>
      <p:grpSp>
        <p:nvGrpSpPr>
          <p:cNvPr id="17" name="Ryhmä 9">
            <a:extLst>
              <a:ext uri="{FF2B5EF4-FFF2-40B4-BE49-F238E27FC236}">
                <a16:creationId xmlns:a16="http://schemas.microsoft.com/office/drawing/2014/main" id="{125BA786-1D5A-D020-1BF7-057635A7987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00537" y="194489"/>
            <a:ext cx="1127964" cy="1072654"/>
            <a:chOff x="203203" y="203198"/>
            <a:chExt cx="1117587" cy="1062785"/>
          </a:xfrm>
          <a:solidFill>
            <a:srgbClr val="FFF7F0"/>
          </a:solidFill>
        </p:grpSpPr>
        <p:sp>
          <p:nvSpPr>
            <p:cNvPr id="18" name="Vapaamuotoinen: Muoto 10">
              <a:extLst>
                <a:ext uri="{FF2B5EF4-FFF2-40B4-BE49-F238E27FC236}">
                  <a16:creationId xmlns:a16="http://schemas.microsoft.com/office/drawing/2014/main" id="{72582A53-2A94-6B32-FD4B-BED572E5DAD4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grpFill/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21" name="Vapaamuotoinen: Muoto 11">
              <a:extLst>
                <a:ext uri="{FF2B5EF4-FFF2-40B4-BE49-F238E27FC236}">
                  <a16:creationId xmlns:a16="http://schemas.microsoft.com/office/drawing/2014/main" id="{F79D1FC7-4294-2901-45D2-BC8556938393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grpFill/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28" name="Vapaamuotoinen: Muoto 12">
              <a:extLst>
                <a:ext uri="{FF2B5EF4-FFF2-40B4-BE49-F238E27FC236}">
                  <a16:creationId xmlns:a16="http://schemas.microsoft.com/office/drawing/2014/main" id="{309BD337-EC79-6EE2-44CA-E15035182405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grpFill/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29" name="Vapaamuotoinen: Muoto 13">
              <a:extLst>
                <a:ext uri="{FF2B5EF4-FFF2-40B4-BE49-F238E27FC236}">
                  <a16:creationId xmlns:a16="http://schemas.microsoft.com/office/drawing/2014/main" id="{E19497C6-4B0A-211A-C080-F84402995FCA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grpFill/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30" name="Vapaamuotoinen: Muoto 14">
              <a:extLst>
                <a:ext uri="{FF2B5EF4-FFF2-40B4-BE49-F238E27FC236}">
                  <a16:creationId xmlns:a16="http://schemas.microsoft.com/office/drawing/2014/main" id="{B8BA6CE9-B27B-7591-952D-A8981F499E95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grpFill/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31" name="Vapaamuotoinen: Muoto 15">
              <a:extLst>
                <a:ext uri="{FF2B5EF4-FFF2-40B4-BE49-F238E27FC236}">
                  <a16:creationId xmlns:a16="http://schemas.microsoft.com/office/drawing/2014/main" id="{200A106B-2FC8-A370-1EE8-00CA7FCCD0CB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grpFill/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32" name="Vapaamuotoinen: Muoto 16">
              <a:extLst>
                <a:ext uri="{FF2B5EF4-FFF2-40B4-BE49-F238E27FC236}">
                  <a16:creationId xmlns:a16="http://schemas.microsoft.com/office/drawing/2014/main" id="{5529E684-E53D-8418-79A9-2238B8771BD7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grpFill/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33" name="Vapaamuotoinen: Muoto 17">
              <a:extLst>
                <a:ext uri="{FF2B5EF4-FFF2-40B4-BE49-F238E27FC236}">
                  <a16:creationId xmlns:a16="http://schemas.microsoft.com/office/drawing/2014/main" id="{AC294AC1-11E3-E20E-9906-D3115CE9B300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grpFill/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</p:grpSp>
    </p:spTree>
    <p:extLst>
      <p:ext uri="{BB962C8B-B14F-4D97-AF65-F5344CB8AC3E}">
        <p14:creationId xmlns:p14="http://schemas.microsoft.com/office/powerpoint/2010/main" val="1942106402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lehti nro ja kuva violetti">
    <p:bg>
      <p:bgPr>
        <a:solidFill>
          <a:srgbClr val="FFE1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>
            <a:extLst>
              <a:ext uri="{FF2B5EF4-FFF2-40B4-BE49-F238E27FC236}">
                <a16:creationId xmlns:a16="http://schemas.microsoft.com/office/drawing/2014/main" id="{0C0C45B2-2B8F-122D-75C1-2D79B886765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433570" y="0"/>
            <a:ext cx="8758429" cy="6858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None/>
              <a:defRPr sz="1800"/>
            </a:lvl1pPr>
          </a:lstStyle>
          <a:p>
            <a:r>
              <a:rPr lang="fi-FI" noProof="0"/>
              <a:t>Lisää kuva napsauttamalla kuvaketta</a:t>
            </a:r>
            <a:endParaRPr lang="fi-FI" noProof="0" dirty="0"/>
          </a:p>
        </p:txBody>
      </p:sp>
      <p:sp>
        <p:nvSpPr>
          <p:cNvPr id="22" name="Suorakulmio 21">
            <a:extLst>
              <a:ext uri="{FF2B5EF4-FFF2-40B4-BE49-F238E27FC236}">
                <a16:creationId xmlns:a16="http://schemas.microsoft.com/office/drawing/2014/main" id="{73767DC7-ABA0-F4CA-4D56-4A6E892E25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3429000"/>
            <a:ext cx="3433571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0DB878-8E84-426A-BEF0-AF1AAFA1F9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4785" y="3671398"/>
            <a:ext cx="3089059" cy="2990006"/>
          </a:xfrm>
        </p:spPr>
        <p:txBody>
          <a:bodyPr/>
          <a:lstStyle>
            <a:lvl1pPr>
              <a:defRPr sz="4000" spc="-100" baseline="0">
                <a:latin typeface="Work Sans Light" pitchFamily="2" charset="0"/>
              </a:defRPr>
            </a:lvl1pPr>
          </a:lstStyle>
          <a:p>
            <a:r>
              <a:rPr lang="fi-FI" noProof="0" dirty="0"/>
              <a:t>Lisää otsikko tähän</a:t>
            </a:r>
          </a:p>
        </p:txBody>
      </p:sp>
      <p:sp>
        <p:nvSpPr>
          <p:cNvPr id="4" name="Tekstin paikkamerkki 22">
            <a:extLst>
              <a:ext uri="{FF2B5EF4-FFF2-40B4-BE49-F238E27FC236}">
                <a16:creationId xmlns:a16="http://schemas.microsoft.com/office/drawing/2014/main" id="{F8BB2B58-D8BB-1736-51C6-A65C08E0264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8036" y="1580401"/>
            <a:ext cx="3008376" cy="1929383"/>
          </a:xfrm>
        </p:spPr>
        <p:txBody>
          <a:bodyPr anchor="b" anchorCtr="0"/>
          <a:lstStyle>
            <a:lvl1pPr marL="0" indent="0" algn="l">
              <a:lnSpc>
                <a:spcPct val="80000"/>
              </a:lnSpc>
              <a:buNone/>
              <a:defRPr sz="11500" spc="-50" baseline="0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fi-FI" noProof="0" dirty="0"/>
              <a:t>XX</a:t>
            </a:r>
          </a:p>
        </p:txBody>
      </p:sp>
      <p:grpSp>
        <p:nvGrpSpPr>
          <p:cNvPr id="5" name="Ryhmä 4">
            <a:extLst>
              <a:ext uri="{FF2B5EF4-FFF2-40B4-BE49-F238E27FC236}">
                <a16:creationId xmlns:a16="http://schemas.microsoft.com/office/drawing/2014/main" id="{3D2F5A89-E0E1-A352-25B1-1AA73A09A1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03203" y="203198"/>
            <a:ext cx="1117587" cy="1062785"/>
            <a:chOff x="203203" y="203198"/>
            <a:chExt cx="1117587" cy="1062785"/>
          </a:xfrm>
        </p:grpSpPr>
        <p:sp>
          <p:nvSpPr>
            <p:cNvPr id="6" name="Vapaamuotoinen: Muoto 5">
              <a:extLst>
                <a:ext uri="{FF2B5EF4-FFF2-40B4-BE49-F238E27FC236}">
                  <a16:creationId xmlns:a16="http://schemas.microsoft.com/office/drawing/2014/main" id="{525188C8-8609-73C0-4CA3-D47335335A3E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9" name="Vapaamuotoinen: Muoto 18">
              <a:extLst>
                <a:ext uri="{FF2B5EF4-FFF2-40B4-BE49-F238E27FC236}">
                  <a16:creationId xmlns:a16="http://schemas.microsoft.com/office/drawing/2014/main" id="{174D65B1-43CA-B503-D86E-62DE503C3A9C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20" name="Vapaamuotoinen: Muoto 19">
              <a:extLst>
                <a:ext uri="{FF2B5EF4-FFF2-40B4-BE49-F238E27FC236}">
                  <a16:creationId xmlns:a16="http://schemas.microsoft.com/office/drawing/2014/main" id="{96CF7BEF-9841-C636-4833-CF44883795A1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23" name="Vapaamuotoinen: Muoto 22">
              <a:extLst>
                <a:ext uri="{FF2B5EF4-FFF2-40B4-BE49-F238E27FC236}">
                  <a16:creationId xmlns:a16="http://schemas.microsoft.com/office/drawing/2014/main" id="{C71327A0-9565-018A-9ED5-8224A3584A97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24" name="Vapaamuotoinen: Muoto 23">
              <a:extLst>
                <a:ext uri="{FF2B5EF4-FFF2-40B4-BE49-F238E27FC236}">
                  <a16:creationId xmlns:a16="http://schemas.microsoft.com/office/drawing/2014/main" id="{9A4F7338-AA11-8845-AA60-8733E64633FD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25" name="Vapaamuotoinen: Muoto 24">
              <a:extLst>
                <a:ext uri="{FF2B5EF4-FFF2-40B4-BE49-F238E27FC236}">
                  <a16:creationId xmlns:a16="http://schemas.microsoft.com/office/drawing/2014/main" id="{010F6C3A-37A5-2ED4-EE90-7DF85320A24C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26" name="Vapaamuotoinen: Muoto 25">
              <a:extLst>
                <a:ext uri="{FF2B5EF4-FFF2-40B4-BE49-F238E27FC236}">
                  <a16:creationId xmlns:a16="http://schemas.microsoft.com/office/drawing/2014/main" id="{970D8043-07BB-8CCE-12FF-65764ACC2EE3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27" name="Vapaamuotoinen: Muoto 26">
              <a:extLst>
                <a:ext uri="{FF2B5EF4-FFF2-40B4-BE49-F238E27FC236}">
                  <a16:creationId xmlns:a16="http://schemas.microsoft.com/office/drawing/2014/main" id="{83FCC69D-E18E-DEAF-F65D-8274BB4C9739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</p:grp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 dirty="0"/>
          </a:p>
        </p:txBody>
      </p:sp>
    </p:spTree>
    <p:extLst>
      <p:ext uri="{BB962C8B-B14F-4D97-AF65-F5344CB8AC3E}">
        <p14:creationId xmlns:p14="http://schemas.microsoft.com/office/powerpoint/2010/main" val="395214029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lehti nro ja kuva vihreä">
    <p:bg>
      <p:bgPr>
        <a:solidFill>
          <a:srgbClr val="B4FFA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>
            <a:extLst>
              <a:ext uri="{FF2B5EF4-FFF2-40B4-BE49-F238E27FC236}">
                <a16:creationId xmlns:a16="http://schemas.microsoft.com/office/drawing/2014/main" id="{0C0C45B2-2B8F-122D-75C1-2D79B886765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433570" y="0"/>
            <a:ext cx="8758429" cy="6858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None/>
              <a:defRPr sz="1800"/>
            </a:lvl1pPr>
          </a:lstStyle>
          <a:p>
            <a:r>
              <a:rPr lang="fi-FI" noProof="0"/>
              <a:t>Lisää kuva napsauttamalla kuvaketta</a:t>
            </a:r>
            <a:endParaRPr lang="fi-FI" noProof="0" dirty="0"/>
          </a:p>
        </p:txBody>
      </p:sp>
      <p:sp>
        <p:nvSpPr>
          <p:cNvPr id="22" name="Suorakulmio 21">
            <a:extLst>
              <a:ext uri="{FF2B5EF4-FFF2-40B4-BE49-F238E27FC236}">
                <a16:creationId xmlns:a16="http://schemas.microsoft.com/office/drawing/2014/main" id="{73767DC7-ABA0-F4CA-4D56-4A6E892E25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3429000"/>
            <a:ext cx="3433571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0DB878-8E84-426A-BEF0-AF1AAFA1F9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4785" y="3671398"/>
            <a:ext cx="3089059" cy="2990006"/>
          </a:xfrm>
        </p:spPr>
        <p:txBody>
          <a:bodyPr/>
          <a:lstStyle>
            <a:lvl1pPr>
              <a:defRPr sz="4000" spc="-100" baseline="0">
                <a:latin typeface="Work Sans Light" pitchFamily="2" charset="0"/>
              </a:defRPr>
            </a:lvl1pPr>
          </a:lstStyle>
          <a:p>
            <a:r>
              <a:rPr lang="fi-FI" noProof="0" dirty="0"/>
              <a:t>Lisää otsikko tähän</a:t>
            </a:r>
          </a:p>
        </p:txBody>
      </p:sp>
      <p:sp>
        <p:nvSpPr>
          <p:cNvPr id="4" name="Tekstin paikkamerkki 22">
            <a:extLst>
              <a:ext uri="{FF2B5EF4-FFF2-40B4-BE49-F238E27FC236}">
                <a16:creationId xmlns:a16="http://schemas.microsoft.com/office/drawing/2014/main" id="{F8BB2B58-D8BB-1736-51C6-A65C08E0264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8036" y="1580401"/>
            <a:ext cx="3008376" cy="1929383"/>
          </a:xfrm>
        </p:spPr>
        <p:txBody>
          <a:bodyPr anchor="b" anchorCtr="0"/>
          <a:lstStyle>
            <a:lvl1pPr marL="0" indent="0" algn="l">
              <a:lnSpc>
                <a:spcPct val="80000"/>
              </a:lnSpc>
              <a:buNone/>
              <a:defRPr sz="11500" spc="-50" baseline="0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fi-FI" noProof="0" dirty="0"/>
              <a:t>XX</a:t>
            </a:r>
          </a:p>
        </p:txBody>
      </p:sp>
      <p:grpSp>
        <p:nvGrpSpPr>
          <p:cNvPr id="5" name="Ryhmä 4">
            <a:extLst>
              <a:ext uri="{FF2B5EF4-FFF2-40B4-BE49-F238E27FC236}">
                <a16:creationId xmlns:a16="http://schemas.microsoft.com/office/drawing/2014/main" id="{3D2F5A89-E0E1-A352-25B1-1AA73A09A1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03203" y="203198"/>
            <a:ext cx="1117587" cy="1062785"/>
            <a:chOff x="203203" y="203198"/>
            <a:chExt cx="1117587" cy="1062785"/>
          </a:xfrm>
        </p:grpSpPr>
        <p:sp>
          <p:nvSpPr>
            <p:cNvPr id="6" name="Vapaamuotoinen: Muoto 5">
              <a:extLst>
                <a:ext uri="{FF2B5EF4-FFF2-40B4-BE49-F238E27FC236}">
                  <a16:creationId xmlns:a16="http://schemas.microsoft.com/office/drawing/2014/main" id="{525188C8-8609-73C0-4CA3-D47335335A3E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9" name="Vapaamuotoinen: Muoto 18">
              <a:extLst>
                <a:ext uri="{FF2B5EF4-FFF2-40B4-BE49-F238E27FC236}">
                  <a16:creationId xmlns:a16="http://schemas.microsoft.com/office/drawing/2014/main" id="{174D65B1-43CA-B503-D86E-62DE503C3A9C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20" name="Vapaamuotoinen: Muoto 19">
              <a:extLst>
                <a:ext uri="{FF2B5EF4-FFF2-40B4-BE49-F238E27FC236}">
                  <a16:creationId xmlns:a16="http://schemas.microsoft.com/office/drawing/2014/main" id="{96CF7BEF-9841-C636-4833-CF44883795A1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23" name="Vapaamuotoinen: Muoto 22">
              <a:extLst>
                <a:ext uri="{FF2B5EF4-FFF2-40B4-BE49-F238E27FC236}">
                  <a16:creationId xmlns:a16="http://schemas.microsoft.com/office/drawing/2014/main" id="{C71327A0-9565-018A-9ED5-8224A3584A97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24" name="Vapaamuotoinen: Muoto 23">
              <a:extLst>
                <a:ext uri="{FF2B5EF4-FFF2-40B4-BE49-F238E27FC236}">
                  <a16:creationId xmlns:a16="http://schemas.microsoft.com/office/drawing/2014/main" id="{9A4F7338-AA11-8845-AA60-8733E64633FD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25" name="Vapaamuotoinen: Muoto 24">
              <a:extLst>
                <a:ext uri="{FF2B5EF4-FFF2-40B4-BE49-F238E27FC236}">
                  <a16:creationId xmlns:a16="http://schemas.microsoft.com/office/drawing/2014/main" id="{010F6C3A-37A5-2ED4-EE90-7DF85320A24C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26" name="Vapaamuotoinen: Muoto 25">
              <a:extLst>
                <a:ext uri="{FF2B5EF4-FFF2-40B4-BE49-F238E27FC236}">
                  <a16:creationId xmlns:a16="http://schemas.microsoft.com/office/drawing/2014/main" id="{970D8043-07BB-8CCE-12FF-65764ACC2EE3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27" name="Vapaamuotoinen: Muoto 26">
              <a:extLst>
                <a:ext uri="{FF2B5EF4-FFF2-40B4-BE49-F238E27FC236}">
                  <a16:creationId xmlns:a16="http://schemas.microsoft.com/office/drawing/2014/main" id="{83FCC69D-E18E-DEAF-F65D-8274BB4C9739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</p:grp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 dirty="0"/>
          </a:p>
        </p:txBody>
      </p:sp>
    </p:spTree>
    <p:extLst>
      <p:ext uri="{BB962C8B-B14F-4D97-AF65-F5344CB8AC3E}">
        <p14:creationId xmlns:p14="http://schemas.microsoft.com/office/powerpoint/2010/main" val="3669353847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lehti nro ja kuva sininen">
    <p:bg>
      <p:bgPr>
        <a:solidFill>
          <a:srgbClr val="DCEFF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>
            <a:extLst>
              <a:ext uri="{FF2B5EF4-FFF2-40B4-BE49-F238E27FC236}">
                <a16:creationId xmlns:a16="http://schemas.microsoft.com/office/drawing/2014/main" id="{0C0C45B2-2B8F-122D-75C1-2D79B886765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433570" y="0"/>
            <a:ext cx="8758429" cy="6858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None/>
              <a:defRPr sz="1800"/>
            </a:lvl1pPr>
          </a:lstStyle>
          <a:p>
            <a:r>
              <a:rPr lang="fi-FI" noProof="0"/>
              <a:t>Lisää kuva napsauttamalla kuvaketta</a:t>
            </a:r>
            <a:endParaRPr lang="fi-FI" noProof="0" dirty="0"/>
          </a:p>
        </p:txBody>
      </p:sp>
      <p:sp>
        <p:nvSpPr>
          <p:cNvPr id="22" name="Suorakulmio 21">
            <a:extLst>
              <a:ext uri="{FF2B5EF4-FFF2-40B4-BE49-F238E27FC236}">
                <a16:creationId xmlns:a16="http://schemas.microsoft.com/office/drawing/2014/main" id="{73767DC7-ABA0-F4CA-4D56-4A6E892E25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3429000"/>
            <a:ext cx="3433571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0DB878-8E84-426A-BEF0-AF1AAFA1F9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4785" y="3671398"/>
            <a:ext cx="3089059" cy="2990006"/>
          </a:xfrm>
        </p:spPr>
        <p:txBody>
          <a:bodyPr/>
          <a:lstStyle>
            <a:lvl1pPr>
              <a:defRPr sz="4000" spc="-100" baseline="0">
                <a:latin typeface="Work Sans Light" pitchFamily="2" charset="0"/>
              </a:defRPr>
            </a:lvl1pPr>
          </a:lstStyle>
          <a:p>
            <a:r>
              <a:rPr lang="fi-FI" noProof="0" dirty="0"/>
              <a:t>Lisää otsikko tähän</a:t>
            </a:r>
          </a:p>
        </p:txBody>
      </p:sp>
      <p:sp>
        <p:nvSpPr>
          <p:cNvPr id="4" name="Tekstin paikkamerkki 22">
            <a:extLst>
              <a:ext uri="{FF2B5EF4-FFF2-40B4-BE49-F238E27FC236}">
                <a16:creationId xmlns:a16="http://schemas.microsoft.com/office/drawing/2014/main" id="{F8BB2B58-D8BB-1736-51C6-A65C08E0264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8036" y="1580401"/>
            <a:ext cx="3008376" cy="1929383"/>
          </a:xfrm>
        </p:spPr>
        <p:txBody>
          <a:bodyPr anchor="b" anchorCtr="0"/>
          <a:lstStyle>
            <a:lvl1pPr marL="0" indent="0" algn="l">
              <a:lnSpc>
                <a:spcPct val="80000"/>
              </a:lnSpc>
              <a:buNone/>
              <a:defRPr sz="11500" spc="-50" baseline="0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fi-FI" noProof="0" dirty="0"/>
              <a:t>XX</a:t>
            </a:r>
          </a:p>
        </p:txBody>
      </p:sp>
      <p:grpSp>
        <p:nvGrpSpPr>
          <p:cNvPr id="5" name="Ryhmä 4">
            <a:extLst>
              <a:ext uri="{FF2B5EF4-FFF2-40B4-BE49-F238E27FC236}">
                <a16:creationId xmlns:a16="http://schemas.microsoft.com/office/drawing/2014/main" id="{3D2F5A89-E0E1-A352-25B1-1AA73A09A1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03203" y="203198"/>
            <a:ext cx="1117587" cy="1062785"/>
            <a:chOff x="203203" y="203198"/>
            <a:chExt cx="1117587" cy="1062785"/>
          </a:xfrm>
        </p:grpSpPr>
        <p:sp>
          <p:nvSpPr>
            <p:cNvPr id="6" name="Vapaamuotoinen: Muoto 5">
              <a:extLst>
                <a:ext uri="{FF2B5EF4-FFF2-40B4-BE49-F238E27FC236}">
                  <a16:creationId xmlns:a16="http://schemas.microsoft.com/office/drawing/2014/main" id="{525188C8-8609-73C0-4CA3-D47335335A3E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9" name="Vapaamuotoinen: Muoto 18">
              <a:extLst>
                <a:ext uri="{FF2B5EF4-FFF2-40B4-BE49-F238E27FC236}">
                  <a16:creationId xmlns:a16="http://schemas.microsoft.com/office/drawing/2014/main" id="{174D65B1-43CA-B503-D86E-62DE503C3A9C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20" name="Vapaamuotoinen: Muoto 19">
              <a:extLst>
                <a:ext uri="{FF2B5EF4-FFF2-40B4-BE49-F238E27FC236}">
                  <a16:creationId xmlns:a16="http://schemas.microsoft.com/office/drawing/2014/main" id="{96CF7BEF-9841-C636-4833-CF44883795A1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23" name="Vapaamuotoinen: Muoto 22">
              <a:extLst>
                <a:ext uri="{FF2B5EF4-FFF2-40B4-BE49-F238E27FC236}">
                  <a16:creationId xmlns:a16="http://schemas.microsoft.com/office/drawing/2014/main" id="{C71327A0-9565-018A-9ED5-8224A3584A97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24" name="Vapaamuotoinen: Muoto 23">
              <a:extLst>
                <a:ext uri="{FF2B5EF4-FFF2-40B4-BE49-F238E27FC236}">
                  <a16:creationId xmlns:a16="http://schemas.microsoft.com/office/drawing/2014/main" id="{9A4F7338-AA11-8845-AA60-8733E64633FD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25" name="Vapaamuotoinen: Muoto 24">
              <a:extLst>
                <a:ext uri="{FF2B5EF4-FFF2-40B4-BE49-F238E27FC236}">
                  <a16:creationId xmlns:a16="http://schemas.microsoft.com/office/drawing/2014/main" id="{010F6C3A-37A5-2ED4-EE90-7DF85320A24C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26" name="Vapaamuotoinen: Muoto 25">
              <a:extLst>
                <a:ext uri="{FF2B5EF4-FFF2-40B4-BE49-F238E27FC236}">
                  <a16:creationId xmlns:a16="http://schemas.microsoft.com/office/drawing/2014/main" id="{970D8043-07BB-8CCE-12FF-65764ACC2EE3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27" name="Vapaamuotoinen: Muoto 26">
              <a:extLst>
                <a:ext uri="{FF2B5EF4-FFF2-40B4-BE49-F238E27FC236}">
                  <a16:creationId xmlns:a16="http://schemas.microsoft.com/office/drawing/2014/main" id="{83FCC69D-E18E-DEAF-F65D-8274BB4C9739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</p:grp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 dirty="0"/>
          </a:p>
        </p:txBody>
      </p:sp>
    </p:spTree>
    <p:extLst>
      <p:ext uri="{BB962C8B-B14F-4D97-AF65-F5344CB8AC3E}">
        <p14:creationId xmlns:p14="http://schemas.microsoft.com/office/powerpoint/2010/main" val="124104739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AF55F463-6573-FC45-BA45-C38E511134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F6E6260-E36C-484A-9F25-1346EC50A8D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5508" y="2196783"/>
            <a:ext cx="6839712" cy="1876869"/>
          </a:xfrm>
        </p:spPr>
        <p:txBody>
          <a:bodyPr anchor="t" anchorCtr="0"/>
          <a:lstStyle>
            <a:lvl1pPr algn="l">
              <a:lnSpc>
                <a:spcPct val="95000"/>
              </a:lnSpc>
              <a:defRPr sz="4000"/>
            </a:lvl1pPr>
          </a:lstStyle>
          <a:p>
            <a:r>
              <a:rPr lang="fi-FI"/>
              <a:t>Muokkaa perustyyl. napsautt.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1FDDA9F-DC3B-4803-9730-F564F287AC8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35508" y="4073652"/>
            <a:ext cx="5819080" cy="1220724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24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</a:t>
            </a:r>
            <a:r>
              <a:rPr lang="fi-FI" err="1"/>
              <a:t>napsautt</a:t>
            </a:r>
            <a:r>
              <a:rPr lang="fi-FI"/>
              <a:t>.</a:t>
            </a:r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3EE9307-AB79-3247-82BD-37685692FA2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915" y="565286"/>
            <a:ext cx="2090175" cy="703499"/>
          </a:xfrm>
          <a:prstGeom prst="rect">
            <a:avLst/>
          </a:prstGeom>
        </p:spPr>
      </p:pic>
      <p:pic>
        <p:nvPicPr>
          <p:cNvPr id="4" name="Kuva 3"/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915" y="5755340"/>
            <a:ext cx="2272533" cy="6360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75925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lehti nro ja kuva punainen">
    <p:bg>
      <p:bgPr>
        <a:solidFill>
          <a:srgbClr val="FE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>
            <a:extLst>
              <a:ext uri="{FF2B5EF4-FFF2-40B4-BE49-F238E27FC236}">
                <a16:creationId xmlns:a16="http://schemas.microsoft.com/office/drawing/2014/main" id="{0C0C45B2-2B8F-122D-75C1-2D79B886765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433570" y="0"/>
            <a:ext cx="8758429" cy="6858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None/>
              <a:defRPr sz="1800"/>
            </a:lvl1pPr>
          </a:lstStyle>
          <a:p>
            <a:r>
              <a:rPr lang="fi-FI" noProof="0"/>
              <a:t>Lisää kuva napsauttamalla kuvaketta</a:t>
            </a:r>
            <a:endParaRPr lang="fi-FI" noProof="0" dirty="0"/>
          </a:p>
        </p:txBody>
      </p:sp>
      <p:sp>
        <p:nvSpPr>
          <p:cNvPr id="22" name="Suorakulmio 21">
            <a:extLst>
              <a:ext uri="{FF2B5EF4-FFF2-40B4-BE49-F238E27FC236}">
                <a16:creationId xmlns:a16="http://schemas.microsoft.com/office/drawing/2014/main" id="{73767DC7-ABA0-F4CA-4D56-4A6E892E25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3429000"/>
            <a:ext cx="3433571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0DB878-8E84-426A-BEF0-AF1AAFA1F9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4785" y="3671398"/>
            <a:ext cx="3089059" cy="2990006"/>
          </a:xfrm>
        </p:spPr>
        <p:txBody>
          <a:bodyPr/>
          <a:lstStyle>
            <a:lvl1pPr>
              <a:defRPr sz="4000" spc="-100" baseline="0">
                <a:latin typeface="Work Sans Light" pitchFamily="2" charset="0"/>
              </a:defRPr>
            </a:lvl1pPr>
          </a:lstStyle>
          <a:p>
            <a:r>
              <a:rPr lang="fi-FI" noProof="0" dirty="0"/>
              <a:t>Lisää otsikko tähän</a:t>
            </a:r>
          </a:p>
        </p:txBody>
      </p:sp>
      <p:sp>
        <p:nvSpPr>
          <p:cNvPr id="4" name="Tekstin paikkamerkki 22">
            <a:extLst>
              <a:ext uri="{FF2B5EF4-FFF2-40B4-BE49-F238E27FC236}">
                <a16:creationId xmlns:a16="http://schemas.microsoft.com/office/drawing/2014/main" id="{F8BB2B58-D8BB-1736-51C6-A65C08E0264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8036" y="1580401"/>
            <a:ext cx="3008376" cy="1929383"/>
          </a:xfrm>
        </p:spPr>
        <p:txBody>
          <a:bodyPr anchor="b" anchorCtr="0"/>
          <a:lstStyle>
            <a:lvl1pPr marL="0" indent="0" algn="l">
              <a:lnSpc>
                <a:spcPct val="80000"/>
              </a:lnSpc>
              <a:buNone/>
              <a:defRPr sz="11500" spc="-50" baseline="0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fi-FI" noProof="0" dirty="0"/>
              <a:t>XX</a:t>
            </a:r>
          </a:p>
        </p:txBody>
      </p:sp>
      <p:grpSp>
        <p:nvGrpSpPr>
          <p:cNvPr id="5" name="Ryhmä 4">
            <a:extLst>
              <a:ext uri="{FF2B5EF4-FFF2-40B4-BE49-F238E27FC236}">
                <a16:creationId xmlns:a16="http://schemas.microsoft.com/office/drawing/2014/main" id="{3D2F5A89-E0E1-A352-25B1-1AA73A09A1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03203" y="203198"/>
            <a:ext cx="1117587" cy="1062785"/>
            <a:chOff x="203203" y="203198"/>
            <a:chExt cx="1117587" cy="1062785"/>
          </a:xfrm>
        </p:grpSpPr>
        <p:sp>
          <p:nvSpPr>
            <p:cNvPr id="6" name="Vapaamuotoinen: Muoto 5">
              <a:extLst>
                <a:ext uri="{FF2B5EF4-FFF2-40B4-BE49-F238E27FC236}">
                  <a16:creationId xmlns:a16="http://schemas.microsoft.com/office/drawing/2014/main" id="{525188C8-8609-73C0-4CA3-D47335335A3E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9" name="Vapaamuotoinen: Muoto 18">
              <a:extLst>
                <a:ext uri="{FF2B5EF4-FFF2-40B4-BE49-F238E27FC236}">
                  <a16:creationId xmlns:a16="http://schemas.microsoft.com/office/drawing/2014/main" id="{174D65B1-43CA-B503-D86E-62DE503C3A9C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20" name="Vapaamuotoinen: Muoto 19">
              <a:extLst>
                <a:ext uri="{FF2B5EF4-FFF2-40B4-BE49-F238E27FC236}">
                  <a16:creationId xmlns:a16="http://schemas.microsoft.com/office/drawing/2014/main" id="{96CF7BEF-9841-C636-4833-CF44883795A1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23" name="Vapaamuotoinen: Muoto 22">
              <a:extLst>
                <a:ext uri="{FF2B5EF4-FFF2-40B4-BE49-F238E27FC236}">
                  <a16:creationId xmlns:a16="http://schemas.microsoft.com/office/drawing/2014/main" id="{C71327A0-9565-018A-9ED5-8224A3584A97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24" name="Vapaamuotoinen: Muoto 23">
              <a:extLst>
                <a:ext uri="{FF2B5EF4-FFF2-40B4-BE49-F238E27FC236}">
                  <a16:creationId xmlns:a16="http://schemas.microsoft.com/office/drawing/2014/main" id="{9A4F7338-AA11-8845-AA60-8733E64633FD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25" name="Vapaamuotoinen: Muoto 24">
              <a:extLst>
                <a:ext uri="{FF2B5EF4-FFF2-40B4-BE49-F238E27FC236}">
                  <a16:creationId xmlns:a16="http://schemas.microsoft.com/office/drawing/2014/main" id="{010F6C3A-37A5-2ED4-EE90-7DF85320A24C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26" name="Vapaamuotoinen: Muoto 25">
              <a:extLst>
                <a:ext uri="{FF2B5EF4-FFF2-40B4-BE49-F238E27FC236}">
                  <a16:creationId xmlns:a16="http://schemas.microsoft.com/office/drawing/2014/main" id="{970D8043-07BB-8CCE-12FF-65764ACC2EE3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27" name="Vapaamuotoinen: Muoto 26">
              <a:extLst>
                <a:ext uri="{FF2B5EF4-FFF2-40B4-BE49-F238E27FC236}">
                  <a16:creationId xmlns:a16="http://schemas.microsoft.com/office/drawing/2014/main" id="{83FCC69D-E18E-DEAF-F65D-8274BB4C9739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</p:grp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 dirty="0"/>
          </a:p>
        </p:txBody>
      </p:sp>
    </p:spTree>
    <p:extLst>
      <p:ext uri="{BB962C8B-B14F-4D97-AF65-F5344CB8AC3E}">
        <p14:creationId xmlns:p14="http://schemas.microsoft.com/office/powerpoint/2010/main" val="2595007958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lehti nro ja kuva keltainen">
    <p:bg>
      <p:bgPr>
        <a:solidFill>
          <a:srgbClr val="FFFAC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>
            <a:extLst>
              <a:ext uri="{FF2B5EF4-FFF2-40B4-BE49-F238E27FC236}">
                <a16:creationId xmlns:a16="http://schemas.microsoft.com/office/drawing/2014/main" id="{0C0C45B2-2B8F-122D-75C1-2D79B886765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433570" y="0"/>
            <a:ext cx="8758429" cy="6858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None/>
              <a:defRPr sz="1800"/>
            </a:lvl1pPr>
          </a:lstStyle>
          <a:p>
            <a:r>
              <a:rPr lang="fi-FI" noProof="0"/>
              <a:t>Lisää kuva napsauttamalla kuvaketta</a:t>
            </a:r>
            <a:endParaRPr lang="fi-FI" noProof="0" dirty="0"/>
          </a:p>
        </p:txBody>
      </p:sp>
      <p:sp>
        <p:nvSpPr>
          <p:cNvPr id="22" name="Suorakulmio 21">
            <a:extLst>
              <a:ext uri="{FF2B5EF4-FFF2-40B4-BE49-F238E27FC236}">
                <a16:creationId xmlns:a16="http://schemas.microsoft.com/office/drawing/2014/main" id="{73767DC7-ABA0-F4CA-4D56-4A6E892E25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3429000"/>
            <a:ext cx="3433571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0DB878-8E84-426A-BEF0-AF1AAFA1F9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4785" y="3671398"/>
            <a:ext cx="3089059" cy="2990006"/>
          </a:xfrm>
        </p:spPr>
        <p:txBody>
          <a:bodyPr/>
          <a:lstStyle>
            <a:lvl1pPr>
              <a:defRPr sz="4000" spc="-100" baseline="0">
                <a:latin typeface="Work Sans Light" pitchFamily="2" charset="0"/>
              </a:defRPr>
            </a:lvl1pPr>
          </a:lstStyle>
          <a:p>
            <a:r>
              <a:rPr lang="fi-FI" noProof="0" dirty="0"/>
              <a:t>Lisää otsikko tähän</a:t>
            </a:r>
          </a:p>
        </p:txBody>
      </p:sp>
      <p:sp>
        <p:nvSpPr>
          <p:cNvPr id="4" name="Tekstin paikkamerkki 22">
            <a:extLst>
              <a:ext uri="{FF2B5EF4-FFF2-40B4-BE49-F238E27FC236}">
                <a16:creationId xmlns:a16="http://schemas.microsoft.com/office/drawing/2014/main" id="{F8BB2B58-D8BB-1736-51C6-A65C08E0264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8036" y="1580401"/>
            <a:ext cx="3008376" cy="1929383"/>
          </a:xfrm>
        </p:spPr>
        <p:txBody>
          <a:bodyPr anchor="b" anchorCtr="0"/>
          <a:lstStyle>
            <a:lvl1pPr marL="0" indent="0" algn="l">
              <a:lnSpc>
                <a:spcPct val="80000"/>
              </a:lnSpc>
              <a:buNone/>
              <a:defRPr sz="11500" spc="-50" baseline="0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fi-FI" noProof="0" dirty="0"/>
              <a:t>XX</a:t>
            </a:r>
          </a:p>
        </p:txBody>
      </p:sp>
      <p:grpSp>
        <p:nvGrpSpPr>
          <p:cNvPr id="5" name="Ryhmä 4">
            <a:extLst>
              <a:ext uri="{FF2B5EF4-FFF2-40B4-BE49-F238E27FC236}">
                <a16:creationId xmlns:a16="http://schemas.microsoft.com/office/drawing/2014/main" id="{3D2F5A89-E0E1-A352-25B1-1AA73A09A1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03203" y="203198"/>
            <a:ext cx="1117587" cy="1062785"/>
            <a:chOff x="203203" y="203198"/>
            <a:chExt cx="1117587" cy="1062785"/>
          </a:xfrm>
        </p:grpSpPr>
        <p:sp>
          <p:nvSpPr>
            <p:cNvPr id="6" name="Vapaamuotoinen: Muoto 5">
              <a:extLst>
                <a:ext uri="{FF2B5EF4-FFF2-40B4-BE49-F238E27FC236}">
                  <a16:creationId xmlns:a16="http://schemas.microsoft.com/office/drawing/2014/main" id="{525188C8-8609-73C0-4CA3-D47335335A3E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9" name="Vapaamuotoinen: Muoto 18">
              <a:extLst>
                <a:ext uri="{FF2B5EF4-FFF2-40B4-BE49-F238E27FC236}">
                  <a16:creationId xmlns:a16="http://schemas.microsoft.com/office/drawing/2014/main" id="{174D65B1-43CA-B503-D86E-62DE503C3A9C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20" name="Vapaamuotoinen: Muoto 19">
              <a:extLst>
                <a:ext uri="{FF2B5EF4-FFF2-40B4-BE49-F238E27FC236}">
                  <a16:creationId xmlns:a16="http://schemas.microsoft.com/office/drawing/2014/main" id="{96CF7BEF-9841-C636-4833-CF44883795A1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23" name="Vapaamuotoinen: Muoto 22">
              <a:extLst>
                <a:ext uri="{FF2B5EF4-FFF2-40B4-BE49-F238E27FC236}">
                  <a16:creationId xmlns:a16="http://schemas.microsoft.com/office/drawing/2014/main" id="{C71327A0-9565-018A-9ED5-8224A3584A97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24" name="Vapaamuotoinen: Muoto 23">
              <a:extLst>
                <a:ext uri="{FF2B5EF4-FFF2-40B4-BE49-F238E27FC236}">
                  <a16:creationId xmlns:a16="http://schemas.microsoft.com/office/drawing/2014/main" id="{9A4F7338-AA11-8845-AA60-8733E64633FD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25" name="Vapaamuotoinen: Muoto 24">
              <a:extLst>
                <a:ext uri="{FF2B5EF4-FFF2-40B4-BE49-F238E27FC236}">
                  <a16:creationId xmlns:a16="http://schemas.microsoft.com/office/drawing/2014/main" id="{010F6C3A-37A5-2ED4-EE90-7DF85320A24C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26" name="Vapaamuotoinen: Muoto 25">
              <a:extLst>
                <a:ext uri="{FF2B5EF4-FFF2-40B4-BE49-F238E27FC236}">
                  <a16:creationId xmlns:a16="http://schemas.microsoft.com/office/drawing/2014/main" id="{970D8043-07BB-8CCE-12FF-65764ACC2EE3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27" name="Vapaamuotoinen: Muoto 26">
              <a:extLst>
                <a:ext uri="{FF2B5EF4-FFF2-40B4-BE49-F238E27FC236}">
                  <a16:creationId xmlns:a16="http://schemas.microsoft.com/office/drawing/2014/main" id="{83FCC69D-E18E-DEAF-F65D-8274BB4C9739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</p:grp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 dirty="0"/>
          </a:p>
        </p:txBody>
      </p:sp>
    </p:spTree>
    <p:extLst>
      <p:ext uri="{BB962C8B-B14F-4D97-AF65-F5344CB8AC3E}">
        <p14:creationId xmlns:p14="http://schemas.microsoft.com/office/powerpoint/2010/main" val="3662583623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lehti THL vihreä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Suorakulmio 21">
            <a:extLst>
              <a:ext uri="{FF2B5EF4-FFF2-40B4-BE49-F238E27FC236}">
                <a16:creationId xmlns:a16="http://schemas.microsoft.com/office/drawing/2014/main" id="{73767DC7-ABA0-F4CA-4D56-4A6E892E25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0"/>
            <a:ext cx="343357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0DB878-8E84-426A-BEF0-AF1AAFA1F9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4785" y="1627632"/>
            <a:ext cx="3089059" cy="3781044"/>
          </a:xfrm>
        </p:spPr>
        <p:txBody>
          <a:bodyPr anchor="ctr" anchorCtr="0"/>
          <a:lstStyle>
            <a:lvl1pPr>
              <a:defRPr sz="4000" spc="-100" baseline="0">
                <a:latin typeface="Work Sans Light" pitchFamily="2" charset="0"/>
              </a:defRPr>
            </a:lvl1pPr>
          </a:lstStyle>
          <a:p>
            <a:r>
              <a:rPr lang="fi-FI" noProof="0" dirty="0"/>
              <a:t>Lisää otsikko tähän</a:t>
            </a:r>
          </a:p>
        </p:txBody>
      </p:sp>
      <p:grpSp>
        <p:nvGrpSpPr>
          <p:cNvPr id="5" name="Ryhmä 4">
            <a:extLst>
              <a:ext uri="{FF2B5EF4-FFF2-40B4-BE49-F238E27FC236}">
                <a16:creationId xmlns:a16="http://schemas.microsoft.com/office/drawing/2014/main" id="{3D2F5A89-E0E1-A352-25B1-1AA73A09A1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03203" y="203198"/>
            <a:ext cx="1117587" cy="1062785"/>
            <a:chOff x="203203" y="203198"/>
            <a:chExt cx="1117587" cy="1062785"/>
          </a:xfrm>
        </p:grpSpPr>
        <p:sp>
          <p:nvSpPr>
            <p:cNvPr id="6" name="Vapaamuotoinen: Muoto 5">
              <a:extLst>
                <a:ext uri="{FF2B5EF4-FFF2-40B4-BE49-F238E27FC236}">
                  <a16:creationId xmlns:a16="http://schemas.microsoft.com/office/drawing/2014/main" id="{525188C8-8609-73C0-4CA3-D47335335A3E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9" name="Vapaamuotoinen: Muoto 18">
              <a:extLst>
                <a:ext uri="{FF2B5EF4-FFF2-40B4-BE49-F238E27FC236}">
                  <a16:creationId xmlns:a16="http://schemas.microsoft.com/office/drawing/2014/main" id="{174D65B1-43CA-B503-D86E-62DE503C3A9C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20" name="Vapaamuotoinen: Muoto 19">
              <a:extLst>
                <a:ext uri="{FF2B5EF4-FFF2-40B4-BE49-F238E27FC236}">
                  <a16:creationId xmlns:a16="http://schemas.microsoft.com/office/drawing/2014/main" id="{96CF7BEF-9841-C636-4833-CF44883795A1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23" name="Vapaamuotoinen: Muoto 22">
              <a:extLst>
                <a:ext uri="{FF2B5EF4-FFF2-40B4-BE49-F238E27FC236}">
                  <a16:creationId xmlns:a16="http://schemas.microsoft.com/office/drawing/2014/main" id="{C71327A0-9565-018A-9ED5-8224A3584A97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24" name="Vapaamuotoinen: Muoto 23">
              <a:extLst>
                <a:ext uri="{FF2B5EF4-FFF2-40B4-BE49-F238E27FC236}">
                  <a16:creationId xmlns:a16="http://schemas.microsoft.com/office/drawing/2014/main" id="{9A4F7338-AA11-8845-AA60-8733E64633FD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25" name="Vapaamuotoinen: Muoto 24">
              <a:extLst>
                <a:ext uri="{FF2B5EF4-FFF2-40B4-BE49-F238E27FC236}">
                  <a16:creationId xmlns:a16="http://schemas.microsoft.com/office/drawing/2014/main" id="{010F6C3A-37A5-2ED4-EE90-7DF85320A24C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26" name="Vapaamuotoinen: Muoto 25">
              <a:extLst>
                <a:ext uri="{FF2B5EF4-FFF2-40B4-BE49-F238E27FC236}">
                  <a16:creationId xmlns:a16="http://schemas.microsoft.com/office/drawing/2014/main" id="{970D8043-07BB-8CCE-12FF-65764ACC2EE3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27" name="Vapaamuotoinen: Muoto 26">
              <a:extLst>
                <a:ext uri="{FF2B5EF4-FFF2-40B4-BE49-F238E27FC236}">
                  <a16:creationId xmlns:a16="http://schemas.microsoft.com/office/drawing/2014/main" id="{83FCC69D-E18E-DEAF-F65D-8274BB4C9739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</p:grp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 dirty="0"/>
          </a:p>
        </p:txBody>
      </p:sp>
    </p:spTree>
    <p:extLst>
      <p:ext uri="{BB962C8B-B14F-4D97-AF65-F5344CB8AC3E}">
        <p14:creationId xmlns:p14="http://schemas.microsoft.com/office/powerpoint/2010/main" val="3445845564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lehti violetti">
    <p:bg>
      <p:bgPr>
        <a:solidFill>
          <a:srgbClr val="FFE1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Suorakulmio 21">
            <a:extLst>
              <a:ext uri="{FF2B5EF4-FFF2-40B4-BE49-F238E27FC236}">
                <a16:creationId xmlns:a16="http://schemas.microsoft.com/office/drawing/2014/main" id="{73767DC7-ABA0-F4CA-4D56-4A6E892E25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0"/>
            <a:ext cx="343357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0DB878-8E84-426A-BEF0-AF1AAFA1F9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4785" y="1627632"/>
            <a:ext cx="3089059" cy="3781044"/>
          </a:xfrm>
        </p:spPr>
        <p:txBody>
          <a:bodyPr anchor="ctr" anchorCtr="0"/>
          <a:lstStyle>
            <a:lvl1pPr>
              <a:defRPr sz="4000" spc="-100" baseline="0">
                <a:latin typeface="Work Sans Light" pitchFamily="2" charset="0"/>
              </a:defRPr>
            </a:lvl1pPr>
          </a:lstStyle>
          <a:p>
            <a:r>
              <a:rPr lang="fi-FI" noProof="0" dirty="0"/>
              <a:t>Lisää otsikko tähän</a:t>
            </a:r>
          </a:p>
        </p:txBody>
      </p:sp>
      <p:grpSp>
        <p:nvGrpSpPr>
          <p:cNvPr id="5" name="Ryhmä 4">
            <a:extLst>
              <a:ext uri="{FF2B5EF4-FFF2-40B4-BE49-F238E27FC236}">
                <a16:creationId xmlns:a16="http://schemas.microsoft.com/office/drawing/2014/main" id="{3D2F5A89-E0E1-A352-25B1-1AA73A09A1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03203" y="203198"/>
            <a:ext cx="1117587" cy="1062785"/>
            <a:chOff x="203203" y="203198"/>
            <a:chExt cx="1117587" cy="1062785"/>
          </a:xfrm>
        </p:grpSpPr>
        <p:sp>
          <p:nvSpPr>
            <p:cNvPr id="6" name="Vapaamuotoinen: Muoto 5">
              <a:extLst>
                <a:ext uri="{FF2B5EF4-FFF2-40B4-BE49-F238E27FC236}">
                  <a16:creationId xmlns:a16="http://schemas.microsoft.com/office/drawing/2014/main" id="{525188C8-8609-73C0-4CA3-D47335335A3E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9" name="Vapaamuotoinen: Muoto 18">
              <a:extLst>
                <a:ext uri="{FF2B5EF4-FFF2-40B4-BE49-F238E27FC236}">
                  <a16:creationId xmlns:a16="http://schemas.microsoft.com/office/drawing/2014/main" id="{174D65B1-43CA-B503-D86E-62DE503C3A9C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20" name="Vapaamuotoinen: Muoto 19">
              <a:extLst>
                <a:ext uri="{FF2B5EF4-FFF2-40B4-BE49-F238E27FC236}">
                  <a16:creationId xmlns:a16="http://schemas.microsoft.com/office/drawing/2014/main" id="{96CF7BEF-9841-C636-4833-CF44883795A1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23" name="Vapaamuotoinen: Muoto 22">
              <a:extLst>
                <a:ext uri="{FF2B5EF4-FFF2-40B4-BE49-F238E27FC236}">
                  <a16:creationId xmlns:a16="http://schemas.microsoft.com/office/drawing/2014/main" id="{C71327A0-9565-018A-9ED5-8224A3584A97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24" name="Vapaamuotoinen: Muoto 23">
              <a:extLst>
                <a:ext uri="{FF2B5EF4-FFF2-40B4-BE49-F238E27FC236}">
                  <a16:creationId xmlns:a16="http://schemas.microsoft.com/office/drawing/2014/main" id="{9A4F7338-AA11-8845-AA60-8733E64633FD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25" name="Vapaamuotoinen: Muoto 24">
              <a:extLst>
                <a:ext uri="{FF2B5EF4-FFF2-40B4-BE49-F238E27FC236}">
                  <a16:creationId xmlns:a16="http://schemas.microsoft.com/office/drawing/2014/main" id="{010F6C3A-37A5-2ED4-EE90-7DF85320A24C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26" name="Vapaamuotoinen: Muoto 25">
              <a:extLst>
                <a:ext uri="{FF2B5EF4-FFF2-40B4-BE49-F238E27FC236}">
                  <a16:creationId xmlns:a16="http://schemas.microsoft.com/office/drawing/2014/main" id="{970D8043-07BB-8CCE-12FF-65764ACC2EE3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27" name="Vapaamuotoinen: Muoto 26">
              <a:extLst>
                <a:ext uri="{FF2B5EF4-FFF2-40B4-BE49-F238E27FC236}">
                  <a16:creationId xmlns:a16="http://schemas.microsoft.com/office/drawing/2014/main" id="{83FCC69D-E18E-DEAF-F65D-8274BB4C9739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</p:grp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67A09F6E-5547-1BAE-EC42-9BCE56A70D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 dirty="0"/>
          </a:p>
        </p:txBody>
      </p:sp>
    </p:spTree>
    <p:extLst>
      <p:ext uri="{BB962C8B-B14F-4D97-AF65-F5344CB8AC3E}">
        <p14:creationId xmlns:p14="http://schemas.microsoft.com/office/powerpoint/2010/main" val="1316153914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lehti vihreä">
    <p:bg>
      <p:bgPr>
        <a:solidFill>
          <a:srgbClr val="B4FFA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Suorakulmio 21">
            <a:extLst>
              <a:ext uri="{FF2B5EF4-FFF2-40B4-BE49-F238E27FC236}">
                <a16:creationId xmlns:a16="http://schemas.microsoft.com/office/drawing/2014/main" id="{73767DC7-ABA0-F4CA-4D56-4A6E892E25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0"/>
            <a:ext cx="343357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0DB878-8E84-426A-BEF0-AF1AAFA1F9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4785" y="1627632"/>
            <a:ext cx="3089059" cy="3781044"/>
          </a:xfrm>
        </p:spPr>
        <p:txBody>
          <a:bodyPr anchor="ctr" anchorCtr="0"/>
          <a:lstStyle>
            <a:lvl1pPr>
              <a:defRPr sz="4000" spc="-100" baseline="0">
                <a:latin typeface="Work Sans Light" pitchFamily="2" charset="0"/>
              </a:defRPr>
            </a:lvl1pPr>
          </a:lstStyle>
          <a:p>
            <a:r>
              <a:rPr lang="fi-FI" noProof="0" dirty="0"/>
              <a:t>Lisää otsikko tähän</a:t>
            </a:r>
          </a:p>
        </p:txBody>
      </p:sp>
      <p:grpSp>
        <p:nvGrpSpPr>
          <p:cNvPr id="5" name="Ryhmä 4">
            <a:extLst>
              <a:ext uri="{FF2B5EF4-FFF2-40B4-BE49-F238E27FC236}">
                <a16:creationId xmlns:a16="http://schemas.microsoft.com/office/drawing/2014/main" id="{3D2F5A89-E0E1-A352-25B1-1AA73A09A1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03203" y="203198"/>
            <a:ext cx="1117587" cy="1062785"/>
            <a:chOff x="203203" y="203198"/>
            <a:chExt cx="1117587" cy="1062785"/>
          </a:xfrm>
        </p:grpSpPr>
        <p:sp>
          <p:nvSpPr>
            <p:cNvPr id="6" name="Vapaamuotoinen: Muoto 5">
              <a:extLst>
                <a:ext uri="{FF2B5EF4-FFF2-40B4-BE49-F238E27FC236}">
                  <a16:creationId xmlns:a16="http://schemas.microsoft.com/office/drawing/2014/main" id="{525188C8-8609-73C0-4CA3-D47335335A3E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9" name="Vapaamuotoinen: Muoto 18">
              <a:extLst>
                <a:ext uri="{FF2B5EF4-FFF2-40B4-BE49-F238E27FC236}">
                  <a16:creationId xmlns:a16="http://schemas.microsoft.com/office/drawing/2014/main" id="{174D65B1-43CA-B503-D86E-62DE503C3A9C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20" name="Vapaamuotoinen: Muoto 19">
              <a:extLst>
                <a:ext uri="{FF2B5EF4-FFF2-40B4-BE49-F238E27FC236}">
                  <a16:creationId xmlns:a16="http://schemas.microsoft.com/office/drawing/2014/main" id="{96CF7BEF-9841-C636-4833-CF44883795A1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23" name="Vapaamuotoinen: Muoto 22">
              <a:extLst>
                <a:ext uri="{FF2B5EF4-FFF2-40B4-BE49-F238E27FC236}">
                  <a16:creationId xmlns:a16="http://schemas.microsoft.com/office/drawing/2014/main" id="{C71327A0-9565-018A-9ED5-8224A3584A97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24" name="Vapaamuotoinen: Muoto 23">
              <a:extLst>
                <a:ext uri="{FF2B5EF4-FFF2-40B4-BE49-F238E27FC236}">
                  <a16:creationId xmlns:a16="http://schemas.microsoft.com/office/drawing/2014/main" id="{9A4F7338-AA11-8845-AA60-8733E64633FD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25" name="Vapaamuotoinen: Muoto 24">
              <a:extLst>
                <a:ext uri="{FF2B5EF4-FFF2-40B4-BE49-F238E27FC236}">
                  <a16:creationId xmlns:a16="http://schemas.microsoft.com/office/drawing/2014/main" id="{010F6C3A-37A5-2ED4-EE90-7DF85320A24C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26" name="Vapaamuotoinen: Muoto 25">
              <a:extLst>
                <a:ext uri="{FF2B5EF4-FFF2-40B4-BE49-F238E27FC236}">
                  <a16:creationId xmlns:a16="http://schemas.microsoft.com/office/drawing/2014/main" id="{970D8043-07BB-8CCE-12FF-65764ACC2EE3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27" name="Vapaamuotoinen: Muoto 26">
              <a:extLst>
                <a:ext uri="{FF2B5EF4-FFF2-40B4-BE49-F238E27FC236}">
                  <a16:creationId xmlns:a16="http://schemas.microsoft.com/office/drawing/2014/main" id="{83FCC69D-E18E-DEAF-F65D-8274BB4C9739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</p:grp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 dirty="0"/>
          </a:p>
        </p:txBody>
      </p:sp>
    </p:spTree>
    <p:extLst>
      <p:ext uri="{BB962C8B-B14F-4D97-AF65-F5344CB8AC3E}">
        <p14:creationId xmlns:p14="http://schemas.microsoft.com/office/powerpoint/2010/main" val="1150454116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lehti keltainen">
    <p:bg>
      <p:bgPr>
        <a:solidFill>
          <a:srgbClr val="FFFAC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Suorakulmio 21">
            <a:extLst>
              <a:ext uri="{FF2B5EF4-FFF2-40B4-BE49-F238E27FC236}">
                <a16:creationId xmlns:a16="http://schemas.microsoft.com/office/drawing/2014/main" id="{73767DC7-ABA0-F4CA-4D56-4A6E892E25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0"/>
            <a:ext cx="343357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0DB878-8E84-426A-BEF0-AF1AAFA1F9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4785" y="1627632"/>
            <a:ext cx="3089059" cy="3781044"/>
          </a:xfrm>
        </p:spPr>
        <p:txBody>
          <a:bodyPr anchor="ctr" anchorCtr="0"/>
          <a:lstStyle>
            <a:lvl1pPr>
              <a:defRPr sz="4000" spc="-100" baseline="0">
                <a:latin typeface="Work Sans Light" pitchFamily="2" charset="0"/>
              </a:defRPr>
            </a:lvl1pPr>
          </a:lstStyle>
          <a:p>
            <a:r>
              <a:rPr lang="fi-FI" noProof="0" dirty="0"/>
              <a:t>Lisää otsikko tähän</a:t>
            </a:r>
          </a:p>
        </p:txBody>
      </p:sp>
      <p:grpSp>
        <p:nvGrpSpPr>
          <p:cNvPr id="5" name="Ryhmä 4">
            <a:extLst>
              <a:ext uri="{FF2B5EF4-FFF2-40B4-BE49-F238E27FC236}">
                <a16:creationId xmlns:a16="http://schemas.microsoft.com/office/drawing/2014/main" id="{3D2F5A89-E0E1-A352-25B1-1AA73A09A1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03203" y="203198"/>
            <a:ext cx="1117587" cy="1062785"/>
            <a:chOff x="203203" y="203198"/>
            <a:chExt cx="1117587" cy="1062785"/>
          </a:xfrm>
        </p:grpSpPr>
        <p:sp>
          <p:nvSpPr>
            <p:cNvPr id="6" name="Vapaamuotoinen: Muoto 5">
              <a:extLst>
                <a:ext uri="{FF2B5EF4-FFF2-40B4-BE49-F238E27FC236}">
                  <a16:creationId xmlns:a16="http://schemas.microsoft.com/office/drawing/2014/main" id="{525188C8-8609-73C0-4CA3-D47335335A3E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9" name="Vapaamuotoinen: Muoto 18">
              <a:extLst>
                <a:ext uri="{FF2B5EF4-FFF2-40B4-BE49-F238E27FC236}">
                  <a16:creationId xmlns:a16="http://schemas.microsoft.com/office/drawing/2014/main" id="{174D65B1-43CA-B503-D86E-62DE503C3A9C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20" name="Vapaamuotoinen: Muoto 19">
              <a:extLst>
                <a:ext uri="{FF2B5EF4-FFF2-40B4-BE49-F238E27FC236}">
                  <a16:creationId xmlns:a16="http://schemas.microsoft.com/office/drawing/2014/main" id="{96CF7BEF-9841-C636-4833-CF44883795A1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23" name="Vapaamuotoinen: Muoto 22">
              <a:extLst>
                <a:ext uri="{FF2B5EF4-FFF2-40B4-BE49-F238E27FC236}">
                  <a16:creationId xmlns:a16="http://schemas.microsoft.com/office/drawing/2014/main" id="{C71327A0-9565-018A-9ED5-8224A3584A97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24" name="Vapaamuotoinen: Muoto 23">
              <a:extLst>
                <a:ext uri="{FF2B5EF4-FFF2-40B4-BE49-F238E27FC236}">
                  <a16:creationId xmlns:a16="http://schemas.microsoft.com/office/drawing/2014/main" id="{9A4F7338-AA11-8845-AA60-8733E64633FD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25" name="Vapaamuotoinen: Muoto 24">
              <a:extLst>
                <a:ext uri="{FF2B5EF4-FFF2-40B4-BE49-F238E27FC236}">
                  <a16:creationId xmlns:a16="http://schemas.microsoft.com/office/drawing/2014/main" id="{010F6C3A-37A5-2ED4-EE90-7DF85320A24C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26" name="Vapaamuotoinen: Muoto 25">
              <a:extLst>
                <a:ext uri="{FF2B5EF4-FFF2-40B4-BE49-F238E27FC236}">
                  <a16:creationId xmlns:a16="http://schemas.microsoft.com/office/drawing/2014/main" id="{970D8043-07BB-8CCE-12FF-65764ACC2EE3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27" name="Vapaamuotoinen: Muoto 26">
              <a:extLst>
                <a:ext uri="{FF2B5EF4-FFF2-40B4-BE49-F238E27FC236}">
                  <a16:creationId xmlns:a16="http://schemas.microsoft.com/office/drawing/2014/main" id="{83FCC69D-E18E-DEAF-F65D-8274BB4C9739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</p:grp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 dirty="0"/>
          </a:p>
        </p:txBody>
      </p:sp>
    </p:spTree>
    <p:extLst>
      <p:ext uri="{BB962C8B-B14F-4D97-AF65-F5344CB8AC3E}">
        <p14:creationId xmlns:p14="http://schemas.microsoft.com/office/powerpoint/2010/main" val="4185705666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lehti sininen">
    <p:bg>
      <p:bgPr>
        <a:solidFill>
          <a:srgbClr val="DCEFF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Suorakulmio 21">
            <a:extLst>
              <a:ext uri="{FF2B5EF4-FFF2-40B4-BE49-F238E27FC236}">
                <a16:creationId xmlns:a16="http://schemas.microsoft.com/office/drawing/2014/main" id="{73767DC7-ABA0-F4CA-4D56-4A6E892E25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0"/>
            <a:ext cx="343357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0DB878-8E84-426A-BEF0-AF1AAFA1F9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4785" y="1627632"/>
            <a:ext cx="3089059" cy="3781044"/>
          </a:xfrm>
        </p:spPr>
        <p:txBody>
          <a:bodyPr anchor="ctr" anchorCtr="0"/>
          <a:lstStyle>
            <a:lvl1pPr>
              <a:defRPr sz="4000" spc="-100" baseline="0">
                <a:latin typeface="Work Sans Light" pitchFamily="2" charset="0"/>
              </a:defRPr>
            </a:lvl1pPr>
          </a:lstStyle>
          <a:p>
            <a:r>
              <a:rPr lang="fi-FI" noProof="0" dirty="0"/>
              <a:t>Lisää otsikko tähän</a:t>
            </a:r>
          </a:p>
        </p:txBody>
      </p:sp>
      <p:grpSp>
        <p:nvGrpSpPr>
          <p:cNvPr id="5" name="Ryhmä 4">
            <a:extLst>
              <a:ext uri="{FF2B5EF4-FFF2-40B4-BE49-F238E27FC236}">
                <a16:creationId xmlns:a16="http://schemas.microsoft.com/office/drawing/2014/main" id="{3D2F5A89-E0E1-A352-25B1-1AA73A09A1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03203" y="203198"/>
            <a:ext cx="1117587" cy="1062785"/>
            <a:chOff x="203203" y="203198"/>
            <a:chExt cx="1117587" cy="1062785"/>
          </a:xfrm>
        </p:grpSpPr>
        <p:sp>
          <p:nvSpPr>
            <p:cNvPr id="6" name="Vapaamuotoinen: Muoto 5">
              <a:extLst>
                <a:ext uri="{FF2B5EF4-FFF2-40B4-BE49-F238E27FC236}">
                  <a16:creationId xmlns:a16="http://schemas.microsoft.com/office/drawing/2014/main" id="{525188C8-8609-73C0-4CA3-D47335335A3E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9" name="Vapaamuotoinen: Muoto 18">
              <a:extLst>
                <a:ext uri="{FF2B5EF4-FFF2-40B4-BE49-F238E27FC236}">
                  <a16:creationId xmlns:a16="http://schemas.microsoft.com/office/drawing/2014/main" id="{174D65B1-43CA-B503-D86E-62DE503C3A9C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20" name="Vapaamuotoinen: Muoto 19">
              <a:extLst>
                <a:ext uri="{FF2B5EF4-FFF2-40B4-BE49-F238E27FC236}">
                  <a16:creationId xmlns:a16="http://schemas.microsoft.com/office/drawing/2014/main" id="{96CF7BEF-9841-C636-4833-CF44883795A1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23" name="Vapaamuotoinen: Muoto 22">
              <a:extLst>
                <a:ext uri="{FF2B5EF4-FFF2-40B4-BE49-F238E27FC236}">
                  <a16:creationId xmlns:a16="http://schemas.microsoft.com/office/drawing/2014/main" id="{C71327A0-9565-018A-9ED5-8224A3584A97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24" name="Vapaamuotoinen: Muoto 23">
              <a:extLst>
                <a:ext uri="{FF2B5EF4-FFF2-40B4-BE49-F238E27FC236}">
                  <a16:creationId xmlns:a16="http://schemas.microsoft.com/office/drawing/2014/main" id="{9A4F7338-AA11-8845-AA60-8733E64633FD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25" name="Vapaamuotoinen: Muoto 24">
              <a:extLst>
                <a:ext uri="{FF2B5EF4-FFF2-40B4-BE49-F238E27FC236}">
                  <a16:creationId xmlns:a16="http://schemas.microsoft.com/office/drawing/2014/main" id="{010F6C3A-37A5-2ED4-EE90-7DF85320A24C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26" name="Vapaamuotoinen: Muoto 25">
              <a:extLst>
                <a:ext uri="{FF2B5EF4-FFF2-40B4-BE49-F238E27FC236}">
                  <a16:creationId xmlns:a16="http://schemas.microsoft.com/office/drawing/2014/main" id="{970D8043-07BB-8CCE-12FF-65764ACC2EE3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27" name="Vapaamuotoinen: Muoto 26">
              <a:extLst>
                <a:ext uri="{FF2B5EF4-FFF2-40B4-BE49-F238E27FC236}">
                  <a16:creationId xmlns:a16="http://schemas.microsoft.com/office/drawing/2014/main" id="{83FCC69D-E18E-DEAF-F65D-8274BB4C9739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</p:grp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 dirty="0"/>
          </a:p>
        </p:txBody>
      </p:sp>
    </p:spTree>
    <p:extLst>
      <p:ext uri="{BB962C8B-B14F-4D97-AF65-F5344CB8AC3E}">
        <p14:creationId xmlns:p14="http://schemas.microsoft.com/office/powerpoint/2010/main" val="4107127531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lehti punainen">
    <p:bg>
      <p:bgPr>
        <a:solidFill>
          <a:srgbClr val="FE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Suorakulmio 21">
            <a:extLst>
              <a:ext uri="{FF2B5EF4-FFF2-40B4-BE49-F238E27FC236}">
                <a16:creationId xmlns:a16="http://schemas.microsoft.com/office/drawing/2014/main" id="{73767DC7-ABA0-F4CA-4D56-4A6E892E25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0"/>
            <a:ext cx="343357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0DB878-8E84-426A-BEF0-AF1AAFA1F9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4785" y="1627632"/>
            <a:ext cx="3089059" cy="3781044"/>
          </a:xfrm>
        </p:spPr>
        <p:txBody>
          <a:bodyPr anchor="ctr" anchorCtr="0"/>
          <a:lstStyle>
            <a:lvl1pPr>
              <a:defRPr sz="4000" spc="-100" baseline="0">
                <a:latin typeface="Work Sans Light" pitchFamily="2" charset="0"/>
              </a:defRPr>
            </a:lvl1pPr>
          </a:lstStyle>
          <a:p>
            <a:r>
              <a:rPr lang="fi-FI" noProof="0" dirty="0"/>
              <a:t>Lisää otsikko tähän</a:t>
            </a:r>
          </a:p>
        </p:txBody>
      </p:sp>
      <p:grpSp>
        <p:nvGrpSpPr>
          <p:cNvPr id="5" name="Ryhmä 4">
            <a:extLst>
              <a:ext uri="{FF2B5EF4-FFF2-40B4-BE49-F238E27FC236}">
                <a16:creationId xmlns:a16="http://schemas.microsoft.com/office/drawing/2014/main" id="{3D2F5A89-E0E1-A352-25B1-1AA73A09A1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03203" y="203198"/>
            <a:ext cx="1117587" cy="1062785"/>
            <a:chOff x="203203" y="203198"/>
            <a:chExt cx="1117587" cy="1062785"/>
          </a:xfrm>
        </p:grpSpPr>
        <p:sp>
          <p:nvSpPr>
            <p:cNvPr id="6" name="Vapaamuotoinen: Muoto 5">
              <a:extLst>
                <a:ext uri="{FF2B5EF4-FFF2-40B4-BE49-F238E27FC236}">
                  <a16:creationId xmlns:a16="http://schemas.microsoft.com/office/drawing/2014/main" id="{525188C8-8609-73C0-4CA3-D47335335A3E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9" name="Vapaamuotoinen: Muoto 18">
              <a:extLst>
                <a:ext uri="{FF2B5EF4-FFF2-40B4-BE49-F238E27FC236}">
                  <a16:creationId xmlns:a16="http://schemas.microsoft.com/office/drawing/2014/main" id="{174D65B1-43CA-B503-D86E-62DE503C3A9C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20" name="Vapaamuotoinen: Muoto 19">
              <a:extLst>
                <a:ext uri="{FF2B5EF4-FFF2-40B4-BE49-F238E27FC236}">
                  <a16:creationId xmlns:a16="http://schemas.microsoft.com/office/drawing/2014/main" id="{96CF7BEF-9841-C636-4833-CF44883795A1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23" name="Vapaamuotoinen: Muoto 22">
              <a:extLst>
                <a:ext uri="{FF2B5EF4-FFF2-40B4-BE49-F238E27FC236}">
                  <a16:creationId xmlns:a16="http://schemas.microsoft.com/office/drawing/2014/main" id="{C71327A0-9565-018A-9ED5-8224A3584A97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24" name="Vapaamuotoinen: Muoto 23">
              <a:extLst>
                <a:ext uri="{FF2B5EF4-FFF2-40B4-BE49-F238E27FC236}">
                  <a16:creationId xmlns:a16="http://schemas.microsoft.com/office/drawing/2014/main" id="{9A4F7338-AA11-8845-AA60-8733E64633FD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25" name="Vapaamuotoinen: Muoto 24">
              <a:extLst>
                <a:ext uri="{FF2B5EF4-FFF2-40B4-BE49-F238E27FC236}">
                  <a16:creationId xmlns:a16="http://schemas.microsoft.com/office/drawing/2014/main" id="{010F6C3A-37A5-2ED4-EE90-7DF85320A24C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26" name="Vapaamuotoinen: Muoto 25">
              <a:extLst>
                <a:ext uri="{FF2B5EF4-FFF2-40B4-BE49-F238E27FC236}">
                  <a16:creationId xmlns:a16="http://schemas.microsoft.com/office/drawing/2014/main" id="{970D8043-07BB-8CCE-12FF-65764ACC2EE3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27" name="Vapaamuotoinen: Muoto 26">
              <a:extLst>
                <a:ext uri="{FF2B5EF4-FFF2-40B4-BE49-F238E27FC236}">
                  <a16:creationId xmlns:a16="http://schemas.microsoft.com/office/drawing/2014/main" id="{83FCC69D-E18E-DEAF-F65D-8274BB4C9739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</p:grp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67A09F6E-5547-1BAE-EC42-9BCE56A70D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 dirty="0"/>
          </a:p>
        </p:txBody>
      </p:sp>
    </p:spTree>
    <p:extLst>
      <p:ext uri="{BB962C8B-B14F-4D97-AF65-F5344CB8AC3E}">
        <p14:creationId xmlns:p14="http://schemas.microsoft.com/office/powerpoint/2010/main" val="1207740418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äätössivu">
    <p:bg>
      <p:bgPr>
        <a:solidFill>
          <a:srgbClr val="005A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6E6260-E36C-484A-9F25-1346EC50A8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56953" y="1951001"/>
            <a:ext cx="10477035" cy="2082841"/>
          </a:xfrm>
        </p:spPr>
        <p:txBody>
          <a:bodyPr anchor="b">
            <a:noAutofit/>
          </a:bodyPr>
          <a:lstStyle>
            <a:lvl1pPr algn="ctr">
              <a:defRPr sz="13800" spc="-300" baseline="0">
                <a:solidFill>
                  <a:srgbClr val="FFF7F1"/>
                </a:solidFill>
                <a:latin typeface="Work Sans Light" pitchFamily="2" charset="0"/>
              </a:defRPr>
            </a:lvl1pPr>
          </a:lstStyle>
          <a:p>
            <a:r>
              <a:rPr lang="fi-FI" noProof="0" dirty="0"/>
              <a:t>Päätössivu</a:t>
            </a:r>
          </a:p>
        </p:txBody>
      </p:sp>
      <p:sp>
        <p:nvSpPr>
          <p:cNvPr id="23" name="Tekstin paikkamerkki 22">
            <a:extLst>
              <a:ext uri="{FF2B5EF4-FFF2-40B4-BE49-F238E27FC236}">
                <a16:creationId xmlns:a16="http://schemas.microsoft.com/office/drawing/2014/main" id="{463699EA-6FB5-11FA-EFF4-9EF634830ED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6953" y="4664704"/>
            <a:ext cx="10477035" cy="440072"/>
          </a:xfrm>
        </p:spPr>
        <p:txBody>
          <a:bodyPr anchor="b" anchorCtr="0"/>
          <a:lstStyle>
            <a:lvl1pPr marL="0" indent="0" algn="ctr">
              <a:buNone/>
              <a:defRPr>
                <a:solidFill>
                  <a:srgbClr val="FFF7F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fi-FI" noProof="0" dirty="0"/>
              <a:t>Lisää tekstiä tähän</a:t>
            </a:r>
          </a:p>
        </p:txBody>
      </p:sp>
      <p:sp>
        <p:nvSpPr>
          <p:cNvPr id="10" name="Tekstin paikkamerkki 9">
            <a:extLst>
              <a:ext uri="{FF2B5EF4-FFF2-40B4-BE49-F238E27FC236}">
                <a16:creationId xmlns:a16="http://schemas.microsoft.com/office/drawing/2014/main" id="{BA0D528A-E45F-D426-FD02-B0B54E827D8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57250" y="5401791"/>
            <a:ext cx="10477500" cy="336484"/>
          </a:xfrm>
        </p:spPr>
        <p:txBody>
          <a:bodyPr/>
          <a:lstStyle>
            <a:lvl1pPr marL="0" indent="0" algn="ctr">
              <a:buNone/>
              <a:defRPr sz="1800">
                <a:solidFill>
                  <a:srgbClr val="FFF7F1"/>
                </a:solidFill>
              </a:defRPr>
            </a:lvl1pPr>
          </a:lstStyle>
          <a:p>
            <a:pPr lvl="0"/>
            <a:r>
              <a:rPr lang="fi-FI" noProof="0" dirty="0"/>
              <a:t>Lisää tekstiä tähän</a:t>
            </a:r>
          </a:p>
        </p:txBody>
      </p:sp>
      <p:grpSp>
        <p:nvGrpSpPr>
          <p:cNvPr id="42" name="Ryhmä 9">
            <a:extLst>
              <a:ext uri="{FF2B5EF4-FFF2-40B4-BE49-F238E27FC236}">
                <a16:creationId xmlns:a16="http://schemas.microsoft.com/office/drawing/2014/main" id="{61A8B933-523D-18D5-1617-3C73FE86A3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197447" y="200023"/>
            <a:ext cx="1126884" cy="1071627"/>
            <a:chOff x="203203" y="203198"/>
            <a:chExt cx="1117587" cy="1062785"/>
          </a:xfrm>
          <a:solidFill>
            <a:srgbClr val="FFF7F0"/>
          </a:solidFill>
        </p:grpSpPr>
        <p:sp>
          <p:nvSpPr>
            <p:cNvPr id="43" name="Vapaamuotoinen: Muoto 10">
              <a:extLst>
                <a:ext uri="{FF2B5EF4-FFF2-40B4-BE49-F238E27FC236}">
                  <a16:creationId xmlns:a16="http://schemas.microsoft.com/office/drawing/2014/main" id="{95EF54DF-E6CC-4973-DE1C-28BF4B8CABF5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grpFill/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44" name="Vapaamuotoinen: Muoto 11">
              <a:extLst>
                <a:ext uri="{FF2B5EF4-FFF2-40B4-BE49-F238E27FC236}">
                  <a16:creationId xmlns:a16="http://schemas.microsoft.com/office/drawing/2014/main" id="{3A717948-9DC4-C7C2-DF0B-0A741D4C9697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grpFill/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45" name="Vapaamuotoinen: Muoto 12">
              <a:extLst>
                <a:ext uri="{FF2B5EF4-FFF2-40B4-BE49-F238E27FC236}">
                  <a16:creationId xmlns:a16="http://schemas.microsoft.com/office/drawing/2014/main" id="{510CCB9C-85C9-6BC1-80CF-DCB7525EAC50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grpFill/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46" name="Vapaamuotoinen: Muoto 13">
              <a:extLst>
                <a:ext uri="{FF2B5EF4-FFF2-40B4-BE49-F238E27FC236}">
                  <a16:creationId xmlns:a16="http://schemas.microsoft.com/office/drawing/2014/main" id="{94EC2F65-E9E5-D1B0-514B-1CAB2546F0E9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grpFill/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47" name="Vapaamuotoinen: Muoto 14">
              <a:extLst>
                <a:ext uri="{FF2B5EF4-FFF2-40B4-BE49-F238E27FC236}">
                  <a16:creationId xmlns:a16="http://schemas.microsoft.com/office/drawing/2014/main" id="{8854FBAC-F823-CDF4-0BC8-3C0AB7DFD2A5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grpFill/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48" name="Vapaamuotoinen: Muoto 15">
              <a:extLst>
                <a:ext uri="{FF2B5EF4-FFF2-40B4-BE49-F238E27FC236}">
                  <a16:creationId xmlns:a16="http://schemas.microsoft.com/office/drawing/2014/main" id="{859508E6-E81D-6007-C89C-F3302D643BFE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grpFill/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49" name="Vapaamuotoinen: Muoto 16">
              <a:extLst>
                <a:ext uri="{FF2B5EF4-FFF2-40B4-BE49-F238E27FC236}">
                  <a16:creationId xmlns:a16="http://schemas.microsoft.com/office/drawing/2014/main" id="{91ADE866-BE02-3759-6D97-B4E6CC29CAB2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grpFill/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50" name="Vapaamuotoinen: Muoto 17">
              <a:extLst>
                <a:ext uri="{FF2B5EF4-FFF2-40B4-BE49-F238E27FC236}">
                  <a16:creationId xmlns:a16="http://schemas.microsoft.com/office/drawing/2014/main" id="{48ED4965-5270-89A6-9D6C-CC4669A8B5D7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grpFill/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</p:grpSp>
    </p:spTree>
    <p:extLst>
      <p:ext uri="{BB962C8B-B14F-4D97-AF65-F5344CB8AC3E}">
        <p14:creationId xmlns:p14="http://schemas.microsoft.com/office/powerpoint/2010/main" val="3574695185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1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raphic 24">
            <a:extLst>
              <a:ext uri="{FF2B5EF4-FFF2-40B4-BE49-F238E27FC236}">
                <a16:creationId xmlns:a16="http://schemas.microsoft.com/office/drawing/2014/main" id="{412E2FC6-3DC7-A5C6-CB76-702A1185B2EA}"/>
              </a:ext>
            </a:extLst>
          </p:cNvPr>
          <p:cNvSpPr/>
          <p:nvPr/>
        </p:nvSpPr>
        <p:spPr>
          <a:xfrm>
            <a:off x="0" y="-3"/>
            <a:ext cx="12191877" cy="6858000"/>
          </a:xfrm>
          <a:custGeom>
            <a:avLst/>
            <a:gdLst>
              <a:gd name="connsiteX0" fmla="*/ 0 w 12191877"/>
              <a:gd name="connsiteY0" fmla="*/ 6858000 h 6858000"/>
              <a:gd name="connsiteX1" fmla="*/ 8102520 w 12191877"/>
              <a:gd name="connsiteY1" fmla="*/ 6858000 h 6858000"/>
              <a:gd name="connsiteX2" fmla="*/ 8102520 w 12191877"/>
              <a:gd name="connsiteY2" fmla="*/ 6051708 h 6858000"/>
              <a:gd name="connsiteX3" fmla="*/ 12191878 w 12191877"/>
              <a:gd name="connsiteY3" fmla="*/ 1962310 h 6858000"/>
              <a:gd name="connsiteX4" fmla="*/ 12191878 w 12191877"/>
              <a:gd name="connsiteY4" fmla="*/ 1850371 h 6858000"/>
              <a:gd name="connsiteX5" fmla="*/ 8102520 w 12191877"/>
              <a:gd name="connsiteY5" fmla="*/ 5939766 h 6858000"/>
              <a:gd name="connsiteX6" fmla="*/ 8102520 w 12191877"/>
              <a:gd name="connsiteY6" fmla="*/ 4931057 h 6858000"/>
              <a:gd name="connsiteX7" fmla="*/ 12191878 w 12191877"/>
              <a:gd name="connsiteY7" fmla="*/ 841658 h 6858000"/>
              <a:gd name="connsiteX8" fmla="*/ 12191878 w 12191877"/>
              <a:gd name="connsiteY8" fmla="*/ 729724 h 6858000"/>
              <a:gd name="connsiteX9" fmla="*/ 8102520 w 12191877"/>
              <a:gd name="connsiteY9" fmla="*/ 4819122 h 6858000"/>
              <a:gd name="connsiteX10" fmla="*/ 8102520 w 12191877"/>
              <a:gd name="connsiteY10" fmla="*/ 3810409 h 6858000"/>
              <a:gd name="connsiteX11" fmla="*/ 11912894 w 12191877"/>
              <a:gd name="connsiteY11" fmla="*/ 0 h 6858000"/>
              <a:gd name="connsiteX12" fmla="*/ 11800954 w 12191877"/>
              <a:gd name="connsiteY12" fmla="*/ 0 h 6858000"/>
              <a:gd name="connsiteX13" fmla="*/ 8102520 w 12191877"/>
              <a:gd name="connsiteY13" fmla="*/ 3698475 h 6858000"/>
              <a:gd name="connsiteX14" fmla="*/ 8102520 w 12191877"/>
              <a:gd name="connsiteY14" fmla="*/ 2689762 h 6858000"/>
              <a:gd name="connsiteX15" fmla="*/ 10792254 w 12191877"/>
              <a:gd name="connsiteY15" fmla="*/ 0 h 6858000"/>
              <a:gd name="connsiteX16" fmla="*/ 10680314 w 12191877"/>
              <a:gd name="connsiteY16" fmla="*/ 0 h 6858000"/>
              <a:gd name="connsiteX17" fmla="*/ 8102520 w 12191877"/>
              <a:gd name="connsiteY17" fmla="*/ 2577820 h 6858000"/>
              <a:gd name="connsiteX18" fmla="*/ 8102520 w 12191877"/>
              <a:gd name="connsiteY18" fmla="*/ 1569100 h 6858000"/>
              <a:gd name="connsiteX19" fmla="*/ 9671614 w 12191877"/>
              <a:gd name="connsiteY19" fmla="*/ 0 h 6858000"/>
              <a:gd name="connsiteX20" fmla="*/ 9559677 w 12191877"/>
              <a:gd name="connsiteY20" fmla="*/ 0 h 6858000"/>
              <a:gd name="connsiteX21" fmla="*/ 8102520 w 12191877"/>
              <a:gd name="connsiteY21" fmla="*/ 1457172 h 6858000"/>
              <a:gd name="connsiteX22" fmla="*/ 8102520 w 12191877"/>
              <a:gd name="connsiteY22" fmla="*/ 560902 h 6858000"/>
              <a:gd name="connsiteX23" fmla="*/ 8644717 w 12191877"/>
              <a:gd name="connsiteY23" fmla="*/ 0 h 6858000"/>
              <a:gd name="connsiteX24" fmla="*/ 8536632 w 12191877"/>
              <a:gd name="connsiteY24" fmla="*/ 0 h 6858000"/>
              <a:gd name="connsiteX25" fmla="*/ 8102520 w 12191877"/>
              <a:gd name="connsiteY25" fmla="*/ 448970 h 6858000"/>
              <a:gd name="connsiteX26" fmla="*/ 8102520 w 12191877"/>
              <a:gd name="connsiteY26" fmla="*/ 0 h 6858000"/>
              <a:gd name="connsiteX27" fmla="*/ 0 w 12191877"/>
              <a:gd name="connsiteY27" fmla="*/ 0 h 6858000"/>
              <a:gd name="connsiteX28" fmla="*/ 0 w 12191877"/>
              <a:gd name="connsiteY28" fmla="*/ 6857997 h 6858000"/>
              <a:gd name="connsiteX29" fmla="*/ 8304935 w 12191877"/>
              <a:gd name="connsiteY29" fmla="*/ 6858000 h 6858000"/>
              <a:gd name="connsiteX30" fmla="*/ 8416875 w 12191877"/>
              <a:gd name="connsiteY30" fmla="*/ 6858000 h 6858000"/>
              <a:gd name="connsiteX31" fmla="*/ 12191878 w 12191877"/>
              <a:gd name="connsiteY31" fmla="*/ 3082961 h 6858000"/>
              <a:gd name="connsiteX32" fmla="*/ 12191878 w 12191877"/>
              <a:gd name="connsiteY32" fmla="*/ 2971019 h 6858000"/>
              <a:gd name="connsiteX33" fmla="*/ 8304935 w 12191877"/>
              <a:gd name="connsiteY33" fmla="*/ 6858000 h 6858000"/>
              <a:gd name="connsiteX34" fmla="*/ 9425589 w 12191877"/>
              <a:gd name="connsiteY34" fmla="*/ 6858000 h 6858000"/>
              <a:gd name="connsiteX35" fmla="*/ 9537516 w 12191877"/>
              <a:gd name="connsiteY35" fmla="*/ 6858000 h 6858000"/>
              <a:gd name="connsiteX36" fmla="*/ 12191878 w 12191877"/>
              <a:gd name="connsiteY36" fmla="*/ 4203612 h 6858000"/>
              <a:gd name="connsiteX37" fmla="*/ 12191878 w 12191877"/>
              <a:gd name="connsiteY37" fmla="*/ 4091670 h 6858000"/>
              <a:gd name="connsiteX38" fmla="*/ 9425589 w 12191877"/>
              <a:gd name="connsiteY38" fmla="*/ 6858000 h 6858000"/>
              <a:gd name="connsiteX39" fmla="*/ 10544933 w 12191877"/>
              <a:gd name="connsiteY39" fmla="*/ 6858000 h 6858000"/>
              <a:gd name="connsiteX40" fmla="*/ 10658156 w 12191877"/>
              <a:gd name="connsiteY40" fmla="*/ 6858000 h 6858000"/>
              <a:gd name="connsiteX41" fmla="*/ 12191878 w 12191877"/>
              <a:gd name="connsiteY41" fmla="*/ 5324264 h 6858000"/>
              <a:gd name="connsiteX42" fmla="*/ 12191878 w 12191877"/>
              <a:gd name="connsiteY42" fmla="*/ 5211040 h 6858000"/>
              <a:gd name="connsiteX43" fmla="*/ 10544933 w 12191877"/>
              <a:gd name="connsiteY43" fmla="*/ 6858000 h 6858000"/>
              <a:gd name="connsiteX44" fmla="*/ 11665573 w 12191877"/>
              <a:gd name="connsiteY44" fmla="*/ 6858000 h 6858000"/>
              <a:gd name="connsiteX45" fmla="*/ 11777507 w 12191877"/>
              <a:gd name="connsiteY45" fmla="*/ 6858000 h 6858000"/>
              <a:gd name="connsiteX46" fmla="*/ 12191878 w 12191877"/>
              <a:gd name="connsiteY46" fmla="*/ 6443630 h 6858000"/>
              <a:gd name="connsiteX47" fmla="*/ 12191878 w 12191877"/>
              <a:gd name="connsiteY47" fmla="*/ 6331691 h 6858000"/>
              <a:gd name="connsiteX48" fmla="*/ 11665573 w 12191877"/>
              <a:gd name="connsiteY4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2191877" h="6858000">
                <a:moveTo>
                  <a:pt x="0" y="6858000"/>
                </a:moveTo>
                <a:lnTo>
                  <a:pt x="8102520" y="6858000"/>
                </a:lnTo>
                <a:lnTo>
                  <a:pt x="8102520" y="6051708"/>
                </a:lnTo>
                <a:lnTo>
                  <a:pt x="12191878" y="1962310"/>
                </a:lnTo>
                <a:lnTo>
                  <a:pt x="12191878" y="1850371"/>
                </a:lnTo>
                <a:lnTo>
                  <a:pt x="8102520" y="5939766"/>
                </a:lnTo>
                <a:lnTo>
                  <a:pt x="8102520" y="4931057"/>
                </a:lnTo>
                <a:lnTo>
                  <a:pt x="12191878" y="841658"/>
                </a:lnTo>
                <a:lnTo>
                  <a:pt x="12191878" y="729724"/>
                </a:lnTo>
                <a:lnTo>
                  <a:pt x="8102520" y="4819122"/>
                </a:lnTo>
                <a:lnTo>
                  <a:pt x="8102520" y="3810409"/>
                </a:lnTo>
                <a:lnTo>
                  <a:pt x="11912894" y="0"/>
                </a:lnTo>
                <a:lnTo>
                  <a:pt x="11800954" y="0"/>
                </a:lnTo>
                <a:lnTo>
                  <a:pt x="8102520" y="3698475"/>
                </a:lnTo>
                <a:lnTo>
                  <a:pt x="8102520" y="2689762"/>
                </a:lnTo>
                <a:lnTo>
                  <a:pt x="10792254" y="0"/>
                </a:lnTo>
                <a:lnTo>
                  <a:pt x="10680314" y="0"/>
                </a:lnTo>
                <a:lnTo>
                  <a:pt x="8102520" y="2577820"/>
                </a:lnTo>
                <a:lnTo>
                  <a:pt x="8102520" y="1569100"/>
                </a:lnTo>
                <a:lnTo>
                  <a:pt x="9671614" y="0"/>
                </a:lnTo>
                <a:lnTo>
                  <a:pt x="9559677" y="0"/>
                </a:lnTo>
                <a:lnTo>
                  <a:pt x="8102520" y="1457172"/>
                </a:lnTo>
                <a:lnTo>
                  <a:pt x="8102520" y="560902"/>
                </a:lnTo>
                <a:lnTo>
                  <a:pt x="8644717" y="0"/>
                </a:lnTo>
                <a:lnTo>
                  <a:pt x="8536632" y="0"/>
                </a:lnTo>
                <a:lnTo>
                  <a:pt x="8102520" y="448970"/>
                </a:lnTo>
                <a:lnTo>
                  <a:pt x="8102520" y="0"/>
                </a:lnTo>
                <a:lnTo>
                  <a:pt x="0" y="0"/>
                </a:lnTo>
                <a:lnTo>
                  <a:pt x="0" y="6857997"/>
                </a:lnTo>
                <a:close/>
                <a:moveTo>
                  <a:pt x="8304935" y="6858000"/>
                </a:moveTo>
                <a:lnTo>
                  <a:pt x="8416875" y="6858000"/>
                </a:lnTo>
                <a:lnTo>
                  <a:pt x="12191878" y="3082961"/>
                </a:lnTo>
                <a:lnTo>
                  <a:pt x="12191878" y="2971019"/>
                </a:lnTo>
                <a:lnTo>
                  <a:pt x="8304935" y="6858000"/>
                </a:lnTo>
                <a:close/>
                <a:moveTo>
                  <a:pt x="9425589" y="6858000"/>
                </a:moveTo>
                <a:lnTo>
                  <a:pt x="9537516" y="6858000"/>
                </a:lnTo>
                <a:lnTo>
                  <a:pt x="12191878" y="4203612"/>
                </a:lnTo>
                <a:lnTo>
                  <a:pt x="12191878" y="4091670"/>
                </a:lnTo>
                <a:lnTo>
                  <a:pt x="9425589" y="6858000"/>
                </a:lnTo>
                <a:close/>
                <a:moveTo>
                  <a:pt x="10544933" y="6858000"/>
                </a:moveTo>
                <a:lnTo>
                  <a:pt x="10658156" y="6858000"/>
                </a:lnTo>
                <a:lnTo>
                  <a:pt x="12191878" y="5324264"/>
                </a:lnTo>
                <a:lnTo>
                  <a:pt x="12191878" y="5211040"/>
                </a:lnTo>
                <a:lnTo>
                  <a:pt x="10544933" y="6858000"/>
                </a:lnTo>
                <a:close/>
                <a:moveTo>
                  <a:pt x="11665573" y="6858000"/>
                </a:moveTo>
                <a:lnTo>
                  <a:pt x="11777507" y="6858000"/>
                </a:lnTo>
                <a:lnTo>
                  <a:pt x="12191878" y="6443630"/>
                </a:lnTo>
                <a:lnTo>
                  <a:pt x="12191878" y="6331691"/>
                </a:lnTo>
                <a:lnTo>
                  <a:pt x="11665573" y="6858000"/>
                </a:lnTo>
                <a:close/>
              </a:path>
            </a:pathLst>
          </a:custGeom>
          <a:solidFill>
            <a:srgbClr val="F0EBE1"/>
          </a:solidFill>
          <a:ln w="36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6E6260-E36C-484A-9F25-1346EC50A8D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5508" y="2196783"/>
            <a:ext cx="6839712" cy="1876869"/>
          </a:xfrm>
        </p:spPr>
        <p:txBody>
          <a:bodyPr anchor="t" anchorCtr="0"/>
          <a:lstStyle>
            <a:lvl1pPr algn="l">
              <a:lnSpc>
                <a:spcPct val="95000"/>
              </a:lnSpc>
              <a:defRPr sz="4000"/>
            </a:lvl1pPr>
          </a:lstStyle>
          <a:p>
            <a:r>
              <a:rPr lang="fi-FI"/>
              <a:t>Muokkaa perustyyl. napsautt.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1FDDA9F-DC3B-4803-9730-F564F287AC8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35508" y="5070348"/>
            <a:ext cx="6839712" cy="1220724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24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D7FCCBE-EE77-5D47-8CE2-1B409B5E09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915" y="565286"/>
            <a:ext cx="2090175" cy="703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188601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 2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AF55F463-6573-FC45-BA45-C38E511134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F6E6260-E36C-484A-9F25-1346EC50A8D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5508" y="2196783"/>
            <a:ext cx="6839712" cy="1876869"/>
          </a:xfrm>
        </p:spPr>
        <p:txBody>
          <a:bodyPr anchor="t" anchorCtr="0"/>
          <a:lstStyle>
            <a:lvl1pPr algn="l">
              <a:lnSpc>
                <a:spcPct val="95000"/>
              </a:lnSpc>
              <a:defRPr sz="4000"/>
            </a:lvl1pPr>
          </a:lstStyle>
          <a:p>
            <a:r>
              <a:rPr lang="fi-FI"/>
              <a:t>Muokkaa perustyyl. napsautt.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1FDDA9F-DC3B-4803-9730-F564F287AC8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35508" y="5070348"/>
            <a:ext cx="6839712" cy="1220724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24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3EE9307-AB79-3247-82BD-37685692FA2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915" y="565286"/>
            <a:ext cx="2090175" cy="703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9307874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raphic 24">
            <a:extLst>
              <a:ext uri="{FF2B5EF4-FFF2-40B4-BE49-F238E27FC236}">
                <a16:creationId xmlns:a16="http://schemas.microsoft.com/office/drawing/2014/main" id="{412E2FC6-3DC7-A5C6-CB76-702A1185B2EA}"/>
              </a:ext>
            </a:extLst>
          </p:cNvPr>
          <p:cNvSpPr/>
          <p:nvPr/>
        </p:nvSpPr>
        <p:spPr>
          <a:xfrm>
            <a:off x="0" y="-3"/>
            <a:ext cx="12191877" cy="6858000"/>
          </a:xfrm>
          <a:custGeom>
            <a:avLst/>
            <a:gdLst>
              <a:gd name="connsiteX0" fmla="*/ 0 w 12191877"/>
              <a:gd name="connsiteY0" fmla="*/ 6858000 h 6858000"/>
              <a:gd name="connsiteX1" fmla="*/ 8102520 w 12191877"/>
              <a:gd name="connsiteY1" fmla="*/ 6858000 h 6858000"/>
              <a:gd name="connsiteX2" fmla="*/ 8102520 w 12191877"/>
              <a:gd name="connsiteY2" fmla="*/ 6051708 h 6858000"/>
              <a:gd name="connsiteX3" fmla="*/ 12191878 w 12191877"/>
              <a:gd name="connsiteY3" fmla="*/ 1962310 h 6858000"/>
              <a:gd name="connsiteX4" fmla="*/ 12191878 w 12191877"/>
              <a:gd name="connsiteY4" fmla="*/ 1850371 h 6858000"/>
              <a:gd name="connsiteX5" fmla="*/ 8102520 w 12191877"/>
              <a:gd name="connsiteY5" fmla="*/ 5939766 h 6858000"/>
              <a:gd name="connsiteX6" fmla="*/ 8102520 w 12191877"/>
              <a:gd name="connsiteY6" fmla="*/ 4931057 h 6858000"/>
              <a:gd name="connsiteX7" fmla="*/ 12191878 w 12191877"/>
              <a:gd name="connsiteY7" fmla="*/ 841658 h 6858000"/>
              <a:gd name="connsiteX8" fmla="*/ 12191878 w 12191877"/>
              <a:gd name="connsiteY8" fmla="*/ 729724 h 6858000"/>
              <a:gd name="connsiteX9" fmla="*/ 8102520 w 12191877"/>
              <a:gd name="connsiteY9" fmla="*/ 4819122 h 6858000"/>
              <a:gd name="connsiteX10" fmla="*/ 8102520 w 12191877"/>
              <a:gd name="connsiteY10" fmla="*/ 3810409 h 6858000"/>
              <a:gd name="connsiteX11" fmla="*/ 11912894 w 12191877"/>
              <a:gd name="connsiteY11" fmla="*/ 0 h 6858000"/>
              <a:gd name="connsiteX12" fmla="*/ 11800954 w 12191877"/>
              <a:gd name="connsiteY12" fmla="*/ 0 h 6858000"/>
              <a:gd name="connsiteX13" fmla="*/ 8102520 w 12191877"/>
              <a:gd name="connsiteY13" fmla="*/ 3698475 h 6858000"/>
              <a:gd name="connsiteX14" fmla="*/ 8102520 w 12191877"/>
              <a:gd name="connsiteY14" fmla="*/ 2689762 h 6858000"/>
              <a:gd name="connsiteX15" fmla="*/ 10792254 w 12191877"/>
              <a:gd name="connsiteY15" fmla="*/ 0 h 6858000"/>
              <a:gd name="connsiteX16" fmla="*/ 10680314 w 12191877"/>
              <a:gd name="connsiteY16" fmla="*/ 0 h 6858000"/>
              <a:gd name="connsiteX17" fmla="*/ 8102520 w 12191877"/>
              <a:gd name="connsiteY17" fmla="*/ 2577820 h 6858000"/>
              <a:gd name="connsiteX18" fmla="*/ 8102520 w 12191877"/>
              <a:gd name="connsiteY18" fmla="*/ 1569100 h 6858000"/>
              <a:gd name="connsiteX19" fmla="*/ 9671614 w 12191877"/>
              <a:gd name="connsiteY19" fmla="*/ 0 h 6858000"/>
              <a:gd name="connsiteX20" fmla="*/ 9559677 w 12191877"/>
              <a:gd name="connsiteY20" fmla="*/ 0 h 6858000"/>
              <a:gd name="connsiteX21" fmla="*/ 8102520 w 12191877"/>
              <a:gd name="connsiteY21" fmla="*/ 1457172 h 6858000"/>
              <a:gd name="connsiteX22" fmla="*/ 8102520 w 12191877"/>
              <a:gd name="connsiteY22" fmla="*/ 560902 h 6858000"/>
              <a:gd name="connsiteX23" fmla="*/ 8644717 w 12191877"/>
              <a:gd name="connsiteY23" fmla="*/ 0 h 6858000"/>
              <a:gd name="connsiteX24" fmla="*/ 8536632 w 12191877"/>
              <a:gd name="connsiteY24" fmla="*/ 0 h 6858000"/>
              <a:gd name="connsiteX25" fmla="*/ 8102520 w 12191877"/>
              <a:gd name="connsiteY25" fmla="*/ 448970 h 6858000"/>
              <a:gd name="connsiteX26" fmla="*/ 8102520 w 12191877"/>
              <a:gd name="connsiteY26" fmla="*/ 0 h 6858000"/>
              <a:gd name="connsiteX27" fmla="*/ 0 w 12191877"/>
              <a:gd name="connsiteY27" fmla="*/ 0 h 6858000"/>
              <a:gd name="connsiteX28" fmla="*/ 0 w 12191877"/>
              <a:gd name="connsiteY28" fmla="*/ 6857997 h 6858000"/>
              <a:gd name="connsiteX29" fmla="*/ 8304935 w 12191877"/>
              <a:gd name="connsiteY29" fmla="*/ 6858000 h 6858000"/>
              <a:gd name="connsiteX30" fmla="*/ 8416875 w 12191877"/>
              <a:gd name="connsiteY30" fmla="*/ 6858000 h 6858000"/>
              <a:gd name="connsiteX31" fmla="*/ 12191878 w 12191877"/>
              <a:gd name="connsiteY31" fmla="*/ 3082961 h 6858000"/>
              <a:gd name="connsiteX32" fmla="*/ 12191878 w 12191877"/>
              <a:gd name="connsiteY32" fmla="*/ 2971019 h 6858000"/>
              <a:gd name="connsiteX33" fmla="*/ 8304935 w 12191877"/>
              <a:gd name="connsiteY33" fmla="*/ 6858000 h 6858000"/>
              <a:gd name="connsiteX34" fmla="*/ 9425589 w 12191877"/>
              <a:gd name="connsiteY34" fmla="*/ 6858000 h 6858000"/>
              <a:gd name="connsiteX35" fmla="*/ 9537516 w 12191877"/>
              <a:gd name="connsiteY35" fmla="*/ 6858000 h 6858000"/>
              <a:gd name="connsiteX36" fmla="*/ 12191878 w 12191877"/>
              <a:gd name="connsiteY36" fmla="*/ 4203612 h 6858000"/>
              <a:gd name="connsiteX37" fmla="*/ 12191878 w 12191877"/>
              <a:gd name="connsiteY37" fmla="*/ 4091670 h 6858000"/>
              <a:gd name="connsiteX38" fmla="*/ 9425589 w 12191877"/>
              <a:gd name="connsiteY38" fmla="*/ 6858000 h 6858000"/>
              <a:gd name="connsiteX39" fmla="*/ 10544933 w 12191877"/>
              <a:gd name="connsiteY39" fmla="*/ 6858000 h 6858000"/>
              <a:gd name="connsiteX40" fmla="*/ 10658156 w 12191877"/>
              <a:gd name="connsiteY40" fmla="*/ 6858000 h 6858000"/>
              <a:gd name="connsiteX41" fmla="*/ 12191878 w 12191877"/>
              <a:gd name="connsiteY41" fmla="*/ 5324264 h 6858000"/>
              <a:gd name="connsiteX42" fmla="*/ 12191878 w 12191877"/>
              <a:gd name="connsiteY42" fmla="*/ 5211040 h 6858000"/>
              <a:gd name="connsiteX43" fmla="*/ 10544933 w 12191877"/>
              <a:gd name="connsiteY43" fmla="*/ 6858000 h 6858000"/>
              <a:gd name="connsiteX44" fmla="*/ 11665573 w 12191877"/>
              <a:gd name="connsiteY44" fmla="*/ 6858000 h 6858000"/>
              <a:gd name="connsiteX45" fmla="*/ 11777507 w 12191877"/>
              <a:gd name="connsiteY45" fmla="*/ 6858000 h 6858000"/>
              <a:gd name="connsiteX46" fmla="*/ 12191878 w 12191877"/>
              <a:gd name="connsiteY46" fmla="*/ 6443630 h 6858000"/>
              <a:gd name="connsiteX47" fmla="*/ 12191878 w 12191877"/>
              <a:gd name="connsiteY47" fmla="*/ 6331691 h 6858000"/>
              <a:gd name="connsiteX48" fmla="*/ 11665573 w 12191877"/>
              <a:gd name="connsiteY4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2191877" h="6858000">
                <a:moveTo>
                  <a:pt x="0" y="6858000"/>
                </a:moveTo>
                <a:lnTo>
                  <a:pt x="8102520" y="6858000"/>
                </a:lnTo>
                <a:lnTo>
                  <a:pt x="8102520" y="6051708"/>
                </a:lnTo>
                <a:lnTo>
                  <a:pt x="12191878" y="1962310"/>
                </a:lnTo>
                <a:lnTo>
                  <a:pt x="12191878" y="1850371"/>
                </a:lnTo>
                <a:lnTo>
                  <a:pt x="8102520" y="5939766"/>
                </a:lnTo>
                <a:lnTo>
                  <a:pt x="8102520" y="4931057"/>
                </a:lnTo>
                <a:lnTo>
                  <a:pt x="12191878" y="841658"/>
                </a:lnTo>
                <a:lnTo>
                  <a:pt x="12191878" y="729724"/>
                </a:lnTo>
                <a:lnTo>
                  <a:pt x="8102520" y="4819122"/>
                </a:lnTo>
                <a:lnTo>
                  <a:pt x="8102520" y="3810409"/>
                </a:lnTo>
                <a:lnTo>
                  <a:pt x="11912894" y="0"/>
                </a:lnTo>
                <a:lnTo>
                  <a:pt x="11800954" y="0"/>
                </a:lnTo>
                <a:lnTo>
                  <a:pt x="8102520" y="3698475"/>
                </a:lnTo>
                <a:lnTo>
                  <a:pt x="8102520" y="2689762"/>
                </a:lnTo>
                <a:lnTo>
                  <a:pt x="10792254" y="0"/>
                </a:lnTo>
                <a:lnTo>
                  <a:pt x="10680314" y="0"/>
                </a:lnTo>
                <a:lnTo>
                  <a:pt x="8102520" y="2577820"/>
                </a:lnTo>
                <a:lnTo>
                  <a:pt x="8102520" y="1569100"/>
                </a:lnTo>
                <a:lnTo>
                  <a:pt x="9671614" y="0"/>
                </a:lnTo>
                <a:lnTo>
                  <a:pt x="9559677" y="0"/>
                </a:lnTo>
                <a:lnTo>
                  <a:pt x="8102520" y="1457172"/>
                </a:lnTo>
                <a:lnTo>
                  <a:pt x="8102520" y="560902"/>
                </a:lnTo>
                <a:lnTo>
                  <a:pt x="8644717" y="0"/>
                </a:lnTo>
                <a:lnTo>
                  <a:pt x="8536632" y="0"/>
                </a:lnTo>
                <a:lnTo>
                  <a:pt x="8102520" y="448970"/>
                </a:lnTo>
                <a:lnTo>
                  <a:pt x="8102520" y="0"/>
                </a:lnTo>
                <a:lnTo>
                  <a:pt x="0" y="0"/>
                </a:lnTo>
                <a:lnTo>
                  <a:pt x="0" y="6857997"/>
                </a:lnTo>
                <a:close/>
                <a:moveTo>
                  <a:pt x="8304935" y="6858000"/>
                </a:moveTo>
                <a:lnTo>
                  <a:pt x="8416875" y="6858000"/>
                </a:lnTo>
                <a:lnTo>
                  <a:pt x="12191878" y="3082961"/>
                </a:lnTo>
                <a:lnTo>
                  <a:pt x="12191878" y="2971019"/>
                </a:lnTo>
                <a:lnTo>
                  <a:pt x="8304935" y="6858000"/>
                </a:lnTo>
                <a:close/>
                <a:moveTo>
                  <a:pt x="9425589" y="6858000"/>
                </a:moveTo>
                <a:lnTo>
                  <a:pt x="9537516" y="6858000"/>
                </a:lnTo>
                <a:lnTo>
                  <a:pt x="12191878" y="4203612"/>
                </a:lnTo>
                <a:lnTo>
                  <a:pt x="12191878" y="4091670"/>
                </a:lnTo>
                <a:lnTo>
                  <a:pt x="9425589" y="6858000"/>
                </a:lnTo>
                <a:close/>
                <a:moveTo>
                  <a:pt x="10544933" y="6858000"/>
                </a:moveTo>
                <a:lnTo>
                  <a:pt x="10658156" y="6858000"/>
                </a:lnTo>
                <a:lnTo>
                  <a:pt x="12191878" y="5324264"/>
                </a:lnTo>
                <a:lnTo>
                  <a:pt x="12191878" y="5211040"/>
                </a:lnTo>
                <a:lnTo>
                  <a:pt x="10544933" y="6858000"/>
                </a:lnTo>
                <a:close/>
                <a:moveTo>
                  <a:pt x="11665573" y="6858000"/>
                </a:moveTo>
                <a:lnTo>
                  <a:pt x="11777507" y="6858000"/>
                </a:lnTo>
                <a:lnTo>
                  <a:pt x="12191878" y="6443630"/>
                </a:lnTo>
                <a:lnTo>
                  <a:pt x="12191878" y="6331691"/>
                </a:lnTo>
                <a:lnTo>
                  <a:pt x="11665573" y="6858000"/>
                </a:lnTo>
                <a:close/>
              </a:path>
            </a:pathLst>
          </a:custGeom>
          <a:solidFill>
            <a:srgbClr val="F0EBE1"/>
          </a:solidFill>
          <a:ln w="36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6E6260-E36C-484A-9F25-1346EC50A8D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5508" y="2196783"/>
            <a:ext cx="6839712" cy="1876869"/>
          </a:xfrm>
        </p:spPr>
        <p:txBody>
          <a:bodyPr anchor="t" anchorCtr="0"/>
          <a:lstStyle>
            <a:lvl1pPr algn="l">
              <a:lnSpc>
                <a:spcPct val="95000"/>
              </a:lnSpc>
              <a:defRPr sz="4000"/>
            </a:lvl1pPr>
          </a:lstStyle>
          <a:p>
            <a:r>
              <a:rPr lang="fi-FI"/>
              <a:t>Muokkaa perustyyl. napsautt.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1FDDA9F-DC3B-4803-9730-F564F287AC8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35508" y="5070348"/>
            <a:ext cx="6839712" cy="1220724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24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D7FCCBE-EE77-5D47-8CE2-1B409B5E09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915" y="565286"/>
            <a:ext cx="2090175" cy="703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174169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AF55F463-6573-FC45-BA45-C38E5111349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F6E6260-E36C-484A-9F25-1346EC50A8D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5508" y="2196783"/>
            <a:ext cx="6839712" cy="1876869"/>
          </a:xfrm>
        </p:spPr>
        <p:txBody>
          <a:bodyPr anchor="t" anchorCtr="0"/>
          <a:lstStyle>
            <a:lvl1pPr algn="l">
              <a:lnSpc>
                <a:spcPct val="95000"/>
              </a:lnSpc>
              <a:defRPr sz="4000"/>
            </a:lvl1pPr>
          </a:lstStyle>
          <a:p>
            <a:r>
              <a:rPr lang="fi-FI"/>
              <a:t>Muokkaa perustyyl. napsautt.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1FDDA9F-DC3B-4803-9730-F564F287AC8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35508" y="4073652"/>
            <a:ext cx="5819080" cy="1220724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24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</a:t>
            </a:r>
            <a:r>
              <a:rPr lang="fi-FI" err="1"/>
              <a:t>napsautt</a:t>
            </a:r>
            <a:r>
              <a:rPr lang="fi-FI"/>
              <a:t>.</a:t>
            </a:r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3EE9307-AB79-3247-82BD-37685692FA2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915" y="565286"/>
            <a:ext cx="2090175" cy="703499"/>
          </a:xfrm>
          <a:prstGeom prst="rect">
            <a:avLst/>
          </a:prstGeom>
        </p:spPr>
      </p:pic>
      <p:pic>
        <p:nvPicPr>
          <p:cNvPr id="4" name="Kuva 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915" y="5755340"/>
            <a:ext cx="2272533" cy="6360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09338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 2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AF55F463-6573-FC45-BA45-C38E5111349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F6E6260-E36C-484A-9F25-1346EC50A8D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5508" y="2196783"/>
            <a:ext cx="6839712" cy="1876869"/>
          </a:xfrm>
        </p:spPr>
        <p:txBody>
          <a:bodyPr anchor="t" anchorCtr="0"/>
          <a:lstStyle>
            <a:lvl1pPr algn="l">
              <a:lnSpc>
                <a:spcPct val="95000"/>
              </a:lnSpc>
              <a:defRPr sz="4000"/>
            </a:lvl1pPr>
          </a:lstStyle>
          <a:p>
            <a:r>
              <a:rPr lang="fi-FI"/>
              <a:t>Muokkaa perustyyl. napsautt.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1FDDA9F-DC3B-4803-9730-F564F287AC8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35508" y="5070348"/>
            <a:ext cx="6839712" cy="1220724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24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3EE9307-AB79-3247-82BD-37685692FA2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915" y="565286"/>
            <a:ext cx="2090175" cy="703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8797441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0DB878-8E84-426A-BEF0-AF1AAFA1F9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940" y="484094"/>
            <a:ext cx="9894939" cy="1075323"/>
          </a:xfrm>
        </p:spPr>
        <p:txBody>
          <a:bodyPr anchor="b"/>
          <a:lstStyle/>
          <a:p>
            <a:r>
              <a:rPr lang="fi-FI"/>
              <a:t>Muokkaa perustyyl. napsautt.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E3B6CAA-4767-42B4-A19C-0CFD9AFC822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E996DCA-8E68-4F4A-A4A6-ACE6BC7F24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408733-3F8E-45BE-8526-0E0F500B8042}" type="datetimeFigureOut">
              <a:rPr lang="fi-FI" smtClean="0"/>
              <a:t>12.3.2026</a:t>
            </a:fld>
            <a:endParaRPr lang="fi-FI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DC7B94-042D-44C2-B7B2-1128AAFA57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FAA53A2-04A4-784B-8533-1BE5B6ED6EB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76380" y="596151"/>
            <a:ext cx="516294" cy="631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4737508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0DB878-8E84-426A-BEF0-AF1AAFA1F9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940" y="484094"/>
            <a:ext cx="9894939" cy="1075323"/>
          </a:xfrm>
        </p:spPr>
        <p:txBody>
          <a:bodyPr anchor="b"/>
          <a:lstStyle/>
          <a:p>
            <a:r>
              <a:rPr lang="fi-FI"/>
              <a:t>Muokkaa perustyyl. napsautt.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E3B6CAA-4767-42B4-A19C-0CFD9AFC822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E996DCA-8E68-4F4A-A4A6-ACE6BC7F24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408733-3F8E-45BE-8526-0E0F500B8042}" type="datetimeFigureOut">
              <a:rPr lang="fi-FI" smtClean="0"/>
              <a:t>12.3.2026</a:t>
            </a:fld>
            <a:endParaRPr lang="fi-FI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DC7B94-042D-44C2-B7B2-1128AAFA57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FAA53A2-04A4-784B-8533-1BE5B6ED6EB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76380" y="596151"/>
            <a:ext cx="516294" cy="631026"/>
          </a:xfrm>
          <a:prstGeom prst="rect">
            <a:avLst/>
          </a:prstGeom>
        </p:spPr>
      </p:pic>
      <p:pic>
        <p:nvPicPr>
          <p:cNvPr id="10" name="Kuva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9409" y="6079993"/>
            <a:ext cx="1783265" cy="4990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8136133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E3B6CAA-4767-42B4-A19C-0CFD9AFC82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9940" y="2021541"/>
            <a:ext cx="5311126" cy="4155422"/>
          </a:xfrm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E996DCA-8E68-4F4A-A4A6-ACE6BC7F24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408733-3F8E-45BE-8526-0E0F500B8042}" type="datetimeFigureOut">
              <a:rPr lang="fi-FI" smtClean="0"/>
              <a:t>12.3.2026</a:t>
            </a:fld>
            <a:endParaRPr lang="fi-FI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DC7B94-042D-44C2-B7B2-1128AAFA57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F604C65-0022-A10B-E75C-3BC0B3B9636F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230933" y="2021541"/>
            <a:ext cx="5311126" cy="4155422"/>
          </a:xfrm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6363DDC-C97A-194B-98DF-CA51F0A3D35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76380" y="596151"/>
            <a:ext cx="516294" cy="631026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85789431-5CDA-8F47-85A4-31FC69C174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940" y="484094"/>
            <a:ext cx="9894939" cy="1075323"/>
          </a:xfrm>
        </p:spPr>
        <p:txBody>
          <a:bodyPr anchor="b"/>
          <a:lstStyle/>
          <a:p>
            <a:r>
              <a:rPr lang="fi-FI"/>
              <a:t>Muokkaa perustyyl. napsautt.</a:t>
            </a:r>
            <a:endParaRPr lang="en-GB"/>
          </a:p>
        </p:txBody>
      </p:sp>
      <p:pic>
        <p:nvPicPr>
          <p:cNvPr id="13" name="Kuva 1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9409" y="6079993"/>
            <a:ext cx="1783265" cy="4990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9187515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san ylätunnist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orakulmio 2">
            <a:extLst>
              <a:ext uri="{FF2B5EF4-FFF2-40B4-BE49-F238E27FC236}">
                <a16:creationId xmlns:a16="http://schemas.microsoft.com/office/drawing/2014/main" id="{DCD8BB72-B7B2-E8EB-24B6-FE4ECB31BE5A}"/>
              </a:ext>
            </a:extLst>
          </p:cNvPr>
          <p:cNvSpPr/>
          <p:nvPr userDrawn="1"/>
        </p:nvSpPr>
        <p:spPr>
          <a:xfrm>
            <a:off x="-1" y="4570190"/>
            <a:ext cx="12192001" cy="2287810"/>
          </a:xfrm>
          <a:prstGeom prst="rect">
            <a:avLst/>
          </a:prstGeom>
          <a:solidFill>
            <a:srgbClr val="F0EB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4" name="Free-form: Shape 28">
            <a:extLst>
              <a:ext uri="{FF2B5EF4-FFF2-40B4-BE49-F238E27FC236}">
                <a16:creationId xmlns:a16="http://schemas.microsoft.com/office/drawing/2014/main" id="{09403F87-9585-6CA0-7F3B-A0CDE2652619}"/>
              </a:ext>
            </a:extLst>
          </p:cNvPr>
          <p:cNvSpPr/>
          <p:nvPr userDrawn="1"/>
        </p:nvSpPr>
        <p:spPr>
          <a:xfrm>
            <a:off x="-122" y="0"/>
            <a:ext cx="12192122" cy="387240"/>
          </a:xfrm>
          <a:custGeom>
            <a:avLst/>
            <a:gdLst>
              <a:gd name="connsiteX0" fmla="*/ 0 w 12185437"/>
              <a:gd name="connsiteY0" fmla="*/ 0 h 380838"/>
              <a:gd name="connsiteX1" fmla="*/ 12185437 w 12185437"/>
              <a:gd name="connsiteY1" fmla="*/ 0 h 380838"/>
              <a:gd name="connsiteX2" fmla="*/ 12185437 w 12185437"/>
              <a:gd name="connsiteY2" fmla="*/ 380839 h 380838"/>
              <a:gd name="connsiteX3" fmla="*/ 0 w 12185437"/>
              <a:gd name="connsiteY3" fmla="*/ 380839 h 380838"/>
              <a:gd name="connsiteX4" fmla="*/ 0 w 12185437"/>
              <a:gd name="connsiteY4" fmla="*/ 0 h 380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85437" h="380838">
                <a:moveTo>
                  <a:pt x="0" y="0"/>
                </a:moveTo>
                <a:lnTo>
                  <a:pt x="12185437" y="0"/>
                </a:lnTo>
                <a:lnTo>
                  <a:pt x="12185437" y="380839"/>
                </a:lnTo>
                <a:lnTo>
                  <a:pt x="0" y="380839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36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5" name="Free-form: Shape 29">
            <a:extLst>
              <a:ext uri="{FF2B5EF4-FFF2-40B4-BE49-F238E27FC236}">
                <a16:creationId xmlns:a16="http://schemas.microsoft.com/office/drawing/2014/main" id="{B4E4D196-B8D5-48B6-626D-89C042D57B9C}"/>
              </a:ext>
            </a:extLst>
          </p:cNvPr>
          <p:cNvSpPr/>
          <p:nvPr userDrawn="1"/>
        </p:nvSpPr>
        <p:spPr>
          <a:xfrm>
            <a:off x="-122" y="768193"/>
            <a:ext cx="12192122" cy="380702"/>
          </a:xfrm>
          <a:custGeom>
            <a:avLst/>
            <a:gdLst>
              <a:gd name="connsiteX0" fmla="*/ 0 w 12185437"/>
              <a:gd name="connsiteY0" fmla="*/ 0 h 380702"/>
              <a:gd name="connsiteX1" fmla="*/ 12185437 w 12185437"/>
              <a:gd name="connsiteY1" fmla="*/ 0 h 380702"/>
              <a:gd name="connsiteX2" fmla="*/ 12185437 w 12185437"/>
              <a:gd name="connsiteY2" fmla="*/ 380703 h 380702"/>
              <a:gd name="connsiteX3" fmla="*/ 0 w 12185437"/>
              <a:gd name="connsiteY3" fmla="*/ 380703 h 380702"/>
              <a:gd name="connsiteX4" fmla="*/ 0 w 12185437"/>
              <a:gd name="connsiteY4" fmla="*/ 0 h 380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85437" h="380702">
                <a:moveTo>
                  <a:pt x="0" y="0"/>
                </a:moveTo>
                <a:lnTo>
                  <a:pt x="12185437" y="0"/>
                </a:lnTo>
                <a:lnTo>
                  <a:pt x="12185437" y="380703"/>
                </a:lnTo>
                <a:lnTo>
                  <a:pt x="0" y="380703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36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6" name="Free-form: Shape 30">
            <a:extLst>
              <a:ext uri="{FF2B5EF4-FFF2-40B4-BE49-F238E27FC236}">
                <a16:creationId xmlns:a16="http://schemas.microsoft.com/office/drawing/2014/main" id="{89FD2A67-C5A0-8597-A631-E79F1FDC2375}"/>
              </a:ext>
            </a:extLst>
          </p:cNvPr>
          <p:cNvSpPr/>
          <p:nvPr userDrawn="1"/>
        </p:nvSpPr>
        <p:spPr>
          <a:xfrm>
            <a:off x="-122" y="1529863"/>
            <a:ext cx="12192122" cy="380838"/>
          </a:xfrm>
          <a:custGeom>
            <a:avLst/>
            <a:gdLst>
              <a:gd name="connsiteX0" fmla="*/ 0 w 12185437"/>
              <a:gd name="connsiteY0" fmla="*/ 0 h 380838"/>
              <a:gd name="connsiteX1" fmla="*/ 12185437 w 12185437"/>
              <a:gd name="connsiteY1" fmla="*/ 0 h 380838"/>
              <a:gd name="connsiteX2" fmla="*/ 12185437 w 12185437"/>
              <a:gd name="connsiteY2" fmla="*/ 380839 h 380838"/>
              <a:gd name="connsiteX3" fmla="*/ 0 w 12185437"/>
              <a:gd name="connsiteY3" fmla="*/ 380839 h 380838"/>
              <a:gd name="connsiteX4" fmla="*/ 0 w 12185437"/>
              <a:gd name="connsiteY4" fmla="*/ 0 h 380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85437" h="380838">
                <a:moveTo>
                  <a:pt x="0" y="0"/>
                </a:moveTo>
                <a:lnTo>
                  <a:pt x="12185437" y="0"/>
                </a:lnTo>
                <a:lnTo>
                  <a:pt x="12185437" y="380839"/>
                </a:lnTo>
                <a:lnTo>
                  <a:pt x="0" y="380839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36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0" name="Free-form: Shape 31">
            <a:extLst>
              <a:ext uri="{FF2B5EF4-FFF2-40B4-BE49-F238E27FC236}">
                <a16:creationId xmlns:a16="http://schemas.microsoft.com/office/drawing/2014/main" id="{E7831AEF-0633-77AB-EA0E-DB68A5A08C6C}"/>
              </a:ext>
            </a:extLst>
          </p:cNvPr>
          <p:cNvSpPr/>
          <p:nvPr userDrawn="1"/>
        </p:nvSpPr>
        <p:spPr>
          <a:xfrm>
            <a:off x="-122" y="2291655"/>
            <a:ext cx="12192122" cy="380842"/>
          </a:xfrm>
          <a:custGeom>
            <a:avLst/>
            <a:gdLst>
              <a:gd name="connsiteX0" fmla="*/ 0 w 12185437"/>
              <a:gd name="connsiteY0" fmla="*/ 0 h 380842"/>
              <a:gd name="connsiteX1" fmla="*/ 12185437 w 12185437"/>
              <a:gd name="connsiteY1" fmla="*/ 0 h 380842"/>
              <a:gd name="connsiteX2" fmla="*/ 12185437 w 12185437"/>
              <a:gd name="connsiteY2" fmla="*/ 380842 h 380842"/>
              <a:gd name="connsiteX3" fmla="*/ 0 w 12185437"/>
              <a:gd name="connsiteY3" fmla="*/ 380842 h 380842"/>
              <a:gd name="connsiteX4" fmla="*/ 0 w 12185437"/>
              <a:gd name="connsiteY4" fmla="*/ 0 h 380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85437" h="380842">
                <a:moveTo>
                  <a:pt x="0" y="0"/>
                </a:moveTo>
                <a:lnTo>
                  <a:pt x="12185437" y="0"/>
                </a:lnTo>
                <a:lnTo>
                  <a:pt x="12185437" y="380842"/>
                </a:lnTo>
                <a:lnTo>
                  <a:pt x="0" y="380842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36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1" name="Free-form: Shape 32">
            <a:extLst>
              <a:ext uri="{FF2B5EF4-FFF2-40B4-BE49-F238E27FC236}">
                <a16:creationId xmlns:a16="http://schemas.microsoft.com/office/drawing/2014/main" id="{20B1B5C3-36C4-6C96-F052-EC7C50FC54AC}"/>
              </a:ext>
            </a:extLst>
          </p:cNvPr>
          <p:cNvSpPr/>
          <p:nvPr userDrawn="1"/>
        </p:nvSpPr>
        <p:spPr>
          <a:xfrm>
            <a:off x="-122" y="3053449"/>
            <a:ext cx="12192122" cy="380702"/>
          </a:xfrm>
          <a:custGeom>
            <a:avLst/>
            <a:gdLst>
              <a:gd name="connsiteX0" fmla="*/ 0 w 12185437"/>
              <a:gd name="connsiteY0" fmla="*/ 0 h 380702"/>
              <a:gd name="connsiteX1" fmla="*/ 12185437 w 12185437"/>
              <a:gd name="connsiteY1" fmla="*/ 0 h 380702"/>
              <a:gd name="connsiteX2" fmla="*/ 12185437 w 12185437"/>
              <a:gd name="connsiteY2" fmla="*/ 380703 h 380702"/>
              <a:gd name="connsiteX3" fmla="*/ 0 w 12185437"/>
              <a:gd name="connsiteY3" fmla="*/ 380703 h 380702"/>
              <a:gd name="connsiteX4" fmla="*/ 0 w 12185437"/>
              <a:gd name="connsiteY4" fmla="*/ 0 h 380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85437" h="380702">
                <a:moveTo>
                  <a:pt x="0" y="0"/>
                </a:moveTo>
                <a:lnTo>
                  <a:pt x="12185437" y="0"/>
                </a:lnTo>
                <a:lnTo>
                  <a:pt x="12185437" y="380703"/>
                </a:lnTo>
                <a:lnTo>
                  <a:pt x="0" y="380703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36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2" name="Free-form: Shape 33">
            <a:extLst>
              <a:ext uri="{FF2B5EF4-FFF2-40B4-BE49-F238E27FC236}">
                <a16:creationId xmlns:a16="http://schemas.microsoft.com/office/drawing/2014/main" id="{1D2A1DAB-145A-5F7B-9954-6987015EB4B4}"/>
              </a:ext>
            </a:extLst>
          </p:cNvPr>
          <p:cNvSpPr/>
          <p:nvPr userDrawn="1"/>
        </p:nvSpPr>
        <p:spPr>
          <a:xfrm>
            <a:off x="-122" y="3815119"/>
            <a:ext cx="12192122" cy="380838"/>
          </a:xfrm>
          <a:custGeom>
            <a:avLst/>
            <a:gdLst>
              <a:gd name="connsiteX0" fmla="*/ 0 w 12185437"/>
              <a:gd name="connsiteY0" fmla="*/ 0 h 380838"/>
              <a:gd name="connsiteX1" fmla="*/ 12185437 w 12185437"/>
              <a:gd name="connsiteY1" fmla="*/ 0 h 380838"/>
              <a:gd name="connsiteX2" fmla="*/ 12185437 w 12185437"/>
              <a:gd name="connsiteY2" fmla="*/ 380839 h 380838"/>
              <a:gd name="connsiteX3" fmla="*/ 0 w 12185437"/>
              <a:gd name="connsiteY3" fmla="*/ 380839 h 380838"/>
              <a:gd name="connsiteX4" fmla="*/ 0 w 12185437"/>
              <a:gd name="connsiteY4" fmla="*/ 0 h 380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85437" h="380838">
                <a:moveTo>
                  <a:pt x="0" y="0"/>
                </a:moveTo>
                <a:lnTo>
                  <a:pt x="12185437" y="0"/>
                </a:lnTo>
                <a:lnTo>
                  <a:pt x="12185437" y="380839"/>
                </a:lnTo>
                <a:lnTo>
                  <a:pt x="0" y="380839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36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FA2F872-5FC5-D94D-9E89-698A2F01408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39507" y="5596332"/>
            <a:ext cx="2090175" cy="703499"/>
          </a:xfrm>
          <a:prstGeom prst="rect">
            <a:avLst/>
          </a:prstGeom>
        </p:spPr>
      </p:pic>
      <p:pic>
        <p:nvPicPr>
          <p:cNvPr id="13" name="Kuva 1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589" y="5596332"/>
            <a:ext cx="2513704" cy="703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1735010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Pictur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orakulmio 2">
            <a:extLst>
              <a:ext uri="{FF2B5EF4-FFF2-40B4-BE49-F238E27FC236}">
                <a16:creationId xmlns:a16="http://schemas.microsoft.com/office/drawing/2014/main" id="{483FB58F-61FC-B125-47DF-7A1E6819B7A4}"/>
              </a:ext>
            </a:extLst>
          </p:cNvPr>
          <p:cNvSpPr/>
          <p:nvPr userDrawn="1"/>
        </p:nvSpPr>
        <p:spPr>
          <a:xfrm>
            <a:off x="-1" y="4570190"/>
            <a:ext cx="12192001" cy="2287810"/>
          </a:xfrm>
          <a:prstGeom prst="rect">
            <a:avLst/>
          </a:prstGeom>
          <a:solidFill>
            <a:srgbClr val="F0EB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4" name="Picture Placeholder 7">
            <a:extLst>
              <a:ext uri="{FF2B5EF4-FFF2-40B4-BE49-F238E27FC236}">
                <a16:creationId xmlns:a16="http://schemas.microsoft.com/office/drawing/2014/main" id="{5E70779E-03A6-C3DE-E92E-DA3EBF19B8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" y="-1"/>
            <a:ext cx="8105774" cy="4570191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None/>
              <a:defRPr sz="1800"/>
            </a:lvl1pPr>
          </a:lstStyle>
          <a:p>
            <a:r>
              <a:rPr lang="fi-FI"/>
              <a:t>Lisää kuva napsauttamalla kuvaketta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C1DC208-0BC6-4780-8569-0CCC5C8BCB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941" y="5170932"/>
            <a:ext cx="6756699" cy="1143000"/>
          </a:xfrm>
        </p:spPr>
        <p:txBody>
          <a:bodyPr anchor="t"/>
          <a:lstStyle>
            <a:lvl1pPr>
              <a:defRPr sz="3200"/>
            </a:lvl1pPr>
          </a:lstStyle>
          <a:p>
            <a:r>
              <a:rPr lang="fi-FI"/>
              <a:t>Muokkaa perustyyl. napsautt.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D1212A6-DA8E-4A60-A5F2-8DAE3B39E0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408733-3F8E-45BE-8526-0E0F500B8042}" type="datetimeFigureOut">
              <a:rPr lang="fi-FI" smtClean="0"/>
              <a:t>12.3.2026</a:t>
            </a:fld>
            <a:endParaRPr lang="fi-FI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2766CB0-43A1-4E89-83D2-9E67BAD632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E2AEE1E-B285-4162-ABF0-E898A0AD68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160B98-140E-4345-B1A3-2A7247C42973}" type="slidenum">
              <a:rPr lang="fi-FI" smtClean="0"/>
              <a:t>‹#›</a:t>
            </a:fld>
            <a:endParaRPr lang="fi-FI"/>
          </a:p>
        </p:txBody>
      </p:sp>
      <p:sp>
        <p:nvSpPr>
          <p:cNvPr id="12" name="Free-form: Shape 11">
            <a:extLst>
              <a:ext uri="{FF2B5EF4-FFF2-40B4-BE49-F238E27FC236}">
                <a16:creationId xmlns:a16="http://schemas.microsoft.com/office/drawing/2014/main" id="{16E5BBD8-3D18-CC13-B42D-BA6270086E42}"/>
              </a:ext>
            </a:extLst>
          </p:cNvPr>
          <p:cNvSpPr/>
          <p:nvPr/>
        </p:nvSpPr>
        <p:spPr>
          <a:xfrm>
            <a:off x="8105775" y="0"/>
            <a:ext cx="378679" cy="4568336"/>
          </a:xfrm>
          <a:custGeom>
            <a:avLst/>
            <a:gdLst>
              <a:gd name="connsiteX0" fmla="*/ 378679 w 378679"/>
              <a:gd name="connsiteY0" fmla="*/ 0 h 4570191"/>
              <a:gd name="connsiteX1" fmla="*/ 378679 w 378679"/>
              <a:gd name="connsiteY1" fmla="*/ 4570191 h 4570191"/>
              <a:gd name="connsiteX2" fmla="*/ 0 w 378679"/>
              <a:gd name="connsiteY2" fmla="*/ 4570191 h 4570191"/>
              <a:gd name="connsiteX3" fmla="*/ 0 w 378679"/>
              <a:gd name="connsiteY3" fmla="*/ 0 h 4570191"/>
              <a:gd name="connsiteX4" fmla="*/ 378679 w 378679"/>
              <a:gd name="connsiteY4" fmla="*/ 0 h 45701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8679" h="4570191">
                <a:moveTo>
                  <a:pt x="378679" y="0"/>
                </a:moveTo>
                <a:lnTo>
                  <a:pt x="378679" y="4570191"/>
                </a:lnTo>
                <a:lnTo>
                  <a:pt x="0" y="4570191"/>
                </a:lnTo>
                <a:lnTo>
                  <a:pt x="0" y="0"/>
                </a:lnTo>
                <a:lnTo>
                  <a:pt x="378679" y="0"/>
                </a:lnTo>
                <a:close/>
              </a:path>
            </a:pathLst>
          </a:custGeom>
          <a:solidFill>
            <a:schemeClr val="accent2"/>
          </a:solidFill>
          <a:ln w="35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3" name="Free-form: Shape 12">
            <a:extLst>
              <a:ext uri="{FF2B5EF4-FFF2-40B4-BE49-F238E27FC236}">
                <a16:creationId xmlns:a16="http://schemas.microsoft.com/office/drawing/2014/main" id="{F88FF5DF-8F63-E6E6-5985-36E7158CDBC7}"/>
              </a:ext>
            </a:extLst>
          </p:cNvPr>
          <p:cNvSpPr/>
          <p:nvPr/>
        </p:nvSpPr>
        <p:spPr>
          <a:xfrm>
            <a:off x="8869551" y="0"/>
            <a:ext cx="385100" cy="4568336"/>
          </a:xfrm>
          <a:custGeom>
            <a:avLst/>
            <a:gdLst>
              <a:gd name="connsiteX0" fmla="*/ 385101 w 385100"/>
              <a:gd name="connsiteY0" fmla="*/ 0 h 4570191"/>
              <a:gd name="connsiteX1" fmla="*/ 385101 w 385100"/>
              <a:gd name="connsiteY1" fmla="*/ 4570191 h 4570191"/>
              <a:gd name="connsiteX2" fmla="*/ 0 w 385100"/>
              <a:gd name="connsiteY2" fmla="*/ 4570191 h 4570191"/>
              <a:gd name="connsiteX3" fmla="*/ 0 w 385100"/>
              <a:gd name="connsiteY3" fmla="*/ 0 h 4570191"/>
              <a:gd name="connsiteX4" fmla="*/ 385101 w 385100"/>
              <a:gd name="connsiteY4" fmla="*/ 0 h 45701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5100" h="4570191">
                <a:moveTo>
                  <a:pt x="385101" y="0"/>
                </a:moveTo>
                <a:lnTo>
                  <a:pt x="385101" y="4570191"/>
                </a:lnTo>
                <a:lnTo>
                  <a:pt x="0" y="4570191"/>
                </a:lnTo>
                <a:lnTo>
                  <a:pt x="0" y="0"/>
                </a:lnTo>
                <a:lnTo>
                  <a:pt x="385101" y="0"/>
                </a:lnTo>
                <a:close/>
              </a:path>
            </a:pathLst>
          </a:custGeom>
          <a:solidFill>
            <a:schemeClr val="accent2"/>
          </a:solidFill>
          <a:ln w="35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4" name="Free-form: Shape 13">
            <a:extLst>
              <a:ext uri="{FF2B5EF4-FFF2-40B4-BE49-F238E27FC236}">
                <a16:creationId xmlns:a16="http://schemas.microsoft.com/office/drawing/2014/main" id="{B2086361-D08C-2A10-C9AC-F7580BD19271}"/>
              </a:ext>
            </a:extLst>
          </p:cNvPr>
          <p:cNvSpPr/>
          <p:nvPr/>
        </p:nvSpPr>
        <p:spPr>
          <a:xfrm>
            <a:off x="9639735" y="0"/>
            <a:ext cx="385100" cy="4568336"/>
          </a:xfrm>
          <a:custGeom>
            <a:avLst/>
            <a:gdLst>
              <a:gd name="connsiteX0" fmla="*/ 385101 w 385100"/>
              <a:gd name="connsiteY0" fmla="*/ 0 h 4570191"/>
              <a:gd name="connsiteX1" fmla="*/ 385101 w 385100"/>
              <a:gd name="connsiteY1" fmla="*/ 4570191 h 4570191"/>
              <a:gd name="connsiteX2" fmla="*/ 0 w 385100"/>
              <a:gd name="connsiteY2" fmla="*/ 4570191 h 4570191"/>
              <a:gd name="connsiteX3" fmla="*/ 0 w 385100"/>
              <a:gd name="connsiteY3" fmla="*/ 0 h 4570191"/>
              <a:gd name="connsiteX4" fmla="*/ 385101 w 385100"/>
              <a:gd name="connsiteY4" fmla="*/ 0 h 45701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5100" h="4570191">
                <a:moveTo>
                  <a:pt x="385101" y="0"/>
                </a:moveTo>
                <a:lnTo>
                  <a:pt x="385101" y="4570191"/>
                </a:lnTo>
                <a:lnTo>
                  <a:pt x="0" y="4570191"/>
                </a:lnTo>
                <a:lnTo>
                  <a:pt x="0" y="0"/>
                </a:lnTo>
                <a:lnTo>
                  <a:pt x="385101" y="0"/>
                </a:lnTo>
                <a:close/>
              </a:path>
            </a:pathLst>
          </a:custGeom>
          <a:solidFill>
            <a:schemeClr val="accent2"/>
          </a:solidFill>
          <a:ln w="35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5" name="Free-form: Shape 14">
            <a:extLst>
              <a:ext uri="{FF2B5EF4-FFF2-40B4-BE49-F238E27FC236}">
                <a16:creationId xmlns:a16="http://schemas.microsoft.com/office/drawing/2014/main" id="{C86574D7-D6D6-EF56-FB66-14F53A064D5B}"/>
              </a:ext>
            </a:extLst>
          </p:cNvPr>
          <p:cNvSpPr/>
          <p:nvPr/>
        </p:nvSpPr>
        <p:spPr>
          <a:xfrm>
            <a:off x="10409932" y="0"/>
            <a:ext cx="385100" cy="4568336"/>
          </a:xfrm>
          <a:custGeom>
            <a:avLst/>
            <a:gdLst>
              <a:gd name="connsiteX0" fmla="*/ 385101 w 385100"/>
              <a:gd name="connsiteY0" fmla="*/ 0 h 4570191"/>
              <a:gd name="connsiteX1" fmla="*/ 385101 w 385100"/>
              <a:gd name="connsiteY1" fmla="*/ 4570191 h 4570191"/>
              <a:gd name="connsiteX2" fmla="*/ 0 w 385100"/>
              <a:gd name="connsiteY2" fmla="*/ 4570191 h 4570191"/>
              <a:gd name="connsiteX3" fmla="*/ 0 w 385100"/>
              <a:gd name="connsiteY3" fmla="*/ 0 h 4570191"/>
              <a:gd name="connsiteX4" fmla="*/ 385101 w 385100"/>
              <a:gd name="connsiteY4" fmla="*/ 0 h 45701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5100" h="4570191">
                <a:moveTo>
                  <a:pt x="385101" y="0"/>
                </a:moveTo>
                <a:lnTo>
                  <a:pt x="385101" y="4570191"/>
                </a:lnTo>
                <a:lnTo>
                  <a:pt x="0" y="4570191"/>
                </a:lnTo>
                <a:lnTo>
                  <a:pt x="0" y="0"/>
                </a:lnTo>
                <a:lnTo>
                  <a:pt x="385101" y="0"/>
                </a:lnTo>
                <a:close/>
              </a:path>
            </a:pathLst>
          </a:custGeom>
          <a:solidFill>
            <a:schemeClr val="accent2"/>
          </a:solidFill>
          <a:ln w="35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6" name="Free-form: Shape 15">
            <a:extLst>
              <a:ext uri="{FF2B5EF4-FFF2-40B4-BE49-F238E27FC236}">
                <a16:creationId xmlns:a16="http://schemas.microsoft.com/office/drawing/2014/main" id="{294352AE-8336-96CB-B1E6-4E7E7F5C772A}"/>
              </a:ext>
            </a:extLst>
          </p:cNvPr>
          <p:cNvSpPr/>
          <p:nvPr/>
        </p:nvSpPr>
        <p:spPr>
          <a:xfrm>
            <a:off x="11180116" y="0"/>
            <a:ext cx="385100" cy="4568336"/>
          </a:xfrm>
          <a:custGeom>
            <a:avLst/>
            <a:gdLst>
              <a:gd name="connsiteX0" fmla="*/ 385100 w 385100"/>
              <a:gd name="connsiteY0" fmla="*/ 0 h 4570191"/>
              <a:gd name="connsiteX1" fmla="*/ 385100 w 385100"/>
              <a:gd name="connsiteY1" fmla="*/ 4570191 h 4570191"/>
              <a:gd name="connsiteX2" fmla="*/ 0 w 385100"/>
              <a:gd name="connsiteY2" fmla="*/ 4570191 h 4570191"/>
              <a:gd name="connsiteX3" fmla="*/ 0 w 385100"/>
              <a:gd name="connsiteY3" fmla="*/ 0 h 4570191"/>
              <a:gd name="connsiteX4" fmla="*/ 385100 w 385100"/>
              <a:gd name="connsiteY4" fmla="*/ 0 h 45701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5100" h="4570191">
                <a:moveTo>
                  <a:pt x="385100" y="0"/>
                </a:moveTo>
                <a:lnTo>
                  <a:pt x="385100" y="4570191"/>
                </a:lnTo>
                <a:lnTo>
                  <a:pt x="0" y="4570191"/>
                </a:lnTo>
                <a:lnTo>
                  <a:pt x="0" y="0"/>
                </a:lnTo>
                <a:lnTo>
                  <a:pt x="385100" y="0"/>
                </a:lnTo>
                <a:close/>
              </a:path>
            </a:pathLst>
          </a:custGeom>
          <a:solidFill>
            <a:schemeClr val="accent2"/>
          </a:solidFill>
          <a:ln w="35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7" name="Free-form: Shape 16">
            <a:extLst>
              <a:ext uri="{FF2B5EF4-FFF2-40B4-BE49-F238E27FC236}">
                <a16:creationId xmlns:a16="http://schemas.microsoft.com/office/drawing/2014/main" id="{005D8EB3-53B4-CC5F-7972-88D5D8352E6C}"/>
              </a:ext>
            </a:extLst>
          </p:cNvPr>
          <p:cNvSpPr/>
          <p:nvPr userDrawn="1"/>
        </p:nvSpPr>
        <p:spPr>
          <a:xfrm>
            <a:off x="11950317" y="0"/>
            <a:ext cx="241724" cy="4568336"/>
          </a:xfrm>
          <a:custGeom>
            <a:avLst/>
            <a:gdLst>
              <a:gd name="connsiteX0" fmla="*/ 0 w 241724"/>
              <a:gd name="connsiteY0" fmla="*/ 4570191 h 4570191"/>
              <a:gd name="connsiteX1" fmla="*/ 0 w 241724"/>
              <a:gd name="connsiteY1" fmla="*/ 0 h 4570191"/>
              <a:gd name="connsiteX2" fmla="*/ 241725 w 241724"/>
              <a:gd name="connsiteY2" fmla="*/ 0 h 4570191"/>
              <a:gd name="connsiteX3" fmla="*/ 241725 w 241724"/>
              <a:gd name="connsiteY3" fmla="*/ 4570191 h 4570191"/>
              <a:gd name="connsiteX4" fmla="*/ 0 w 241724"/>
              <a:gd name="connsiteY4" fmla="*/ 4570191 h 45701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1724" h="4570191">
                <a:moveTo>
                  <a:pt x="0" y="4570191"/>
                </a:moveTo>
                <a:lnTo>
                  <a:pt x="0" y="0"/>
                </a:lnTo>
                <a:lnTo>
                  <a:pt x="241725" y="0"/>
                </a:lnTo>
                <a:lnTo>
                  <a:pt x="241725" y="4570191"/>
                </a:lnTo>
                <a:lnTo>
                  <a:pt x="0" y="4570191"/>
                </a:lnTo>
                <a:close/>
              </a:path>
            </a:pathLst>
          </a:custGeom>
          <a:solidFill>
            <a:schemeClr val="accent2"/>
          </a:solidFill>
          <a:ln w="35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A24A5D3F-B208-9740-8F43-58C8D911A4A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39507" y="5596332"/>
            <a:ext cx="2090175" cy="703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144515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DE34914-B5F2-4084-8552-6153E3BFA8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408733-3F8E-45BE-8526-0E0F500B8042}" type="datetimeFigureOut">
              <a:rPr lang="fi-FI" smtClean="0"/>
              <a:t>12.3.2026</a:t>
            </a:fld>
            <a:endParaRPr lang="fi-FI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3C69628-CCBB-4581-842C-07AC1724D7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414EFF0-E9E2-364E-9793-DF62BACE2D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76380" y="596151"/>
            <a:ext cx="516294" cy="631026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0E5EEC2F-8885-4741-92AA-E21ECE47D5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940" y="484094"/>
            <a:ext cx="9894939" cy="1075323"/>
          </a:xfrm>
        </p:spPr>
        <p:txBody>
          <a:bodyPr anchor="b"/>
          <a:lstStyle/>
          <a:p>
            <a:r>
              <a:rPr lang="fi-FI"/>
              <a:t>Muokkaa perustyyl. napsautt.</a:t>
            </a:r>
            <a:endParaRPr lang="en-GB"/>
          </a:p>
        </p:txBody>
      </p:sp>
      <p:pic>
        <p:nvPicPr>
          <p:cNvPr id="11" name="Kuva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9409" y="6079993"/>
            <a:ext cx="1783265" cy="4990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4408271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7C8C091-C242-4851-9826-ECBA43530F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408733-3F8E-45BE-8526-0E0F500B8042}" type="datetimeFigureOut">
              <a:rPr lang="fi-FI" smtClean="0"/>
              <a:t>12.3.2026</a:t>
            </a:fld>
            <a:endParaRPr lang="fi-FI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5B64547-60FB-4F82-B034-DC7F10F48F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7519037-54EE-46F6-8610-A2A8D9E613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160B98-140E-4345-B1A3-2A7247C42973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25169478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0DB878-8E84-426A-BEF0-AF1AAFA1F9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940" y="484094"/>
            <a:ext cx="9894939" cy="1075323"/>
          </a:xfrm>
        </p:spPr>
        <p:txBody>
          <a:bodyPr anchor="b"/>
          <a:lstStyle/>
          <a:p>
            <a:r>
              <a:rPr lang="fi-FI"/>
              <a:t>Muokkaa perustyyl. napsautt.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E3B6CAA-4767-42B4-A19C-0CFD9AFC822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E996DCA-8E68-4F4A-A4A6-ACE6BC7F24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19.5.2021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DC7B94-042D-44C2-B7B2-1128AAFA57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etra Kokko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FAA53A2-04A4-784B-8533-1BE5B6ED6EB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76380" y="596151"/>
            <a:ext cx="516294" cy="631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04934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0DB878-8E84-426A-BEF0-AF1AAFA1F9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940" y="484094"/>
            <a:ext cx="9894939" cy="1075323"/>
          </a:xfrm>
        </p:spPr>
        <p:txBody>
          <a:bodyPr anchor="b"/>
          <a:lstStyle/>
          <a:p>
            <a:r>
              <a:rPr lang="fi-FI"/>
              <a:t>Muokkaa perustyyl. napsautt.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E3B6CAA-4767-42B4-A19C-0CFD9AFC822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E996DCA-8E68-4F4A-A4A6-ACE6BC7F24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19.5.2021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DC7B94-042D-44C2-B7B2-1128AAFA57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etra Kokko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FAA53A2-04A4-784B-8533-1BE5B6ED6EB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76380" y="596151"/>
            <a:ext cx="516294" cy="631026"/>
          </a:xfrm>
          <a:prstGeom prst="rect">
            <a:avLst/>
          </a:prstGeom>
        </p:spPr>
      </p:pic>
      <p:pic>
        <p:nvPicPr>
          <p:cNvPr id="10" name="Kuva 9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9409" y="6079993"/>
            <a:ext cx="1783265" cy="4990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729608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E3B6CAA-4767-42B4-A19C-0CFD9AFC82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9940" y="2021541"/>
            <a:ext cx="5311126" cy="4155422"/>
          </a:xfrm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E996DCA-8E68-4F4A-A4A6-ACE6BC7F24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19.5.2021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DC7B94-042D-44C2-B7B2-1128AAFA57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etra Kokko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F604C65-0022-A10B-E75C-3BC0B3B9636F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230933" y="2021541"/>
            <a:ext cx="5311126" cy="4155422"/>
          </a:xfrm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6363DDC-C97A-194B-98DF-CA51F0A3D35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76380" y="596151"/>
            <a:ext cx="516294" cy="631026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85789431-5CDA-8F47-85A4-31FC69C174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940" y="484094"/>
            <a:ext cx="9894939" cy="1075323"/>
          </a:xfrm>
        </p:spPr>
        <p:txBody>
          <a:bodyPr anchor="b"/>
          <a:lstStyle/>
          <a:p>
            <a:r>
              <a:rPr lang="fi-FI"/>
              <a:t>Muokkaa perustyyl. napsautt.</a:t>
            </a:r>
            <a:endParaRPr lang="en-GB"/>
          </a:p>
        </p:txBody>
      </p:sp>
      <p:pic>
        <p:nvPicPr>
          <p:cNvPr id="13" name="Kuva 12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9409" y="6079993"/>
            <a:ext cx="1783265" cy="4990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4015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AF55F463-6573-FC45-BA45-C38E511134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F6E6260-E36C-484A-9F25-1346EC50A8D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5508" y="2196783"/>
            <a:ext cx="6839712" cy="1876869"/>
          </a:xfrm>
        </p:spPr>
        <p:txBody>
          <a:bodyPr anchor="t" anchorCtr="0"/>
          <a:lstStyle>
            <a:lvl1pPr algn="l">
              <a:lnSpc>
                <a:spcPct val="95000"/>
              </a:lnSpc>
              <a:defRPr sz="4000"/>
            </a:lvl1pPr>
          </a:lstStyle>
          <a:p>
            <a:r>
              <a:rPr lang="fi-FI"/>
              <a:t>Muokkaa perustyyl. napsautt.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1FDDA9F-DC3B-4803-9730-F564F287AC8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35508" y="4073652"/>
            <a:ext cx="5819080" cy="1220724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24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</a:t>
            </a:r>
            <a:r>
              <a:rPr lang="fi-FI" err="1"/>
              <a:t>napsautt</a:t>
            </a:r>
            <a:r>
              <a:rPr lang="fi-FI"/>
              <a:t>.</a:t>
            </a:r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3EE9307-AB79-3247-82BD-37685692FA2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915" y="565286"/>
            <a:ext cx="2090175" cy="703499"/>
          </a:xfrm>
          <a:prstGeom prst="rect">
            <a:avLst/>
          </a:prstGeom>
        </p:spPr>
      </p:pic>
      <p:pic>
        <p:nvPicPr>
          <p:cNvPr id="4" name="Kuva 3"/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915" y="5755340"/>
            <a:ext cx="2272533" cy="6360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31441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san ylätunnist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orakulmio 2">
            <a:extLst>
              <a:ext uri="{FF2B5EF4-FFF2-40B4-BE49-F238E27FC236}">
                <a16:creationId xmlns:a16="http://schemas.microsoft.com/office/drawing/2014/main" id="{DCD8BB72-B7B2-E8EB-24B6-FE4ECB31BE5A}"/>
              </a:ext>
            </a:extLst>
          </p:cNvPr>
          <p:cNvSpPr/>
          <p:nvPr userDrawn="1"/>
        </p:nvSpPr>
        <p:spPr>
          <a:xfrm>
            <a:off x="-1" y="4570190"/>
            <a:ext cx="12192001" cy="2287810"/>
          </a:xfrm>
          <a:prstGeom prst="rect">
            <a:avLst/>
          </a:prstGeom>
          <a:solidFill>
            <a:srgbClr val="F0EB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4" name="Free-form: Shape 28">
            <a:extLst>
              <a:ext uri="{FF2B5EF4-FFF2-40B4-BE49-F238E27FC236}">
                <a16:creationId xmlns:a16="http://schemas.microsoft.com/office/drawing/2014/main" id="{09403F87-9585-6CA0-7F3B-A0CDE2652619}"/>
              </a:ext>
            </a:extLst>
          </p:cNvPr>
          <p:cNvSpPr/>
          <p:nvPr userDrawn="1"/>
        </p:nvSpPr>
        <p:spPr>
          <a:xfrm>
            <a:off x="-122" y="0"/>
            <a:ext cx="12192122" cy="387240"/>
          </a:xfrm>
          <a:custGeom>
            <a:avLst/>
            <a:gdLst>
              <a:gd name="connsiteX0" fmla="*/ 0 w 12185437"/>
              <a:gd name="connsiteY0" fmla="*/ 0 h 380838"/>
              <a:gd name="connsiteX1" fmla="*/ 12185437 w 12185437"/>
              <a:gd name="connsiteY1" fmla="*/ 0 h 380838"/>
              <a:gd name="connsiteX2" fmla="*/ 12185437 w 12185437"/>
              <a:gd name="connsiteY2" fmla="*/ 380839 h 380838"/>
              <a:gd name="connsiteX3" fmla="*/ 0 w 12185437"/>
              <a:gd name="connsiteY3" fmla="*/ 380839 h 380838"/>
              <a:gd name="connsiteX4" fmla="*/ 0 w 12185437"/>
              <a:gd name="connsiteY4" fmla="*/ 0 h 380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85437" h="380838">
                <a:moveTo>
                  <a:pt x="0" y="0"/>
                </a:moveTo>
                <a:lnTo>
                  <a:pt x="12185437" y="0"/>
                </a:lnTo>
                <a:lnTo>
                  <a:pt x="12185437" y="380839"/>
                </a:lnTo>
                <a:lnTo>
                  <a:pt x="0" y="380839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36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5" name="Free-form: Shape 29">
            <a:extLst>
              <a:ext uri="{FF2B5EF4-FFF2-40B4-BE49-F238E27FC236}">
                <a16:creationId xmlns:a16="http://schemas.microsoft.com/office/drawing/2014/main" id="{B4E4D196-B8D5-48B6-626D-89C042D57B9C}"/>
              </a:ext>
            </a:extLst>
          </p:cNvPr>
          <p:cNvSpPr/>
          <p:nvPr userDrawn="1"/>
        </p:nvSpPr>
        <p:spPr>
          <a:xfrm>
            <a:off x="-122" y="768193"/>
            <a:ext cx="12192122" cy="380702"/>
          </a:xfrm>
          <a:custGeom>
            <a:avLst/>
            <a:gdLst>
              <a:gd name="connsiteX0" fmla="*/ 0 w 12185437"/>
              <a:gd name="connsiteY0" fmla="*/ 0 h 380702"/>
              <a:gd name="connsiteX1" fmla="*/ 12185437 w 12185437"/>
              <a:gd name="connsiteY1" fmla="*/ 0 h 380702"/>
              <a:gd name="connsiteX2" fmla="*/ 12185437 w 12185437"/>
              <a:gd name="connsiteY2" fmla="*/ 380703 h 380702"/>
              <a:gd name="connsiteX3" fmla="*/ 0 w 12185437"/>
              <a:gd name="connsiteY3" fmla="*/ 380703 h 380702"/>
              <a:gd name="connsiteX4" fmla="*/ 0 w 12185437"/>
              <a:gd name="connsiteY4" fmla="*/ 0 h 380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85437" h="380702">
                <a:moveTo>
                  <a:pt x="0" y="0"/>
                </a:moveTo>
                <a:lnTo>
                  <a:pt x="12185437" y="0"/>
                </a:lnTo>
                <a:lnTo>
                  <a:pt x="12185437" y="380703"/>
                </a:lnTo>
                <a:lnTo>
                  <a:pt x="0" y="380703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36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6" name="Free-form: Shape 30">
            <a:extLst>
              <a:ext uri="{FF2B5EF4-FFF2-40B4-BE49-F238E27FC236}">
                <a16:creationId xmlns:a16="http://schemas.microsoft.com/office/drawing/2014/main" id="{89FD2A67-C5A0-8597-A631-E79F1FDC2375}"/>
              </a:ext>
            </a:extLst>
          </p:cNvPr>
          <p:cNvSpPr/>
          <p:nvPr userDrawn="1"/>
        </p:nvSpPr>
        <p:spPr>
          <a:xfrm>
            <a:off x="-122" y="1529863"/>
            <a:ext cx="12192122" cy="380838"/>
          </a:xfrm>
          <a:custGeom>
            <a:avLst/>
            <a:gdLst>
              <a:gd name="connsiteX0" fmla="*/ 0 w 12185437"/>
              <a:gd name="connsiteY0" fmla="*/ 0 h 380838"/>
              <a:gd name="connsiteX1" fmla="*/ 12185437 w 12185437"/>
              <a:gd name="connsiteY1" fmla="*/ 0 h 380838"/>
              <a:gd name="connsiteX2" fmla="*/ 12185437 w 12185437"/>
              <a:gd name="connsiteY2" fmla="*/ 380839 h 380838"/>
              <a:gd name="connsiteX3" fmla="*/ 0 w 12185437"/>
              <a:gd name="connsiteY3" fmla="*/ 380839 h 380838"/>
              <a:gd name="connsiteX4" fmla="*/ 0 w 12185437"/>
              <a:gd name="connsiteY4" fmla="*/ 0 h 380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85437" h="380838">
                <a:moveTo>
                  <a:pt x="0" y="0"/>
                </a:moveTo>
                <a:lnTo>
                  <a:pt x="12185437" y="0"/>
                </a:lnTo>
                <a:lnTo>
                  <a:pt x="12185437" y="380839"/>
                </a:lnTo>
                <a:lnTo>
                  <a:pt x="0" y="380839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36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0" name="Free-form: Shape 31">
            <a:extLst>
              <a:ext uri="{FF2B5EF4-FFF2-40B4-BE49-F238E27FC236}">
                <a16:creationId xmlns:a16="http://schemas.microsoft.com/office/drawing/2014/main" id="{E7831AEF-0633-77AB-EA0E-DB68A5A08C6C}"/>
              </a:ext>
            </a:extLst>
          </p:cNvPr>
          <p:cNvSpPr/>
          <p:nvPr userDrawn="1"/>
        </p:nvSpPr>
        <p:spPr>
          <a:xfrm>
            <a:off x="-122" y="2291655"/>
            <a:ext cx="12192122" cy="380842"/>
          </a:xfrm>
          <a:custGeom>
            <a:avLst/>
            <a:gdLst>
              <a:gd name="connsiteX0" fmla="*/ 0 w 12185437"/>
              <a:gd name="connsiteY0" fmla="*/ 0 h 380842"/>
              <a:gd name="connsiteX1" fmla="*/ 12185437 w 12185437"/>
              <a:gd name="connsiteY1" fmla="*/ 0 h 380842"/>
              <a:gd name="connsiteX2" fmla="*/ 12185437 w 12185437"/>
              <a:gd name="connsiteY2" fmla="*/ 380842 h 380842"/>
              <a:gd name="connsiteX3" fmla="*/ 0 w 12185437"/>
              <a:gd name="connsiteY3" fmla="*/ 380842 h 380842"/>
              <a:gd name="connsiteX4" fmla="*/ 0 w 12185437"/>
              <a:gd name="connsiteY4" fmla="*/ 0 h 380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85437" h="380842">
                <a:moveTo>
                  <a:pt x="0" y="0"/>
                </a:moveTo>
                <a:lnTo>
                  <a:pt x="12185437" y="0"/>
                </a:lnTo>
                <a:lnTo>
                  <a:pt x="12185437" y="380842"/>
                </a:lnTo>
                <a:lnTo>
                  <a:pt x="0" y="380842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36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1" name="Free-form: Shape 32">
            <a:extLst>
              <a:ext uri="{FF2B5EF4-FFF2-40B4-BE49-F238E27FC236}">
                <a16:creationId xmlns:a16="http://schemas.microsoft.com/office/drawing/2014/main" id="{20B1B5C3-36C4-6C96-F052-EC7C50FC54AC}"/>
              </a:ext>
            </a:extLst>
          </p:cNvPr>
          <p:cNvSpPr/>
          <p:nvPr userDrawn="1"/>
        </p:nvSpPr>
        <p:spPr>
          <a:xfrm>
            <a:off x="-122" y="3053449"/>
            <a:ext cx="12192122" cy="380702"/>
          </a:xfrm>
          <a:custGeom>
            <a:avLst/>
            <a:gdLst>
              <a:gd name="connsiteX0" fmla="*/ 0 w 12185437"/>
              <a:gd name="connsiteY0" fmla="*/ 0 h 380702"/>
              <a:gd name="connsiteX1" fmla="*/ 12185437 w 12185437"/>
              <a:gd name="connsiteY1" fmla="*/ 0 h 380702"/>
              <a:gd name="connsiteX2" fmla="*/ 12185437 w 12185437"/>
              <a:gd name="connsiteY2" fmla="*/ 380703 h 380702"/>
              <a:gd name="connsiteX3" fmla="*/ 0 w 12185437"/>
              <a:gd name="connsiteY3" fmla="*/ 380703 h 380702"/>
              <a:gd name="connsiteX4" fmla="*/ 0 w 12185437"/>
              <a:gd name="connsiteY4" fmla="*/ 0 h 380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85437" h="380702">
                <a:moveTo>
                  <a:pt x="0" y="0"/>
                </a:moveTo>
                <a:lnTo>
                  <a:pt x="12185437" y="0"/>
                </a:lnTo>
                <a:lnTo>
                  <a:pt x="12185437" y="380703"/>
                </a:lnTo>
                <a:lnTo>
                  <a:pt x="0" y="380703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36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2" name="Free-form: Shape 33">
            <a:extLst>
              <a:ext uri="{FF2B5EF4-FFF2-40B4-BE49-F238E27FC236}">
                <a16:creationId xmlns:a16="http://schemas.microsoft.com/office/drawing/2014/main" id="{1D2A1DAB-145A-5F7B-9954-6987015EB4B4}"/>
              </a:ext>
            </a:extLst>
          </p:cNvPr>
          <p:cNvSpPr/>
          <p:nvPr userDrawn="1"/>
        </p:nvSpPr>
        <p:spPr>
          <a:xfrm>
            <a:off x="-122" y="3815119"/>
            <a:ext cx="12192122" cy="380838"/>
          </a:xfrm>
          <a:custGeom>
            <a:avLst/>
            <a:gdLst>
              <a:gd name="connsiteX0" fmla="*/ 0 w 12185437"/>
              <a:gd name="connsiteY0" fmla="*/ 0 h 380838"/>
              <a:gd name="connsiteX1" fmla="*/ 12185437 w 12185437"/>
              <a:gd name="connsiteY1" fmla="*/ 0 h 380838"/>
              <a:gd name="connsiteX2" fmla="*/ 12185437 w 12185437"/>
              <a:gd name="connsiteY2" fmla="*/ 380839 h 380838"/>
              <a:gd name="connsiteX3" fmla="*/ 0 w 12185437"/>
              <a:gd name="connsiteY3" fmla="*/ 380839 h 380838"/>
              <a:gd name="connsiteX4" fmla="*/ 0 w 12185437"/>
              <a:gd name="connsiteY4" fmla="*/ 0 h 380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85437" h="380838">
                <a:moveTo>
                  <a:pt x="0" y="0"/>
                </a:moveTo>
                <a:lnTo>
                  <a:pt x="12185437" y="0"/>
                </a:lnTo>
                <a:lnTo>
                  <a:pt x="12185437" y="380839"/>
                </a:lnTo>
                <a:lnTo>
                  <a:pt x="0" y="380839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36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FA2F872-5FC5-D94D-9E89-698A2F01408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39507" y="5596332"/>
            <a:ext cx="2090175" cy="703499"/>
          </a:xfrm>
          <a:prstGeom prst="rect">
            <a:avLst/>
          </a:prstGeom>
        </p:spPr>
      </p:pic>
      <p:pic>
        <p:nvPicPr>
          <p:cNvPr id="13" name="Kuva 12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589" y="5596332"/>
            <a:ext cx="2513704" cy="703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1204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Pictur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orakulmio 2">
            <a:extLst>
              <a:ext uri="{FF2B5EF4-FFF2-40B4-BE49-F238E27FC236}">
                <a16:creationId xmlns:a16="http://schemas.microsoft.com/office/drawing/2014/main" id="{483FB58F-61FC-B125-47DF-7A1E6819B7A4}"/>
              </a:ext>
            </a:extLst>
          </p:cNvPr>
          <p:cNvSpPr/>
          <p:nvPr userDrawn="1"/>
        </p:nvSpPr>
        <p:spPr>
          <a:xfrm>
            <a:off x="-1" y="4570190"/>
            <a:ext cx="12192001" cy="2287810"/>
          </a:xfrm>
          <a:prstGeom prst="rect">
            <a:avLst/>
          </a:prstGeom>
          <a:solidFill>
            <a:srgbClr val="F0EB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4" name="Picture Placeholder 7">
            <a:extLst>
              <a:ext uri="{FF2B5EF4-FFF2-40B4-BE49-F238E27FC236}">
                <a16:creationId xmlns:a16="http://schemas.microsoft.com/office/drawing/2014/main" id="{5E70779E-03A6-C3DE-E92E-DA3EBF19B8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" y="-1"/>
            <a:ext cx="8105774" cy="4570191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None/>
              <a:defRPr sz="1800"/>
            </a:lvl1pPr>
          </a:lstStyle>
          <a:p>
            <a:r>
              <a:rPr lang="fi-FI"/>
              <a:t>Lisää kuva napsauttamalla kuvaketta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C1DC208-0BC6-4780-8569-0CCC5C8BCB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941" y="5170932"/>
            <a:ext cx="6756699" cy="1143000"/>
          </a:xfrm>
        </p:spPr>
        <p:txBody>
          <a:bodyPr anchor="t"/>
          <a:lstStyle>
            <a:lvl1pPr>
              <a:defRPr sz="3200"/>
            </a:lvl1pPr>
          </a:lstStyle>
          <a:p>
            <a:r>
              <a:rPr lang="fi-FI"/>
              <a:t>Muokkaa perustyyl. napsautt.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D1212A6-DA8E-4A60-A5F2-8DAE3B39E0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19.5.2021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2766CB0-43A1-4E89-83D2-9E67BAD632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etra Kokko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E2AEE1E-B285-4162-ABF0-E898A0AD68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160B98-140E-4345-B1A3-2A7247C42973}" type="slidenum">
              <a:rPr lang="fi-FI" smtClean="0"/>
              <a:t>‹#›</a:t>
            </a:fld>
            <a:endParaRPr lang="fi-FI"/>
          </a:p>
        </p:txBody>
      </p:sp>
      <p:sp>
        <p:nvSpPr>
          <p:cNvPr id="12" name="Free-form: Shape 11">
            <a:extLst>
              <a:ext uri="{FF2B5EF4-FFF2-40B4-BE49-F238E27FC236}">
                <a16:creationId xmlns:a16="http://schemas.microsoft.com/office/drawing/2014/main" id="{16E5BBD8-3D18-CC13-B42D-BA6270086E42}"/>
              </a:ext>
            </a:extLst>
          </p:cNvPr>
          <p:cNvSpPr/>
          <p:nvPr/>
        </p:nvSpPr>
        <p:spPr>
          <a:xfrm>
            <a:off x="8105775" y="0"/>
            <a:ext cx="378679" cy="4568336"/>
          </a:xfrm>
          <a:custGeom>
            <a:avLst/>
            <a:gdLst>
              <a:gd name="connsiteX0" fmla="*/ 378679 w 378679"/>
              <a:gd name="connsiteY0" fmla="*/ 0 h 4570191"/>
              <a:gd name="connsiteX1" fmla="*/ 378679 w 378679"/>
              <a:gd name="connsiteY1" fmla="*/ 4570191 h 4570191"/>
              <a:gd name="connsiteX2" fmla="*/ 0 w 378679"/>
              <a:gd name="connsiteY2" fmla="*/ 4570191 h 4570191"/>
              <a:gd name="connsiteX3" fmla="*/ 0 w 378679"/>
              <a:gd name="connsiteY3" fmla="*/ 0 h 4570191"/>
              <a:gd name="connsiteX4" fmla="*/ 378679 w 378679"/>
              <a:gd name="connsiteY4" fmla="*/ 0 h 45701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8679" h="4570191">
                <a:moveTo>
                  <a:pt x="378679" y="0"/>
                </a:moveTo>
                <a:lnTo>
                  <a:pt x="378679" y="4570191"/>
                </a:lnTo>
                <a:lnTo>
                  <a:pt x="0" y="4570191"/>
                </a:lnTo>
                <a:lnTo>
                  <a:pt x="0" y="0"/>
                </a:lnTo>
                <a:lnTo>
                  <a:pt x="378679" y="0"/>
                </a:lnTo>
                <a:close/>
              </a:path>
            </a:pathLst>
          </a:custGeom>
          <a:solidFill>
            <a:schemeClr val="accent2"/>
          </a:solidFill>
          <a:ln w="35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3" name="Free-form: Shape 12">
            <a:extLst>
              <a:ext uri="{FF2B5EF4-FFF2-40B4-BE49-F238E27FC236}">
                <a16:creationId xmlns:a16="http://schemas.microsoft.com/office/drawing/2014/main" id="{F88FF5DF-8F63-E6E6-5985-36E7158CDBC7}"/>
              </a:ext>
            </a:extLst>
          </p:cNvPr>
          <p:cNvSpPr/>
          <p:nvPr/>
        </p:nvSpPr>
        <p:spPr>
          <a:xfrm>
            <a:off x="8869551" y="0"/>
            <a:ext cx="385100" cy="4568336"/>
          </a:xfrm>
          <a:custGeom>
            <a:avLst/>
            <a:gdLst>
              <a:gd name="connsiteX0" fmla="*/ 385101 w 385100"/>
              <a:gd name="connsiteY0" fmla="*/ 0 h 4570191"/>
              <a:gd name="connsiteX1" fmla="*/ 385101 w 385100"/>
              <a:gd name="connsiteY1" fmla="*/ 4570191 h 4570191"/>
              <a:gd name="connsiteX2" fmla="*/ 0 w 385100"/>
              <a:gd name="connsiteY2" fmla="*/ 4570191 h 4570191"/>
              <a:gd name="connsiteX3" fmla="*/ 0 w 385100"/>
              <a:gd name="connsiteY3" fmla="*/ 0 h 4570191"/>
              <a:gd name="connsiteX4" fmla="*/ 385101 w 385100"/>
              <a:gd name="connsiteY4" fmla="*/ 0 h 45701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5100" h="4570191">
                <a:moveTo>
                  <a:pt x="385101" y="0"/>
                </a:moveTo>
                <a:lnTo>
                  <a:pt x="385101" y="4570191"/>
                </a:lnTo>
                <a:lnTo>
                  <a:pt x="0" y="4570191"/>
                </a:lnTo>
                <a:lnTo>
                  <a:pt x="0" y="0"/>
                </a:lnTo>
                <a:lnTo>
                  <a:pt x="385101" y="0"/>
                </a:lnTo>
                <a:close/>
              </a:path>
            </a:pathLst>
          </a:custGeom>
          <a:solidFill>
            <a:schemeClr val="accent2"/>
          </a:solidFill>
          <a:ln w="35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4" name="Free-form: Shape 13">
            <a:extLst>
              <a:ext uri="{FF2B5EF4-FFF2-40B4-BE49-F238E27FC236}">
                <a16:creationId xmlns:a16="http://schemas.microsoft.com/office/drawing/2014/main" id="{B2086361-D08C-2A10-C9AC-F7580BD19271}"/>
              </a:ext>
            </a:extLst>
          </p:cNvPr>
          <p:cNvSpPr/>
          <p:nvPr/>
        </p:nvSpPr>
        <p:spPr>
          <a:xfrm>
            <a:off x="9639735" y="0"/>
            <a:ext cx="385100" cy="4568336"/>
          </a:xfrm>
          <a:custGeom>
            <a:avLst/>
            <a:gdLst>
              <a:gd name="connsiteX0" fmla="*/ 385101 w 385100"/>
              <a:gd name="connsiteY0" fmla="*/ 0 h 4570191"/>
              <a:gd name="connsiteX1" fmla="*/ 385101 w 385100"/>
              <a:gd name="connsiteY1" fmla="*/ 4570191 h 4570191"/>
              <a:gd name="connsiteX2" fmla="*/ 0 w 385100"/>
              <a:gd name="connsiteY2" fmla="*/ 4570191 h 4570191"/>
              <a:gd name="connsiteX3" fmla="*/ 0 w 385100"/>
              <a:gd name="connsiteY3" fmla="*/ 0 h 4570191"/>
              <a:gd name="connsiteX4" fmla="*/ 385101 w 385100"/>
              <a:gd name="connsiteY4" fmla="*/ 0 h 45701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5100" h="4570191">
                <a:moveTo>
                  <a:pt x="385101" y="0"/>
                </a:moveTo>
                <a:lnTo>
                  <a:pt x="385101" y="4570191"/>
                </a:lnTo>
                <a:lnTo>
                  <a:pt x="0" y="4570191"/>
                </a:lnTo>
                <a:lnTo>
                  <a:pt x="0" y="0"/>
                </a:lnTo>
                <a:lnTo>
                  <a:pt x="385101" y="0"/>
                </a:lnTo>
                <a:close/>
              </a:path>
            </a:pathLst>
          </a:custGeom>
          <a:solidFill>
            <a:schemeClr val="accent2"/>
          </a:solidFill>
          <a:ln w="35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5" name="Free-form: Shape 14">
            <a:extLst>
              <a:ext uri="{FF2B5EF4-FFF2-40B4-BE49-F238E27FC236}">
                <a16:creationId xmlns:a16="http://schemas.microsoft.com/office/drawing/2014/main" id="{C86574D7-D6D6-EF56-FB66-14F53A064D5B}"/>
              </a:ext>
            </a:extLst>
          </p:cNvPr>
          <p:cNvSpPr/>
          <p:nvPr/>
        </p:nvSpPr>
        <p:spPr>
          <a:xfrm>
            <a:off x="10409932" y="0"/>
            <a:ext cx="385100" cy="4568336"/>
          </a:xfrm>
          <a:custGeom>
            <a:avLst/>
            <a:gdLst>
              <a:gd name="connsiteX0" fmla="*/ 385101 w 385100"/>
              <a:gd name="connsiteY0" fmla="*/ 0 h 4570191"/>
              <a:gd name="connsiteX1" fmla="*/ 385101 w 385100"/>
              <a:gd name="connsiteY1" fmla="*/ 4570191 h 4570191"/>
              <a:gd name="connsiteX2" fmla="*/ 0 w 385100"/>
              <a:gd name="connsiteY2" fmla="*/ 4570191 h 4570191"/>
              <a:gd name="connsiteX3" fmla="*/ 0 w 385100"/>
              <a:gd name="connsiteY3" fmla="*/ 0 h 4570191"/>
              <a:gd name="connsiteX4" fmla="*/ 385101 w 385100"/>
              <a:gd name="connsiteY4" fmla="*/ 0 h 45701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5100" h="4570191">
                <a:moveTo>
                  <a:pt x="385101" y="0"/>
                </a:moveTo>
                <a:lnTo>
                  <a:pt x="385101" y="4570191"/>
                </a:lnTo>
                <a:lnTo>
                  <a:pt x="0" y="4570191"/>
                </a:lnTo>
                <a:lnTo>
                  <a:pt x="0" y="0"/>
                </a:lnTo>
                <a:lnTo>
                  <a:pt x="385101" y="0"/>
                </a:lnTo>
                <a:close/>
              </a:path>
            </a:pathLst>
          </a:custGeom>
          <a:solidFill>
            <a:schemeClr val="accent2"/>
          </a:solidFill>
          <a:ln w="35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6" name="Free-form: Shape 15">
            <a:extLst>
              <a:ext uri="{FF2B5EF4-FFF2-40B4-BE49-F238E27FC236}">
                <a16:creationId xmlns:a16="http://schemas.microsoft.com/office/drawing/2014/main" id="{294352AE-8336-96CB-B1E6-4E7E7F5C772A}"/>
              </a:ext>
            </a:extLst>
          </p:cNvPr>
          <p:cNvSpPr/>
          <p:nvPr/>
        </p:nvSpPr>
        <p:spPr>
          <a:xfrm>
            <a:off x="11180116" y="0"/>
            <a:ext cx="385100" cy="4568336"/>
          </a:xfrm>
          <a:custGeom>
            <a:avLst/>
            <a:gdLst>
              <a:gd name="connsiteX0" fmla="*/ 385100 w 385100"/>
              <a:gd name="connsiteY0" fmla="*/ 0 h 4570191"/>
              <a:gd name="connsiteX1" fmla="*/ 385100 w 385100"/>
              <a:gd name="connsiteY1" fmla="*/ 4570191 h 4570191"/>
              <a:gd name="connsiteX2" fmla="*/ 0 w 385100"/>
              <a:gd name="connsiteY2" fmla="*/ 4570191 h 4570191"/>
              <a:gd name="connsiteX3" fmla="*/ 0 w 385100"/>
              <a:gd name="connsiteY3" fmla="*/ 0 h 4570191"/>
              <a:gd name="connsiteX4" fmla="*/ 385100 w 385100"/>
              <a:gd name="connsiteY4" fmla="*/ 0 h 45701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5100" h="4570191">
                <a:moveTo>
                  <a:pt x="385100" y="0"/>
                </a:moveTo>
                <a:lnTo>
                  <a:pt x="385100" y="4570191"/>
                </a:lnTo>
                <a:lnTo>
                  <a:pt x="0" y="4570191"/>
                </a:lnTo>
                <a:lnTo>
                  <a:pt x="0" y="0"/>
                </a:lnTo>
                <a:lnTo>
                  <a:pt x="385100" y="0"/>
                </a:lnTo>
                <a:close/>
              </a:path>
            </a:pathLst>
          </a:custGeom>
          <a:solidFill>
            <a:schemeClr val="accent2"/>
          </a:solidFill>
          <a:ln w="35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7" name="Free-form: Shape 16">
            <a:extLst>
              <a:ext uri="{FF2B5EF4-FFF2-40B4-BE49-F238E27FC236}">
                <a16:creationId xmlns:a16="http://schemas.microsoft.com/office/drawing/2014/main" id="{005D8EB3-53B4-CC5F-7972-88D5D8352E6C}"/>
              </a:ext>
            </a:extLst>
          </p:cNvPr>
          <p:cNvSpPr/>
          <p:nvPr userDrawn="1"/>
        </p:nvSpPr>
        <p:spPr>
          <a:xfrm>
            <a:off x="11950317" y="0"/>
            <a:ext cx="241724" cy="4568336"/>
          </a:xfrm>
          <a:custGeom>
            <a:avLst/>
            <a:gdLst>
              <a:gd name="connsiteX0" fmla="*/ 0 w 241724"/>
              <a:gd name="connsiteY0" fmla="*/ 4570191 h 4570191"/>
              <a:gd name="connsiteX1" fmla="*/ 0 w 241724"/>
              <a:gd name="connsiteY1" fmla="*/ 0 h 4570191"/>
              <a:gd name="connsiteX2" fmla="*/ 241725 w 241724"/>
              <a:gd name="connsiteY2" fmla="*/ 0 h 4570191"/>
              <a:gd name="connsiteX3" fmla="*/ 241725 w 241724"/>
              <a:gd name="connsiteY3" fmla="*/ 4570191 h 4570191"/>
              <a:gd name="connsiteX4" fmla="*/ 0 w 241724"/>
              <a:gd name="connsiteY4" fmla="*/ 4570191 h 45701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1724" h="4570191">
                <a:moveTo>
                  <a:pt x="0" y="4570191"/>
                </a:moveTo>
                <a:lnTo>
                  <a:pt x="0" y="0"/>
                </a:lnTo>
                <a:lnTo>
                  <a:pt x="241725" y="0"/>
                </a:lnTo>
                <a:lnTo>
                  <a:pt x="241725" y="4570191"/>
                </a:lnTo>
                <a:lnTo>
                  <a:pt x="0" y="4570191"/>
                </a:lnTo>
                <a:close/>
              </a:path>
            </a:pathLst>
          </a:custGeom>
          <a:solidFill>
            <a:schemeClr val="accent2"/>
          </a:solidFill>
          <a:ln w="35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A24A5D3F-B208-9740-8F43-58C8D911A4A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39507" y="5596332"/>
            <a:ext cx="2090175" cy="703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055015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DE34914-B5F2-4084-8552-6153E3BFA8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19.5.2021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3C69628-CCBB-4581-842C-07AC1724D7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etra Kokko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414EFF0-E9E2-364E-9793-DF62BACE2D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76380" y="596151"/>
            <a:ext cx="516294" cy="631026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0E5EEC2F-8885-4741-92AA-E21ECE47D5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940" y="484094"/>
            <a:ext cx="9894939" cy="1075323"/>
          </a:xfrm>
        </p:spPr>
        <p:txBody>
          <a:bodyPr anchor="b"/>
          <a:lstStyle/>
          <a:p>
            <a:r>
              <a:rPr lang="fi-FI"/>
              <a:t>Muokkaa perustyyl. napsautt.</a:t>
            </a:r>
            <a:endParaRPr lang="en-GB"/>
          </a:p>
        </p:txBody>
      </p:sp>
      <p:pic>
        <p:nvPicPr>
          <p:cNvPr id="11" name="Kuva 10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9409" y="6079993"/>
            <a:ext cx="1783265" cy="4990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10294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7C8C091-C242-4851-9826-ECBA43530F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19.5.2021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5B64547-60FB-4F82-B034-DC7F10F48F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etra Kokko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7519037-54EE-46F6-8610-A2A8D9E613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160B98-140E-4345-B1A3-2A7247C42973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431226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1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raphic 24">
            <a:extLst>
              <a:ext uri="{FF2B5EF4-FFF2-40B4-BE49-F238E27FC236}">
                <a16:creationId xmlns:a16="http://schemas.microsoft.com/office/drawing/2014/main" id="{412E2FC6-3DC7-A5C6-CB76-702A1185B2EA}"/>
              </a:ext>
            </a:extLst>
          </p:cNvPr>
          <p:cNvSpPr/>
          <p:nvPr/>
        </p:nvSpPr>
        <p:spPr>
          <a:xfrm>
            <a:off x="0" y="-3"/>
            <a:ext cx="12191877" cy="6858000"/>
          </a:xfrm>
          <a:custGeom>
            <a:avLst/>
            <a:gdLst>
              <a:gd name="connsiteX0" fmla="*/ 0 w 12191877"/>
              <a:gd name="connsiteY0" fmla="*/ 6858000 h 6858000"/>
              <a:gd name="connsiteX1" fmla="*/ 8102520 w 12191877"/>
              <a:gd name="connsiteY1" fmla="*/ 6858000 h 6858000"/>
              <a:gd name="connsiteX2" fmla="*/ 8102520 w 12191877"/>
              <a:gd name="connsiteY2" fmla="*/ 6051708 h 6858000"/>
              <a:gd name="connsiteX3" fmla="*/ 12191878 w 12191877"/>
              <a:gd name="connsiteY3" fmla="*/ 1962310 h 6858000"/>
              <a:gd name="connsiteX4" fmla="*/ 12191878 w 12191877"/>
              <a:gd name="connsiteY4" fmla="*/ 1850371 h 6858000"/>
              <a:gd name="connsiteX5" fmla="*/ 8102520 w 12191877"/>
              <a:gd name="connsiteY5" fmla="*/ 5939766 h 6858000"/>
              <a:gd name="connsiteX6" fmla="*/ 8102520 w 12191877"/>
              <a:gd name="connsiteY6" fmla="*/ 4931057 h 6858000"/>
              <a:gd name="connsiteX7" fmla="*/ 12191878 w 12191877"/>
              <a:gd name="connsiteY7" fmla="*/ 841658 h 6858000"/>
              <a:gd name="connsiteX8" fmla="*/ 12191878 w 12191877"/>
              <a:gd name="connsiteY8" fmla="*/ 729724 h 6858000"/>
              <a:gd name="connsiteX9" fmla="*/ 8102520 w 12191877"/>
              <a:gd name="connsiteY9" fmla="*/ 4819122 h 6858000"/>
              <a:gd name="connsiteX10" fmla="*/ 8102520 w 12191877"/>
              <a:gd name="connsiteY10" fmla="*/ 3810409 h 6858000"/>
              <a:gd name="connsiteX11" fmla="*/ 11912894 w 12191877"/>
              <a:gd name="connsiteY11" fmla="*/ 0 h 6858000"/>
              <a:gd name="connsiteX12" fmla="*/ 11800954 w 12191877"/>
              <a:gd name="connsiteY12" fmla="*/ 0 h 6858000"/>
              <a:gd name="connsiteX13" fmla="*/ 8102520 w 12191877"/>
              <a:gd name="connsiteY13" fmla="*/ 3698475 h 6858000"/>
              <a:gd name="connsiteX14" fmla="*/ 8102520 w 12191877"/>
              <a:gd name="connsiteY14" fmla="*/ 2689762 h 6858000"/>
              <a:gd name="connsiteX15" fmla="*/ 10792254 w 12191877"/>
              <a:gd name="connsiteY15" fmla="*/ 0 h 6858000"/>
              <a:gd name="connsiteX16" fmla="*/ 10680314 w 12191877"/>
              <a:gd name="connsiteY16" fmla="*/ 0 h 6858000"/>
              <a:gd name="connsiteX17" fmla="*/ 8102520 w 12191877"/>
              <a:gd name="connsiteY17" fmla="*/ 2577820 h 6858000"/>
              <a:gd name="connsiteX18" fmla="*/ 8102520 w 12191877"/>
              <a:gd name="connsiteY18" fmla="*/ 1569100 h 6858000"/>
              <a:gd name="connsiteX19" fmla="*/ 9671614 w 12191877"/>
              <a:gd name="connsiteY19" fmla="*/ 0 h 6858000"/>
              <a:gd name="connsiteX20" fmla="*/ 9559677 w 12191877"/>
              <a:gd name="connsiteY20" fmla="*/ 0 h 6858000"/>
              <a:gd name="connsiteX21" fmla="*/ 8102520 w 12191877"/>
              <a:gd name="connsiteY21" fmla="*/ 1457172 h 6858000"/>
              <a:gd name="connsiteX22" fmla="*/ 8102520 w 12191877"/>
              <a:gd name="connsiteY22" fmla="*/ 560902 h 6858000"/>
              <a:gd name="connsiteX23" fmla="*/ 8644717 w 12191877"/>
              <a:gd name="connsiteY23" fmla="*/ 0 h 6858000"/>
              <a:gd name="connsiteX24" fmla="*/ 8536632 w 12191877"/>
              <a:gd name="connsiteY24" fmla="*/ 0 h 6858000"/>
              <a:gd name="connsiteX25" fmla="*/ 8102520 w 12191877"/>
              <a:gd name="connsiteY25" fmla="*/ 448970 h 6858000"/>
              <a:gd name="connsiteX26" fmla="*/ 8102520 w 12191877"/>
              <a:gd name="connsiteY26" fmla="*/ 0 h 6858000"/>
              <a:gd name="connsiteX27" fmla="*/ 0 w 12191877"/>
              <a:gd name="connsiteY27" fmla="*/ 0 h 6858000"/>
              <a:gd name="connsiteX28" fmla="*/ 0 w 12191877"/>
              <a:gd name="connsiteY28" fmla="*/ 6857997 h 6858000"/>
              <a:gd name="connsiteX29" fmla="*/ 8304935 w 12191877"/>
              <a:gd name="connsiteY29" fmla="*/ 6858000 h 6858000"/>
              <a:gd name="connsiteX30" fmla="*/ 8416875 w 12191877"/>
              <a:gd name="connsiteY30" fmla="*/ 6858000 h 6858000"/>
              <a:gd name="connsiteX31" fmla="*/ 12191878 w 12191877"/>
              <a:gd name="connsiteY31" fmla="*/ 3082961 h 6858000"/>
              <a:gd name="connsiteX32" fmla="*/ 12191878 w 12191877"/>
              <a:gd name="connsiteY32" fmla="*/ 2971019 h 6858000"/>
              <a:gd name="connsiteX33" fmla="*/ 8304935 w 12191877"/>
              <a:gd name="connsiteY33" fmla="*/ 6858000 h 6858000"/>
              <a:gd name="connsiteX34" fmla="*/ 9425589 w 12191877"/>
              <a:gd name="connsiteY34" fmla="*/ 6858000 h 6858000"/>
              <a:gd name="connsiteX35" fmla="*/ 9537516 w 12191877"/>
              <a:gd name="connsiteY35" fmla="*/ 6858000 h 6858000"/>
              <a:gd name="connsiteX36" fmla="*/ 12191878 w 12191877"/>
              <a:gd name="connsiteY36" fmla="*/ 4203612 h 6858000"/>
              <a:gd name="connsiteX37" fmla="*/ 12191878 w 12191877"/>
              <a:gd name="connsiteY37" fmla="*/ 4091670 h 6858000"/>
              <a:gd name="connsiteX38" fmla="*/ 9425589 w 12191877"/>
              <a:gd name="connsiteY38" fmla="*/ 6858000 h 6858000"/>
              <a:gd name="connsiteX39" fmla="*/ 10544933 w 12191877"/>
              <a:gd name="connsiteY39" fmla="*/ 6858000 h 6858000"/>
              <a:gd name="connsiteX40" fmla="*/ 10658156 w 12191877"/>
              <a:gd name="connsiteY40" fmla="*/ 6858000 h 6858000"/>
              <a:gd name="connsiteX41" fmla="*/ 12191878 w 12191877"/>
              <a:gd name="connsiteY41" fmla="*/ 5324264 h 6858000"/>
              <a:gd name="connsiteX42" fmla="*/ 12191878 w 12191877"/>
              <a:gd name="connsiteY42" fmla="*/ 5211040 h 6858000"/>
              <a:gd name="connsiteX43" fmla="*/ 10544933 w 12191877"/>
              <a:gd name="connsiteY43" fmla="*/ 6858000 h 6858000"/>
              <a:gd name="connsiteX44" fmla="*/ 11665573 w 12191877"/>
              <a:gd name="connsiteY44" fmla="*/ 6858000 h 6858000"/>
              <a:gd name="connsiteX45" fmla="*/ 11777507 w 12191877"/>
              <a:gd name="connsiteY45" fmla="*/ 6858000 h 6858000"/>
              <a:gd name="connsiteX46" fmla="*/ 12191878 w 12191877"/>
              <a:gd name="connsiteY46" fmla="*/ 6443630 h 6858000"/>
              <a:gd name="connsiteX47" fmla="*/ 12191878 w 12191877"/>
              <a:gd name="connsiteY47" fmla="*/ 6331691 h 6858000"/>
              <a:gd name="connsiteX48" fmla="*/ 11665573 w 12191877"/>
              <a:gd name="connsiteY4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2191877" h="6858000">
                <a:moveTo>
                  <a:pt x="0" y="6858000"/>
                </a:moveTo>
                <a:lnTo>
                  <a:pt x="8102520" y="6858000"/>
                </a:lnTo>
                <a:lnTo>
                  <a:pt x="8102520" y="6051708"/>
                </a:lnTo>
                <a:lnTo>
                  <a:pt x="12191878" y="1962310"/>
                </a:lnTo>
                <a:lnTo>
                  <a:pt x="12191878" y="1850371"/>
                </a:lnTo>
                <a:lnTo>
                  <a:pt x="8102520" y="5939766"/>
                </a:lnTo>
                <a:lnTo>
                  <a:pt x="8102520" y="4931057"/>
                </a:lnTo>
                <a:lnTo>
                  <a:pt x="12191878" y="841658"/>
                </a:lnTo>
                <a:lnTo>
                  <a:pt x="12191878" y="729724"/>
                </a:lnTo>
                <a:lnTo>
                  <a:pt x="8102520" y="4819122"/>
                </a:lnTo>
                <a:lnTo>
                  <a:pt x="8102520" y="3810409"/>
                </a:lnTo>
                <a:lnTo>
                  <a:pt x="11912894" y="0"/>
                </a:lnTo>
                <a:lnTo>
                  <a:pt x="11800954" y="0"/>
                </a:lnTo>
                <a:lnTo>
                  <a:pt x="8102520" y="3698475"/>
                </a:lnTo>
                <a:lnTo>
                  <a:pt x="8102520" y="2689762"/>
                </a:lnTo>
                <a:lnTo>
                  <a:pt x="10792254" y="0"/>
                </a:lnTo>
                <a:lnTo>
                  <a:pt x="10680314" y="0"/>
                </a:lnTo>
                <a:lnTo>
                  <a:pt x="8102520" y="2577820"/>
                </a:lnTo>
                <a:lnTo>
                  <a:pt x="8102520" y="1569100"/>
                </a:lnTo>
                <a:lnTo>
                  <a:pt x="9671614" y="0"/>
                </a:lnTo>
                <a:lnTo>
                  <a:pt x="9559677" y="0"/>
                </a:lnTo>
                <a:lnTo>
                  <a:pt x="8102520" y="1457172"/>
                </a:lnTo>
                <a:lnTo>
                  <a:pt x="8102520" y="560902"/>
                </a:lnTo>
                <a:lnTo>
                  <a:pt x="8644717" y="0"/>
                </a:lnTo>
                <a:lnTo>
                  <a:pt x="8536632" y="0"/>
                </a:lnTo>
                <a:lnTo>
                  <a:pt x="8102520" y="448970"/>
                </a:lnTo>
                <a:lnTo>
                  <a:pt x="8102520" y="0"/>
                </a:lnTo>
                <a:lnTo>
                  <a:pt x="0" y="0"/>
                </a:lnTo>
                <a:lnTo>
                  <a:pt x="0" y="6857997"/>
                </a:lnTo>
                <a:close/>
                <a:moveTo>
                  <a:pt x="8304935" y="6858000"/>
                </a:moveTo>
                <a:lnTo>
                  <a:pt x="8416875" y="6858000"/>
                </a:lnTo>
                <a:lnTo>
                  <a:pt x="12191878" y="3082961"/>
                </a:lnTo>
                <a:lnTo>
                  <a:pt x="12191878" y="2971019"/>
                </a:lnTo>
                <a:lnTo>
                  <a:pt x="8304935" y="6858000"/>
                </a:lnTo>
                <a:close/>
                <a:moveTo>
                  <a:pt x="9425589" y="6858000"/>
                </a:moveTo>
                <a:lnTo>
                  <a:pt x="9537516" y="6858000"/>
                </a:lnTo>
                <a:lnTo>
                  <a:pt x="12191878" y="4203612"/>
                </a:lnTo>
                <a:lnTo>
                  <a:pt x="12191878" y="4091670"/>
                </a:lnTo>
                <a:lnTo>
                  <a:pt x="9425589" y="6858000"/>
                </a:lnTo>
                <a:close/>
                <a:moveTo>
                  <a:pt x="10544933" y="6858000"/>
                </a:moveTo>
                <a:lnTo>
                  <a:pt x="10658156" y="6858000"/>
                </a:lnTo>
                <a:lnTo>
                  <a:pt x="12191878" y="5324264"/>
                </a:lnTo>
                <a:lnTo>
                  <a:pt x="12191878" y="5211040"/>
                </a:lnTo>
                <a:lnTo>
                  <a:pt x="10544933" y="6858000"/>
                </a:lnTo>
                <a:close/>
                <a:moveTo>
                  <a:pt x="11665573" y="6858000"/>
                </a:moveTo>
                <a:lnTo>
                  <a:pt x="11777507" y="6858000"/>
                </a:lnTo>
                <a:lnTo>
                  <a:pt x="12191878" y="6443630"/>
                </a:lnTo>
                <a:lnTo>
                  <a:pt x="12191878" y="6331691"/>
                </a:lnTo>
                <a:lnTo>
                  <a:pt x="11665573" y="6858000"/>
                </a:lnTo>
                <a:close/>
              </a:path>
            </a:pathLst>
          </a:custGeom>
          <a:solidFill>
            <a:srgbClr val="F0EBE1"/>
          </a:solidFill>
          <a:ln w="36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6E6260-E36C-484A-9F25-1346EC50A8D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5508" y="2196783"/>
            <a:ext cx="6839712" cy="1876869"/>
          </a:xfrm>
        </p:spPr>
        <p:txBody>
          <a:bodyPr anchor="t" anchorCtr="0"/>
          <a:lstStyle>
            <a:lvl1pPr algn="l">
              <a:lnSpc>
                <a:spcPct val="95000"/>
              </a:lnSpc>
              <a:defRPr sz="4000"/>
            </a:lvl1pPr>
          </a:lstStyle>
          <a:p>
            <a:r>
              <a:rPr lang="fi-FI"/>
              <a:t>Muokkaa perustyyl. napsautt.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1FDDA9F-DC3B-4803-9730-F564F287AC8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35508" y="5070348"/>
            <a:ext cx="6839712" cy="1220724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24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D7FCCBE-EE77-5D47-8CE2-1B409B5E09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915" y="565286"/>
            <a:ext cx="2090175" cy="703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782520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raphic 24">
            <a:extLst>
              <a:ext uri="{FF2B5EF4-FFF2-40B4-BE49-F238E27FC236}">
                <a16:creationId xmlns:a16="http://schemas.microsoft.com/office/drawing/2014/main" id="{412E2FC6-3DC7-A5C6-CB76-702A1185B2EA}"/>
              </a:ext>
            </a:extLst>
          </p:cNvPr>
          <p:cNvSpPr/>
          <p:nvPr/>
        </p:nvSpPr>
        <p:spPr>
          <a:xfrm>
            <a:off x="0" y="-3"/>
            <a:ext cx="12191877" cy="6858000"/>
          </a:xfrm>
          <a:custGeom>
            <a:avLst/>
            <a:gdLst>
              <a:gd name="connsiteX0" fmla="*/ 0 w 12191877"/>
              <a:gd name="connsiteY0" fmla="*/ 6858000 h 6858000"/>
              <a:gd name="connsiteX1" fmla="*/ 8102520 w 12191877"/>
              <a:gd name="connsiteY1" fmla="*/ 6858000 h 6858000"/>
              <a:gd name="connsiteX2" fmla="*/ 8102520 w 12191877"/>
              <a:gd name="connsiteY2" fmla="*/ 6051708 h 6858000"/>
              <a:gd name="connsiteX3" fmla="*/ 12191878 w 12191877"/>
              <a:gd name="connsiteY3" fmla="*/ 1962310 h 6858000"/>
              <a:gd name="connsiteX4" fmla="*/ 12191878 w 12191877"/>
              <a:gd name="connsiteY4" fmla="*/ 1850371 h 6858000"/>
              <a:gd name="connsiteX5" fmla="*/ 8102520 w 12191877"/>
              <a:gd name="connsiteY5" fmla="*/ 5939766 h 6858000"/>
              <a:gd name="connsiteX6" fmla="*/ 8102520 w 12191877"/>
              <a:gd name="connsiteY6" fmla="*/ 4931057 h 6858000"/>
              <a:gd name="connsiteX7" fmla="*/ 12191878 w 12191877"/>
              <a:gd name="connsiteY7" fmla="*/ 841658 h 6858000"/>
              <a:gd name="connsiteX8" fmla="*/ 12191878 w 12191877"/>
              <a:gd name="connsiteY8" fmla="*/ 729724 h 6858000"/>
              <a:gd name="connsiteX9" fmla="*/ 8102520 w 12191877"/>
              <a:gd name="connsiteY9" fmla="*/ 4819122 h 6858000"/>
              <a:gd name="connsiteX10" fmla="*/ 8102520 w 12191877"/>
              <a:gd name="connsiteY10" fmla="*/ 3810409 h 6858000"/>
              <a:gd name="connsiteX11" fmla="*/ 11912894 w 12191877"/>
              <a:gd name="connsiteY11" fmla="*/ 0 h 6858000"/>
              <a:gd name="connsiteX12" fmla="*/ 11800954 w 12191877"/>
              <a:gd name="connsiteY12" fmla="*/ 0 h 6858000"/>
              <a:gd name="connsiteX13" fmla="*/ 8102520 w 12191877"/>
              <a:gd name="connsiteY13" fmla="*/ 3698475 h 6858000"/>
              <a:gd name="connsiteX14" fmla="*/ 8102520 w 12191877"/>
              <a:gd name="connsiteY14" fmla="*/ 2689762 h 6858000"/>
              <a:gd name="connsiteX15" fmla="*/ 10792254 w 12191877"/>
              <a:gd name="connsiteY15" fmla="*/ 0 h 6858000"/>
              <a:gd name="connsiteX16" fmla="*/ 10680314 w 12191877"/>
              <a:gd name="connsiteY16" fmla="*/ 0 h 6858000"/>
              <a:gd name="connsiteX17" fmla="*/ 8102520 w 12191877"/>
              <a:gd name="connsiteY17" fmla="*/ 2577820 h 6858000"/>
              <a:gd name="connsiteX18" fmla="*/ 8102520 w 12191877"/>
              <a:gd name="connsiteY18" fmla="*/ 1569100 h 6858000"/>
              <a:gd name="connsiteX19" fmla="*/ 9671614 w 12191877"/>
              <a:gd name="connsiteY19" fmla="*/ 0 h 6858000"/>
              <a:gd name="connsiteX20" fmla="*/ 9559677 w 12191877"/>
              <a:gd name="connsiteY20" fmla="*/ 0 h 6858000"/>
              <a:gd name="connsiteX21" fmla="*/ 8102520 w 12191877"/>
              <a:gd name="connsiteY21" fmla="*/ 1457172 h 6858000"/>
              <a:gd name="connsiteX22" fmla="*/ 8102520 w 12191877"/>
              <a:gd name="connsiteY22" fmla="*/ 560902 h 6858000"/>
              <a:gd name="connsiteX23" fmla="*/ 8644717 w 12191877"/>
              <a:gd name="connsiteY23" fmla="*/ 0 h 6858000"/>
              <a:gd name="connsiteX24" fmla="*/ 8536632 w 12191877"/>
              <a:gd name="connsiteY24" fmla="*/ 0 h 6858000"/>
              <a:gd name="connsiteX25" fmla="*/ 8102520 w 12191877"/>
              <a:gd name="connsiteY25" fmla="*/ 448970 h 6858000"/>
              <a:gd name="connsiteX26" fmla="*/ 8102520 w 12191877"/>
              <a:gd name="connsiteY26" fmla="*/ 0 h 6858000"/>
              <a:gd name="connsiteX27" fmla="*/ 0 w 12191877"/>
              <a:gd name="connsiteY27" fmla="*/ 0 h 6858000"/>
              <a:gd name="connsiteX28" fmla="*/ 0 w 12191877"/>
              <a:gd name="connsiteY28" fmla="*/ 6857997 h 6858000"/>
              <a:gd name="connsiteX29" fmla="*/ 8304935 w 12191877"/>
              <a:gd name="connsiteY29" fmla="*/ 6858000 h 6858000"/>
              <a:gd name="connsiteX30" fmla="*/ 8416875 w 12191877"/>
              <a:gd name="connsiteY30" fmla="*/ 6858000 h 6858000"/>
              <a:gd name="connsiteX31" fmla="*/ 12191878 w 12191877"/>
              <a:gd name="connsiteY31" fmla="*/ 3082961 h 6858000"/>
              <a:gd name="connsiteX32" fmla="*/ 12191878 w 12191877"/>
              <a:gd name="connsiteY32" fmla="*/ 2971019 h 6858000"/>
              <a:gd name="connsiteX33" fmla="*/ 8304935 w 12191877"/>
              <a:gd name="connsiteY33" fmla="*/ 6858000 h 6858000"/>
              <a:gd name="connsiteX34" fmla="*/ 9425589 w 12191877"/>
              <a:gd name="connsiteY34" fmla="*/ 6858000 h 6858000"/>
              <a:gd name="connsiteX35" fmla="*/ 9537516 w 12191877"/>
              <a:gd name="connsiteY35" fmla="*/ 6858000 h 6858000"/>
              <a:gd name="connsiteX36" fmla="*/ 12191878 w 12191877"/>
              <a:gd name="connsiteY36" fmla="*/ 4203612 h 6858000"/>
              <a:gd name="connsiteX37" fmla="*/ 12191878 w 12191877"/>
              <a:gd name="connsiteY37" fmla="*/ 4091670 h 6858000"/>
              <a:gd name="connsiteX38" fmla="*/ 9425589 w 12191877"/>
              <a:gd name="connsiteY38" fmla="*/ 6858000 h 6858000"/>
              <a:gd name="connsiteX39" fmla="*/ 10544933 w 12191877"/>
              <a:gd name="connsiteY39" fmla="*/ 6858000 h 6858000"/>
              <a:gd name="connsiteX40" fmla="*/ 10658156 w 12191877"/>
              <a:gd name="connsiteY40" fmla="*/ 6858000 h 6858000"/>
              <a:gd name="connsiteX41" fmla="*/ 12191878 w 12191877"/>
              <a:gd name="connsiteY41" fmla="*/ 5324264 h 6858000"/>
              <a:gd name="connsiteX42" fmla="*/ 12191878 w 12191877"/>
              <a:gd name="connsiteY42" fmla="*/ 5211040 h 6858000"/>
              <a:gd name="connsiteX43" fmla="*/ 10544933 w 12191877"/>
              <a:gd name="connsiteY43" fmla="*/ 6858000 h 6858000"/>
              <a:gd name="connsiteX44" fmla="*/ 11665573 w 12191877"/>
              <a:gd name="connsiteY44" fmla="*/ 6858000 h 6858000"/>
              <a:gd name="connsiteX45" fmla="*/ 11777507 w 12191877"/>
              <a:gd name="connsiteY45" fmla="*/ 6858000 h 6858000"/>
              <a:gd name="connsiteX46" fmla="*/ 12191878 w 12191877"/>
              <a:gd name="connsiteY46" fmla="*/ 6443630 h 6858000"/>
              <a:gd name="connsiteX47" fmla="*/ 12191878 w 12191877"/>
              <a:gd name="connsiteY47" fmla="*/ 6331691 h 6858000"/>
              <a:gd name="connsiteX48" fmla="*/ 11665573 w 12191877"/>
              <a:gd name="connsiteY4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2191877" h="6858000">
                <a:moveTo>
                  <a:pt x="0" y="6858000"/>
                </a:moveTo>
                <a:lnTo>
                  <a:pt x="8102520" y="6858000"/>
                </a:lnTo>
                <a:lnTo>
                  <a:pt x="8102520" y="6051708"/>
                </a:lnTo>
                <a:lnTo>
                  <a:pt x="12191878" y="1962310"/>
                </a:lnTo>
                <a:lnTo>
                  <a:pt x="12191878" y="1850371"/>
                </a:lnTo>
                <a:lnTo>
                  <a:pt x="8102520" y="5939766"/>
                </a:lnTo>
                <a:lnTo>
                  <a:pt x="8102520" y="4931057"/>
                </a:lnTo>
                <a:lnTo>
                  <a:pt x="12191878" y="841658"/>
                </a:lnTo>
                <a:lnTo>
                  <a:pt x="12191878" y="729724"/>
                </a:lnTo>
                <a:lnTo>
                  <a:pt x="8102520" y="4819122"/>
                </a:lnTo>
                <a:lnTo>
                  <a:pt x="8102520" y="3810409"/>
                </a:lnTo>
                <a:lnTo>
                  <a:pt x="11912894" y="0"/>
                </a:lnTo>
                <a:lnTo>
                  <a:pt x="11800954" y="0"/>
                </a:lnTo>
                <a:lnTo>
                  <a:pt x="8102520" y="3698475"/>
                </a:lnTo>
                <a:lnTo>
                  <a:pt x="8102520" y="2689762"/>
                </a:lnTo>
                <a:lnTo>
                  <a:pt x="10792254" y="0"/>
                </a:lnTo>
                <a:lnTo>
                  <a:pt x="10680314" y="0"/>
                </a:lnTo>
                <a:lnTo>
                  <a:pt x="8102520" y="2577820"/>
                </a:lnTo>
                <a:lnTo>
                  <a:pt x="8102520" y="1569100"/>
                </a:lnTo>
                <a:lnTo>
                  <a:pt x="9671614" y="0"/>
                </a:lnTo>
                <a:lnTo>
                  <a:pt x="9559677" y="0"/>
                </a:lnTo>
                <a:lnTo>
                  <a:pt x="8102520" y="1457172"/>
                </a:lnTo>
                <a:lnTo>
                  <a:pt x="8102520" y="560902"/>
                </a:lnTo>
                <a:lnTo>
                  <a:pt x="8644717" y="0"/>
                </a:lnTo>
                <a:lnTo>
                  <a:pt x="8536632" y="0"/>
                </a:lnTo>
                <a:lnTo>
                  <a:pt x="8102520" y="448970"/>
                </a:lnTo>
                <a:lnTo>
                  <a:pt x="8102520" y="0"/>
                </a:lnTo>
                <a:lnTo>
                  <a:pt x="0" y="0"/>
                </a:lnTo>
                <a:lnTo>
                  <a:pt x="0" y="6857997"/>
                </a:lnTo>
                <a:close/>
                <a:moveTo>
                  <a:pt x="8304935" y="6858000"/>
                </a:moveTo>
                <a:lnTo>
                  <a:pt x="8416875" y="6858000"/>
                </a:lnTo>
                <a:lnTo>
                  <a:pt x="12191878" y="3082961"/>
                </a:lnTo>
                <a:lnTo>
                  <a:pt x="12191878" y="2971019"/>
                </a:lnTo>
                <a:lnTo>
                  <a:pt x="8304935" y="6858000"/>
                </a:lnTo>
                <a:close/>
                <a:moveTo>
                  <a:pt x="9425589" y="6858000"/>
                </a:moveTo>
                <a:lnTo>
                  <a:pt x="9537516" y="6858000"/>
                </a:lnTo>
                <a:lnTo>
                  <a:pt x="12191878" y="4203612"/>
                </a:lnTo>
                <a:lnTo>
                  <a:pt x="12191878" y="4091670"/>
                </a:lnTo>
                <a:lnTo>
                  <a:pt x="9425589" y="6858000"/>
                </a:lnTo>
                <a:close/>
                <a:moveTo>
                  <a:pt x="10544933" y="6858000"/>
                </a:moveTo>
                <a:lnTo>
                  <a:pt x="10658156" y="6858000"/>
                </a:lnTo>
                <a:lnTo>
                  <a:pt x="12191878" y="5324264"/>
                </a:lnTo>
                <a:lnTo>
                  <a:pt x="12191878" y="5211040"/>
                </a:lnTo>
                <a:lnTo>
                  <a:pt x="10544933" y="6858000"/>
                </a:lnTo>
                <a:close/>
                <a:moveTo>
                  <a:pt x="11665573" y="6858000"/>
                </a:moveTo>
                <a:lnTo>
                  <a:pt x="11777507" y="6858000"/>
                </a:lnTo>
                <a:lnTo>
                  <a:pt x="12191878" y="6443630"/>
                </a:lnTo>
                <a:lnTo>
                  <a:pt x="12191878" y="6331691"/>
                </a:lnTo>
                <a:lnTo>
                  <a:pt x="11665573" y="6858000"/>
                </a:lnTo>
                <a:close/>
              </a:path>
            </a:pathLst>
          </a:custGeom>
          <a:solidFill>
            <a:srgbClr val="F0EBE1"/>
          </a:solidFill>
          <a:ln w="36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6E6260-E36C-484A-9F25-1346EC50A8D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5508" y="2196783"/>
            <a:ext cx="6839712" cy="1876869"/>
          </a:xfrm>
        </p:spPr>
        <p:txBody>
          <a:bodyPr anchor="t" anchorCtr="0"/>
          <a:lstStyle>
            <a:lvl1pPr algn="l">
              <a:lnSpc>
                <a:spcPct val="95000"/>
              </a:lnSpc>
              <a:defRPr sz="4000"/>
            </a:lvl1pPr>
          </a:lstStyle>
          <a:p>
            <a:r>
              <a:rPr lang="fi-FI"/>
              <a:t>Muokkaa perustyyl. napsautt.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1FDDA9F-DC3B-4803-9730-F564F287AC8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35508" y="5070348"/>
            <a:ext cx="6839712" cy="1220724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24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D7FCCBE-EE77-5D47-8CE2-1B409B5E09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915" y="565286"/>
            <a:ext cx="2090175" cy="703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296644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AF55F463-6573-FC45-BA45-C38E511134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F6E6260-E36C-484A-9F25-1346EC50A8D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5508" y="2196783"/>
            <a:ext cx="6839712" cy="1876869"/>
          </a:xfrm>
        </p:spPr>
        <p:txBody>
          <a:bodyPr anchor="t" anchorCtr="0"/>
          <a:lstStyle>
            <a:lvl1pPr algn="l">
              <a:lnSpc>
                <a:spcPct val="95000"/>
              </a:lnSpc>
              <a:defRPr sz="4000"/>
            </a:lvl1pPr>
          </a:lstStyle>
          <a:p>
            <a:r>
              <a:rPr lang="fi-FI"/>
              <a:t>Muokkaa perustyyl. napsautt.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1FDDA9F-DC3B-4803-9730-F564F287AC8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35508" y="4073652"/>
            <a:ext cx="5819080" cy="1220724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24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</a:t>
            </a:r>
            <a:r>
              <a:rPr lang="fi-FI" err="1"/>
              <a:t>napsautt</a:t>
            </a:r>
            <a:r>
              <a:rPr lang="fi-FI"/>
              <a:t>.</a:t>
            </a:r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3EE9307-AB79-3247-82BD-37685692FA2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915" y="565286"/>
            <a:ext cx="2090175" cy="703499"/>
          </a:xfrm>
          <a:prstGeom prst="rect">
            <a:avLst/>
          </a:prstGeom>
        </p:spPr>
      </p:pic>
      <p:pic>
        <p:nvPicPr>
          <p:cNvPr id="4" name="Kuva 3"/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915" y="5755340"/>
            <a:ext cx="2272533" cy="6360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64907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 2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AF55F463-6573-FC45-BA45-C38E511134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F6E6260-E36C-484A-9F25-1346EC50A8D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5508" y="2196783"/>
            <a:ext cx="6839712" cy="1876869"/>
          </a:xfrm>
        </p:spPr>
        <p:txBody>
          <a:bodyPr anchor="t" anchorCtr="0"/>
          <a:lstStyle>
            <a:lvl1pPr algn="l">
              <a:lnSpc>
                <a:spcPct val="95000"/>
              </a:lnSpc>
              <a:defRPr sz="4000"/>
            </a:lvl1pPr>
          </a:lstStyle>
          <a:p>
            <a:r>
              <a:rPr lang="fi-FI"/>
              <a:t>Muokkaa perustyyl. napsautt.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1FDDA9F-DC3B-4803-9730-F564F287AC8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35508" y="5070348"/>
            <a:ext cx="6839712" cy="1220724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24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3EE9307-AB79-3247-82BD-37685692FA2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915" y="565286"/>
            <a:ext cx="2090175" cy="703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676922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0DB878-8E84-426A-BEF0-AF1AAFA1F9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940" y="484094"/>
            <a:ext cx="9894939" cy="1075323"/>
          </a:xfrm>
        </p:spPr>
        <p:txBody>
          <a:bodyPr anchor="b"/>
          <a:lstStyle/>
          <a:p>
            <a:r>
              <a:rPr lang="fi-FI"/>
              <a:t>Muokkaa perustyyl. napsautt.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E3B6CAA-4767-42B4-A19C-0CFD9AFC822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E996DCA-8E68-4F4A-A4A6-ACE6BC7F24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19.5.2021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DC7B94-042D-44C2-B7B2-1128AAFA57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etra Kokko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FAA53A2-04A4-784B-8533-1BE5B6ED6EB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76380" y="596151"/>
            <a:ext cx="516294" cy="631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857350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0DB878-8E84-426A-BEF0-AF1AAFA1F9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940" y="484094"/>
            <a:ext cx="9894939" cy="1075323"/>
          </a:xfrm>
        </p:spPr>
        <p:txBody>
          <a:bodyPr anchor="b"/>
          <a:lstStyle/>
          <a:p>
            <a:r>
              <a:rPr lang="fi-FI"/>
              <a:t>Muokkaa perustyyl. napsautt.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E3B6CAA-4767-42B4-A19C-0CFD9AFC822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E996DCA-8E68-4F4A-A4A6-ACE6BC7F24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19.5.2021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DC7B94-042D-44C2-B7B2-1128AAFA57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etra Kokko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FAA53A2-04A4-784B-8533-1BE5B6ED6EB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76380" y="596151"/>
            <a:ext cx="516294" cy="631026"/>
          </a:xfrm>
          <a:prstGeom prst="rect">
            <a:avLst/>
          </a:prstGeom>
        </p:spPr>
      </p:pic>
      <p:pic>
        <p:nvPicPr>
          <p:cNvPr id="10" name="Kuva 9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9409" y="6079993"/>
            <a:ext cx="1783265" cy="4990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05129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 2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AF55F463-6573-FC45-BA45-C38E511134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F6E6260-E36C-484A-9F25-1346EC50A8D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5508" y="2196783"/>
            <a:ext cx="6839712" cy="1876869"/>
          </a:xfrm>
        </p:spPr>
        <p:txBody>
          <a:bodyPr anchor="t" anchorCtr="0"/>
          <a:lstStyle>
            <a:lvl1pPr algn="l">
              <a:lnSpc>
                <a:spcPct val="95000"/>
              </a:lnSpc>
              <a:defRPr sz="4000"/>
            </a:lvl1pPr>
          </a:lstStyle>
          <a:p>
            <a:r>
              <a:rPr lang="fi-FI"/>
              <a:t>Muokkaa perustyyl. napsautt.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1FDDA9F-DC3B-4803-9730-F564F287AC8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35508" y="5070348"/>
            <a:ext cx="6839712" cy="1220724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24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3EE9307-AB79-3247-82BD-37685692FA2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915" y="565286"/>
            <a:ext cx="2090175" cy="703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201256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E3B6CAA-4767-42B4-A19C-0CFD9AFC82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9940" y="2021541"/>
            <a:ext cx="5311126" cy="4155422"/>
          </a:xfrm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E996DCA-8E68-4F4A-A4A6-ACE6BC7F24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19.5.2021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DC7B94-042D-44C2-B7B2-1128AAFA57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etra Kokko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F604C65-0022-A10B-E75C-3BC0B3B9636F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230933" y="2021541"/>
            <a:ext cx="5311126" cy="4155422"/>
          </a:xfrm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6363DDC-C97A-194B-98DF-CA51F0A3D35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76380" y="596151"/>
            <a:ext cx="516294" cy="631026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85789431-5CDA-8F47-85A4-31FC69C174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940" y="484094"/>
            <a:ext cx="9894939" cy="1075323"/>
          </a:xfrm>
        </p:spPr>
        <p:txBody>
          <a:bodyPr anchor="b"/>
          <a:lstStyle/>
          <a:p>
            <a:r>
              <a:rPr lang="fi-FI"/>
              <a:t>Muokkaa perustyyl. napsautt.</a:t>
            </a:r>
            <a:endParaRPr lang="en-GB"/>
          </a:p>
        </p:txBody>
      </p:sp>
      <p:pic>
        <p:nvPicPr>
          <p:cNvPr id="13" name="Kuva 12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9409" y="6079993"/>
            <a:ext cx="1783265" cy="4990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200971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san ylätunnist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orakulmio 2">
            <a:extLst>
              <a:ext uri="{FF2B5EF4-FFF2-40B4-BE49-F238E27FC236}">
                <a16:creationId xmlns:a16="http://schemas.microsoft.com/office/drawing/2014/main" id="{DCD8BB72-B7B2-E8EB-24B6-FE4ECB31BE5A}"/>
              </a:ext>
            </a:extLst>
          </p:cNvPr>
          <p:cNvSpPr/>
          <p:nvPr userDrawn="1"/>
        </p:nvSpPr>
        <p:spPr>
          <a:xfrm>
            <a:off x="-1" y="4570190"/>
            <a:ext cx="12192001" cy="2287810"/>
          </a:xfrm>
          <a:prstGeom prst="rect">
            <a:avLst/>
          </a:prstGeom>
          <a:solidFill>
            <a:srgbClr val="F0EB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4" name="Free-form: Shape 28">
            <a:extLst>
              <a:ext uri="{FF2B5EF4-FFF2-40B4-BE49-F238E27FC236}">
                <a16:creationId xmlns:a16="http://schemas.microsoft.com/office/drawing/2014/main" id="{09403F87-9585-6CA0-7F3B-A0CDE2652619}"/>
              </a:ext>
            </a:extLst>
          </p:cNvPr>
          <p:cNvSpPr/>
          <p:nvPr userDrawn="1"/>
        </p:nvSpPr>
        <p:spPr>
          <a:xfrm>
            <a:off x="-122" y="0"/>
            <a:ext cx="12192122" cy="387240"/>
          </a:xfrm>
          <a:custGeom>
            <a:avLst/>
            <a:gdLst>
              <a:gd name="connsiteX0" fmla="*/ 0 w 12185437"/>
              <a:gd name="connsiteY0" fmla="*/ 0 h 380838"/>
              <a:gd name="connsiteX1" fmla="*/ 12185437 w 12185437"/>
              <a:gd name="connsiteY1" fmla="*/ 0 h 380838"/>
              <a:gd name="connsiteX2" fmla="*/ 12185437 w 12185437"/>
              <a:gd name="connsiteY2" fmla="*/ 380839 h 380838"/>
              <a:gd name="connsiteX3" fmla="*/ 0 w 12185437"/>
              <a:gd name="connsiteY3" fmla="*/ 380839 h 380838"/>
              <a:gd name="connsiteX4" fmla="*/ 0 w 12185437"/>
              <a:gd name="connsiteY4" fmla="*/ 0 h 380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85437" h="380838">
                <a:moveTo>
                  <a:pt x="0" y="0"/>
                </a:moveTo>
                <a:lnTo>
                  <a:pt x="12185437" y="0"/>
                </a:lnTo>
                <a:lnTo>
                  <a:pt x="12185437" y="380839"/>
                </a:lnTo>
                <a:lnTo>
                  <a:pt x="0" y="380839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36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5" name="Free-form: Shape 29">
            <a:extLst>
              <a:ext uri="{FF2B5EF4-FFF2-40B4-BE49-F238E27FC236}">
                <a16:creationId xmlns:a16="http://schemas.microsoft.com/office/drawing/2014/main" id="{B4E4D196-B8D5-48B6-626D-89C042D57B9C}"/>
              </a:ext>
            </a:extLst>
          </p:cNvPr>
          <p:cNvSpPr/>
          <p:nvPr userDrawn="1"/>
        </p:nvSpPr>
        <p:spPr>
          <a:xfrm>
            <a:off x="-122" y="768193"/>
            <a:ext cx="12192122" cy="380702"/>
          </a:xfrm>
          <a:custGeom>
            <a:avLst/>
            <a:gdLst>
              <a:gd name="connsiteX0" fmla="*/ 0 w 12185437"/>
              <a:gd name="connsiteY0" fmla="*/ 0 h 380702"/>
              <a:gd name="connsiteX1" fmla="*/ 12185437 w 12185437"/>
              <a:gd name="connsiteY1" fmla="*/ 0 h 380702"/>
              <a:gd name="connsiteX2" fmla="*/ 12185437 w 12185437"/>
              <a:gd name="connsiteY2" fmla="*/ 380703 h 380702"/>
              <a:gd name="connsiteX3" fmla="*/ 0 w 12185437"/>
              <a:gd name="connsiteY3" fmla="*/ 380703 h 380702"/>
              <a:gd name="connsiteX4" fmla="*/ 0 w 12185437"/>
              <a:gd name="connsiteY4" fmla="*/ 0 h 380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85437" h="380702">
                <a:moveTo>
                  <a:pt x="0" y="0"/>
                </a:moveTo>
                <a:lnTo>
                  <a:pt x="12185437" y="0"/>
                </a:lnTo>
                <a:lnTo>
                  <a:pt x="12185437" y="380703"/>
                </a:lnTo>
                <a:lnTo>
                  <a:pt x="0" y="380703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36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6" name="Free-form: Shape 30">
            <a:extLst>
              <a:ext uri="{FF2B5EF4-FFF2-40B4-BE49-F238E27FC236}">
                <a16:creationId xmlns:a16="http://schemas.microsoft.com/office/drawing/2014/main" id="{89FD2A67-C5A0-8597-A631-E79F1FDC2375}"/>
              </a:ext>
            </a:extLst>
          </p:cNvPr>
          <p:cNvSpPr/>
          <p:nvPr userDrawn="1"/>
        </p:nvSpPr>
        <p:spPr>
          <a:xfrm>
            <a:off x="-122" y="1529863"/>
            <a:ext cx="12192122" cy="380838"/>
          </a:xfrm>
          <a:custGeom>
            <a:avLst/>
            <a:gdLst>
              <a:gd name="connsiteX0" fmla="*/ 0 w 12185437"/>
              <a:gd name="connsiteY0" fmla="*/ 0 h 380838"/>
              <a:gd name="connsiteX1" fmla="*/ 12185437 w 12185437"/>
              <a:gd name="connsiteY1" fmla="*/ 0 h 380838"/>
              <a:gd name="connsiteX2" fmla="*/ 12185437 w 12185437"/>
              <a:gd name="connsiteY2" fmla="*/ 380839 h 380838"/>
              <a:gd name="connsiteX3" fmla="*/ 0 w 12185437"/>
              <a:gd name="connsiteY3" fmla="*/ 380839 h 380838"/>
              <a:gd name="connsiteX4" fmla="*/ 0 w 12185437"/>
              <a:gd name="connsiteY4" fmla="*/ 0 h 380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85437" h="380838">
                <a:moveTo>
                  <a:pt x="0" y="0"/>
                </a:moveTo>
                <a:lnTo>
                  <a:pt x="12185437" y="0"/>
                </a:lnTo>
                <a:lnTo>
                  <a:pt x="12185437" y="380839"/>
                </a:lnTo>
                <a:lnTo>
                  <a:pt x="0" y="380839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36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0" name="Free-form: Shape 31">
            <a:extLst>
              <a:ext uri="{FF2B5EF4-FFF2-40B4-BE49-F238E27FC236}">
                <a16:creationId xmlns:a16="http://schemas.microsoft.com/office/drawing/2014/main" id="{E7831AEF-0633-77AB-EA0E-DB68A5A08C6C}"/>
              </a:ext>
            </a:extLst>
          </p:cNvPr>
          <p:cNvSpPr/>
          <p:nvPr userDrawn="1"/>
        </p:nvSpPr>
        <p:spPr>
          <a:xfrm>
            <a:off x="-122" y="2291655"/>
            <a:ext cx="12192122" cy="380842"/>
          </a:xfrm>
          <a:custGeom>
            <a:avLst/>
            <a:gdLst>
              <a:gd name="connsiteX0" fmla="*/ 0 w 12185437"/>
              <a:gd name="connsiteY0" fmla="*/ 0 h 380842"/>
              <a:gd name="connsiteX1" fmla="*/ 12185437 w 12185437"/>
              <a:gd name="connsiteY1" fmla="*/ 0 h 380842"/>
              <a:gd name="connsiteX2" fmla="*/ 12185437 w 12185437"/>
              <a:gd name="connsiteY2" fmla="*/ 380842 h 380842"/>
              <a:gd name="connsiteX3" fmla="*/ 0 w 12185437"/>
              <a:gd name="connsiteY3" fmla="*/ 380842 h 380842"/>
              <a:gd name="connsiteX4" fmla="*/ 0 w 12185437"/>
              <a:gd name="connsiteY4" fmla="*/ 0 h 380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85437" h="380842">
                <a:moveTo>
                  <a:pt x="0" y="0"/>
                </a:moveTo>
                <a:lnTo>
                  <a:pt x="12185437" y="0"/>
                </a:lnTo>
                <a:lnTo>
                  <a:pt x="12185437" y="380842"/>
                </a:lnTo>
                <a:lnTo>
                  <a:pt x="0" y="380842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36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1" name="Free-form: Shape 32">
            <a:extLst>
              <a:ext uri="{FF2B5EF4-FFF2-40B4-BE49-F238E27FC236}">
                <a16:creationId xmlns:a16="http://schemas.microsoft.com/office/drawing/2014/main" id="{20B1B5C3-36C4-6C96-F052-EC7C50FC54AC}"/>
              </a:ext>
            </a:extLst>
          </p:cNvPr>
          <p:cNvSpPr/>
          <p:nvPr userDrawn="1"/>
        </p:nvSpPr>
        <p:spPr>
          <a:xfrm>
            <a:off x="-122" y="3053449"/>
            <a:ext cx="12192122" cy="380702"/>
          </a:xfrm>
          <a:custGeom>
            <a:avLst/>
            <a:gdLst>
              <a:gd name="connsiteX0" fmla="*/ 0 w 12185437"/>
              <a:gd name="connsiteY0" fmla="*/ 0 h 380702"/>
              <a:gd name="connsiteX1" fmla="*/ 12185437 w 12185437"/>
              <a:gd name="connsiteY1" fmla="*/ 0 h 380702"/>
              <a:gd name="connsiteX2" fmla="*/ 12185437 w 12185437"/>
              <a:gd name="connsiteY2" fmla="*/ 380703 h 380702"/>
              <a:gd name="connsiteX3" fmla="*/ 0 w 12185437"/>
              <a:gd name="connsiteY3" fmla="*/ 380703 h 380702"/>
              <a:gd name="connsiteX4" fmla="*/ 0 w 12185437"/>
              <a:gd name="connsiteY4" fmla="*/ 0 h 380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85437" h="380702">
                <a:moveTo>
                  <a:pt x="0" y="0"/>
                </a:moveTo>
                <a:lnTo>
                  <a:pt x="12185437" y="0"/>
                </a:lnTo>
                <a:lnTo>
                  <a:pt x="12185437" y="380703"/>
                </a:lnTo>
                <a:lnTo>
                  <a:pt x="0" y="380703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36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2" name="Free-form: Shape 33">
            <a:extLst>
              <a:ext uri="{FF2B5EF4-FFF2-40B4-BE49-F238E27FC236}">
                <a16:creationId xmlns:a16="http://schemas.microsoft.com/office/drawing/2014/main" id="{1D2A1DAB-145A-5F7B-9954-6987015EB4B4}"/>
              </a:ext>
            </a:extLst>
          </p:cNvPr>
          <p:cNvSpPr/>
          <p:nvPr userDrawn="1"/>
        </p:nvSpPr>
        <p:spPr>
          <a:xfrm>
            <a:off x="-122" y="3815119"/>
            <a:ext cx="12192122" cy="380838"/>
          </a:xfrm>
          <a:custGeom>
            <a:avLst/>
            <a:gdLst>
              <a:gd name="connsiteX0" fmla="*/ 0 w 12185437"/>
              <a:gd name="connsiteY0" fmla="*/ 0 h 380838"/>
              <a:gd name="connsiteX1" fmla="*/ 12185437 w 12185437"/>
              <a:gd name="connsiteY1" fmla="*/ 0 h 380838"/>
              <a:gd name="connsiteX2" fmla="*/ 12185437 w 12185437"/>
              <a:gd name="connsiteY2" fmla="*/ 380839 h 380838"/>
              <a:gd name="connsiteX3" fmla="*/ 0 w 12185437"/>
              <a:gd name="connsiteY3" fmla="*/ 380839 h 380838"/>
              <a:gd name="connsiteX4" fmla="*/ 0 w 12185437"/>
              <a:gd name="connsiteY4" fmla="*/ 0 h 380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85437" h="380838">
                <a:moveTo>
                  <a:pt x="0" y="0"/>
                </a:moveTo>
                <a:lnTo>
                  <a:pt x="12185437" y="0"/>
                </a:lnTo>
                <a:lnTo>
                  <a:pt x="12185437" y="380839"/>
                </a:lnTo>
                <a:lnTo>
                  <a:pt x="0" y="380839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36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FA2F872-5FC5-D94D-9E89-698A2F01408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39507" y="5596332"/>
            <a:ext cx="2090175" cy="703499"/>
          </a:xfrm>
          <a:prstGeom prst="rect">
            <a:avLst/>
          </a:prstGeom>
        </p:spPr>
      </p:pic>
      <p:pic>
        <p:nvPicPr>
          <p:cNvPr id="13" name="Kuva 12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589" y="5596332"/>
            <a:ext cx="2513704" cy="703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655357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Pictur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orakulmio 2">
            <a:extLst>
              <a:ext uri="{FF2B5EF4-FFF2-40B4-BE49-F238E27FC236}">
                <a16:creationId xmlns:a16="http://schemas.microsoft.com/office/drawing/2014/main" id="{483FB58F-61FC-B125-47DF-7A1E6819B7A4}"/>
              </a:ext>
            </a:extLst>
          </p:cNvPr>
          <p:cNvSpPr/>
          <p:nvPr userDrawn="1"/>
        </p:nvSpPr>
        <p:spPr>
          <a:xfrm>
            <a:off x="-1" y="4570190"/>
            <a:ext cx="12192001" cy="2287810"/>
          </a:xfrm>
          <a:prstGeom prst="rect">
            <a:avLst/>
          </a:prstGeom>
          <a:solidFill>
            <a:srgbClr val="F0EB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4" name="Picture Placeholder 7">
            <a:extLst>
              <a:ext uri="{FF2B5EF4-FFF2-40B4-BE49-F238E27FC236}">
                <a16:creationId xmlns:a16="http://schemas.microsoft.com/office/drawing/2014/main" id="{5E70779E-03A6-C3DE-E92E-DA3EBF19B8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" y="-1"/>
            <a:ext cx="8105774" cy="4570191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None/>
              <a:defRPr sz="1800"/>
            </a:lvl1pPr>
          </a:lstStyle>
          <a:p>
            <a:r>
              <a:rPr lang="fi-FI"/>
              <a:t>Lisää kuva napsauttamalla kuvaketta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C1DC208-0BC6-4780-8569-0CCC5C8BCB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941" y="5170932"/>
            <a:ext cx="6756699" cy="1143000"/>
          </a:xfrm>
        </p:spPr>
        <p:txBody>
          <a:bodyPr anchor="t"/>
          <a:lstStyle>
            <a:lvl1pPr>
              <a:defRPr sz="3200"/>
            </a:lvl1pPr>
          </a:lstStyle>
          <a:p>
            <a:r>
              <a:rPr lang="fi-FI"/>
              <a:t>Muokkaa perustyyl. napsautt.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D1212A6-DA8E-4A60-A5F2-8DAE3B39E0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19.5.2021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2766CB0-43A1-4E89-83D2-9E67BAD632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etra Kokko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E2AEE1E-B285-4162-ABF0-E898A0AD68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160B98-140E-4345-B1A3-2A7247C42973}" type="slidenum">
              <a:rPr lang="fi-FI" smtClean="0"/>
              <a:t>‹#›</a:t>
            </a:fld>
            <a:endParaRPr lang="fi-FI"/>
          </a:p>
        </p:txBody>
      </p:sp>
      <p:sp>
        <p:nvSpPr>
          <p:cNvPr id="12" name="Free-form: Shape 11">
            <a:extLst>
              <a:ext uri="{FF2B5EF4-FFF2-40B4-BE49-F238E27FC236}">
                <a16:creationId xmlns:a16="http://schemas.microsoft.com/office/drawing/2014/main" id="{16E5BBD8-3D18-CC13-B42D-BA6270086E42}"/>
              </a:ext>
            </a:extLst>
          </p:cNvPr>
          <p:cNvSpPr/>
          <p:nvPr/>
        </p:nvSpPr>
        <p:spPr>
          <a:xfrm>
            <a:off x="8105775" y="0"/>
            <a:ext cx="378679" cy="4568336"/>
          </a:xfrm>
          <a:custGeom>
            <a:avLst/>
            <a:gdLst>
              <a:gd name="connsiteX0" fmla="*/ 378679 w 378679"/>
              <a:gd name="connsiteY0" fmla="*/ 0 h 4570191"/>
              <a:gd name="connsiteX1" fmla="*/ 378679 w 378679"/>
              <a:gd name="connsiteY1" fmla="*/ 4570191 h 4570191"/>
              <a:gd name="connsiteX2" fmla="*/ 0 w 378679"/>
              <a:gd name="connsiteY2" fmla="*/ 4570191 h 4570191"/>
              <a:gd name="connsiteX3" fmla="*/ 0 w 378679"/>
              <a:gd name="connsiteY3" fmla="*/ 0 h 4570191"/>
              <a:gd name="connsiteX4" fmla="*/ 378679 w 378679"/>
              <a:gd name="connsiteY4" fmla="*/ 0 h 45701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8679" h="4570191">
                <a:moveTo>
                  <a:pt x="378679" y="0"/>
                </a:moveTo>
                <a:lnTo>
                  <a:pt x="378679" y="4570191"/>
                </a:lnTo>
                <a:lnTo>
                  <a:pt x="0" y="4570191"/>
                </a:lnTo>
                <a:lnTo>
                  <a:pt x="0" y="0"/>
                </a:lnTo>
                <a:lnTo>
                  <a:pt x="378679" y="0"/>
                </a:lnTo>
                <a:close/>
              </a:path>
            </a:pathLst>
          </a:custGeom>
          <a:solidFill>
            <a:schemeClr val="accent2"/>
          </a:solidFill>
          <a:ln w="35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3" name="Free-form: Shape 12">
            <a:extLst>
              <a:ext uri="{FF2B5EF4-FFF2-40B4-BE49-F238E27FC236}">
                <a16:creationId xmlns:a16="http://schemas.microsoft.com/office/drawing/2014/main" id="{F88FF5DF-8F63-E6E6-5985-36E7158CDBC7}"/>
              </a:ext>
            </a:extLst>
          </p:cNvPr>
          <p:cNvSpPr/>
          <p:nvPr/>
        </p:nvSpPr>
        <p:spPr>
          <a:xfrm>
            <a:off x="8869551" y="0"/>
            <a:ext cx="385100" cy="4568336"/>
          </a:xfrm>
          <a:custGeom>
            <a:avLst/>
            <a:gdLst>
              <a:gd name="connsiteX0" fmla="*/ 385101 w 385100"/>
              <a:gd name="connsiteY0" fmla="*/ 0 h 4570191"/>
              <a:gd name="connsiteX1" fmla="*/ 385101 w 385100"/>
              <a:gd name="connsiteY1" fmla="*/ 4570191 h 4570191"/>
              <a:gd name="connsiteX2" fmla="*/ 0 w 385100"/>
              <a:gd name="connsiteY2" fmla="*/ 4570191 h 4570191"/>
              <a:gd name="connsiteX3" fmla="*/ 0 w 385100"/>
              <a:gd name="connsiteY3" fmla="*/ 0 h 4570191"/>
              <a:gd name="connsiteX4" fmla="*/ 385101 w 385100"/>
              <a:gd name="connsiteY4" fmla="*/ 0 h 45701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5100" h="4570191">
                <a:moveTo>
                  <a:pt x="385101" y="0"/>
                </a:moveTo>
                <a:lnTo>
                  <a:pt x="385101" y="4570191"/>
                </a:lnTo>
                <a:lnTo>
                  <a:pt x="0" y="4570191"/>
                </a:lnTo>
                <a:lnTo>
                  <a:pt x="0" y="0"/>
                </a:lnTo>
                <a:lnTo>
                  <a:pt x="385101" y="0"/>
                </a:lnTo>
                <a:close/>
              </a:path>
            </a:pathLst>
          </a:custGeom>
          <a:solidFill>
            <a:schemeClr val="accent2"/>
          </a:solidFill>
          <a:ln w="35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4" name="Free-form: Shape 13">
            <a:extLst>
              <a:ext uri="{FF2B5EF4-FFF2-40B4-BE49-F238E27FC236}">
                <a16:creationId xmlns:a16="http://schemas.microsoft.com/office/drawing/2014/main" id="{B2086361-D08C-2A10-C9AC-F7580BD19271}"/>
              </a:ext>
            </a:extLst>
          </p:cNvPr>
          <p:cNvSpPr/>
          <p:nvPr/>
        </p:nvSpPr>
        <p:spPr>
          <a:xfrm>
            <a:off x="9639735" y="0"/>
            <a:ext cx="385100" cy="4568336"/>
          </a:xfrm>
          <a:custGeom>
            <a:avLst/>
            <a:gdLst>
              <a:gd name="connsiteX0" fmla="*/ 385101 w 385100"/>
              <a:gd name="connsiteY0" fmla="*/ 0 h 4570191"/>
              <a:gd name="connsiteX1" fmla="*/ 385101 w 385100"/>
              <a:gd name="connsiteY1" fmla="*/ 4570191 h 4570191"/>
              <a:gd name="connsiteX2" fmla="*/ 0 w 385100"/>
              <a:gd name="connsiteY2" fmla="*/ 4570191 h 4570191"/>
              <a:gd name="connsiteX3" fmla="*/ 0 w 385100"/>
              <a:gd name="connsiteY3" fmla="*/ 0 h 4570191"/>
              <a:gd name="connsiteX4" fmla="*/ 385101 w 385100"/>
              <a:gd name="connsiteY4" fmla="*/ 0 h 45701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5100" h="4570191">
                <a:moveTo>
                  <a:pt x="385101" y="0"/>
                </a:moveTo>
                <a:lnTo>
                  <a:pt x="385101" y="4570191"/>
                </a:lnTo>
                <a:lnTo>
                  <a:pt x="0" y="4570191"/>
                </a:lnTo>
                <a:lnTo>
                  <a:pt x="0" y="0"/>
                </a:lnTo>
                <a:lnTo>
                  <a:pt x="385101" y="0"/>
                </a:lnTo>
                <a:close/>
              </a:path>
            </a:pathLst>
          </a:custGeom>
          <a:solidFill>
            <a:schemeClr val="accent2"/>
          </a:solidFill>
          <a:ln w="35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5" name="Free-form: Shape 14">
            <a:extLst>
              <a:ext uri="{FF2B5EF4-FFF2-40B4-BE49-F238E27FC236}">
                <a16:creationId xmlns:a16="http://schemas.microsoft.com/office/drawing/2014/main" id="{C86574D7-D6D6-EF56-FB66-14F53A064D5B}"/>
              </a:ext>
            </a:extLst>
          </p:cNvPr>
          <p:cNvSpPr/>
          <p:nvPr/>
        </p:nvSpPr>
        <p:spPr>
          <a:xfrm>
            <a:off x="10409932" y="0"/>
            <a:ext cx="385100" cy="4568336"/>
          </a:xfrm>
          <a:custGeom>
            <a:avLst/>
            <a:gdLst>
              <a:gd name="connsiteX0" fmla="*/ 385101 w 385100"/>
              <a:gd name="connsiteY0" fmla="*/ 0 h 4570191"/>
              <a:gd name="connsiteX1" fmla="*/ 385101 w 385100"/>
              <a:gd name="connsiteY1" fmla="*/ 4570191 h 4570191"/>
              <a:gd name="connsiteX2" fmla="*/ 0 w 385100"/>
              <a:gd name="connsiteY2" fmla="*/ 4570191 h 4570191"/>
              <a:gd name="connsiteX3" fmla="*/ 0 w 385100"/>
              <a:gd name="connsiteY3" fmla="*/ 0 h 4570191"/>
              <a:gd name="connsiteX4" fmla="*/ 385101 w 385100"/>
              <a:gd name="connsiteY4" fmla="*/ 0 h 45701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5100" h="4570191">
                <a:moveTo>
                  <a:pt x="385101" y="0"/>
                </a:moveTo>
                <a:lnTo>
                  <a:pt x="385101" y="4570191"/>
                </a:lnTo>
                <a:lnTo>
                  <a:pt x="0" y="4570191"/>
                </a:lnTo>
                <a:lnTo>
                  <a:pt x="0" y="0"/>
                </a:lnTo>
                <a:lnTo>
                  <a:pt x="385101" y="0"/>
                </a:lnTo>
                <a:close/>
              </a:path>
            </a:pathLst>
          </a:custGeom>
          <a:solidFill>
            <a:schemeClr val="accent2"/>
          </a:solidFill>
          <a:ln w="35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6" name="Free-form: Shape 15">
            <a:extLst>
              <a:ext uri="{FF2B5EF4-FFF2-40B4-BE49-F238E27FC236}">
                <a16:creationId xmlns:a16="http://schemas.microsoft.com/office/drawing/2014/main" id="{294352AE-8336-96CB-B1E6-4E7E7F5C772A}"/>
              </a:ext>
            </a:extLst>
          </p:cNvPr>
          <p:cNvSpPr/>
          <p:nvPr/>
        </p:nvSpPr>
        <p:spPr>
          <a:xfrm>
            <a:off x="11180116" y="0"/>
            <a:ext cx="385100" cy="4568336"/>
          </a:xfrm>
          <a:custGeom>
            <a:avLst/>
            <a:gdLst>
              <a:gd name="connsiteX0" fmla="*/ 385100 w 385100"/>
              <a:gd name="connsiteY0" fmla="*/ 0 h 4570191"/>
              <a:gd name="connsiteX1" fmla="*/ 385100 w 385100"/>
              <a:gd name="connsiteY1" fmla="*/ 4570191 h 4570191"/>
              <a:gd name="connsiteX2" fmla="*/ 0 w 385100"/>
              <a:gd name="connsiteY2" fmla="*/ 4570191 h 4570191"/>
              <a:gd name="connsiteX3" fmla="*/ 0 w 385100"/>
              <a:gd name="connsiteY3" fmla="*/ 0 h 4570191"/>
              <a:gd name="connsiteX4" fmla="*/ 385100 w 385100"/>
              <a:gd name="connsiteY4" fmla="*/ 0 h 45701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5100" h="4570191">
                <a:moveTo>
                  <a:pt x="385100" y="0"/>
                </a:moveTo>
                <a:lnTo>
                  <a:pt x="385100" y="4570191"/>
                </a:lnTo>
                <a:lnTo>
                  <a:pt x="0" y="4570191"/>
                </a:lnTo>
                <a:lnTo>
                  <a:pt x="0" y="0"/>
                </a:lnTo>
                <a:lnTo>
                  <a:pt x="385100" y="0"/>
                </a:lnTo>
                <a:close/>
              </a:path>
            </a:pathLst>
          </a:custGeom>
          <a:solidFill>
            <a:schemeClr val="accent2"/>
          </a:solidFill>
          <a:ln w="35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7" name="Free-form: Shape 16">
            <a:extLst>
              <a:ext uri="{FF2B5EF4-FFF2-40B4-BE49-F238E27FC236}">
                <a16:creationId xmlns:a16="http://schemas.microsoft.com/office/drawing/2014/main" id="{005D8EB3-53B4-CC5F-7972-88D5D8352E6C}"/>
              </a:ext>
            </a:extLst>
          </p:cNvPr>
          <p:cNvSpPr/>
          <p:nvPr userDrawn="1"/>
        </p:nvSpPr>
        <p:spPr>
          <a:xfrm>
            <a:off x="11950317" y="0"/>
            <a:ext cx="241724" cy="4568336"/>
          </a:xfrm>
          <a:custGeom>
            <a:avLst/>
            <a:gdLst>
              <a:gd name="connsiteX0" fmla="*/ 0 w 241724"/>
              <a:gd name="connsiteY0" fmla="*/ 4570191 h 4570191"/>
              <a:gd name="connsiteX1" fmla="*/ 0 w 241724"/>
              <a:gd name="connsiteY1" fmla="*/ 0 h 4570191"/>
              <a:gd name="connsiteX2" fmla="*/ 241725 w 241724"/>
              <a:gd name="connsiteY2" fmla="*/ 0 h 4570191"/>
              <a:gd name="connsiteX3" fmla="*/ 241725 w 241724"/>
              <a:gd name="connsiteY3" fmla="*/ 4570191 h 4570191"/>
              <a:gd name="connsiteX4" fmla="*/ 0 w 241724"/>
              <a:gd name="connsiteY4" fmla="*/ 4570191 h 45701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1724" h="4570191">
                <a:moveTo>
                  <a:pt x="0" y="4570191"/>
                </a:moveTo>
                <a:lnTo>
                  <a:pt x="0" y="0"/>
                </a:lnTo>
                <a:lnTo>
                  <a:pt x="241725" y="0"/>
                </a:lnTo>
                <a:lnTo>
                  <a:pt x="241725" y="4570191"/>
                </a:lnTo>
                <a:lnTo>
                  <a:pt x="0" y="4570191"/>
                </a:lnTo>
                <a:close/>
              </a:path>
            </a:pathLst>
          </a:custGeom>
          <a:solidFill>
            <a:schemeClr val="accent2"/>
          </a:solidFill>
          <a:ln w="35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A24A5D3F-B208-9740-8F43-58C8D911A4A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39507" y="5596332"/>
            <a:ext cx="2090175" cy="703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190441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DE34914-B5F2-4084-8552-6153E3BFA8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19.5.2021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3C69628-CCBB-4581-842C-07AC1724D7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etra Kokko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414EFF0-E9E2-364E-9793-DF62BACE2D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76380" y="596151"/>
            <a:ext cx="516294" cy="631026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0E5EEC2F-8885-4741-92AA-E21ECE47D5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940" y="484094"/>
            <a:ext cx="9894939" cy="1075323"/>
          </a:xfrm>
        </p:spPr>
        <p:txBody>
          <a:bodyPr anchor="b"/>
          <a:lstStyle/>
          <a:p>
            <a:r>
              <a:rPr lang="fi-FI"/>
              <a:t>Muokkaa perustyyl. napsautt.</a:t>
            </a:r>
            <a:endParaRPr lang="en-GB"/>
          </a:p>
        </p:txBody>
      </p:sp>
      <p:pic>
        <p:nvPicPr>
          <p:cNvPr id="11" name="Kuva 10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9409" y="6079993"/>
            <a:ext cx="1783265" cy="4990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859288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7C8C091-C242-4851-9826-ECBA43530F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19.5.2021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5B64547-60FB-4F82-B034-DC7F10F48F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etra Kokko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7519037-54EE-46F6-8610-A2A8D9E613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160B98-140E-4345-B1A3-2A7247C42973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52493899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A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28C0CC54-50F0-82A5-1E19-B62E0C47E6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7396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8C0CC54-50F0-82A5-1E19-B62E0C47E6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25C349A-497F-D34B-9E19-3C589740284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05669" y="3911600"/>
            <a:ext cx="8633791" cy="1034683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 rtl="0"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fi-FI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093509D-5451-D649-8734-ACC379773E3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05669" y="5064722"/>
            <a:ext cx="8633792" cy="671765"/>
          </a:xfrm>
        </p:spPr>
        <p:txBody>
          <a:bodyPr wrap="none" anchor="t">
            <a:normAutofit/>
          </a:bodyPr>
          <a:lstStyle>
            <a:lvl1pPr marL="0" indent="0" algn="l" rtl="0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Click to edit Master subtitle styl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06182D11-1F27-CD44-9738-91EA8B0B13A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86266" y="778312"/>
            <a:ext cx="2101315" cy="2673101"/>
          </a:xfrm>
          <a:prstGeom prst="rect">
            <a:avLst/>
          </a:prstGeom>
        </p:spPr>
      </p:pic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ADF0CEDC-E734-634E-8D2C-1CA06C0A628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7924" y="6388034"/>
            <a:ext cx="2743200" cy="301756"/>
          </a:xfrm>
        </p:spPr>
        <p:txBody>
          <a:bodyPr/>
          <a:lstStyle>
            <a:lvl1pPr rtl="0">
              <a:defRPr>
                <a:solidFill>
                  <a:schemeClr val="accent2">
                    <a:lumMod val="40000"/>
                    <a:lumOff val="60000"/>
                  </a:schemeClr>
                </a:solidFill>
              </a:defRPr>
            </a:lvl1pPr>
          </a:lstStyle>
          <a:p>
            <a:r>
              <a:rPr lang="fi-FI"/>
              <a:t>19.5.2021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609E47E-A02C-D149-8A9C-3165F669654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00876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000">
                <a:solidFill>
                  <a:schemeClr val="accent2">
                    <a:lumMod val="40000"/>
                    <a:lumOff val="60000"/>
                  </a:schemeClr>
                </a:solidFill>
              </a:defRPr>
            </a:lvl1pPr>
          </a:lstStyle>
          <a:p>
            <a:fld id="{A1510FE8-D753-C647-A925-D4EB5DB9B7DB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62397846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A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78DD5BED-6477-1C51-6B04-6E939357ED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71146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8DD5BED-6477-1C51-6B04-6E939357ED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25C349A-497F-D34B-9E19-3C589740284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67678" y="2580830"/>
            <a:ext cx="8633791" cy="1592129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 rtl="0">
              <a:defRPr sz="4600" b="1">
                <a:solidFill>
                  <a:schemeClr val="bg1"/>
                </a:solidFill>
              </a:defRPr>
            </a:lvl1pPr>
          </a:lstStyle>
          <a:p>
            <a:r>
              <a:rPr lang="fi-FI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093509D-5451-D649-8734-ACC379773E3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67678" y="4351637"/>
            <a:ext cx="8633792" cy="920838"/>
          </a:xfrm>
        </p:spPr>
        <p:txBody>
          <a:bodyPr wrap="none" anchor="t">
            <a:normAutofit/>
          </a:bodyPr>
          <a:lstStyle>
            <a:lvl1pPr marL="0" indent="0" algn="l" rtl="0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Click to edit Master subtitle style</a:t>
            </a: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2EBDBF8C-DF27-444D-BBC4-24745D974CD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7924" y="6388034"/>
            <a:ext cx="2743200" cy="301756"/>
          </a:xfrm>
        </p:spPr>
        <p:txBody>
          <a:bodyPr/>
          <a:lstStyle>
            <a:lvl1pPr rtl="0">
              <a:defRPr>
                <a:solidFill>
                  <a:schemeClr val="accent2">
                    <a:lumMod val="40000"/>
                    <a:lumOff val="60000"/>
                  </a:schemeClr>
                </a:solidFill>
              </a:defRPr>
            </a:lvl1pPr>
          </a:lstStyle>
          <a:p>
            <a:r>
              <a:rPr lang="fi-FI"/>
              <a:t>19.5.2021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8976617-1CFF-CC48-9CEF-A2B0FA265F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00876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000">
                <a:solidFill>
                  <a:schemeClr val="accent2">
                    <a:lumMod val="40000"/>
                    <a:lumOff val="60000"/>
                  </a:schemeClr>
                </a:solidFill>
              </a:defRPr>
            </a:lvl1pPr>
          </a:lstStyle>
          <a:p>
            <a:fld id="{A1510FE8-D753-C647-A925-D4EB5DB9B7DB}" type="slidenum">
              <a:rPr lang="fi-FI" smtClean="0"/>
              <a:pPr/>
              <a:t>‹#›</a:t>
            </a:fld>
            <a:endParaRPr lang="fi-FI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DC218302-48EA-A846-A1FB-D245356EAC9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66666" y="696067"/>
            <a:ext cx="3444240" cy="819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019897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59F99D8-A653-BD73-3423-16DA15085B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15119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9F99D8-A653-BD73-3423-16DA15085B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400181E-5A6F-E848-BD86-D63E42BB71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fi-FI"/>
              <a:t>19.5.2021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6460BE6C-0F61-7B4C-951D-D3C16436D9D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05669" y="3911600"/>
            <a:ext cx="8633791" cy="1034683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 rtl="0">
              <a:defRPr sz="3600" b="1">
                <a:solidFill>
                  <a:schemeClr val="tx2"/>
                </a:solidFill>
              </a:defRPr>
            </a:lvl1pPr>
          </a:lstStyle>
          <a:p>
            <a:r>
              <a:rPr lang="fi-FI"/>
              <a:t>Click to edit Master title styl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056DAF95-38C5-C346-AA7E-7B526D6845C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05669" y="5064722"/>
            <a:ext cx="8633792" cy="671765"/>
          </a:xfrm>
        </p:spPr>
        <p:txBody>
          <a:bodyPr wrap="none" anchor="t">
            <a:normAutofit/>
          </a:bodyPr>
          <a:lstStyle>
            <a:lvl1pPr marL="0" indent="0" algn="l" rtl="0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Click to edit Master subtitle style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AD97D02B-68CE-F847-B0F8-FF0064C8DFF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86266" y="778312"/>
            <a:ext cx="2101315" cy="2673101"/>
          </a:xfrm>
          <a:prstGeom prst="rect">
            <a:avLst/>
          </a:prstGeom>
        </p:spPr>
      </p:pic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C5C96A5-8941-A14C-9501-AF02433AEDB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00876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fld id="{A1510FE8-D753-C647-A925-D4EB5DB9B7DB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48416271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5A2108C-0A7A-8886-D87A-EB05EC4315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35011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5A2108C-0A7A-8886-D87A-EB05EC4315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400181E-5A6F-E848-BD86-D63E42BB71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fi-FI"/>
              <a:t>19.5.2021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685CB817-E7A0-DB47-88B9-AB588A3BEA5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67678" y="2580830"/>
            <a:ext cx="8633791" cy="1592129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 rtl="0">
              <a:defRPr sz="4600" b="1">
                <a:solidFill>
                  <a:schemeClr val="tx2"/>
                </a:solidFill>
              </a:defRPr>
            </a:lvl1pPr>
          </a:lstStyle>
          <a:p>
            <a:r>
              <a:rPr lang="fi-FI"/>
              <a:t>Click to edit Master title styl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D253AAD4-34BA-0844-BC30-5DE1B02DEAD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67678" y="4351637"/>
            <a:ext cx="8633792" cy="920838"/>
          </a:xfrm>
        </p:spPr>
        <p:txBody>
          <a:bodyPr wrap="none" anchor="t">
            <a:normAutofit/>
          </a:bodyPr>
          <a:lstStyle>
            <a:lvl1pPr marL="0" indent="0" algn="l" rtl="0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Click to edit Master subtitle styl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5B228E8-B39A-2748-BC46-D15FE03F38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00876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fld id="{A1510FE8-D753-C647-A925-D4EB5DB9B7DB}" type="slidenum">
              <a:rPr lang="fi-FI" smtClean="0"/>
              <a:pPr/>
              <a:t>‹#›</a:t>
            </a:fld>
            <a:endParaRPr lang="fi-FI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7F933DCF-44F5-A875-C470-9A2D7AFCB57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45918" y="376263"/>
            <a:ext cx="4090615" cy="1459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00200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72A7BB6E-A65C-ABE1-2C6C-361C51E76C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94905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2A7BB6E-A65C-ABE1-2C6C-361C51E76C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52349F3-6886-F542-9969-7237168060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5257800" cy="4351338"/>
          </a:xfrm>
        </p:spPr>
        <p:txBody>
          <a:bodyPr>
            <a:normAutofit/>
          </a:bodyPr>
          <a:lstStyle>
            <a:lvl1pPr marL="0" indent="0" rtl="0">
              <a:buNone/>
              <a:defRPr sz="2400"/>
            </a:lvl1pPr>
            <a:lvl2pPr marL="457200" indent="0" rtl="0">
              <a:buNone/>
              <a:defRPr sz="2000"/>
            </a:lvl2pPr>
            <a:lvl3pPr marL="914400" indent="0" rtl="0">
              <a:buNone/>
              <a:defRPr sz="1800"/>
            </a:lvl3pPr>
            <a:lvl4pPr marL="1371600" indent="0" rtl="0">
              <a:buNone/>
              <a:defRPr sz="1600"/>
            </a:lvl4pPr>
            <a:lvl5pPr marL="1828800" indent="0" rtl="0">
              <a:buNone/>
              <a:defRPr sz="1600"/>
            </a:lvl5pPr>
          </a:lstStyle>
          <a:p>
            <a:pPr lvl="0"/>
            <a:r>
              <a:rPr lang="fi-FI"/>
              <a:t>Click to edit Master text styles</a:t>
            </a:r>
          </a:p>
          <a:p>
            <a:pPr lvl="1"/>
            <a:r>
              <a:rPr lang="fi-FI"/>
              <a:t>Second level</a:t>
            </a:r>
          </a:p>
          <a:p>
            <a:pPr lvl="2"/>
            <a:r>
              <a:rPr lang="fi-FI"/>
              <a:t>Third level</a:t>
            </a:r>
          </a:p>
          <a:p>
            <a:pPr lvl="3"/>
            <a:r>
              <a:rPr lang="fi-FI"/>
              <a:t>Fourth level</a:t>
            </a:r>
          </a:p>
          <a:p>
            <a:pPr lvl="4"/>
            <a:r>
              <a:rPr lang="fi-FI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3B2E9EE-7AF0-CD40-85C0-4647BECD3B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fi-FI"/>
              <a:t>19.5.2021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B46F515E-8A14-D440-BA16-6CF4A8FAD3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365125"/>
            <a:ext cx="10117508" cy="132556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fi-FI"/>
              <a:t>Click to edit Master title style</a:t>
            </a:r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2933C501-C972-5940-8DF8-87DACEA5612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26108" y="6356350"/>
            <a:ext cx="54272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rtl="0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 lang="fi-FI"/>
              <a:t>Petra Kokko</a:t>
            </a:r>
          </a:p>
        </p:txBody>
      </p:sp>
      <p:sp>
        <p:nvSpPr>
          <p:cNvPr id="6" name="Slide Number Placeholder 8">
            <a:extLst>
              <a:ext uri="{FF2B5EF4-FFF2-40B4-BE49-F238E27FC236}">
                <a16:creationId xmlns:a16="http://schemas.microsoft.com/office/drawing/2014/main" id="{34EDB623-A096-B144-90FC-74CCA312CFD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00876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fld id="{A1510FE8-D753-C647-A925-D4EB5DB9B7DB}" type="slidenum">
              <a:rPr lang="fi-FI" smtClean="0"/>
              <a:pPr/>
              <a:t>‹#›</a:t>
            </a:fld>
            <a:endParaRPr lang="fi-FI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2412F263-8ED4-9547-890D-9985108F9AF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379438" y="335634"/>
            <a:ext cx="524855" cy="667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87902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0DB878-8E84-426A-BEF0-AF1AAFA1F9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940" y="484094"/>
            <a:ext cx="9894939" cy="1075323"/>
          </a:xfrm>
        </p:spPr>
        <p:txBody>
          <a:bodyPr anchor="b"/>
          <a:lstStyle/>
          <a:p>
            <a:r>
              <a:rPr lang="fi-FI"/>
              <a:t>Muokkaa perustyyl. napsautt.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E3B6CAA-4767-42B4-A19C-0CFD9AFC822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E996DCA-8E68-4F4A-A4A6-ACE6BC7F24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19.5.2021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DC7B94-042D-44C2-B7B2-1128AAFA57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etra Kokko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FAA53A2-04A4-784B-8533-1BE5B6ED6EB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76380" y="596151"/>
            <a:ext cx="516294" cy="631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259771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8E1BEFA-FE58-F0A9-E6A8-2826FFC0AF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48247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8E1BEFA-FE58-F0A9-E6A8-2826FFC0AF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83BD4EBF-F256-874C-8E69-0F4BD8F2B9A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rtl="0">
              <a:defRPr/>
            </a:lvl1pPr>
          </a:lstStyle>
          <a:p>
            <a:r>
              <a:rPr lang="fi-FI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54507166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slide imag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4543E4A4-DA59-B672-CD45-F8FA2FEA4E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356241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43E4A4-DA59-B672-CD45-F8FA2FEA4E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83BD4EBF-F256-874C-8E69-0F4BD8F2B9A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rtl="0">
              <a:defRPr/>
            </a:lvl1pPr>
          </a:lstStyle>
          <a:p>
            <a:r>
              <a:rPr lang="fi-FI"/>
              <a:t>Click icon to add picture</a:t>
            </a:r>
          </a:p>
        </p:txBody>
      </p:sp>
      <p:sp>
        <p:nvSpPr>
          <p:cNvPr id="3" name="Title 3">
            <a:extLst>
              <a:ext uri="{FF2B5EF4-FFF2-40B4-BE49-F238E27FC236}">
                <a16:creationId xmlns:a16="http://schemas.microsoft.com/office/drawing/2014/main" id="{8FDB6130-099B-2641-B113-534C653604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091871" cy="1325563"/>
          </a:xfrm>
        </p:spPr>
        <p:txBody>
          <a:bodyPr vert="horz"/>
          <a:lstStyle>
            <a:lvl1pPr rtl="0">
              <a:defRPr>
                <a:solidFill>
                  <a:srgbClr val="FFFFFF"/>
                </a:solidFill>
                <a:effectLst>
                  <a:outerShdw blurRad="889000" dist="50800" dir="5400000" algn="ctr" rotWithShape="0">
                    <a:schemeClr val="tx1">
                      <a:alpha val="70000"/>
                    </a:schemeClr>
                  </a:outerShdw>
                </a:effectLst>
              </a:defRPr>
            </a:lvl1pPr>
          </a:lstStyle>
          <a:p>
            <a:r>
              <a:rPr lang="fi-FI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727068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F7C42B08-3832-2772-B2A7-8A05306809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67508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7C42B08-3832-2772-B2A7-8A05306809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52349F3-6886-F542-9969-72371680609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fi-FI"/>
              <a:t>Click to edit Master text styles</a:t>
            </a:r>
          </a:p>
          <a:p>
            <a:pPr lvl="1"/>
            <a:r>
              <a:rPr lang="fi-FI"/>
              <a:t>Second level</a:t>
            </a:r>
          </a:p>
          <a:p>
            <a:pPr lvl="2"/>
            <a:r>
              <a:rPr lang="fi-FI"/>
              <a:t>Third level</a:t>
            </a:r>
          </a:p>
          <a:p>
            <a:pPr lvl="3"/>
            <a:r>
              <a:rPr lang="fi-FI"/>
              <a:t>Fourth level</a:t>
            </a:r>
          </a:p>
          <a:p>
            <a:pPr lvl="4"/>
            <a:r>
              <a:rPr lang="fi-FI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B1333FA-BB63-A140-8E5B-EF17C6C9AE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fi-FI"/>
              <a:t>19.5.2021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E501282-474B-CC4C-AAB1-AEFEEC200B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074779" cy="132556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fi-FI"/>
              <a:t>Click to edit Master title style</a:t>
            </a:r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95A8217F-E150-D04C-9937-53561134597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26108" y="6356350"/>
            <a:ext cx="54272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rtl="0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 lang="fi-FI"/>
              <a:t>Petra Kokko</a:t>
            </a:r>
          </a:p>
        </p:txBody>
      </p:sp>
      <p:sp>
        <p:nvSpPr>
          <p:cNvPr id="7" name="Slide Number Placeholder 8">
            <a:extLst>
              <a:ext uri="{FF2B5EF4-FFF2-40B4-BE49-F238E27FC236}">
                <a16:creationId xmlns:a16="http://schemas.microsoft.com/office/drawing/2014/main" id="{ECA92EE8-1EED-C443-88C6-D174A7C7C3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00876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fld id="{A1510FE8-D753-C647-A925-D4EB5DB9B7DB}" type="slidenum">
              <a:rPr lang="fi-FI" smtClean="0"/>
              <a:pPr/>
              <a:t>‹#›</a:t>
            </a:fld>
            <a:endParaRPr lang="fi-FI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9AA7E11A-2316-AA4F-8990-CFC7657E348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379438" y="335634"/>
            <a:ext cx="524855" cy="667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11135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7267151-D46C-F5FD-382F-B6E00489E9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74400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7267151-D46C-F5FD-382F-B6E00489E9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26E1A61-EA5E-DA4D-B00E-EC8875F309B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fi-FI"/>
              <a:t>Click to edit Master text styles</a:t>
            </a:r>
          </a:p>
          <a:p>
            <a:pPr lvl="1"/>
            <a:r>
              <a:rPr lang="fi-FI"/>
              <a:t>Second level</a:t>
            </a:r>
          </a:p>
          <a:p>
            <a:pPr lvl="2"/>
            <a:r>
              <a:rPr lang="fi-FI"/>
              <a:t>Third level</a:t>
            </a:r>
          </a:p>
          <a:p>
            <a:pPr lvl="3"/>
            <a:r>
              <a:rPr lang="fi-FI"/>
              <a:t>Fourth level</a:t>
            </a:r>
          </a:p>
          <a:p>
            <a:pPr lvl="4"/>
            <a:r>
              <a:rPr lang="fi-FI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3EC9222-EBDA-FF4A-B4A9-8CCE374482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fi-FI"/>
              <a:t>19.5.2021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CFED5F80-893E-0541-953E-114976E8ED9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 rtl="0">
              <a:defRPr/>
            </a:lvl1pPr>
          </a:lstStyle>
          <a:p>
            <a:r>
              <a:rPr lang="fi-FI"/>
              <a:t>Click icon to add pictur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09E600B-2BDF-3E4E-AB3B-2E7647633C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117508" cy="132556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fi-FI"/>
              <a:t>Click to edit Master title style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19D7365B-D768-634D-8BE4-2FC214A7B79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26108" y="6356350"/>
            <a:ext cx="54272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rtl="0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 lang="fi-FI"/>
              <a:t>Petra Kokko</a:t>
            </a:r>
          </a:p>
        </p:txBody>
      </p:sp>
      <p:sp>
        <p:nvSpPr>
          <p:cNvPr id="7" name="Slide Number Placeholder 8">
            <a:extLst>
              <a:ext uri="{FF2B5EF4-FFF2-40B4-BE49-F238E27FC236}">
                <a16:creationId xmlns:a16="http://schemas.microsoft.com/office/drawing/2014/main" id="{64A55D65-E3C7-DC4C-B49D-F7365EF6581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00876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fld id="{A1510FE8-D753-C647-A925-D4EB5DB9B7DB}" type="slidenum">
              <a:rPr lang="fi-FI" smtClean="0"/>
              <a:pPr/>
              <a:t>‹#›</a:t>
            </a:fld>
            <a:endParaRPr lang="fi-FI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EF43AA26-7B0E-6341-BFDE-6F00B73D71D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379438" y="335634"/>
            <a:ext cx="524855" cy="667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387598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B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2146367A-10C8-21E6-FC62-6B280EFBA8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9468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146367A-10C8-21E6-FC62-6B280EFBA8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52349F3-6886-F542-9969-72371680609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i-FI"/>
              <a:t>Click to edit Master text styles</a:t>
            </a:r>
          </a:p>
          <a:p>
            <a:pPr lvl="1"/>
            <a:r>
              <a:rPr lang="fi-FI"/>
              <a:t>Second level</a:t>
            </a:r>
          </a:p>
          <a:p>
            <a:pPr lvl="2"/>
            <a:r>
              <a:rPr lang="fi-FI"/>
              <a:t>Third level</a:t>
            </a:r>
          </a:p>
          <a:p>
            <a:pPr lvl="3"/>
            <a:r>
              <a:rPr lang="fi-FI"/>
              <a:t>Fourth level</a:t>
            </a:r>
          </a:p>
          <a:p>
            <a:pPr lvl="4"/>
            <a:r>
              <a:rPr lang="fi-FI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FA167E5-70BA-D045-BE00-94F338847F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>
                <a:solidFill>
                  <a:schemeClr val="accent2">
                    <a:lumMod val="40000"/>
                    <a:lumOff val="60000"/>
                  </a:schemeClr>
                </a:solidFill>
              </a:defRPr>
            </a:lvl1pPr>
          </a:lstStyle>
          <a:p>
            <a:r>
              <a:rPr lang="fi-FI"/>
              <a:t>19.5.2021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D12D56F-4563-654C-BA93-8F3D2EEB7B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074779" cy="1325563"/>
          </a:xfrm>
        </p:spPr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Click to edit Master title style</a:t>
            </a:r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EA050767-61B8-5242-BDDB-EF2226DEDEE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26108" y="6356350"/>
            <a:ext cx="54272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rtl="0">
              <a:defRPr sz="1000">
                <a:solidFill>
                  <a:schemeClr val="accent2">
                    <a:lumMod val="40000"/>
                    <a:lumOff val="60000"/>
                  </a:schemeClr>
                </a:solidFill>
              </a:defRPr>
            </a:lvl1pPr>
          </a:lstStyle>
          <a:p>
            <a:r>
              <a:rPr lang="fi-FI"/>
              <a:t>Petra Kokko</a:t>
            </a:r>
          </a:p>
        </p:txBody>
      </p:sp>
      <p:sp>
        <p:nvSpPr>
          <p:cNvPr id="6" name="Slide Number Placeholder 8">
            <a:extLst>
              <a:ext uri="{FF2B5EF4-FFF2-40B4-BE49-F238E27FC236}">
                <a16:creationId xmlns:a16="http://schemas.microsoft.com/office/drawing/2014/main" id="{B1C1C4BA-03A0-EE4E-9C80-79C5043BEFA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00876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000">
                <a:solidFill>
                  <a:schemeClr val="accent2">
                    <a:lumMod val="40000"/>
                    <a:lumOff val="60000"/>
                  </a:schemeClr>
                </a:solidFill>
              </a:defRPr>
            </a:lvl1pPr>
          </a:lstStyle>
          <a:p>
            <a:fld id="{A1510FE8-D753-C647-A925-D4EB5DB9B7DB}" type="slidenum">
              <a:rPr lang="fi-FI" smtClean="0"/>
              <a:pPr/>
              <a:t>‹#›</a:t>
            </a:fld>
            <a:endParaRPr lang="fi-FI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D0CE164F-682B-A04E-909C-18348AB1459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379438" y="335634"/>
            <a:ext cx="524855" cy="667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626473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B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CA36D457-4933-0AEB-0FEE-EAEDE91894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46808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A36D457-4933-0AEB-0FEE-EAEDE91894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26E1A61-EA5E-DA4D-B00E-EC8875F309B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i-FI"/>
              <a:t>Click to edit Master text styles</a:t>
            </a:r>
          </a:p>
          <a:p>
            <a:pPr lvl="1"/>
            <a:r>
              <a:rPr lang="fi-FI"/>
              <a:t>Second level</a:t>
            </a:r>
          </a:p>
          <a:p>
            <a:pPr lvl="2"/>
            <a:r>
              <a:rPr lang="fi-FI"/>
              <a:t>Third level</a:t>
            </a:r>
          </a:p>
          <a:p>
            <a:pPr lvl="3"/>
            <a:r>
              <a:rPr lang="fi-FI"/>
              <a:t>Fourth level</a:t>
            </a:r>
          </a:p>
          <a:p>
            <a:pPr lvl="4"/>
            <a:r>
              <a:rPr lang="fi-FI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3EC9222-EBDA-FF4A-B4A9-8CCE374482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>
                <a:solidFill>
                  <a:schemeClr val="accent2">
                    <a:lumMod val="40000"/>
                    <a:lumOff val="60000"/>
                  </a:schemeClr>
                </a:solidFill>
              </a:defRPr>
            </a:lvl1pPr>
          </a:lstStyle>
          <a:p>
            <a:r>
              <a:rPr lang="fi-FI"/>
              <a:t>19.5.2021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CFED5F80-893E-0541-953E-114976E8ED9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Click icon to add pictur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09E600B-2BDF-3E4E-AB3B-2E7647633C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117508" cy="1325563"/>
          </a:xfrm>
        </p:spPr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Click to edit Master title style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19D7365B-D768-634D-8BE4-2FC214A7B79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26108" y="6356350"/>
            <a:ext cx="54272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rtl="0">
              <a:defRPr sz="1000">
                <a:solidFill>
                  <a:schemeClr val="accent2">
                    <a:lumMod val="40000"/>
                    <a:lumOff val="60000"/>
                  </a:schemeClr>
                </a:solidFill>
              </a:defRPr>
            </a:lvl1pPr>
          </a:lstStyle>
          <a:p>
            <a:r>
              <a:rPr lang="fi-FI"/>
              <a:t>Petra Kokko</a:t>
            </a:r>
          </a:p>
        </p:txBody>
      </p:sp>
      <p:sp>
        <p:nvSpPr>
          <p:cNvPr id="7" name="Slide Number Placeholder 8">
            <a:extLst>
              <a:ext uri="{FF2B5EF4-FFF2-40B4-BE49-F238E27FC236}">
                <a16:creationId xmlns:a16="http://schemas.microsoft.com/office/drawing/2014/main" id="{64A55D65-E3C7-DC4C-B49D-F7365EF6581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00876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000">
                <a:solidFill>
                  <a:schemeClr val="accent2">
                    <a:lumMod val="40000"/>
                    <a:lumOff val="60000"/>
                  </a:schemeClr>
                </a:solidFill>
              </a:defRPr>
            </a:lvl1pPr>
          </a:lstStyle>
          <a:p>
            <a:fld id="{A1510FE8-D753-C647-A925-D4EB5DB9B7DB}" type="slidenum">
              <a:rPr lang="fi-FI" smtClean="0"/>
              <a:pPr/>
              <a:t>‹#›</a:t>
            </a:fld>
            <a:endParaRPr lang="fi-FI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EF43AA26-7B0E-6341-BFDE-6F00B73D71D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379438" y="335634"/>
            <a:ext cx="524855" cy="667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139418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82CA20D2-D665-2FC5-4A69-87F1DE987B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72545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2CA20D2-D665-2FC5-4A69-87F1DE987B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8E4588D-02B6-7B48-80C5-7290C08434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fi-FI"/>
              <a:t>19.5.2021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90D1BEB-5C05-2040-99D3-AC167E20F5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083325" cy="132556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fi-FI"/>
              <a:t>Click to edit Master title style</a:t>
            </a:r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8DE69C5E-82EF-A648-A11F-D9E1E9EFECB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26108" y="6356350"/>
            <a:ext cx="54272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rtl="0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 lang="fi-FI"/>
              <a:t>Petra Kokko</a:t>
            </a:r>
          </a:p>
        </p:txBody>
      </p:sp>
      <p:sp>
        <p:nvSpPr>
          <p:cNvPr id="6" name="Slide Number Placeholder 8">
            <a:extLst>
              <a:ext uri="{FF2B5EF4-FFF2-40B4-BE49-F238E27FC236}">
                <a16:creationId xmlns:a16="http://schemas.microsoft.com/office/drawing/2014/main" id="{C41B89B9-4C34-5945-8DD2-025C2ACDCD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00876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fld id="{A1510FE8-D753-C647-A925-D4EB5DB9B7DB}" type="slidenum">
              <a:rPr lang="fi-FI" smtClean="0"/>
              <a:pPr/>
              <a:t>‹#›</a:t>
            </a:fld>
            <a:endParaRPr lang="fi-FI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17C11409-FE29-B548-AE3B-9C849B9FE78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379438" y="335634"/>
            <a:ext cx="524855" cy="667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886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B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4713B9D-BE9B-2D3F-33A1-257F9D9EBE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04350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713B9D-BE9B-2D3F-33A1-257F9D9EBE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99AD22D8-A0C9-B24E-B617-4A9AFE99C2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091871" cy="1325563"/>
          </a:xfrm>
        </p:spPr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Click to edit Master title style</a:t>
            </a:r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29408B3C-CD3D-A345-95D5-50EF223B22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26108" y="6356350"/>
            <a:ext cx="54272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rtl="0">
              <a:defRPr sz="1000">
                <a:solidFill>
                  <a:schemeClr val="accent2">
                    <a:lumMod val="40000"/>
                    <a:lumOff val="60000"/>
                  </a:schemeClr>
                </a:solidFill>
              </a:defRPr>
            </a:lvl1pPr>
          </a:lstStyle>
          <a:p>
            <a:r>
              <a:rPr lang="fi-FI"/>
              <a:t>Petra Kokko</a:t>
            </a:r>
          </a:p>
        </p:txBody>
      </p:sp>
      <p:sp>
        <p:nvSpPr>
          <p:cNvPr id="7" name="Slide Number Placeholder 8">
            <a:extLst>
              <a:ext uri="{FF2B5EF4-FFF2-40B4-BE49-F238E27FC236}">
                <a16:creationId xmlns:a16="http://schemas.microsoft.com/office/drawing/2014/main" id="{61B66448-190C-E74D-852D-DB4BEC1279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00876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000">
                <a:solidFill>
                  <a:schemeClr val="accent2">
                    <a:lumMod val="40000"/>
                    <a:lumOff val="60000"/>
                  </a:schemeClr>
                </a:solidFill>
              </a:defRPr>
            </a:lvl1pPr>
          </a:lstStyle>
          <a:p>
            <a:fld id="{A1510FE8-D753-C647-A925-D4EB5DB9B7DB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DFE41889-F0C6-E244-B481-92FA2D7E6E7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7924" y="6347804"/>
            <a:ext cx="1503964" cy="365125"/>
          </a:xfrm>
        </p:spPr>
        <p:txBody>
          <a:bodyPr/>
          <a:lstStyle>
            <a:lvl1pPr rtl="0">
              <a:defRPr>
                <a:solidFill>
                  <a:schemeClr val="accent2">
                    <a:lumMod val="40000"/>
                    <a:lumOff val="60000"/>
                  </a:schemeClr>
                </a:solidFill>
              </a:defRPr>
            </a:lvl1pPr>
          </a:lstStyle>
          <a:p>
            <a:r>
              <a:rPr lang="fi-FI"/>
              <a:t>19.5.2021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1AE17094-92F6-B44B-BC0C-016FA26F887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379438" y="335634"/>
            <a:ext cx="524855" cy="667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06344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AB5A769-79C8-C0C4-B81C-CC5FB825C4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4167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AB5A769-79C8-C0C4-B81C-CC5FB825C4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Otsikko 9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fi-FI"/>
              <a:t>Muokkaa perustyyl. napsautt.</a:t>
            </a:r>
          </a:p>
        </p:txBody>
      </p:sp>
    </p:spTree>
    <p:extLst>
      <p:ext uri="{BB962C8B-B14F-4D97-AF65-F5344CB8AC3E}">
        <p14:creationId xmlns:p14="http://schemas.microsoft.com/office/powerpoint/2010/main" val="211297993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1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raphic 24">
            <a:extLst>
              <a:ext uri="{FF2B5EF4-FFF2-40B4-BE49-F238E27FC236}">
                <a16:creationId xmlns:a16="http://schemas.microsoft.com/office/drawing/2014/main" id="{412E2FC6-3DC7-A5C6-CB76-702A1185B2EA}"/>
              </a:ext>
            </a:extLst>
          </p:cNvPr>
          <p:cNvSpPr/>
          <p:nvPr/>
        </p:nvSpPr>
        <p:spPr>
          <a:xfrm>
            <a:off x="0" y="-3"/>
            <a:ext cx="12191877" cy="6858000"/>
          </a:xfrm>
          <a:custGeom>
            <a:avLst/>
            <a:gdLst>
              <a:gd name="connsiteX0" fmla="*/ 0 w 12191877"/>
              <a:gd name="connsiteY0" fmla="*/ 6858000 h 6858000"/>
              <a:gd name="connsiteX1" fmla="*/ 8102520 w 12191877"/>
              <a:gd name="connsiteY1" fmla="*/ 6858000 h 6858000"/>
              <a:gd name="connsiteX2" fmla="*/ 8102520 w 12191877"/>
              <a:gd name="connsiteY2" fmla="*/ 6051708 h 6858000"/>
              <a:gd name="connsiteX3" fmla="*/ 12191878 w 12191877"/>
              <a:gd name="connsiteY3" fmla="*/ 1962310 h 6858000"/>
              <a:gd name="connsiteX4" fmla="*/ 12191878 w 12191877"/>
              <a:gd name="connsiteY4" fmla="*/ 1850371 h 6858000"/>
              <a:gd name="connsiteX5" fmla="*/ 8102520 w 12191877"/>
              <a:gd name="connsiteY5" fmla="*/ 5939766 h 6858000"/>
              <a:gd name="connsiteX6" fmla="*/ 8102520 w 12191877"/>
              <a:gd name="connsiteY6" fmla="*/ 4931057 h 6858000"/>
              <a:gd name="connsiteX7" fmla="*/ 12191878 w 12191877"/>
              <a:gd name="connsiteY7" fmla="*/ 841658 h 6858000"/>
              <a:gd name="connsiteX8" fmla="*/ 12191878 w 12191877"/>
              <a:gd name="connsiteY8" fmla="*/ 729724 h 6858000"/>
              <a:gd name="connsiteX9" fmla="*/ 8102520 w 12191877"/>
              <a:gd name="connsiteY9" fmla="*/ 4819122 h 6858000"/>
              <a:gd name="connsiteX10" fmla="*/ 8102520 w 12191877"/>
              <a:gd name="connsiteY10" fmla="*/ 3810409 h 6858000"/>
              <a:gd name="connsiteX11" fmla="*/ 11912894 w 12191877"/>
              <a:gd name="connsiteY11" fmla="*/ 0 h 6858000"/>
              <a:gd name="connsiteX12" fmla="*/ 11800954 w 12191877"/>
              <a:gd name="connsiteY12" fmla="*/ 0 h 6858000"/>
              <a:gd name="connsiteX13" fmla="*/ 8102520 w 12191877"/>
              <a:gd name="connsiteY13" fmla="*/ 3698475 h 6858000"/>
              <a:gd name="connsiteX14" fmla="*/ 8102520 w 12191877"/>
              <a:gd name="connsiteY14" fmla="*/ 2689762 h 6858000"/>
              <a:gd name="connsiteX15" fmla="*/ 10792254 w 12191877"/>
              <a:gd name="connsiteY15" fmla="*/ 0 h 6858000"/>
              <a:gd name="connsiteX16" fmla="*/ 10680314 w 12191877"/>
              <a:gd name="connsiteY16" fmla="*/ 0 h 6858000"/>
              <a:gd name="connsiteX17" fmla="*/ 8102520 w 12191877"/>
              <a:gd name="connsiteY17" fmla="*/ 2577820 h 6858000"/>
              <a:gd name="connsiteX18" fmla="*/ 8102520 w 12191877"/>
              <a:gd name="connsiteY18" fmla="*/ 1569100 h 6858000"/>
              <a:gd name="connsiteX19" fmla="*/ 9671614 w 12191877"/>
              <a:gd name="connsiteY19" fmla="*/ 0 h 6858000"/>
              <a:gd name="connsiteX20" fmla="*/ 9559677 w 12191877"/>
              <a:gd name="connsiteY20" fmla="*/ 0 h 6858000"/>
              <a:gd name="connsiteX21" fmla="*/ 8102520 w 12191877"/>
              <a:gd name="connsiteY21" fmla="*/ 1457172 h 6858000"/>
              <a:gd name="connsiteX22" fmla="*/ 8102520 w 12191877"/>
              <a:gd name="connsiteY22" fmla="*/ 560902 h 6858000"/>
              <a:gd name="connsiteX23" fmla="*/ 8644717 w 12191877"/>
              <a:gd name="connsiteY23" fmla="*/ 0 h 6858000"/>
              <a:gd name="connsiteX24" fmla="*/ 8536632 w 12191877"/>
              <a:gd name="connsiteY24" fmla="*/ 0 h 6858000"/>
              <a:gd name="connsiteX25" fmla="*/ 8102520 w 12191877"/>
              <a:gd name="connsiteY25" fmla="*/ 448970 h 6858000"/>
              <a:gd name="connsiteX26" fmla="*/ 8102520 w 12191877"/>
              <a:gd name="connsiteY26" fmla="*/ 0 h 6858000"/>
              <a:gd name="connsiteX27" fmla="*/ 0 w 12191877"/>
              <a:gd name="connsiteY27" fmla="*/ 0 h 6858000"/>
              <a:gd name="connsiteX28" fmla="*/ 0 w 12191877"/>
              <a:gd name="connsiteY28" fmla="*/ 6857997 h 6858000"/>
              <a:gd name="connsiteX29" fmla="*/ 8304935 w 12191877"/>
              <a:gd name="connsiteY29" fmla="*/ 6858000 h 6858000"/>
              <a:gd name="connsiteX30" fmla="*/ 8416875 w 12191877"/>
              <a:gd name="connsiteY30" fmla="*/ 6858000 h 6858000"/>
              <a:gd name="connsiteX31" fmla="*/ 12191878 w 12191877"/>
              <a:gd name="connsiteY31" fmla="*/ 3082961 h 6858000"/>
              <a:gd name="connsiteX32" fmla="*/ 12191878 w 12191877"/>
              <a:gd name="connsiteY32" fmla="*/ 2971019 h 6858000"/>
              <a:gd name="connsiteX33" fmla="*/ 8304935 w 12191877"/>
              <a:gd name="connsiteY33" fmla="*/ 6858000 h 6858000"/>
              <a:gd name="connsiteX34" fmla="*/ 9425589 w 12191877"/>
              <a:gd name="connsiteY34" fmla="*/ 6858000 h 6858000"/>
              <a:gd name="connsiteX35" fmla="*/ 9537516 w 12191877"/>
              <a:gd name="connsiteY35" fmla="*/ 6858000 h 6858000"/>
              <a:gd name="connsiteX36" fmla="*/ 12191878 w 12191877"/>
              <a:gd name="connsiteY36" fmla="*/ 4203612 h 6858000"/>
              <a:gd name="connsiteX37" fmla="*/ 12191878 w 12191877"/>
              <a:gd name="connsiteY37" fmla="*/ 4091670 h 6858000"/>
              <a:gd name="connsiteX38" fmla="*/ 9425589 w 12191877"/>
              <a:gd name="connsiteY38" fmla="*/ 6858000 h 6858000"/>
              <a:gd name="connsiteX39" fmla="*/ 10544933 w 12191877"/>
              <a:gd name="connsiteY39" fmla="*/ 6858000 h 6858000"/>
              <a:gd name="connsiteX40" fmla="*/ 10658156 w 12191877"/>
              <a:gd name="connsiteY40" fmla="*/ 6858000 h 6858000"/>
              <a:gd name="connsiteX41" fmla="*/ 12191878 w 12191877"/>
              <a:gd name="connsiteY41" fmla="*/ 5324264 h 6858000"/>
              <a:gd name="connsiteX42" fmla="*/ 12191878 w 12191877"/>
              <a:gd name="connsiteY42" fmla="*/ 5211040 h 6858000"/>
              <a:gd name="connsiteX43" fmla="*/ 10544933 w 12191877"/>
              <a:gd name="connsiteY43" fmla="*/ 6858000 h 6858000"/>
              <a:gd name="connsiteX44" fmla="*/ 11665573 w 12191877"/>
              <a:gd name="connsiteY44" fmla="*/ 6858000 h 6858000"/>
              <a:gd name="connsiteX45" fmla="*/ 11777507 w 12191877"/>
              <a:gd name="connsiteY45" fmla="*/ 6858000 h 6858000"/>
              <a:gd name="connsiteX46" fmla="*/ 12191878 w 12191877"/>
              <a:gd name="connsiteY46" fmla="*/ 6443630 h 6858000"/>
              <a:gd name="connsiteX47" fmla="*/ 12191878 w 12191877"/>
              <a:gd name="connsiteY47" fmla="*/ 6331691 h 6858000"/>
              <a:gd name="connsiteX48" fmla="*/ 11665573 w 12191877"/>
              <a:gd name="connsiteY4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2191877" h="6858000">
                <a:moveTo>
                  <a:pt x="0" y="6858000"/>
                </a:moveTo>
                <a:lnTo>
                  <a:pt x="8102520" y="6858000"/>
                </a:lnTo>
                <a:lnTo>
                  <a:pt x="8102520" y="6051708"/>
                </a:lnTo>
                <a:lnTo>
                  <a:pt x="12191878" y="1962310"/>
                </a:lnTo>
                <a:lnTo>
                  <a:pt x="12191878" y="1850371"/>
                </a:lnTo>
                <a:lnTo>
                  <a:pt x="8102520" y="5939766"/>
                </a:lnTo>
                <a:lnTo>
                  <a:pt x="8102520" y="4931057"/>
                </a:lnTo>
                <a:lnTo>
                  <a:pt x="12191878" y="841658"/>
                </a:lnTo>
                <a:lnTo>
                  <a:pt x="12191878" y="729724"/>
                </a:lnTo>
                <a:lnTo>
                  <a:pt x="8102520" y="4819122"/>
                </a:lnTo>
                <a:lnTo>
                  <a:pt x="8102520" y="3810409"/>
                </a:lnTo>
                <a:lnTo>
                  <a:pt x="11912894" y="0"/>
                </a:lnTo>
                <a:lnTo>
                  <a:pt x="11800954" y="0"/>
                </a:lnTo>
                <a:lnTo>
                  <a:pt x="8102520" y="3698475"/>
                </a:lnTo>
                <a:lnTo>
                  <a:pt x="8102520" y="2689762"/>
                </a:lnTo>
                <a:lnTo>
                  <a:pt x="10792254" y="0"/>
                </a:lnTo>
                <a:lnTo>
                  <a:pt x="10680314" y="0"/>
                </a:lnTo>
                <a:lnTo>
                  <a:pt x="8102520" y="2577820"/>
                </a:lnTo>
                <a:lnTo>
                  <a:pt x="8102520" y="1569100"/>
                </a:lnTo>
                <a:lnTo>
                  <a:pt x="9671614" y="0"/>
                </a:lnTo>
                <a:lnTo>
                  <a:pt x="9559677" y="0"/>
                </a:lnTo>
                <a:lnTo>
                  <a:pt x="8102520" y="1457172"/>
                </a:lnTo>
                <a:lnTo>
                  <a:pt x="8102520" y="560902"/>
                </a:lnTo>
                <a:lnTo>
                  <a:pt x="8644717" y="0"/>
                </a:lnTo>
                <a:lnTo>
                  <a:pt x="8536632" y="0"/>
                </a:lnTo>
                <a:lnTo>
                  <a:pt x="8102520" y="448970"/>
                </a:lnTo>
                <a:lnTo>
                  <a:pt x="8102520" y="0"/>
                </a:lnTo>
                <a:lnTo>
                  <a:pt x="0" y="0"/>
                </a:lnTo>
                <a:lnTo>
                  <a:pt x="0" y="6857997"/>
                </a:lnTo>
                <a:close/>
                <a:moveTo>
                  <a:pt x="8304935" y="6858000"/>
                </a:moveTo>
                <a:lnTo>
                  <a:pt x="8416875" y="6858000"/>
                </a:lnTo>
                <a:lnTo>
                  <a:pt x="12191878" y="3082961"/>
                </a:lnTo>
                <a:lnTo>
                  <a:pt x="12191878" y="2971019"/>
                </a:lnTo>
                <a:lnTo>
                  <a:pt x="8304935" y="6858000"/>
                </a:lnTo>
                <a:close/>
                <a:moveTo>
                  <a:pt x="9425589" y="6858000"/>
                </a:moveTo>
                <a:lnTo>
                  <a:pt x="9537516" y="6858000"/>
                </a:lnTo>
                <a:lnTo>
                  <a:pt x="12191878" y="4203612"/>
                </a:lnTo>
                <a:lnTo>
                  <a:pt x="12191878" y="4091670"/>
                </a:lnTo>
                <a:lnTo>
                  <a:pt x="9425589" y="6858000"/>
                </a:lnTo>
                <a:close/>
                <a:moveTo>
                  <a:pt x="10544933" y="6858000"/>
                </a:moveTo>
                <a:lnTo>
                  <a:pt x="10658156" y="6858000"/>
                </a:lnTo>
                <a:lnTo>
                  <a:pt x="12191878" y="5324264"/>
                </a:lnTo>
                <a:lnTo>
                  <a:pt x="12191878" y="5211040"/>
                </a:lnTo>
                <a:lnTo>
                  <a:pt x="10544933" y="6858000"/>
                </a:lnTo>
                <a:close/>
                <a:moveTo>
                  <a:pt x="11665573" y="6858000"/>
                </a:moveTo>
                <a:lnTo>
                  <a:pt x="11777507" y="6858000"/>
                </a:lnTo>
                <a:lnTo>
                  <a:pt x="12191878" y="6443630"/>
                </a:lnTo>
                <a:lnTo>
                  <a:pt x="12191878" y="6331691"/>
                </a:lnTo>
                <a:lnTo>
                  <a:pt x="11665573" y="6858000"/>
                </a:lnTo>
                <a:close/>
              </a:path>
            </a:pathLst>
          </a:custGeom>
          <a:solidFill>
            <a:srgbClr val="F0EBE1"/>
          </a:solidFill>
          <a:ln w="36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6E6260-E36C-484A-9F25-1346EC50A8D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5508" y="2196783"/>
            <a:ext cx="6839712" cy="1876869"/>
          </a:xfrm>
        </p:spPr>
        <p:txBody>
          <a:bodyPr anchor="t" anchorCtr="0"/>
          <a:lstStyle>
            <a:lvl1pPr algn="l">
              <a:lnSpc>
                <a:spcPct val="95000"/>
              </a:lnSpc>
              <a:defRPr sz="4000"/>
            </a:lvl1pPr>
          </a:lstStyle>
          <a:p>
            <a:r>
              <a:rPr lang="fi-FI"/>
              <a:t>Muokkaa perustyyl. napsautt.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1FDDA9F-DC3B-4803-9730-F564F287AC8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35508" y="5070348"/>
            <a:ext cx="6839712" cy="1220724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24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D7FCCBE-EE77-5D47-8CE2-1B409B5E09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915" y="565286"/>
            <a:ext cx="2090175" cy="703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86639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0DB878-8E84-426A-BEF0-AF1AAFA1F9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940" y="484094"/>
            <a:ext cx="9894939" cy="1075323"/>
          </a:xfrm>
        </p:spPr>
        <p:txBody>
          <a:bodyPr anchor="b"/>
          <a:lstStyle/>
          <a:p>
            <a:r>
              <a:rPr lang="fi-FI"/>
              <a:t>Muokkaa perustyyl. napsautt.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E3B6CAA-4767-42B4-A19C-0CFD9AFC822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E996DCA-8E68-4F4A-A4A6-ACE6BC7F24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19.5.2021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DC7B94-042D-44C2-B7B2-1128AAFA57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etra Kokko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FAA53A2-04A4-784B-8533-1BE5B6ED6EB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76380" y="596151"/>
            <a:ext cx="516294" cy="631026"/>
          </a:xfrm>
          <a:prstGeom prst="rect">
            <a:avLst/>
          </a:prstGeom>
        </p:spPr>
      </p:pic>
      <p:pic>
        <p:nvPicPr>
          <p:cNvPr id="10" name="Kuva 9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9409" y="6079993"/>
            <a:ext cx="1783265" cy="4990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188346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raphic 24">
            <a:extLst>
              <a:ext uri="{FF2B5EF4-FFF2-40B4-BE49-F238E27FC236}">
                <a16:creationId xmlns:a16="http://schemas.microsoft.com/office/drawing/2014/main" id="{412E2FC6-3DC7-A5C6-CB76-702A1185B2EA}"/>
              </a:ext>
            </a:extLst>
          </p:cNvPr>
          <p:cNvSpPr/>
          <p:nvPr/>
        </p:nvSpPr>
        <p:spPr>
          <a:xfrm>
            <a:off x="0" y="-3"/>
            <a:ext cx="12191877" cy="6858000"/>
          </a:xfrm>
          <a:custGeom>
            <a:avLst/>
            <a:gdLst>
              <a:gd name="connsiteX0" fmla="*/ 0 w 12191877"/>
              <a:gd name="connsiteY0" fmla="*/ 6858000 h 6858000"/>
              <a:gd name="connsiteX1" fmla="*/ 8102520 w 12191877"/>
              <a:gd name="connsiteY1" fmla="*/ 6858000 h 6858000"/>
              <a:gd name="connsiteX2" fmla="*/ 8102520 w 12191877"/>
              <a:gd name="connsiteY2" fmla="*/ 6051708 h 6858000"/>
              <a:gd name="connsiteX3" fmla="*/ 12191878 w 12191877"/>
              <a:gd name="connsiteY3" fmla="*/ 1962310 h 6858000"/>
              <a:gd name="connsiteX4" fmla="*/ 12191878 w 12191877"/>
              <a:gd name="connsiteY4" fmla="*/ 1850371 h 6858000"/>
              <a:gd name="connsiteX5" fmla="*/ 8102520 w 12191877"/>
              <a:gd name="connsiteY5" fmla="*/ 5939766 h 6858000"/>
              <a:gd name="connsiteX6" fmla="*/ 8102520 w 12191877"/>
              <a:gd name="connsiteY6" fmla="*/ 4931057 h 6858000"/>
              <a:gd name="connsiteX7" fmla="*/ 12191878 w 12191877"/>
              <a:gd name="connsiteY7" fmla="*/ 841658 h 6858000"/>
              <a:gd name="connsiteX8" fmla="*/ 12191878 w 12191877"/>
              <a:gd name="connsiteY8" fmla="*/ 729724 h 6858000"/>
              <a:gd name="connsiteX9" fmla="*/ 8102520 w 12191877"/>
              <a:gd name="connsiteY9" fmla="*/ 4819122 h 6858000"/>
              <a:gd name="connsiteX10" fmla="*/ 8102520 w 12191877"/>
              <a:gd name="connsiteY10" fmla="*/ 3810409 h 6858000"/>
              <a:gd name="connsiteX11" fmla="*/ 11912894 w 12191877"/>
              <a:gd name="connsiteY11" fmla="*/ 0 h 6858000"/>
              <a:gd name="connsiteX12" fmla="*/ 11800954 w 12191877"/>
              <a:gd name="connsiteY12" fmla="*/ 0 h 6858000"/>
              <a:gd name="connsiteX13" fmla="*/ 8102520 w 12191877"/>
              <a:gd name="connsiteY13" fmla="*/ 3698475 h 6858000"/>
              <a:gd name="connsiteX14" fmla="*/ 8102520 w 12191877"/>
              <a:gd name="connsiteY14" fmla="*/ 2689762 h 6858000"/>
              <a:gd name="connsiteX15" fmla="*/ 10792254 w 12191877"/>
              <a:gd name="connsiteY15" fmla="*/ 0 h 6858000"/>
              <a:gd name="connsiteX16" fmla="*/ 10680314 w 12191877"/>
              <a:gd name="connsiteY16" fmla="*/ 0 h 6858000"/>
              <a:gd name="connsiteX17" fmla="*/ 8102520 w 12191877"/>
              <a:gd name="connsiteY17" fmla="*/ 2577820 h 6858000"/>
              <a:gd name="connsiteX18" fmla="*/ 8102520 w 12191877"/>
              <a:gd name="connsiteY18" fmla="*/ 1569100 h 6858000"/>
              <a:gd name="connsiteX19" fmla="*/ 9671614 w 12191877"/>
              <a:gd name="connsiteY19" fmla="*/ 0 h 6858000"/>
              <a:gd name="connsiteX20" fmla="*/ 9559677 w 12191877"/>
              <a:gd name="connsiteY20" fmla="*/ 0 h 6858000"/>
              <a:gd name="connsiteX21" fmla="*/ 8102520 w 12191877"/>
              <a:gd name="connsiteY21" fmla="*/ 1457172 h 6858000"/>
              <a:gd name="connsiteX22" fmla="*/ 8102520 w 12191877"/>
              <a:gd name="connsiteY22" fmla="*/ 560902 h 6858000"/>
              <a:gd name="connsiteX23" fmla="*/ 8644717 w 12191877"/>
              <a:gd name="connsiteY23" fmla="*/ 0 h 6858000"/>
              <a:gd name="connsiteX24" fmla="*/ 8536632 w 12191877"/>
              <a:gd name="connsiteY24" fmla="*/ 0 h 6858000"/>
              <a:gd name="connsiteX25" fmla="*/ 8102520 w 12191877"/>
              <a:gd name="connsiteY25" fmla="*/ 448970 h 6858000"/>
              <a:gd name="connsiteX26" fmla="*/ 8102520 w 12191877"/>
              <a:gd name="connsiteY26" fmla="*/ 0 h 6858000"/>
              <a:gd name="connsiteX27" fmla="*/ 0 w 12191877"/>
              <a:gd name="connsiteY27" fmla="*/ 0 h 6858000"/>
              <a:gd name="connsiteX28" fmla="*/ 0 w 12191877"/>
              <a:gd name="connsiteY28" fmla="*/ 6857997 h 6858000"/>
              <a:gd name="connsiteX29" fmla="*/ 8304935 w 12191877"/>
              <a:gd name="connsiteY29" fmla="*/ 6858000 h 6858000"/>
              <a:gd name="connsiteX30" fmla="*/ 8416875 w 12191877"/>
              <a:gd name="connsiteY30" fmla="*/ 6858000 h 6858000"/>
              <a:gd name="connsiteX31" fmla="*/ 12191878 w 12191877"/>
              <a:gd name="connsiteY31" fmla="*/ 3082961 h 6858000"/>
              <a:gd name="connsiteX32" fmla="*/ 12191878 w 12191877"/>
              <a:gd name="connsiteY32" fmla="*/ 2971019 h 6858000"/>
              <a:gd name="connsiteX33" fmla="*/ 8304935 w 12191877"/>
              <a:gd name="connsiteY33" fmla="*/ 6858000 h 6858000"/>
              <a:gd name="connsiteX34" fmla="*/ 9425589 w 12191877"/>
              <a:gd name="connsiteY34" fmla="*/ 6858000 h 6858000"/>
              <a:gd name="connsiteX35" fmla="*/ 9537516 w 12191877"/>
              <a:gd name="connsiteY35" fmla="*/ 6858000 h 6858000"/>
              <a:gd name="connsiteX36" fmla="*/ 12191878 w 12191877"/>
              <a:gd name="connsiteY36" fmla="*/ 4203612 h 6858000"/>
              <a:gd name="connsiteX37" fmla="*/ 12191878 w 12191877"/>
              <a:gd name="connsiteY37" fmla="*/ 4091670 h 6858000"/>
              <a:gd name="connsiteX38" fmla="*/ 9425589 w 12191877"/>
              <a:gd name="connsiteY38" fmla="*/ 6858000 h 6858000"/>
              <a:gd name="connsiteX39" fmla="*/ 10544933 w 12191877"/>
              <a:gd name="connsiteY39" fmla="*/ 6858000 h 6858000"/>
              <a:gd name="connsiteX40" fmla="*/ 10658156 w 12191877"/>
              <a:gd name="connsiteY40" fmla="*/ 6858000 h 6858000"/>
              <a:gd name="connsiteX41" fmla="*/ 12191878 w 12191877"/>
              <a:gd name="connsiteY41" fmla="*/ 5324264 h 6858000"/>
              <a:gd name="connsiteX42" fmla="*/ 12191878 w 12191877"/>
              <a:gd name="connsiteY42" fmla="*/ 5211040 h 6858000"/>
              <a:gd name="connsiteX43" fmla="*/ 10544933 w 12191877"/>
              <a:gd name="connsiteY43" fmla="*/ 6858000 h 6858000"/>
              <a:gd name="connsiteX44" fmla="*/ 11665573 w 12191877"/>
              <a:gd name="connsiteY44" fmla="*/ 6858000 h 6858000"/>
              <a:gd name="connsiteX45" fmla="*/ 11777507 w 12191877"/>
              <a:gd name="connsiteY45" fmla="*/ 6858000 h 6858000"/>
              <a:gd name="connsiteX46" fmla="*/ 12191878 w 12191877"/>
              <a:gd name="connsiteY46" fmla="*/ 6443630 h 6858000"/>
              <a:gd name="connsiteX47" fmla="*/ 12191878 w 12191877"/>
              <a:gd name="connsiteY47" fmla="*/ 6331691 h 6858000"/>
              <a:gd name="connsiteX48" fmla="*/ 11665573 w 12191877"/>
              <a:gd name="connsiteY4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2191877" h="6858000">
                <a:moveTo>
                  <a:pt x="0" y="6858000"/>
                </a:moveTo>
                <a:lnTo>
                  <a:pt x="8102520" y="6858000"/>
                </a:lnTo>
                <a:lnTo>
                  <a:pt x="8102520" y="6051708"/>
                </a:lnTo>
                <a:lnTo>
                  <a:pt x="12191878" y="1962310"/>
                </a:lnTo>
                <a:lnTo>
                  <a:pt x="12191878" y="1850371"/>
                </a:lnTo>
                <a:lnTo>
                  <a:pt x="8102520" y="5939766"/>
                </a:lnTo>
                <a:lnTo>
                  <a:pt x="8102520" y="4931057"/>
                </a:lnTo>
                <a:lnTo>
                  <a:pt x="12191878" y="841658"/>
                </a:lnTo>
                <a:lnTo>
                  <a:pt x="12191878" y="729724"/>
                </a:lnTo>
                <a:lnTo>
                  <a:pt x="8102520" y="4819122"/>
                </a:lnTo>
                <a:lnTo>
                  <a:pt x="8102520" y="3810409"/>
                </a:lnTo>
                <a:lnTo>
                  <a:pt x="11912894" y="0"/>
                </a:lnTo>
                <a:lnTo>
                  <a:pt x="11800954" y="0"/>
                </a:lnTo>
                <a:lnTo>
                  <a:pt x="8102520" y="3698475"/>
                </a:lnTo>
                <a:lnTo>
                  <a:pt x="8102520" y="2689762"/>
                </a:lnTo>
                <a:lnTo>
                  <a:pt x="10792254" y="0"/>
                </a:lnTo>
                <a:lnTo>
                  <a:pt x="10680314" y="0"/>
                </a:lnTo>
                <a:lnTo>
                  <a:pt x="8102520" y="2577820"/>
                </a:lnTo>
                <a:lnTo>
                  <a:pt x="8102520" y="1569100"/>
                </a:lnTo>
                <a:lnTo>
                  <a:pt x="9671614" y="0"/>
                </a:lnTo>
                <a:lnTo>
                  <a:pt x="9559677" y="0"/>
                </a:lnTo>
                <a:lnTo>
                  <a:pt x="8102520" y="1457172"/>
                </a:lnTo>
                <a:lnTo>
                  <a:pt x="8102520" y="560902"/>
                </a:lnTo>
                <a:lnTo>
                  <a:pt x="8644717" y="0"/>
                </a:lnTo>
                <a:lnTo>
                  <a:pt x="8536632" y="0"/>
                </a:lnTo>
                <a:lnTo>
                  <a:pt x="8102520" y="448970"/>
                </a:lnTo>
                <a:lnTo>
                  <a:pt x="8102520" y="0"/>
                </a:lnTo>
                <a:lnTo>
                  <a:pt x="0" y="0"/>
                </a:lnTo>
                <a:lnTo>
                  <a:pt x="0" y="6857997"/>
                </a:lnTo>
                <a:close/>
                <a:moveTo>
                  <a:pt x="8304935" y="6858000"/>
                </a:moveTo>
                <a:lnTo>
                  <a:pt x="8416875" y="6858000"/>
                </a:lnTo>
                <a:lnTo>
                  <a:pt x="12191878" y="3082961"/>
                </a:lnTo>
                <a:lnTo>
                  <a:pt x="12191878" y="2971019"/>
                </a:lnTo>
                <a:lnTo>
                  <a:pt x="8304935" y="6858000"/>
                </a:lnTo>
                <a:close/>
                <a:moveTo>
                  <a:pt x="9425589" y="6858000"/>
                </a:moveTo>
                <a:lnTo>
                  <a:pt x="9537516" y="6858000"/>
                </a:lnTo>
                <a:lnTo>
                  <a:pt x="12191878" y="4203612"/>
                </a:lnTo>
                <a:lnTo>
                  <a:pt x="12191878" y="4091670"/>
                </a:lnTo>
                <a:lnTo>
                  <a:pt x="9425589" y="6858000"/>
                </a:lnTo>
                <a:close/>
                <a:moveTo>
                  <a:pt x="10544933" y="6858000"/>
                </a:moveTo>
                <a:lnTo>
                  <a:pt x="10658156" y="6858000"/>
                </a:lnTo>
                <a:lnTo>
                  <a:pt x="12191878" y="5324264"/>
                </a:lnTo>
                <a:lnTo>
                  <a:pt x="12191878" y="5211040"/>
                </a:lnTo>
                <a:lnTo>
                  <a:pt x="10544933" y="6858000"/>
                </a:lnTo>
                <a:close/>
                <a:moveTo>
                  <a:pt x="11665573" y="6858000"/>
                </a:moveTo>
                <a:lnTo>
                  <a:pt x="11777507" y="6858000"/>
                </a:lnTo>
                <a:lnTo>
                  <a:pt x="12191878" y="6443630"/>
                </a:lnTo>
                <a:lnTo>
                  <a:pt x="12191878" y="6331691"/>
                </a:lnTo>
                <a:lnTo>
                  <a:pt x="11665573" y="6858000"/>
                </a:lnTo>
                <a:close/>
              </a:path>
            </a:pathLst>
          </a:custGeom>
          <a:solidFill>
            <a:srgbClr val="F0EBE1"/>
          </a:solidFill>
          <a:ln w="36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6E6260-E36C-484A-9F25-1346EC50A8D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5508" y="2196783"/>
            <a:ext cx="6839712" cy="1876869"/>
          </a:xfrm>
        </p:spPr>
        <p:txBody>
          <a:bodyPr anchor="t" anchorCtr="0"/>
          <a:lstStyle>
            <a:lvl1pPr algn="l">
              <a:lnSpc>
                <a:spcPct val="95000"/>
              </a:lnSpc>
              <a:defRPr sz="4000"/>
            </a:lvl1pPr>
          </a:lstStyle>
          <a:p>
            <a:r>
              <a:rPr lang="fi-FI"/>
              <a:t>Muokkaa perustyyl. napsautt.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1FDDA9F-DC3B-4803-9730-F564F287AC8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35508" y="5070348"/>
            <a:ext cx="6839712" cy="1220724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24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D7FCCBE-EE77-5D47-8CE2-1B409B5E09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915" y="565286"/>
            <a:ext cx="2090175" cy="703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170952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AF55F463-6573-FC45-BA45-C38E5111349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F6E6260-E36C-484A-9F25-1346EC50A8D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5508" y="2196783"/>
            <a:ext cx="6839712" cy="1876869"/>
          </a:xfrm>
        </p:spPr>
        <p:txBody>
          <a:bodyPr anchor="t" anchorCtr="0"/>
          <a:lstStyle>
            <a:lvl1pPr algn="l">
              <a:lnSpc>
                <a:spcPct val="95000"/>
              </a:lnSpc>
              <a:defRPr sz="4000"/>
            </a:lvl1pPr>
          </a:lstStyle>
          <a:p>
            <a:r>
              <a:rPr lang="fi-FI"/>
              <a:t>Muokkaa perustyyl. napsautt.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1FDDA9F-DC3B-4803-9730-F564F287AC8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35508" y="5070348"/>
            <a:ext cx="6839712" cy="1220724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24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3EE9307-AB79-3247-82BD-37685692FA2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915" y="565286"/>
            <a:ext cx="2090175" cy="703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272193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 2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AF55F463-6573-FC45-BA45-C38E5111349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F6E6260-E36C-484A-9F25-1346EC50A8D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5508" y="2196783"/>
            <a:ext cx="6839712" cy="1876869"/>
          </a:xfrm>
        </p:spPr>
        <p:txBody>
          <a:bodyPr anchor="t" anchorCtr="0"/>
          <a:lstStyle>
            <a:lvl1pPr algn="l">
              <a:lnSpc>
                <a:spcPct val="95000"/>
              </a:lnSpc>
              <a:defRPr sz="4000"/>
            </a:lvl1pPr>
          </a:lstStyle>
          <a:p>
            <a:r>
              <a:rPr lang="fi-FI"/>
              <a:t>Muokkaa perustyyl. napsautt.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1FDDA9F-DC3B-4803-9730-F564F287AC8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35508" y="5070348"/>
            <a:ext cx="6839712" cy="1220724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24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3EE9307-AB79-3247-82BD-37685692FA2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915" y="565286"/>
            <a:ext cx="2090175" cy="703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401817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0DB878-8E84-426A-BEF0-AF1AAFA1F9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940" y="484094"/>
            <a:ext cx="9894939" cy="1075323"/>
          </a:xfrm>
        </p:spPr>
        <p:txBody>
          <a:bodyPr anchor="b"/>
          <a:lstStyle/>
          <a:p>
            <a:r>
              <a:rPr lang="fi-FI"/>
              <a:t>Muokkaa perustyyl. napsautt.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E3B6CAA-4767-42B4-A19C-0CFD9AFC822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E996DCA-8E68-4F4A-A4A6-ACE6BC7F24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19.5.2021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DC7B94-042D-44C2-B7B2-1128AAFA57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etra Kokko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160B98-140E-4345-B1A3-2A7247C42973}" type="slidenum">
              <a:rPr lang="fi-FI" smtClean="0"/>
              <a:t>‹#›</a:t>
            </a:fld>
            <a:endParaRPr lang="fi-FI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FAA53A2-04A4-784B-8533-1BE5B6ED6EB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76380" y="596151"/>
            <a:ext cx="516294" cy="631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135808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E3B6CAA-4767-42B4-A19C-0CFD9AFC82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9940" y="2021541"/>
            <a:ext cx="5311126" cy="4155422"/>
          </a:xfrm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E996DCA-8E68-4F4A-A4A6-ACE6BC7F24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19.5.2021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DC7B94-042D-44C2-B7B2-1128AAFA57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etra Kokko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F758F-2E86-4270-85EA-931D55C9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160B98-140E-4345-B1A3-2A7247C42973}" type="slidenum">
              <a:rPr lang="fi-FI" smtClean="0"/>
              <a:t>‹#›</a:t>
            </a:fld>
            <a:endParaRPr lang="fi-FI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F604C65-0022-A10B-E75C-3BC0B3B9636F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230933" y="2021541"/>
            <a:ext cx="5311126" cy="4155422"/>
          </a:xfrm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6363DDC-C97A-194B-98DF-CA51F0A3D35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76380" y="596151"/>
            <a:ext cx="516294" cy="631026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85789431-5CDA-8F47-85A4-31FC69C174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940" y="484094"/>
            <a:ext cx="9894939" cy="1075323"/>
          </a:xfrm>
        </p:spPr>
        <p:txBody>
          <a:bodyPr anchor="b"/>
          <a:lstStyle/>
          <a:p>
            <a:r>
              <a:rPr lang="fi-FI"/>
              <a:t>Muokkaa perustyyl. napsautt.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3414420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san ylätunnis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orakulmio 2">
            <a:extLst>
              <a:ext uri="{FF2B5EF4-FFF2-40B4-BE49-F238E27FC236}">
                <a16:creationId xmlns:a16="http://schemas.microsoft.com/office/drawing/2014/main" id="{DCD8BB72-B7B2-E8EB-24B6-FE4ECB31BE5A}"/>
              </a:ext>
            </a:extLst>
          </p:cNvPr>
          <p:cNvSpPr/>
          <p:nvPr userDrawn="1"/>
        </p:nvSpPr>
        <p:spPr>
          <a:xfrm>
            <a:off x="-1" y="4570190"/>
            <a:ext cx="12192001" cy="2287810"/>
          </a:xfrm>
          <a:prstGeom prst="rect">
            <a:avLst/>
          </a:prstGeom>
          <a:solidFill>
            <a:srgbClr val="F0EB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C1DC208-0BC6-4780-8569-0CCC5C8BCB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941" y="5170932"/>
            <a:ext cx="6756699" cy="1143000"/>
          </a:xfrm>
        </p:spPr>
        <p:txBody>
          <a:bodyPr anchor="t"/>
          <a:lstStyle>
            <a:lvl1pPr>
              <a:defRPr sz="3200"/>
            </a:lvl1pPr>
          </a:lstStyle>
          <a:p>
            <a:r>
              <a:rPr lang="fi-FI"/>
              <a:t>Muokkaa perustyyl. napsautt.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D1212A6-DA8E-4A60-A5F2-8DAE3B39E0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19.5.2021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2766CB0-43A1-4E89-83D2-9E67BAD632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etra Kokko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E2AEE1E-B285-4162-ABF0-E898A0AD68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160B98-140E-4345-B1A3-2A7247C42973}" type="slidenum">
              <a:rPr lang="fi-FI" smtClean="0"/>
              <a:t>‹#›</a:t>
            </a:fld>
            <a:endParaRPr lang="fi-FI"/>
          </a:p>
        </p:txBody>
      </p:sp>
      <p:sp>
        <p:nvSpPr>
          <p:cNvPr id="4" name="Free-form: Shape 28">
            <a:extLst>
              <a:ext uri="{FF2B5EF4-FFF2-40B4-BE49-F238E27FC236}">
                <a16:creationId xmlns:a16="http://schemas.microsoft.com/office/drawing/2014/main" id="{09403F87-9585-6CA0-7F3B-A0CDE2652619}"/>
              </a:ext>
            </a:extLst>
          </p:cNvPr>
          <p:cNvSpPr/>
          <p:nvPr userDrawn="1"/>
        </p:nvSpPr>
        <p:spPr>
          <a:xfrm>
            <a:off x="-122" y="0"/>
            <a:ext cx="12192122" cy="387240"/>
          </a:xfrm>
          <a:custGeom>
            <a:avLst/>
            <a:gdLst>
              <a:gd name="connsiteX0" fmla="*/ 0 w 12185437"/>
              <a:gd name="connsiteY0" fmla="*/ 0 h 380838"/>
              <a:gd name="connsiteX1" fmla="*/ 12185437 w 12185437"/>
              <a:gd name="connsiteY1" fmla="*/ 0 h 380838"/>
              <a:gd name="connsiteX2" fmla="*/ 12185437 w 12185437"/>
              <a:gd name="connsiteY2" fmla="*/ 380839 h 380838"/>
              <a:gd name="connsiteX3" fmla="*/ 0 w 12185437"/>
              <a:gd name="connsiteY3" fmla="*/ 380839 h 380838"/>
              <a:gd name="connsiteX4" fmla="*/ 0 w 12185437"/>
              <a:gd name="connsiteY4" fmla="*/ 0 h 380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85437" h="380838">
                <a:moveTo>
                  <a:pt x="0" y="0"/>
                </a:moveTo>
                <a:lnTo>
                  <a:pt x="12185437" y="0"/>
                </a:lnTo>
                <a:lnTo>
                  <a:pt x="12185437" y="380839"/>
                </a:lnTo>
                <a:lnTo>
                  <a:pt x="0" y="38083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36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5" name="Free-form: Shape 29">
            <a:extLst>
              <a:ext uri="{FF2B5EF4-FFF2-40B4-BE49-F238E27FC236}">
                <a16:creationId xmlns:a16="http://schemas.microsoft.com/office/drawing/2014/main" id="{B4E4D196-B8D5-48B6-626D-89C042D57B9C}"/>
              </a:ext>
            </a:extLst>
          </p:cNvPr>
          <p:cNvSpPr/>
          <p:nvPr userDrawn="1"/>
        </p:nvSpPr>
        <p:spPr>
          <a:xfrm>
            <a:off x="-122" y="768193"/>
            <a:ext cx="12192122" cy="380702"/>
          </a:xfrm>
          <a:custGeom>
            <a:avLst/>
            <a:gdLst>
              <a:gd name="connsiteX0" fmla="*/ 0 w 12185437"/>
              <a:gd name="connsiteY0" fmla="*/ 0 h 380702"/>
              <a:gd name="connsiteX1" fmla="*/ 12185437 w 12185437"/>
              <a:gd name="connsiteY1" fmla="*/ 0 h 380702"/>
              <a:gd name="connsiteX2" fmla="*/ 12185437 w 12185437"/>
              <a:gd name="connsiteY2" fmla="*/ 380703 h 380702"/>
              <a:gd name="connsiteX3" fmla="*/ 0 w 12185437"/>
              <a:gd name="connsiteY3" fmla="*/ 380703 h 380702"/>
              <a:gd name="connsiteX4" fmla="*/ 0 w 12185437"/>
              <a:gd name="connsiteY4" fmla="*/ 0 h 380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85437" h="380702">
                <a:moveTo>
                  <a:pt x="0" y="0"/>
                </a:moveTo>
                <a:lnTo>
                  <a:pt x="12185437" y="0"/>
                </a:lnTo>
                <a:lnTo>
                  <a:pt x="12185437" y="380703"/>
                </a:lnTo>
                <a:lnTo>
                  <a:pt x="0" y="38070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36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6" name="Free-form: Shape 30">
            <a:extLst>
              <a:ext uri="{FF2B5EF4-FFF2-40B4-BE49-F238E27FC236}">
                <a16:creationId xmlns:a16="http://schemas.microsoft.com/office/drawing/2014/main" id="{89FD2A67-C5A0-8597-A631-E79F1FDC2375}"/>
              </a:ext>
            </a:extLst>
          </p:cNvPr>
          <p:cNvSpPr/>
          <p:nvPr userDrawn="1"/>
        </p:nvSpPr>
        <p:spPr>
          <a:xfrm>
            <a:off x="-122" y="1529863"/>
            <a:ext cx="12192122" cy="380838"/>
          </a:xfrm>
          <a:custGeom>
            <a:avLst/>
            <a:gdLst>
              <a:gd name="connsiteX0" fmla="*/ 0 w 12185437"/>
              <a:gd name="connsiteY0" fmla="*/ 0 h 380838"/>
              <a:gd name="connsiteX1" fmla="*/ 12185437 w 12185437"/>
              <a:gd name="connsiteY1" fmla="*/ 0 h 380838"/>
              <a:gd name="connsiteX2" fmla="*/ 12185437 w 12185437"/>
              <a:gd name="connsiteY2" fmla="*/ 380839 h 380838"/>
              <a:gd name="connsiteX3" fmla="*/ 0 w 12185437"/>
              <a:gd name="connsiteY3" fmla="*/ 380839 h 380838"/>
              <a:gd name="connsiteX4" fmla="*/ 0 w 12185437"/>
              <a:gd name="connsiteY4" fmla="*/ 0 h 380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85437" h="380838">
                <a:moveTo>
                  <a:pt x="0" y="0"/>
                </a:moveTo>
                <a:lnTo>
                  <a:pt x="12185437" y="0"/>
                </a:lnTo>
                <a:lnTo>
                  <a:pt x="12185437" y="380839"/>
                </a:lnTo>
                <a:lnTo>
                  <a:pt x="0" y="38083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36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0" name="Free-form: Shape 31">
            <a:extLst>
              <a:ext uri="{FF2B5EF4-FFF2-40B4-BE49-F238E27FC236}">
                <a16:creationId xmlns:a16="http://schemas.microsoft.com/office/drawing/2014/main" id="{E7831AEF-0633-77AB-EA0E-DB68A5A08C6C}"/>
              </a:ext>
            </a:extLst>
          </p:cNvPr>
          <p:cNvSpPr/>
          <p:nvPr userDrawn="1"/>
        </p:nvSpPr>
        <p:spPr>
          <a:xfrm>
            <a:off x="-122" y="2291655"/>
            <a:ext cx="12192122" cy="380842"/>
          </a:xfrm>
          <a:custGeom>
            <a:avLst/>
            <a:gdLst>
              <a:gd name="connsiteX0" fmla="*/ 0 w 12185437"/>
              <a:gd name="connsiteY0" fmla="*/ 0 h 380842"/>
              <a:gd name="connsiteX1" fmla="*/ 12185437 w 12185437"/>
              <a:gd name="connsiteY1" fmla="*/ 0 h 380842"/>
              <a:gd name="connsiteX2" fmla="*/ 12185437 w 12185437"/>
              <a:gd name="connsiteY2" fmla="*/ 380842 h 380842"/>
              <a:gd name="connsiteX3" fmla="*/ 0 w 12185437"/>
              <a:gd name="connsiteY3" fmla="*/ 380842 h 380842"/>
              <a:gd name="connsiteX4" fmla="*/ 0 w 12185437"/>
              <a:gd name="connsiteY4" fmla="*/ 0 h 380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85437" h="380842">
                <a:moveTo>
                  <a:pt x="0" y="0"/>
                </a:moveTo>
                <a:lnTo>
                  <a:pt x="12185437" y="0"/>
                </a:lnTo>
                <a:lnTo>
                  <a:pt x="12185437" y="380842"/>
                </a:lnTo>
                <a:lnTo>
                  <a:pt x="0" y="38084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36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1" name="Free-form: Shape 32">
            <a:extLst>
              <a:ext uri="{FF2B5EF4-FFF2-40B4-BE49-F238E27FC236}">
                <a16:creationId xmlns:a16="http://schemas.microsoft.com/office/drawing/2014/main" id="{20B1B5C3-36C4-6C96-F052-EC7C50FC54AC}"/>
              </a:ext>
            </a:extLst>
          </p:cNvPr>
          <p:cNvSpPr/>
          <p:nvPr userDrawn="1"/>
        </p:nvSpPr>
        <p:spPr>
          <a:xfrm>
            <a:off x="-122" y="3053449"/>
            <a:ext cx="12192122" cy="380702"/>
          </a:xfrm>
          <a:custGeom>
            <a:avLst/>
            <a:gdLst>
              <a:gd name="connsiteX0" fmla="*/ 0 w 12185437"/>
              <a:gd name="connsiteY0" fmla="*/ 0 h 380702"/>
              <a:gd name="connsiteX1" fmla="*/ 12185437 w 12185437"/>
              <a:gd name="connsiteY1" fmla="*/ 0 h 380702"/>
              <a:gd name="connsiteX2" fmla="*/ 12185437 w 12185437"/>
              <a:gd name="connsiteY2" fmla="*/ 380703 h 380702"/>
              <a:gd name="connsiteX3" fmla="*/ 0 w 12185437"/>
              <a:gd name="connsiteY3" fmla="*/ 380703 h 380702"/>
              <a:gd name="connsiteX4" fmla="*/ 0 w 12185437"/>
              <a:gd name="connsiteY4" fmla="*/ 0 h 380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85437" h="380702">
                <a:moveTo>
                  <a:pt x="0" y="0"/>
                </a:moveTo>
                <a:lnTo>
                  <a:pt x="12185437" y="0"/>
                </a:lnTo>
                <a:lnTo>
                  <a:pt x="12185437" y="380703"/>
                </a:lnTo>
                <a:lnTo>
                  <a:pt x="0" y="38070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36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2" name="Free-form: Shape 33">
            <a:extLst>
              <a:ext uri="{FF2B5EF4-FFF2-40B4-BE49-F238E27FC236}">
                <a16:creationId xmlns:a16="http://schemas.microsoft.com/office/drawing/2014/main" id="{1D2A1DAB-145A-5F7B-9954-6987015EB4B4}"/>
              </a:ext>
            </a:extLst>
          </p:cNvPr>
          <p:cNvSpPr/>
          <p:nvPr userDrawn="1"/>
        </p:nvSpPr>
        <p:spPr>
          <a:xfrm>
            <a:off x="-122" y="3815119"/>
            <a:ext cx="12192122" cy="380838"/>
          </a:xfrm>
          <a:custGeom>
            <a:avLst/>
            <a:gdLst>
              <a:gd name="connsiteX0" fmla="*/ 0 w 12185437"/>
              <a:gd name="connsiteY0" fmla="*/ 0 h 380838"/>
              <a:gd name="connsiteX1" fmla="*/ 12185437 w 12185437"/>
              <a:gd name="connsiteY1" fmla="*/ 0 h 380838"/>
              <a:gd name="connsiteX2" fmla="*/ 12185437 w 12185437"/>
              <a:gd name="connsiteY2" fmla="*/ 380839 h 380838"/>
              <a:gd name="connsiteX3" fmla="*/ 0 w 12185437"/>
              <a:gd name="connsiteY3" fmla="*/ 380839 h 380838"/>
              <a:gd name="connsiteX4" fmla="*/ 0 w 12185437"/>
              <a:gd name="connsiteY4" fmla="*/ 0 h 380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85437" h="380838">
                <a:moveTo>
                  <a:pt x="0" y="0"/>
                </a:moveTo>
                <a:lnTo>
                  <a:pt x="12185437" y="0"/>
                </a:lnTo>
                <a:lnTo>
                  <a:pt x="12185437" y="380839"/>
                </a:lnTo>
                <a:lnTo>
                  <a:pt x="0" y="38083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36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FA2F872-5FC5-D94D-9E89-698A2F01408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39507" y="5596332"/>
            <a:ext cx="2090175" cy="703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452673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Pictur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orakulmio 2">
            <a:extLst>
              <a:ext uri="{FF2B5EF4-FFF2-40B4-BE49-F238E27FC236}">
                <a16:creationId xmlns:a16="http://schemas.microsoft.com/office/drawing/2014/main" id="{483FB58F-61FC-B125-47DF-7A1E6819B7A4}"/>
              </a:ext>
            </a:extLst>
          </p:cNvPr>
          <p:cNvSpPr/>
          <p:nvPr userDrawn="1"/>
        </p:nvSpPr>
        <p:spPr>
          <a:xfrm>
            <a:off x="-1" y="4570190"/>
            <a:ext cx="12192001" cy="2287810"/>
          </a:xfrm>
          <a:prstGeom prst="rect">
            <a:avLst/>
          </a:prstGeom>
          <a:solidFill>
            <a:srgbClr val="F0EB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4" name="Picture Placeholder 7">
            <a:extLst>
              <a:ext uri="{FF2B5EF4-FFF2-40B4-BE49-F238E27FC236}">
                <a16:creationId xmlns:a16="http://schemas.microsoft.com/office/drawing/2014/main" id="{5E70779E-03A6-C3DE-E92E-DA3EBF19B8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" y="-1"/>
            <a:ext cx="8105774" cy="4570191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None/>
              <a:defRPr sz="1800"/>
            </a:lvl1pPr>
          </a:lstStyle>
          <a:p>
            <a:r>
              <a:rPr lang="fi-FI"/>
              <a:t>Lisää kuva napsauttamalla kuvaketta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C1DC208-0BC6-4780-8569-0CCC5C8BCB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941" y="5170932"/>
            <a:ext cx="6756699" cy="1143000"/>
          </a:xfrm>
        </p:spPr>
        <p:txBody>
          <a:bodyPr anchor="t"/>
          <a:lstStyle>
            <a:lvl1pPr>
              <a:defRPr sz="3200"/>
            </a:lvl1pPr>
          </a:lstStyle>
          <a:p>
            <a:r>
              <a:rPr lang="fi-FI"/>
              <a:t>Muokkaa perustyyl. napsautt.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D1212A6-DA8E-4A60-A5F2-8DAE3B39E0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19.5.2021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2766CB0-43A1-4E89-83D2-9E67BAD632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etra Kokko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E2AEE1E-B285-4162-ABF0-E898A0AD68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160B98-140E-4345-B1A3-2A7247C42973}" type="slidenum">
              <a:rPr lang="fi-FI" smtClean="0"/>
              <a:t>‹#›</a:t>
            </a:fld>
            <a:endParaRPr lang="fi-FI"/>
          </a:p>
        </p:txBody>
      </p:sp>
      <p:sp>
        <p:nvSpPr>
          <p:cNvPr id="12" name="Free-form: Shape 11">
            <a:extLst>
              <a:ext uri="{FF2B5EF4-FFF2-40B4-BE49-F238E27FC236}">
                <a16:creationId xmlns:a16="http://schemas.microsoft.com/office/drawing/2014/main" id="{16E5BBD8-3D18-CC13-B42D-BA6270086E42}"/>
              </a:ext>
            </a:extLst>
          </p:cNvPr>
          <p:cNvSpPr/>
          <p:nvPr/>
        </p:nvSpPr>
        <p:spPr>
          <a:xfrm>
            <a:off x="8105775" y="0"/>
            <a:ext cx="378679" cy="4568336"/>
          </a:xfrm>
          <a:custGeom>
            <a:avLst/>
            <a:gdLst>
              <a:gd name="connsiteX0" fmla="*/ 378679 w 378679"/>
              <a:gd name="connsiteY0" fmla="*/ 0 h 4570191"/>
              <a:gd name="connsiteX1" fmla="*/ 378679 w 378679"/>
              <a:gd name="connsiteY1" fmla="*/ 4570191 h 4570191"/>
              <a:gd name="connsiteX2" fmla="*/ 0 w 378679"/>
              <a:gd name="connsiteY2" fmla="*/ 4570191 h 4570191"/>
              <a:gd name="connsiteX3" fmla="*/ 0 w 378679"/>
              <a:gd name="connsiteY3" fmla="*/ 0 h 4570191"/>
              <a:gd name="connsiteX4" fmla="*/ 378679 w 378679"/>
              <a:gd name="connsiteY4" fmla="*/ 0 h 45701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8679" h="4570191">
                <a:moveTo>
                  <a:pt x="378679" y="0"/>
                </a:moveTo>
                <a:lnTo>
                  <a:pt x="378679" y="4570191"/>
                </a:lnTo>
                <a:lnTo>
                  <a:pt x="0" y="4570191"/>
                </a:lnTo>
                <a:lnTo>
                  <a:pt x="0" y="0"/>
                </a:lnTo>
                <a:lnTo>
                  <a:pt x="378679" y="0"/>
                </a:lnTo>
                <a:close/>
              </a:path>
            </a:pathLst>
          </a:custGeom>
          <a:solidFill>
            <a:schemeClr val="accent3"/>
          </a:solidFill>
          <a:ln w="35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3" name="Free-form: Shape 12">
            <a:extLst>
              <a:ext uri="{FF2B5EF4-FFF2-40B4-BE49-F238E27FC236}">
                <a16:creationId xmlns:a16="http://schemas.microsoft.com/office/drawing/2014/main" id="{F88FF5DF-8F63-E6E6-5985-36E7158CDBC7}"/>
              </a:ext>
            </a:extLst>
          </p:cNvPr>
          <p:cNvSpPr/>
          <p:nvPr/>
        </p:nvSpPr>
        <p:spPr>
          <a:xfrm>
            <a:off x="8869551" y="0"/>
            <a:ext cx="385100" cy="4568336"/>
          </a:xfrm>
          <a:custGeom>
            <a:avLst/>
            <a:gdLst>
              <a:gd name="connsiteX0" fmla="*/ 385101 w 385100"/>
              <a:gd name="connsiteY0" fmla="*/ 0 h 4570191"/>
              <a:gd name="connsiteX1" fmla="*/ 385101 w 385100"/>
              <a:gd name="connsiteY1" fmla="*/ 4570191 h 4570191"/>
              <a:gd name="connsiteX2" fmla="*/ 0 w 385100"/>
              <a:gd name="connsiteY2" fmla="*/ 4570191 h 4570191"/>
              <a:gd name="connsiteX3" fmla="*/ 0 w 385100"/>
              <a:gd name="connsiteY3" fmla="*/ 0 h 4570191"/>
              <a:gd name="connsiteX4" fmla="*/ 385101 w 385100"/>
              <a:gd name="connsiteY4" fmla="*/ 0 h 45701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5100" h="4570191">
                <a:moveTo>
                  <a:pt x="385101" y="0"/>
                </a:moveTo>
                <a:lnTo>
                  <a:pt x="385101" y="4570191"/>
                </a:lnTo>
                <a:lnTo>
                  <a:pt x="0" y="4570191"/>
                </a:lnTo>
                <a:lnTo>
                  <a:pt x="0" y="0"/>
                </a:lnTo>
                <a:lnTo>
                  <a:pt x="385101" y="0"/>
                </a:lnTo>
                <a:close/>
              </a:path>
            </a:pathLst>
          </a:custGeom>
          <a:solidFill>
            <a:schemeClr val="accent3"/>
          </a:solidFill>
          <a:ln w="35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4" name="Free-form: Shape 13">
            <a:extLst>
              <a:ext uri="{FF2B5EF4-FFF2-40B4-BE49-F238E27FC236}">
                <a16:creationId xmlns:a16="http://schemas.microsoft.com/office/drawing/2014/main" id="{B2086361-D08C-2A10-C9AC-F7580BD19271}"/>
              </a:ext>
            </a:extLst>
          </p:cNvPr>
          <p:cNvSpPr/>
          <p:nvPr/>
        </p:nvSpPr>
        <p:spPr>
          <a:xfrm>
            <a:off x="9639735" y="0"/>
            <a:ext cx="385100" cy="4568336"/>
          </a:xfrm>
          <a:custGeom>
            <a:avLst/>
            <a:gdLst>
              <a:gd name="connsiteX0" fmla="*/ 385101 w 385100"/>
              <a:gd name="connsiteY0" fmla="*/ 0 h 4570191"/>
              <a:gd name="connsiteX1" fmla="*/ 385101 w 385100"/>
              <a:gd name="connsiteY1" fmla="*/ 4570191 h 4570191"/>
              <a:gd name="connsiteX2" fmla="*/ 0 w 385100"/>
              <a:gd name="connsiteY2" fmla="*/ 4570191 h 4570191"/>
              <a:gd name="connsiteX3" fmla="*/ 0 w 385100"/>
              <a:gd name="connsiteY3" fmla="*/ 0 h 4570191"/>
              <a:gd name="connsiteX4" fmla="*/ 385101 w 385100"/>
              <a:gd name="connsiteY4" fmla="*/ 0 h 45701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5100" h="4570191">
                <a:moveTo>
                  <a:pt x="385101" y="0"/>
                </a:moveTo>
                <a:lnTo>
                  <a:pt x="385101" y="4570191"/>
                </a:lnTo>
                <a:lnTo>
                  <a:pt x="0" y="4570191"/>
                </a:lnTo>
                <a:lnTo>
                  <a:pt x="0" y="0"/>
                </a:lnTo>
                <a:lnTo>
                  <a:pt x="385101" y="0"/>
                </a:lnTo>
                <a:close/>
              </a:path>
            </a:pathLst>
          </a:custGeom>
          <a:solidFill>
            <a:schemeClr val="accent3"/>
          </a:solidFill>
          <a:ln w="35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5" name="Free-form: Shape 14">
            <a:extLst>
              <a:ext uri="{FF2B5EF4-FFF2-40B4-BE49-F238E27FC236}">
                <a16:creationId xmlns:a16="http://schemas.microsoft.com/office/drawing/2014/main" id="{C86574D7-D6D6-EF56-FB66-14F53A064D5B}"/>
              </a:ext>
            </a:extLst>
          </p:cNvPr>
          <p:cNvSpPr/>
          <p:nvPr/>
        </p:nvSpPr>
        <p:spPr>
          <a:xfrm>
            <a:off x="10409932" y="0"/>
            <a:ext cx="385100" cy="4568336"/>
          </a:xfrm>
          <a:custGeom>
            <a:avLst/>
            <a:gdLst>
              <a:gd name="connsiteX0" fmla="*/ 385101 w 385100"/>
              <a:gd name="connsiteY0" fmla="*/ 0 h 4570191"/>
              <a:gd name="connsiteX1" fmla="*/ 385101 w 385100"/>
              <a:gd name="connsiteY1" fmla="*/ 4570191 h 4570191"/>
              <a:gd name="connsiteX2" fmla="*/ 0 w 385100"/>
              <a:gd name="connsiteY2" fmla="*/ 4570191 h 4570191"/>
              <a:gd name="connsiteX3" fmla="*/ 0 w 385100"/>
              <a:gd name="connsiteY3" fmla="*/ 0 h 4570191"/>
              <a:gd name="connsiteX4" fmla="*/ 385101 w 385100"/>
              <a:gd name="connsiteY4" fmla="*/ 0 h 45701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5100" h="4570191">
                <a:moveTo>
                  <a:pt x="385101" y="0"/>
                </a:moveTo>
                <a:lnTo>
                  <a:pt x="385101" y="4570191"/>
                </a:lnTo>
                <a:lnTo>
                  <a:pt x="0" y="4570191"/>
                </a:lnTo>
                <a:lnTo>
                  <a:pt x="0" y="0"/>
                </a:lnTo>
                <a:lnTo>
                  <a:pt x="385101" y="0"/>
                </a:lnTo>
                <a:close/>
              </a:path>
            </a:pathLst>
          </a:custGeom>
          <a:solidFill>
            <a:schemeClr val="accent3"/>
          </a:solidFill>
          <a:ln w="35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6" name="Free-form: Shape 15">
            <a:extLst>
              <a:ext uri="{FF2B5EF4-FFF2-40B4-BE49-F238E27FC236}">
                <a16:creationId xmlns:a16="http://schemas.microsoft.com/office/drawing/2014/main" id="{294352AE-8336-96CB-B1E6-4E7E7F5C772A}"/>
              </a:ext>
            </a:extLst>
          </p:cNvPr>
          <p:cNvSpPr/>
          <p:nvPr/>
        </p:nvSpPr>
        <p:spPr>
          <a:xfrm>
            <a:off x="11180116" y="0"/>
            <a:ext cx="385100" cy="4568336"/>
          </a:xfrm>
          <a:custGeom>
            <a:avLst/>
            <a:gdLst>
              <a:gd name="connsiteX0" fmla="*/ 385100 w 385100"/>
              <a:gd name="connsiteY0" fmla="*/ 0 h 4570191"/>
              <a:gd name="connsiteX1" fmla="*/ 385100 w 385100"/>
              <a:gd name="connsiteY1" fmla="*/ 4570191 h 4570191"/>
              <a:gd name="connsiteX2" fmla="*/ 0 w 385100"/>
              <a:gd name="connsiteY2" fmla="*/ 4570191 h 4570191"/>
              <a:gd name="connsiteX3" fmla="*/ 0 w 385100"/>
              <a:gd name="connsiteY3" fmla="*/ 0 h 4570191"/>
              <a:gd name="connsiteX4" fmla="*/ 385100 w 385100"/>
              <a:gd name="connsiteY4" fmla="*/ 0 h 45701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5100" h="4570191">
                <a:moveTo>
                  <a:pt x="385100" y="0"/>
                </a:moveTo>
                <a:lnTo>
                  <a:pt x="385100" y="4570191"/>
                </a:lnTo>
                <a:lnTo>
                  <a:pt x="0" y="4570191"/>
                </a:lnTo>
                <a:lnTo>
                  <a:pt x="0" y="0"/>
                </a:lnTo>
                <a:lnTo>
                  <a:pt x="385100" y="0"/>
                </a:lnTo>
                <a:close/>
              </a:path>
            </a:pathLst>
          </a:custGeom>
          <a:solidFill>
            <a:schemeClr val="accent3"/>
          </a:solidFill>
          <a:ln w="35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7" name="Free-form: Shape 16">
            <a:extLst>
              <a:ext uri="{FF2B5EF4-FFF2-40B4-BE49-F238E27FC236}">
                <a16:creationId xmlns:a16="http://schemas.microsoft.com/office/drawing/2014/main" id="{005D8EB3-53B4-CC5F-7972-88D5D8352E6C}"/>
              </a:ext>
            </a:extLst>
          </p:cNvPr>
          <p:cNvSpPr/>
          <p:nvPr userDrawn="1"/>
        </p:nvSpPr>
        <p:spPr>
          <a:xfrm>
            <a:off x="11950317" y="0"/>
            <a:ext cx="241724" cy="4568336"/>
          </a:xfrm>
          <a:custGeom>
            <a:avLst/>
            <a:gdLst>
              <a:gd name="connsiteX0" fmla="*/ 0 w 241724"/>
              <a:gd name="connsiteY0" fmla="*/ 4570191 h 4570191"/>
              <a:gd name="connsiteX1" fmla="*/ 0 w 241724"/>
              <a:gd name="connsiteY1" fmla="*/ 0 h 4570191"/>
              <a:gd name="connsiteX2" fmla="*/ 241725 w 241724"/>
              <a:gd name="connsiteY2" fmla="*/ 0 h 4570191"/>
              <a:gd name="connsiteX3" fmla="*/ 241725 w 241724"/>
              <a:gd name="connsiteY3" fmla="*/ 4570191 h 4570191"/>
              <a:gd name="connsiteX4" fmla="*/ 0 w 241724"/>
              <a:gd name="connsiteY4" fmla="*/ 4570191 h 45701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1724" h="4570191">
                <a:moveTo>
                  <a:pt x="0" y="4570191"/>
                </a:moveTo>
                <a:lnTo>
                  <a:pt x="0" y="0"/>
                </a:lnTo>
                <a:lnTo>
                  <a:pt x="241725" y="0"/>
                </a:lnTo>
                <a:lnTo>
                  <a:pt x="241725" y="4570191"/>
                </a:lnTo>
                <a:lnTo>
                  <a:pt x="0" y="4570191"/>
                </a:lnTo>
                <a:close/>
              </a:path>
            </a:pathLst>
          </a:custGeom>
          <a:solidFill>
            <a:schemeClr val="accent3"/>
          </a:solidFill>
          <a:ln w="35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A24A5D3F-B208-9740-8F43-58C8D911A4A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39507" y="5596332"/>
            <a:ext cx="2090175" cy="703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471650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DE34914-B5F2-4084-8552-6153E3BFA8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19.5.2021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3C69628-CCBB-4581-842C-07AC1724D7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etra Kokko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C581D05-5813-4B50-86D4-96A15B78A2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160B98-140E-4345-B1A3-2A7247C42973}" type="slidenum">
              <a:rPr lang="fi-FI" smtClean="0"/>
              <a:t>‹#›</a:t>
            </a:fld>
            <a:endParaRPr lang="fi-FI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414EFF0-E9E2-364E-9793-DF62BACE2D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76380" y="596151"/>
            <a:ext cx="516294" cy="631026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0E5EEC2F-8885-4741-92AA-E21ECE47D5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940" y="484094"/>
            <a:ext cx="9894939" cy="1075323"/>
          </a:xfrm>
        </p:spPr>
        <p:txBody>
          <a:bodyPr anchor="b"/>
          <a:lstStyle/>
          <a:p>
            <a:r>
              <a:rPr lang="fi-FI"/>
              <a:t>Muokkaa perustyyl. napsautt.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3845680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7C8C091-C242-4851-9826-ECBA43530F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19.5.2021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5B64547-60FB-4F82-B034-DC7F10F48F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etra Kokko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7519037-54EE-46F6-8610-A2A8D9E613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160B98-140E-4345-B1A3-2A7247C42973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70731076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5A2C256-48C1-C245-998A-D7A2CF1BED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19.5.2021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7EB178E-AE4B-9E4E-829F-B50E365C89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etra Kokk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20DB95B-9D99-B948-B3F0-A1E3541EDC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975956-C45A-444E-9050-E8F36A744109}" type="slidenum">
              <a:rPr lang="fi-FI" smtClean="0"/>
              <a:t>‹#›</a:t>
            </a:fld>
            <a:endParaRPr lang="fi-FI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FD3A2109-DA11-3742-983D-F38B49A201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6651" y="365124"/>
            <a:ext cx="9679743" cy="1325563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fi-FI"/>
              <a:t>Muokkaa perustyyl. napsautt.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67B765B0-6361-C04D-ADC5-B6CEF6BA18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6652" y="1825625"/>
            <a:ext cx="10807148" cy="4320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</p:spTree>
    <p:extLst>
      <p:ext uri="{BB962C8B-B14F-4D97-AF65-F5344CB8AC3E}">
        <p14:creationId xmlns:p14="http://schemas.microsoft.com/office/powerpoint/2010/main" val="87593505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E3B6CAA-4767-42B4-A19C-0CFD9AFC82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9940" y="2021541"/>
            <a:ext cx="5311126" cy="4155422"/>
          </a:xfrm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E996DCA-8E68-4F4A-A4A6-ACE6BC7F24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19.5.2021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DC7B94-042D-44C2-B7B2-1128AAFA57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etra Kokko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F604C65-0022-A10B-E75C-3BC0B3B9636F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230933" y="2021541"/>
            <a:ext cx="5311126" cy="4155422"/>
          </a:xfrm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6363DDC-C97A-194B-98DF-CA51F0A3D35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76380" y="596151"/>
            <a:ext cx="516294" cy="631026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85789431-5CDA-8F47-85A4-31FC69C174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940" y="484094"/>
            <a:ext cx="9894939" cy="1075323"/>
          </a:xfrm>
        </p:spPr>
        <p:txBody>
          <a:bodyPr anchor="b"/>
          <a:lstStyle/>
          <a:p>
            <a:r>
              <a:rPr lang="fi-FI"/>
              <a:t>Muokkaa perustyyl. napsautt.</a:t>
            </a:r>
            <a:endParaRPr lang="en-GB"/>
          </a:p>
        </p:txBody>
      </p:sp>
      <p:pic>
        <p:nvPicPr>
          <p:cNvPr id="13" name="Kuva 12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9409" y="6079993"/>
            <a:ext cx="1783265" cy="4990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442801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1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raphic 24">
            <a:extLst>
              <a:ext uri="{FF2B5EF4-FFF2-40B4-BE49-F238E27FC236}">
                <a16:creationId xmlns:a16="http://schemas.microsoft.com/office/drawing/2014/main" id="{412E2FC6-3DC7-A5C6-CB76-702A1185B2EA}"/>
              </a:ext>
            </a:extLst>
          </p:cNvPr>
          <p:cNvSpPr/>
          <p:nvPr/>
        </p:nvSpPr>
        <p:spPr>
          <a:xfrm>
            <a:off x="0" y="-3"/>
            <a:ext cx="12191877" cy="6858000"/>
          </a:xfrm>
          <a:custGeom>
            <a:avLst/>
            <a:gdLst>
              <a:gd name="connsiteX0" fmla="*/ 0 w 12191877"/>
              <a:gd name="connsiteY0" fmla="*/ 6858000 h 6858000"/>
              <a:gd name="connsiteX1" fmla="*/ 8102520 w 12191877"/>
              <a:gd name="connsiteY1" fmla="*/ 6858000 h 6858000"/>
              <a:gd name="connsiteX2" fmla="*/ 8102520 w 12191877"/>
              <a:gd name="connsiteY2" fmla="*/ 6051708 h 6858000"/>
              <a:gd name="connsiteX3" fmla="*/ 12191878 w 12191877"/>
              <a:gd name="connsiteY3" fmla="*/ 1962310 h 6858000"/>
              <a:gd name="connsiteX4" fmla="*/ 12191878 w 12191877"/>
              <a:gd name="connsiteY4" fmla="*/ 1850371 h 6858000"/>
              <a:gd name="connsiteX5" fmla="*/ 8102520 w 12191877"/>
              <a:gd name="connsiteY5" fmla="*/ 5939766 h 6858000"/>
              <a:gd name="connsiteX6" fmla="*/ 8102520 w 12191877"/>
              <a:gd name="connsiteY6" fmla="*/ 4931057 h 6858000"/>
              <a:gd name="connsiteX7" fmla="*/ 12191878 w 12191877"/>
              <a:gd name="connsiteY7" fmla="*/ 841658 h 6858000"/>
              <a:gd name="connsiteX8" fmla="*/ 12191878 w 12191877"/>
              <a:gd name="connsiteY8" fmla="*/ 729724 h 6858000"/>
              <a:gd name="connsiteX9" fmla="*/ 8102520 w 12191877"/>
              <a:gd name="connsiteY9" fmla="*/ 4819122 h 6858000"/>
              <a:gd name="connsiteX10" fmla="*/ 8102520 w 12191877"/>
              <a:gd name="connsiteY10" fmla="*/ 3810409 h 6858000"/>
              <a:gd name="connsiteX11" fmla="*/ 11912894 w 12191877"/>
              <a:gd name="connsiteY11" fmla="*/ 0 h 6858000"/>
              <a:gd name="connsiteX12" fmla="*/ 11800954 w 12191877"/>
              <a:gd name="connsiteY12" fmla="*/ 0 h 6858000"/>
              <a:gd name="connsiteX13" fmla="*/ 8102520 w 12191877"/>
              <a:gd name="connsiteY13" fmla="*/ 3698475 h 6858000"/>
              <a:gd name="connsiteX14" fmla="*/ 8102520 w 12191877"/>
              <a:gd name="connsiteY14" fmla="*/ 2689762 h 6858000"/>
              <a:gd name="connsiteX15" fmla="*/ 10792254 w 12191877"/>
              <a:gd name="connsiteY15" fmla="*/ 0 h 6858000"/>
              <a:gd name="connsiteX16" fmla="*/ 10680314 w 12191877"/>
              <a:gd name="connsiteY16" fmla="*/ 0 h 6858000"/>
              <a:gd name="connsiteX17" fmla="*/ 8102520 w 12191877"/>
              <a:gd name="connsiteY17" fmla="*/ 2577820 h 6858000"/>
              <a:gd name="connsiteX18" fmla="*/ 8102520 w 12191877"/>
              <a:gd name="connsiteY18" fmla="*/ 1569100 h 6858000"/>
              <a:gd name="connsiteX19" fmla="*/ 9671614 w 12191877"/>
              <a:gd name="connsiteY19" fmla="*/ 0 h 6858000"/>
              <a:gd name="connsiteX20" fmla="*/ 9559677 w 12191877"/>
              <a:gd name="connsiteY20" fmla="*/ 0 h 6858000"/>
              <a:gd name="connsiteX21" fmla="*/ 8102520 w 12191877"/>
              <a:gd name="connsiteY21" fmla="*/ 1457172 h 6858000"/>
              <a:gd name="connsiteX22" fmla="*/ 8102520 w 12191877"/>
              <a:gd name="connsiteY22" fmla="*/ 560902 h 6858000"/>
              <a:gd name="connsiteX23" fmla="*/ 8644717 w 12191877"/>
              <a:gd name="connsiteY23" fmla="*/ 0 h 6858000"/>
              <a:gd name="connsiteX24" fmla="*/ 8536632 w 12191877"/>
              <a:gd name="connsiteY24" fmla="*/ 0 h 6858000"/>
              <a:gd name="connsiteX25" fmla="*/ 8102520 w 12191877"/>
              <a:gd name="connsiteY25" fmla="*/ 448970 h 6858000"/>
              <a:gd name="connsiteX26" fmla="*/ 8102520 w 12191877"/>
              <a:gd name="connsiteY26" fmla="*/ 0 h 6858000"/>
              <a:gd name="connsiteX27" fmla="*/ 0 w 12191877"/>
              <a:gd name="connsiteY27" fmla="*/ 0 h 6858000"/>
              <a:gd name="connsiteX28" fmla="*/ 0 w 12191877"/>
              <a:gd name="connsiteY28" fmla="*/ 6857997 h 6858000"/>
              <a:gd name="connsiteX29" fmla="*/ 8304935 w 12191877"/>
              <a:gd name="connsiteY29" fmla="*/ 6858000 h 6858000"/>
              <a:gd name="connsiteX30" fmla="*/ 8416875 w 12191877"/>
              <a:gd name="connsiteY30" fmla="*/ 6858000 h 6858000"/>
              <a:gd name="connsiteX31" fmla="*/ 12191878 w 12191877"/>
              <a:gd name="connsiteY31" fmla="*/ 3082961 h 6858000"/>
              <a:gd name="connsiteX32" fmla="*/ 12191878 w 12191877"/>
              <a:gd name="connsiteY32" fmla="*/ 2971019 h 6858000"/>
              <a:gd name="connsiteX33" fmla="*/ 8304935 w 12191877"/>
              <a:gd name="connsiteY33" fmla="*/ 6858000 h 6858000"/>
              <a:gd name="connsiteX34" fmla="*/ 9425589 w 12191877"/>
              <a:gd name="connsiteY34" fmla="*/ 6858000 h 6858000"/>
              <a:gd name="connsiteX35" fmla="*/ 9537516 w 12191877"/>
              <a:gd name="connsiteY35" fmla="*/ 6858000 h 6858000"/>
              <a:gd name="connsiteX36" fmla="*/ 12191878 w 12191877"/>
              <a:gd name="connsiteY36" fmla="*/ 4203612 h 6858000"/>
              <a:gd name="connsiteX37" fmla="*/ 12191878 w 12191877"/>
              <a:gd name="connsiteY37" fmla="*/ 4091670 h 6858000"/>
              <a:gd name="connsiteX38" fmla="*/ 9425589 w 12191877"/>
              <a:gd name="connsiteY38" fmla="*/ 6858000 h 6858000"/>
              <a:gd name="connsiteX39" fmla="*/ 10544933 w 12191877"/>
              <a:gd name="connsiteY39" fmla="*/ 6858000 h 6858000"/>
              <a:gd name="connsiteX40" fmla="*/ 10658156 w 12191877"/>
              <a:gd name="connsiteY40" fmla="*/ 6858000 h 6858000"/>
              <a:gd name="connsiteX41" fmla="*/ 12191878 w 12191877"/>
              <a:gd name="connsiteY41" fmla="*/ 5324264 h 6858000"/>
              <a:gd name="connsiteX42" fmla="*/ 12191878 w 12191877"/>
              <a:gd name="connsiteY42" fmla="*/ 5211040 h 6858000"/>
              <a:gd name="connsiteX43" fmla="*/ 10544933 w 12191877"/>
              <a:gd name="connsiteY43" fmla="*/ 6858000 h 6858000"/>
              <a:gd name="connsiteX44" fmla="*/ 11665573 w 12191877"/>
              <a:gd name="connsiteY44" fmla="*/ 6858000 h 6858000"/>
              <a:gd name="connsiteX45" fmla="*/ 11777507 w 12191877"/>
              <a:gd name="connsiteY45" fmla="*/ 6858000 h 6858000"/>
              <a:gd name="connsiteX46" fmla="*/ 12191878 w 12191877"/>
              <a:gd name="connsiteY46" fmla="*/ 6443630 h 6858000"/>
              <a:gd name="connsiteX47" fmla="*/ 12191878 w 12191877"/>
              <a:gd name="connsiteY47" fmla="*/ 6331691 h 6858000"/>
              <a:gd name="connsiteX48" fmla="*/ 11665573 w 12191877"/>
              <a:gd name="connsiteY4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2191877" h="6858000">
                <a:moveTo>
                  <a:pt x="0" y="6858000"/>
                </a:moveTo>
                <a:lnTo>
                  <a:pt x="8102520" y="6858000"/>
                </a:lnTo>
                <a:lnTo>
                  <a:pt x="8102520" y="6051708"/>
                </a:lnTo>
                <a:lnTo>
                  <a:pt x="12191878" y="1962310"/>
                </a:lnTo>
                <a:lnTo>
                  <a:pt x="12191878" y="1850371"/>
                </a:lnTo>
                <a:lnTo>
                  <a:pt x="8102520" y="5939766"/>
                </a:lnTo>
                <a:lnTo>
                  <a:pt x="8102520" y="4931057"/>
                </a:lnTo>
                <a:lnTo>
                  <a:pt x="12191878" y="841658"/>
                </a:lnTo>
                <a:lnTo>
                  <a:pt x="12191878" y="729724"/>
                </a:lnTo>
                <a:lnTo>
                  <a:pt x="8102520" y="4819122"/>
                </a:lnTo>
                <a:lnTo>
                  <a:pt x="8102520" y="3810409"/>
                </a:lnTo>
                <a:lnTo>
                  <a:pt x="11912894" y="0"/>
                </a:lnTo>
                <a:lnTo>
                  <a:pt x="11800954" y="0"/>
                </a:lnTo>
                <a:lnTo>
                  <a:pt x="8102520" y="3698475"/>
                </a:lnTo>
                <a:lnTo>
                  <a:pt x="8102520" y="2689762"/>
                </a:lnTo>
                <a:lnTo>
                  <a:pt x="10792254" y="0"/>
                </a:lnTo>
                <a:lnTo>
                  <a:pt x="10680314" y="0"/>
                </a:lnTo>
                <a:lnTo>
                  <a:pt x="8102520" y="2577820"/>
                </a:lnTo>
                <a:lnTo>
                  <a:pt x="8102520" y="1569100"/>
                </a:lnTo>
                <a:lnTo>
                  <a:pt x="9671614" y="0"/>
                </a:lnTo>
                <a:lnTo>
                  <a:pt x="9559677" y="0"/>
                </a:lnTo>
                <a:lnTo>
                  <a:pt x="8102520" y="1457172"/>
                </a:lnTo>
                <a:lnTo>
                  <a:pt x="8102520" y="560902"/>
                </a:lnTo>
                <a:lnTo>
                  <a:pt x="8644717" y="0"/>
                </a:lnTo>
                <a:lnTo>
                  <a:pt x="8536632" y="0"/>
                </a:lnTo>
                <a:lnTo>
                  <a:pt x="8102520" y="448970"/>
                </a:lnTo>
                <a:lnTo>
                  <a:pt x="8102520" y="0"/>
                </a:lnTo>
                <a:lnTo>
                  <a:pt x="0" y="0"/>
                </a:lnTo>
                <a:lnTo>
                  <a:pt x="0" y="6857997"/>
                </a:lnTo>
                <a:close/>
                <a:moveTo>
                  <a:pt x="8304935" y="6858000"/>
                </a:moveTo>
                <a:lnTo>
                  <a:pt x="8416875" y="6858000"/>
                </a:lnTo>
                <a:lnTo>
                  <a:pt x="12191878" y="3082961"/>
                </a:lnTo>
                <a:lnTo>
                  <a:pt x="12191878" y="2971019"/>
                </a:lnTo>
                <a:lnTo>
                  <a:pt x="8304935" y="6858000"/>
                </a:lnTo>
                <a:close/>
                <a:moveTo>
                  <a:pt x="9425589" y="6858000"/>
                </a:moveTo>
                <a:lnTo>
                  <a:pt x="9537516" y="6858000"/>
                </a:lnTo>
                <a:lnTo>
                  <a:pt x="12191878" y="4203612"/>
                </a:lnTo>
                <a:lnTo>
                  <a:pt x="12191878" y="4091670"/>
                </a:lnTo>
                <a:lnTo>
                  <a:pt x="9425589" y="6858000"/>
                </a:lnTo>
                <a:close/>
                <a:moveTo>
                  <a:pt x="10544933" y="6858000"/>
                </a:moveTo>
                <a:lnTo>
                  <a:pt x="10658156" y="6858000"/>
                </a:lnTo>
                <a:lnTo>
                  <a:pt x="12191878" y="5324264"/>
                </a:lnTo>
                <a:lnTo>
                  <a:pt x="12191878" y="5211040"/>
                </a:lnTo>
                <a:lnTo>
                  <a:pt x="10544933" y="6858000"/>
                </a:lnTo>
                <a:close/>
                <a:moveTo>
                  <a:pt x="11665573" y="6858000"/>
                </a:moveTo>
                <a:lnTo>
                  <a:pt x="11777507" y="6858000"/>
                </a:lnTo>
                <a:lnTo>
                  <a:pt x="12191878" y="6443630"/>
                </a:lnTo>
                <a:lnTo>
                  <a:pt x="12191878" y="6331691"/>
                </a:lnTo>
                <a:lnTo>
                  <a:pt x="11665573" y="6858000"/>
                </a:lnTo>
                <a:close/>
              </a:path>
            </a:pathLst>
          </a:custGeom>
          <a:solidFill>
            <a:srgbClr val="F0EBE1"/>
          </a:solidFill>
          <a:ln w="36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6E6260-E36C-484A-9F25-1346EC50A8D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5508" y="2196783"/>
            <a:ext cx="6839712" cy="1876869"/>
          </a:xfrm>
        </p:spPr>
        <p:txBody>
          <a:bodyPr anchor="t" anchorCtr="0"/>
          <a:lstStyle>
            <a:lvl1pPr algn="l">
              <a:lnSpc>
                <a:spcPct val="95000"/>
              </a:lnSpc>
              <a:defRPr sz="4000"/>
            </a:lvl1pPr>
          </a:lstStyle>
          <a:p>
            <a:r>
              <a:rPr lang="fi-FI"/>
              <a:t>Muokkaa perustyyl. napsautt.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1FDDA9F-DC3B-4803-9730-F564F287AC8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35508" y="5070348"/>
            <a:ext cx="6839712" cy="1220724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24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D7FCCBE-EE77-5D47-8CE2-1B409B5E09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915" y="565286"/>
            <a:ext cx="2090175" cy="703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870240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raphic 24">
            <a:extLst>
              <a:ext uri="{FF2B5EF4-FFF2-40B4-BE49-F238E27FC236}">
                <a16:creationId xmlns:a16="http://schemas.microsoft.com/office/drawing/2014/main" id="{412E2FC6-3DC7-A5C6-CB76-702A1185B2EA}"/>
              </a:ext>
            </a:extLst>
          </p:cNvPr>
          <p:cNvSpPr/>
          <p:nvPr/>
        </p:nvSpPr>
        <p:spPr>
          <a:xfrm>
            <a:off x="0" y="-3"/>
            <a:ext cx="12191877" cy="6858000"/>
          </a:xfrm>
          <a:custGeom>
            <a:avLst/>
            <a:gdLst>
              <a:gd name="connsiteX0" fmla="*/ 0 w 12191877"/>
              <a:gd name="connsiteY0" fmla="*/ 6858000 h 6858000"/>
              <a:gd name="connsiteX1" fmla="*/ 8102520 w 12191877"/>
              <a:gd name="connsiteY1" fmla="*/ 6858000 h 6858000"/>
              <a:gd name="connsiteX2" fmla="*/ 8102520 w 12191877"/>
              <a:gd name="connsiteY2" fmla="*/ 6051708 h 6858000"/>
              <a:gd name="connsiteX3" fmla="*/ 12191878 w 12191877"/>
              <a:gd name="connsiteY3" fmla="*/ 1962310 h 6858000"/>
              <a:gd name="connsiteX4" fmla="*/ 12191878 w 12191877"/>
              <a:gd name="connsiteY4" fmla="*/ 1850371 h 6858000"/>
              <a:gd name="connsiteX5" fmla="*/ 8102520 w 12191877"/>
              <a:gd name="connsiteY5" fmla="*/ 5939766 h 6858000"/>
              <a:gd name="connsiteX6" fmla="*/ 8102520 w 12191877"/>
              <a:gd name="connsiteY6" fmla="*/ 4931057 h 6858000"/>
              <a:gd name="connsiteX7" fmla="*/ 12191878 w 12191877"/>
              <a:gd name="connsiteY7" fmla="*/ 841658 h 6858000"/>
              <a:gd name="connsiteX8" fmla="*/ 12191878 w 12191877"/>
              <a:gd name="connsiteY8" fmla="*/ 729724 h 6858000"/>
              <a:gd name="connsiteX9" fmla="*/ 8102520 w 12191877"/>
              <a:gd name="connsiteY9" fmla="*/ 4819122 h 6858000"/>
              <a:gd name="connsiteX10" fmla="*/ 8102520 w 12191877"/>
              <a:gd name="connsiteY10" fmla="*/ 3810409 h 6858000"/>
              <a:gd name="connsiteX11" fmla="*/ 11912894 w 12191877"/>
              <a:gd name="connsiteY11" fmla="*/ 0 h 6858000"/>
              <a:gd name="connsiteX12" fmla="*/ 11800954 w 12191877"/>
              <a:gd name="connsiteY12" fmla="*/ 0 h 6858000"/>
              <a:gd name="connsiteX13" fmla="*/ 8102520 w 12191877"/>
              <a:gd name="connsiteY13" fmla="*/ 3698475 h 6858000"/>
              <a:gd name="connsiteX14" fmla="*/ 8102520 w 12191877"/>
              <a:gd name="connsiteY14" fmla="*/ 2689762 h 6858000"/>
              <a:gd name="connsiteX15" fmla="*/ 10792254 w 12191877"/>
              <a:gd name="connsiteY15" fmla="*/ 0 h 6858000"/>
              <a:gd name="connsiteX16" fmla="*/ 10680314 w 12191877"/>
              <a:gd name="connsiteY16" fmla="*/ 0 h 6858000"/>
              <a:gd name="connsiteX17" fmla="*/ 8102520 w 12191877"/>
              <a:gd name="connsiteY17" fmla="*/ 2577820 h 6858000"/>
              <a:gd name="connsiteX18" fmla="*/ 8102520 w 12191877"/>
              <a:gd name="connsiteY18" fmla="*/ 1569100 h 6858000"/>
              <a:gd name="connsiteX19" fmla="*/ 9671614 w 12191877"/>
              <a:gd name="connsiteY19" fmla="*/ 0 h 6858000"/>
              <a:gd name="connsiteX20" fmla="*/ 9559677 w 12191877"/>
              <a:gd name="connsiteY20" fmla="*/ 0 h 6858000"/>
              <a:gd name="connsiteX21" fmla="*/ 8102520 w 12191877"/>
              <a:gd name="connsiteY21" fmla="*/ 1457172 h 6858000"/>
              <a:gd name="connsiteX22" fmla="*/ 8102520 w 12191877"/>
              <a:gd name="connsiteY22" fmla="*/ 560902 h 6858000"/>
              <a:gd name="connsiteX23" fmla="*/ 8644717 w 12191877"/>
              <a:gd name="connsiteY23" fmla="*/ 0 h 6858000"/>
              <a:gd name="connsiteX24" fmla="*/ 8536632 w 12191877"/>
              <a:gd name="connsiteY24" fmla="*/ 0 h 6858000"/>
              <a:gd name="connsiteX25" fmla="*/ 8102520 w 12191877"/>
              <a:gd name="connsiteY25" fmla="*/ 448970 h 6858000"/>
              <a:gd name="connsiteX26" fmla="*/ 8102520 w 12191877"/>
              <a:gd name="connsiteY26" fmla="*/ 0 h 6858000"/>
              <a:gd name="connsiteX27" fmla="*/ 0 w 12191877"/>
              <a:gd name="connsiteY27" fmla="*/ 0 h 6858000"/>
              <a:gd name="connsiteX28" fmla="*/ 0 w 12191877"/>
              <a:gd name="connsiteY28" fmla="*/ 6857997 h 6858000"/>
              <a:gd name="connsiteX29" fmla="*/ 8304935 w 12191877"/>
              <a:gd name="connsiteY29" fmla="*/ 6858000 h 6858000"/>
              <a:gd name="connsiteX30" fmla="*/ 8416875 w 12191877"/>
              <a:gd name="connsiteY30" fmla="*/ 6858000 h 6858000"/>
              <a:gd name="connsiteX31" fmla="*/ 12191878 w 12191877"/>
              <a:gd name="connsiteY31" fmla="*/ 3082961 h 6858000"/>
              <a:gd name="connsiteX32" fmla="*/ 12191878 w 12191877"/>
              <a:gd name="connsiteY32" fmla="*/ 2971019 h 6858000"/>
              <a:gd name="connsiteX33" fmla="*/ 8304935 w 12191877"/>
              <a:gd name="connsiteY33" fmla="*/ 6858000 h 6858000"/>
              <a:gd name="connsiteX34" fmla="*/ 9425589 w 12191877"/>
              <a:gd name="connsiteY34" fmla="*/ 6858000 h 6858000"/>
              <a:gd name="connsiteX35" fmla="*/ 9537516 w 12191877"/>
              <a:gd name="connsiteY35" fmla="*/ 6858000 h 6858000"/>
              <a:gd name="connsiteX36" fmla="*/ 12191878 w 12191877"/>
              <a:gd name="connsiteY36" fmla="*/ 4203612 h 6858000"/>
              <a:gd name="connsiteX37" fmla="*/ 12191878 w 12191877"/>
              <a:gd name="connsiteY37" fmla="*/ 4091670 h 6858000"/>
              <a:gd name="connsiteX38" fmla="*/ 9425589 w 12191877"/>
              <a:gd name="connsiteY38" fmla="*/ 6858000 h 6858000"/>
              <a:gd name="connsiteX39" fmla="*/ 10544933 w 12191877"/>
              <a:gd name="connsiteY39" fmla="*/ 6858000 h 6858000"/>
              <a:gd name="connsiteX40" fmla="*/ 10658156 w 12191877"/>
              <a:gd name="connsiteY40" fmla="*/ 6858000 h 6858000"/>
              <a:gd name="connsiteX41" fmla="*/ 12191878 w 12191877"/>
              <a:gd name="connsiteY41" fmla="*/ 5324264 h 6858000"/>
              <a:gd name="connsiteX42" fmla="*/ 12191878 w 12191877"/>
              <a:gd name="connsiteY42" fmla="*/ 5211040 h 6858000"/>
              <a:gd name="connsiteX43" fmla="*/ 10544933 w 12191877"/>
              <a:gd name="connsiteY43" fmla="*/ 6858000 h 6858000"/>
              <a:gd name="connsiteX44" fmla="*/ 11665573 w 12191877"/>
              <a:gd name="connsiteY44" fmla="*/ 6858000 h 6858000"/>
              <a:gd name="connsiteX45" fmla="*/ 11777507 w 12191877"/>
              <a:gd name="connsiteY45" fmla="*/ 6858000 h 6858000"/>
              <a:gd name="connsiteX46" fmla="*/ 12191878 w 12191877"/>
              <a:gd name="connsiteY46" fmla="*/ 6443630 h 6858000"/>
              <a:gd name="connsiteX47" fmla="*/ 12191878 w 12191877"/>
              <a:gd name="connsiteY47" fmla="*/ 6331691 h 6858000"/>
              <a:gd name="connsiteX48" fmla="*/ 11665573 w 12191877"/>
              <a:gd name="connsiteY4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2191877" h="6858000">
                <a:moveTo>
                  <a:pt x="0" y="6858000"/>
                </a:moveTo>
                <a:lnTo>
                  <a:pt x="8102520" y="6858000"/>
                </a:lnTo>
                <a:lnTo>
                  <a:pt x="8102520" y="6051708"/>
                </a:lnTo>
                <a:lnTo>
                  <a:pt x="12191878" y="1962310"/>
                </a:lnTo>
                <a:lnTo>
                  <a:pt x="12191878" y="1850371"/>
                </a:lnTo>
                <a:lnTo>
                  <a:pt x="8102520" y="5939766"/>
                </a:lnTo>
                <a:lnTo>
                  <a:pt x="8102520" y="4931057"/>
                </a:lnTo>
                <a:lnTo>
                  <a:pt x="12191878" y="841658"/>
                </a:lnTo>
                <a:lnTo>
                  <a:pt x="12191878" y="729724"/>
                </a:lnTo>
                <a:lnTo>
                  <a:pt x="8102520" y="4819122"/>
                </a:lnTo>
                <a:lnTo>
                  <a:pt x="8102520" y="3810409"/>
                </a:lnTo>
                <a:lnTo>
                  <a:pt x="11912894" y="0"/>
                </a:lnTo>
                <a:lnTo>
                  <a:pt x="11800954" y="0"/>
                </a:lnTo>
                <a:lnTo>
                  <a:pt x="8102520" y="3698475"/>
                </a:lnTo>
                <a:lnTo>
                  <a:pt x="8102520" y="2689762"/>
                </a:lnTo>
                <a:lnTo>
                  <a:pt x="10792254" y="0"/>
                </a:lnTo>
                <a:lnTo>
                  <a:pt x="10680314" y="0"/>
                </a:lnTo>
                <a:lnTo>
                  <a:pt x="8102520" y="2577820"/>
                </a:lnTo>
                <a:lnTo>
                  <a:pt x="8102520" y="1569100"/>
                </a:lnTo>
                <a:lnTo>
                  <a:pt x="9671614" y="0"/>
                </a:lnTo>
                <a:lnTo>
                  <a:pt x="9559677" y="0"/>
                </a:lnTo>
                <a:lnTo>
                  <a:pt x="8102520" y="1457172"/>
                </a:lnTo>
                <a:lnTo>
                  <a:pt x="8102520" y="560902"/>
                </a:lnTo>
                <a:lnTo>
                  <a:pt x="8644717" y="0"/>
                </a:lnTo>
                <a:lnTo>
                  <a:pt x="8536632" y="0"/>
                </a:lnTo>
                <a:lnTo>
                  <a:pt x="8102520" y="448970"/>
                </a:lnTo>
                <a:lnTo>
                  <a:pt x="8102520" y="0"/>
                </a:lnTo>
                <a:lnTo>
                  <a:pt x="0" y="0"/>
                </a:lnTo>
                <a:lnTo>
                  <a:pt x="0" y="6857997"/>
                </a:lnTo>
                <a:close/>
                <a:moveTo>
                  <a:pt x="8304935" y="6858000"/>
                </a:moveTo>
                <a:lnTo>
                  <a:pt x="8416875" y="6858000"/>
                </a:lnTo>
                <a:lnTo>
                  <a:pt x="12191878" y="3082961"/>
                </a:lnTo>
                <a:lnTo>
                  <a:pt x="12191878" y="2971019"/>
                </a:lnTo>
                <a:lnTo>
                  <a:pt x="8304935" y="6858000"/>
                </a:lnTo>
                <a:close/>
                <a:moveTo>
                  <a:pt x="9425589" y="6858000"/>
                </a:moveTo>
                <a:lnTo>
                  <a:pt x="9537516" y="6858000"/>
                </a:lnTo>
                <a:lnTo>
                  <a:pt x="12191878" y="4203612"/>
                </a:lnTo>
                <a:lnTo>
                  <a:pt x="12191878" y="4091670"/>
                </a:lnTo>
                <a:lnTo>
                  <a:pt x="9425589" y="6858000"/>
                </a:lnTo>
                <a:close/>
                <a:moveTo>
                  <a:pt x="10544933" y="6858000"/>
                </a:moveTo>
                <a:lnTo>
                  <a:pt x="10658156" y="6858000"/>
                </a:lnTo>
                <a:lnTo>
                  <a:pt x="12191878" y="5324264"/>
                </a:lnTo>
                <a:lnTo>
                  <a:pt x="12191878" y="5211040"/>
                </a:lnTo>
                <a:lnTo>
                  <a:pt x="10544933" y="6858000"/>
                </a:lnTo>
                <a:close/>
                <a:moveTo>
                  <a:pt x="11665573" y="6858000"/>
                </a:moveTo>
                <a:lnTo>
                  <a:pt x="11777507" y="6858000"/>
                </a:lnTo>
                <a:lnTo>
                  <a:pt x="12191878" y="6443630"/>
                </a:lnTo>
                <a:lnTo>
                  <a:pt x="12191878" y="6331691"/>
                </a:lnTo>
                <a:lnTo>
                  <a:pt x="11665573" y="6858000"/>
                </a:lnTo>
                <a:close/>
              </a:path>
            </a:pathLst>
          </a:custGeom>
          <a:solidFill>
            <a:srgbClr val="F0EBE1"/>
          </a:solidFill>
          <a:ln w="36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6E6260-E36C-484A-9F25-1346EC50A8D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5508" y="2196783"/>
            <a:ext cx="6839712" cy="1876869"/>
          </a:xfrm>
        </p:spPr>
        <p:txBody>
          <a:bodyPr anchor="t" anchorCtr="0"/>
          <a:lstStyle>
            <a:lvl1pPr algn="l">
              <a:lnSpc>
                <a:spcPct val="95000"/>
              </a:lnSpc>
              <a:defRPr sz="4000"/>
            </a:lvl1pPr>
          </a:lstStyle>
          <a:p>
            <a:r>
              <a:rPr lang="fi-FI"/>
              <a:t>Muokkaa perustyyl. napsautt.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1FDDA9F-DC3B-4803-9730-F564F287AC8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35508" y="5070348"/>
            <a:ext cx="6839712" cy="1220724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24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D7FCCBE-EE77-5D47-8CE2-1B409B5E09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915" y="565286"/>
            <a:ext cx="2090175" cy="703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521057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AF55F463-6573-FC45-BA45-C38E5111349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F6E6260-E36C-484A-9F25-1346EC50A8D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5508" y="2196783"/>
            <a:ext cx="6839712" cy="1876869"/>
          </a:xfrm>
        </p:spPr>
        <p:txBody>
          <a:bodyPr anchor="t" anchorCtr="0"/>
          <a:lstStyle>
            <a:lvl1pPr algn="l">
              <a:lnSpc>
                <a:spcPct val="95000"/>
              </a:lnSpc>
              <a:defRPr sz="4000"/>
            </a:lvl1pPr>
          </a:lstStyle>
          <a:p>
            <a:r>
              <a:rPr lang="fi-FI"/>
              <a:t>Muokkaa perustyyl. napsautt.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1FDDA9F-DC3B-4803-9730-F564F287AC8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35508" y="4073652"/>
            <a:ext cx="5819080" cy="1220724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24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Muokkaa alaotsikon perustyyliä </a:t>
            </a:r>
            <a:r>
              <a:rPr lang="fi-FI" dirty="0" err="1"/>
              <a:t>napsautt</a:t>
            </a:r>
            <a:r>
              <a:rPr lang="fi-FI" dirty="0"/>
              <a:t>.</a:t>
            </a:r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3EE9307-AB79-3247-82BD-37685692FA2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915" y="565286"/>
            <a:ext cx="2090175" cy="703499"/>
          </a:xfrm>
          <a:prstGeom prst="rect">
            <a:avLst/>
          </a:prstGeom>
        </p:spPr>
      </p:pic>
      <p:pic>
        <p:nvPicPr>
          <p:cNvPr id="4" name="Kuva 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915" y="5755340"/>
            <a:ext cx="2272533" cy="6360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16611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 2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AF55F463-6573-FC45-BA45-C38E5111349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F6E6260-E36C-484A-9F25-1346EC50A8D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5508" y="2196783"/>
            <a:ext cx="6839712" cy="1876869"/>
          </a:xfrm>
        </p:spPr>
        <p:txBody>
          <a:bodyPr anchor="t" anchorCtr="0"/>
          <a:lstStyle>
            <a:lvl1pPr algn="l">
              <a:lnSpc>
                <a:spcPct val="95000"/>
              </a:lnSpc>
              <a:defRPr sz="4000"/>
            </a:lvl1pPr>
          </a:lstStyle>
          <a:p>
            <a:r>
              <a:rPr lang="fi-FI"/>
              <a:t>Muokkaa perustyyl. napsautt.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1FDDA9F-DC3B-4803-9730-F564F287AC8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35508" y="5070348"/>
            <a:ext cx="6839712" cy="1220724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24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3EE9307-AB79-3247-82BD-37685692FA2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915" y="565286"/>
            <a:ext cx="2090175" cy="703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929429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0DB878-8E84-426A-BEF0-AF1AAFA1F9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940" y="484094"/>
            <a:ext cx="9894939" cy="1075323"/>
          </a:xfrm>
        </p:spPr>
        <p:txBody>
          <a:bodyPr anchor="b"/>
          <a:lstStyle/>
          <a:p>
            <a:r>
              <a:rPr lang="fi-FI"/>
              <a:t>Muokkaa perustyyl. napsautt.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E3B6CAA-4767-42B4-A19C-0CFD9AFC822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E996DCA-8E68-4F4A-A4A6-ACE6BC7F24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19.5.2021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DC7B94-042D-44C2-B7B2-1128AAFA57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etra Kokko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FAA53A2-04A4-784B-8533-1BE5B6ED6EB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76380" y="596151"/>
            <a:ext cx="516294" cy="631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851164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0DB878-8E84-426A-BEF0-AF1AAFA1F9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940" y="484094"/>
            <a:ext cx="9894939" cy="1075323"/>
          </a:xfrm>
        </p:spPr>
        <p:txBody>
          <a:bodyPr anchor="b"/>
          <a:lstStyle/>
          <a:p>
            <a:r>
              <a:rPr lang="fi-FI"/>
              <a:t>Muokkaa perustyyl. napsautt.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E3B6CAA-4767-42B4-A19C-0CFD9AFC822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E996DCA-8E68-4F4A-A4A6-ACE6BC7F24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19.5.2021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DC7B94-042D-44C2-B7B2-1128AAFA57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etra Kokko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FAA53A2-04A4-784B-8533-1BE5B6ED6EB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76380" y="596151"/>
            <a:ext cx="516294" cy="631026"/>
          </a:xfrm>
          <a:prstGeom prst="rect">
            <a:avLst/>
          </a:prstGeom>
        </p:spPr>
      </p:pic>
      <p:pic>
        <p:nvPicPr>
          <p:cNvPr id="10" name="Kuva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9409" y="6079993"/>
            <a:ext cx="1783265" cy="4990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847309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E3B6CAA-4767-42B4-A19C-0CFD9AFC82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9940" y="2021541"/>
            <a:ext cx="5311126" cy="4155422"/>
          </a:xfrm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E996DCA-8E68-4F4A-A4A6-ACE6BC7F24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19.5.2021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DC7B94-042D-44C2-B7B2-1128AAFA57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etra Kokko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F604C65-0022-A10B-E75C-3BC0B3B9636F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230933" y="2021541"/>
            <a:ext cx="5311126" cy="4155422"/>
          </a:xfrm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6363DDC-C97A-194B-98DF-CA51F0A3D35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76380" y="596151"/>
            <a:ext cx="516294" cy="631026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85789431-5CDA-8F47-85A4-31FC69C174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940" y="484094"/>
            <a:ext cx="9894939" cy="1075323"/>
          </a:xfrm>
        </p:spPr>
        <p:txBody>
          <a:bodyPr anchor="b"/>
          <a:lstStyle/>
          <a:p>
            <a:r>
              <a:rPr lang="fi-FI"/>
              <a:t>Muokkaa perustyyl. napsautt.</a:t>
            </a:r>
            <a:endParaRPr lang="en-GB" dirty="0"/>
          </a:p>
        </p:txBody>
      </p:sp>
      <p:pic>
        <p:nvPicPr>
          <p:cNvPr id="13" name="Kuva 1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9409" y="6079993"/>
            <a:ext cx="1783265" cy="4990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0271135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san ylätunnist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orakulmio 2">
            <a:extLst>
              <a:ext uri="{FF2B5EF4-FFF2-40B4-BE49-F238E27FC236}">
                <a16:creationId xmlns:a16="http://schemas.microsoft.com/office/drawing/2014/main" id="{DCD8BB72-B7B2-E8EB-24B6-FE4ECB31BE5A}"/>
              </a:ext>
            </a:extLst>
          </p:cNvPr>
          <p:cNvSpPr/>
          <p:nvPr userDrawn="1"/>
        </p:nvSpPr>
        <p:spPr>
          <a:xfrm>
            <a:off x="-1" y="4570190"/>
            <a:ext cx="12192001" cy="2287810"/>
          </a:xfrm>
          <a:prstGeom prst="rect">
            <a:avLst/>
          </a:prstGeom>
          <a:solidFill>
            <a:srgbClr val="F0EB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4" name="Free-form: Shape 28">
            <a:extLst>
              <a:ext uri="{FF2B5EF4-FFF2-40B4-BE49-F238E27FC236}">
                <a16:creationId xmlns:a16="http://schemas.microsoft.com/office/drawing/2014/main" id="{09403F87-9585-6CA0-7F3B-A0CDE2652619}"/>
              </a:ext>
            </a:extLst>
          </p:cNvPr>
          <p:cNvSpPr/>
          <p:nvPr userDrawn="1"/>
        </p:nvSpPr>
        <p:spPr>
          <a:xfrm>
            <a:off x="-122" y="0"/>
            <a:ext cx="12192122" cy="387240"/>
          </a:xfrm>
          <a:custGeom>
            <a:avLst/>
            <a:gdLst>
              <a:gd name="connsiteX0" fmla="*/ 0 w 12185437"/>
              <a:gd name="connsiteY0" fmla="*/ 0 h 380838"/>
              <a:gd name="connsiteX1" fmla="*/ 12185437 w 12185437"/>
              <a:gd name="connsiteY1" fmla="*/ 0 h 380838"/>
              <a:gd name="connsiteX2" fmla="*/ 12185437 w 12185437"/>
              <a:gd name="connsiteY2" fmla="*/ 380839 h 380838"/>
              <a:gd name="connsiteX3" fmla="*/ 0 w 12185437"/>
              <a:gd name="connsiteY3" fmla="*/ 380839 h 380838"/>
              <a:gd name="connsiteX4" fmla="*/ 0 w 12185437"/>
              <a:gd name="connsiteY4" fmla="*/ 0 h 380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85437" h="380838">
                <a:moveTo>
                  <a:pt x="0" y="0"/>
                </a:moveTo>
                <a:lnTo>
                  <a:pt x="12185437" y="0"/>
                </a:lnTo>
                <a:lnTo>
                  <a:pt x="12185437" y="380839"/>
                </a:lnTo>
                <a:lnTo>
                  <a:pt x="0" y="380839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36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5" name="Free-form: Shape 29">
            <a:extLst>
              <a:ext uri="{FF2B5EF4-FFF2-40B4-BE49-F238E27FC236}">
                <a16:creationId xmlns:a16="http://schemas.microsoft.com/office/drawing/2014/main" id="{B4E4D196-B8D5-48B6-626D-89C042D57B9C}"/>
              </a:ext>
            </a:extLst>
          </p:cNvPr>
          <p:cNvSpPr/>
          <p:nvPr userDrawn="1"/>
        </p:nvSpPr>
        <p:spPr>
          <a:xfrm>
            <a:off x="-122" y="768193"/>
            <a:ext cx="12192122" cy="380702"/>
          </a:xfrm>
          <a:custGeom>
            <a:avLst/>
            <a:gdLst>
              <a:gd name="connsiteX0" fmla="*/ 0 w 12185437"/>
              <a:gd name="connsiteY0" fmla="*/ 0 h 380702"/>
              <a:gd name="connsiteX1" fmla="*/ 12185437 w 12185437"/>
              <a:gd name="connsiteY1" fmla="*/ 0 h 380702"/>
              <a:gd name="connsiteX2" fmla="*/ 12185437 w 12185437"/>
              <a:gd name="connsiteY2" fmla="*/ 380703 h 380702"/>
              <a:gd name="connsiteX3" fmla="*/ 0 w 12185437"/>
              <a:gd name="connsiteY3" fmla="*/ 380703 h 380702"/>
              <a:gd name="connsiteX4" fmla="*/ 0 w 12185437"/>
              <a:gd name="connsiteY4" fmla="*/ 0 h 380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85437" h="380702">
                <a:moveTo>
                  <a:pt x="0" y="0"/>
                </a:moveTo>
                <a:lnTo>
                  <a:pt x="12185437" y="0"/>
                </a:lnTo>
                <a:lnTo>
                  <a:pt x="12185437" y="380703"/>
                </a:lnTo>
                <a:lnTo>
                  <a:pt x="0" y="380703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36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6" name="Free-form: Shape 30">
            <a:extLst>
              <a:ext uri="{FF2B5EF4-FFF2-40B4-BE49-F238E27FC236}">
                <a16:creationId xmlns:a16="http://schemas.microsoft.com/office/drawing/2014/main" id="{89FD2A67-C5A0-8597-A631-E79F1FDC2375}"/>
              </a:ext>
            </a:extLst>
          </p:cNvPr>
          <p:cNvSpPr/>
          <p:nvPr userDrawn="1"/>
        </p:nvSpPr>
        <p:spPr>
          <a:xfrm>
            <a:off x="-122" y="1529863"/>
            <a:ext cx="12192122" cy="380838"/>
          </a:xfrm>
          <a:custGeom>
            <a:avLst/>
            <a:gdLst>
              <a:gd name="connsiteX0" fmla="*/ 0 w 12185437"/>
              <a:gd name="connsiteY0" fmla="*/ 0 h 380838"/>
              <a:gd name="connsiteX1" fmla="*/ 12185437 w 12185437"/>
              <a:gd name="connsiteY1" fmla="*/ 0 h 380838"/>
              <a:gd name="connsiteX2" fmla="*/ 12185437 w 12185437"/>
              <a:gd name="connsiteY2" fmla="*/ 380839 h 380838"/>
              <a:gd name="connsiteX3" fmla="*/ 0 w 12185437"/>
              <a:gd name="connsiteY3" fmla="*/ 380839 h 380838"/>
              <a:gd name="connsiteX4" fmla="*/ 0 w 12185437"/>
              <a:gd name="connsiteY4" fmla="*/ 0 h 380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85437" h="380838">
                <a:moveTo>
                  <a:pt x="0" y="0"/>
                </a:moveTo>
                <a:lnTo>
                  <a:pt x="12185437" y="0"/>
                </a:lnTo>
                <a:lnTo>
                  <a:pt x="12185437" y="380839"/>
                </a:lnTo>
                <a:lnTo>
                  <a:pt x="0" y="380839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36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0" name="Free-form: Shape 31">
            <a:extLst>
              <a:ext uri="{FF2B5EF4-FFF2-40B4-BE49-F238E27FC236}">
                <a16:creationId xmlns:a16="http://schemas.microsoft.com/office/drawing/2014/main" id="{E7831AEF-0633-77AB-EA0E-DB68A5A08C6C}"/>
              </a:ext>
            </a:extLst>
          </p:cNvPr>
          <p:cNvSpPr/>
          <p:nvPr userDrawn="1"/>
        </p:nvSpPr>
        <p:spPr>
          <a:xfrm>
            <a:off x="-122" y="2291655"/>
            <a:ext cx="12192122" cy="380842"/>
          </a:xfrm>
          <a:custGeom>
            <a:avLst/>
            <a:gdLst>
              <a:gd name="connsiteX0" fmla="*/ 0 w 12185437"/>
              <a:gd name="connsiteY0" fmla="*/ 0 h 380842"/>
              <a:gd name="connsiteX1" fmla="*/ 12185437 w 12185437"/>
              <a:gd name="connsiteY1" fmla="*/ 0 h 380842"/>
              <a:gd name="connsiteX2" fmla="*/ 12185437 w 12185437"/>
              <a:gd name="connsiteY2" fmla="*/ 380842 h 380842"/>
              <a:gd name="connsiteX3" fmla="*/ 0 w 12185437"/>
              <a:gd name="connsiteY3" fmla="*/ 380842 h 380842"/>
              <a:gd name="connsiteX4" fmla="*/ 0 w 12185437"/>
              <a:gd name="connsiteY4" fmla="*/ 0 h 380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85437" h="380842">
                <a:moveTo>
                  <a:pt x="0" y="0"/>
                </a:moveTo>
                <a:lnTo>
                  <a:pt x="12185437" y="0"/>
                </a:lnTo>
                <a:lnTo>
                  <a:pt x="12185437" y="380842"/>
                </a:lnTo>
                <a:lnTo>
                  <a:pt x="0" y="380842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36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1" name="Free-form: Shape 32">
            <a:extLst>
              <a:ext uri="{FF2B5EF4-FFF2-40B4-BE49-F238E27FC236}">
                <a16:creationId xmlns:a16="http://schemas.microsoft.com/office/drawing/2014/main" id="{20B1B5C3-36C4-6C96-F052-EC7C50FC54AC}"/>
              </a:ext>
            </a:extLst>
          </p:cNvPr>
          <p:cNvSpPr/>
          <p:nvPr userDrawn="1"/>
        </p:nvSpPr>
        <p:spPr>
          <a:xfrm>
            <a:off x="-122" y="3053449"/>
            <a:ext cx="12192122" cy="380702"/>
          </a:xfrm>
          <a:custGeom>
            <a:avLst/>
            <a:gdLst>
              <a:gd name="connsiteX0" fmla="*/ 0 w 12185437"/>
              <a:gd name="connsiteY0" fmla="*/ 0 h 380702"/>
              <a:gd name="connsiteX1" fmla="*/ 12185437 w 12185437"/>
              <a:gd name="connsiteY1" fmla="*/ 0 h 380702"/>
              <a:gd name="connsiteX2" fmla="*/ 12185437 w 12185437"/>
              <a:gd name="connsiteY2" fmla="*/ 380703 h 380702"/>
              <a:gd name="connsiteX3" fmla="*/ 0 w 12185437"/>
              <a:gd name="connsiteY3" fmla="*/ 380703 h 380702"/>
              <a:gd name="connsiteX4" fmla="*/ 0 w 12185437"/>
              <a:gd name="connsiteY4" fmla="*/ 0 h 380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85437" h="380702">
                <a:moveTo>
                  <a:pt x="0" y="0"/>
                </a:moveTo>
                <a:lnTo>
                  <a:pt x="12185437" y="0"/>
                </a:lnTo>
                <a:lnTo>
                  <a:pt x="12185437" y="380703"/>
                </a:lnTo>
                <a:lnTo>
                  <a:pt x="0" y="380703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36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2" name="Free-form: Shape 33">
            <a:extLst>
              <a:ext uri="{FF2B5EF4-FFF2-40B4-BE49-F238E27FC236}">
                <a16:creationId xmlns:a16="http://schemas.microsoft.com/office/drawing/2014/main" id="{1D2A1DAB-145A-5F7B-9954-6987015EB4B4}"/>
              </a:ext>
            </a:extLst>
          </p:cNvPr>
          <p:cNvSpPr/>
          <p:nvPr userDrawn="1"/>
        </p:nvSpPr>
        <p:spPr>
          <a:xfrm>
            <a:off x="-122" y="3815119"/>
            <a:ext cx="12192122" cy="380838"/>
          </a:xfrm>
          <a:custGeom>
            <a:avLst/>
            <a:gdLst>
              <a:gd name="connsiteX0" fmla="*/ 0 w 12185437"/>
              <a:gd name="connsiteY0" fmla="*/ 0 h 380838"/>
              <a:gd name="connsiteX1" fmla="*/ 12185437 w 12185437"/>
              <a:gd name="connsiteY1" fmla="*/ 0 h 380838"/>
              <a:gd name="connsiteX2" fmla="*/ 12185437 w 12185437"/>
              <a:gd name="connsiteY2" fmla="*/ 380839 h 380838"/>
              <a:gd name="connsiteX3" fmla="*/ 0 w 12185437"/>
              <a:gd name="connsiteY3" fmla="*/ 380839 h 380838"/>
              <a:gd name="connsiteX4" fmla="*/ 0 w 12185437"/>
              <a:gd name="connsiteY4" fmla="*/ 0 h 380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85437" h="380838">
                <a:moveTo>
                  <a:pt x="0" y="0"/>
                </a:moveTo>
                <a:lnTo>
                  <a:pt x="12185437" y="0"/>
                </a:lnTo>
                <a:lnTo>
                  <a:pt x="12185437" y="380839"/>
                </a:lnTo>
                <a:lnTo>
                  <a:pt x="0" y="380839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36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FA2F872-5FC5-D94D-9E89-698A2F01408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39507" y="5596332"/>
            <a:ext cx="2090175" cy="703499"/>
          </a:xfrm>
          <a:prstGeom prst="rect">
            <a:avLst/>
          </a:prstGeom>
        </p:spPr>
      </p:pic>
      <p:pic>
        <p:nvPicPr>
          <p:cNvPr id="13" name="Kuva 1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589" y="5596332"/>
            <a:ext cx="2513704" cy="703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0611174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Pictur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orakulmio 2">
            <a:extLst>
              <a:ext uri="{FF2B5EF4-FFF2-40B4-BE49-F238E27FC236}">
                <a16:creationId xmlns:a16="http://schemas.microsoft.com/office/drawing/2014/main" id="{483FB58F-61FC-B125-47DF-7A1E6819B7A4}"/>
              </a:ext>
            </a:extLst>
          </p:cNvPr>
          <p:cNvSpPr/>
          <p:nvPr userDrawn="1"/>
        </p:nvSpPr>
        <p:spPr>
          <a:xfrm>
            <a:off x="-1" y="4570190"/>
            <a:ext cx="12192001" cy="2287810"/>
          </a:xfrm>
          <a:prstGeom prst="rect">
            <a:avLst/>
          </a:prstGeom>
          <a:solidFill>
            <a:srgbClr val="F0EB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4" name="Picture Placeholder 7">
            <a:extLst>
              <a:ext uri="{FF2B5EF4-FFF2-40B4-BE49-F238E27FC236}">
                <a16:creationId xmlns:a16="http://schemas.microsoft.com/office/drawing/2014/main" id="{5E70779E-03A6-C3DE-E92E-DA3EBF19B8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" y="-1"/>
            <a:ext cx="8105774" cy="4570191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None/>
              <a:defRPr sz="1800"/>
            </a:lvl1pPr>
          </a:lstStyle>
          <a:p>
            <a:r>
              <a:rPr lang="fi-FI"/>
              <a:t>Lisää kuva napsauttamalla kuvaketta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C1DC208-0BC6-4780-8569-0CCC5C8BCB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941" y="5170932"/>
            <a:ext cx="6756699" cy="1143000"/>
          </a:xfrm>
        </p:spPr>
        <p:txBody>
          <a:bodyPr anchor="t"/>
          <a:lstStyle>
            <a:lvl1pPr>
              <a:defRPr sz="3200"/>
            </a:lvl1pPr>
          </a:lstStyle>
          <a:p>
            <a:r>
              <a:rPr lang="fi-FI"/>
              <a:t>Muokkaa perustyyl. napsautt.</a:t>
            </a:r>
            <a:endParaRPr lang="en-GB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D1212A6-DA8E-4A60-A5F2-8DAE3B39E0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19.5.2021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2766CB0-43A1-4E89-83D2-9E67BAD632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etra Kokko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E2AEE1E-B285-4162-ABF0-E898A0AD68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160B98-140E-4345-B1A3-2A7247C42973}" type="slidenum">
              <a:rPr lang="fi-FI" smtClean="0"/>
              <a:t>‹#›</a:t>
            </a:fld>
            <a:endParaRPr lang="fi-FI"/>
          </a:p>
        </p:txBody>
      </p:sp>
      <p:sp>
        <p:nvSpPr>
          <p:cNvPr id="12" name="Free-form: Shape 11">
            <a:extLst>
              <a:ext uri="{FF2B5EF4-FFF2-40B4-BE49-F238E27FC236}">
                <a16:creationId xmlns:a16="http://schemas.microsoft.com/office/drawing/2014/main" id="{16E5BBD8-3D18-CC13-B42D-BA6270086E42}"/>
              </a:ext>
            </a:extLst>
          </p:cNvPr>
          <p:cNvSpPr/>
          <p:nvPr/>
        </p:nvSpPr>
        <p:spPr>
          <a:xfrm>
            <a:off x="8105775" y="0"/>
            <a:ext cx="378679" cy="4568336"/>
          </a:xfrm>
          <a:custGeom>
            <a:avLst/>
            <a:gdLst>
              <a:gd name="connsiteX0" fmla="*/ 378679 w 378679"/>
              <a:gd name="connsiteY0" fmla="*/ 0 h 4570191"/>
              <a:gd name="connsiteX1" fmla="*/ 378679 w 378679"/>
              <a:gd name="connsiteY1" fmla="*/ 4570191 h 4570191"/>
              <a:gd name="connsiteX2" fmla="*/ 0 w 378679"/>
              <a:gd name="connsiteY2" fmla="*/ 4570191 h 4570191"/>
              <a:gd name="connsiteX3" fmla="*/ 0 w 378679"/>
              <a:gd name="connsiteY3" fmla="*/ 0 h 4570191"/>
              <a:gd name="connsiteX4" fmla="*/ 378679 w 378679"/>
              <a:gd name="connsiteY4" fmla="*/ 0 h 45701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8679" h="4570191">
                <a:moveTo>
                  <a:pt x="378679" y="0"/>
                </a:moveTo>
                <a:lnTo>
                  <a:pt x="378679" y="4570191"/>
                </a:lnTo>
                <a:lnTo>
                  <a:pt x="0" y="4570191"/>
                </a:lnTo>
                <a:lnTo>
                  <a:pt x="0" y="0"/>
                </a:lnTo>
                <a:lnTo>
                  <a:pt x="378679" y="0"/>
                </a:lnTo>
                <a:close/>
              </a:path>
            </a:pathLst>
          </a:custGeom>
          <a:solidFill>
            <a:schemeClr val="accent2"/>
          </a:solidFill>
          <a:ln w="35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3" name="Free-form: Shape 12">
            <a:extLst>
              <a:ext uri="{FF2B5EF4-FFF2-40B4-BE49-F238E27FC236}">
                <a16:creationId xmlns:a16="http://schemas.microsoft.com/office/drawing/2014/main" id="{F88FF5DF-8F63-E6E6-5985-36E7158CDBC7}"/>
              </a:ext>
            </a:extLst>
          </p:cNvPr>
          <p:cNvSpPr/>
          <p:nvPr/>
        </p:nvSpPr>
        <p:spPr>
          <a:xfrm>
            <a:off x="8869551" y="0"/>
            <a:ext cx="385100" cy="4568336"/>
          </a:xfrm>
          <a:custGeom>
            <a:avLst/>
            <a:gdLst>
              <a:gd name="connsiteX0" fmla="*/ 385101 w 385100"/>
              <a:gd name="connsiteY0" fmla="*/ 0 h 4570191"/>
              <a:gd name="connsiteX1" fmla="*/ 385101 w 385100"/>
              <a:gd name="connsiteY1" fmla="*/ 4570191 h 4570191"/>
              <a:gd name="connsiteX2" fmla="*/ 0 w 385100"/>
              <a:gd name="connsiteY2" fmla="*/ 4570191 h 4570191"/>
              <a:gd name="connsiteX3" fmla="*/ 0 w 385100"/>
              <a:gd name="connsiteY3" fmla="*/ 0 h 4570191"/>
              <a:gd name="connsiteX4" fmla="*/ 385101 w 385100"/>
              <a:gd name="connsiteY4" fmla="*/ 0 h 45701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5100" h="4570191">
                <a:moveTo>
                  <a:pt x="385101" y="0"/>
                </a:moveTo>
                <a:lnTo>
                  <a:pt x="385101" y="4570191"/>
                </a:lnTo>
                <a:lnTo>
                  <a:pt x="0" y="4570191"/>
                </a:lnTo>
                <a:lnTo>
                  <a:pt x="0" y="0"/>
                </a:lnTo>
                <a:lnTo>
                  <a:pt x="385101" y="0"/>
                </a:lnTo>
                <a:close/>
              </a:path>
            </a:pathLst>
          </a:custGeom>
          <a:solidFill>
            <a:schemeClr val="accent2"/>
          </a:solidFill>
          <a:ln w="35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4" name="Free-form: Shape 13">
            <a:extLst>
              <a:ext uri="{FF2B5EF4-FFF2-40B4-BE49-F238E27FC236}">
                <a16:creationId xmlns:a16="http://schemas.microsoft.com/office/drawing/2014/main" id="{B2086361-D08C-2A10-C9AC-F7580BD19271}"/>
              </a:ext>
            </a:extLst>
          </p:cNvPr>
          <p:cNvSpPr/>
          <p:nvPr/>
        </p:nvSpPr>
        <p:spPr>
          <a:xfrm>
            <a:off x="9639735" y="0"/>
            <a:ext cx="385100" cy="4568336"/>
          </a:xfrm>
          <a:custGeom>
            <a:avLst/>
            <a:gdLst>
              <a:gd name="connsiteX0" fmla="*/ 385101 w 385100"/>
              <a:gd name="connsiteY0" fmla="*/ 0 h 4570191"/>
              <a:gd name="connsiteX1" fmla="*/ 385101 w 385100"/>
              <a:gd name="connsiteY1" fmla="*/ 4570191 h 4570191"/>
              <a:gd name="connsiteX2" fmla="*/ 0 w 385100"/>
              <a:gd name="connsiteY2" fmla="*/ 4570191 h 4570191"/>
              <a:gd name="connsiteX3" fmla="*/ 0 w 385100"/>
              <a:gd name="connsiteY3" fmla="*/ 0 h 4570191"/>
              <a:gd name="connsiteX4" fmla="*/ 385101 w 385100"/>
              <a:gd name="connsiteY4" fmla="*/ 0 h 45701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5100" h="4570191">
                <a:moveTo>
                  <a:pt x="385101" y="0"/>
                </a:moveTo>
                <a:lnTo>
                  <a:pt x="385101" y="4570191"/>
                </a:lnTo>
                <a:lnTo>
                  <a:pt x="0" y="4570191"/>
                </a:lnTo>
                <a:lnTo>
                  <a:pt x="0" y="0"/>
                </a:lnTo>
                <a:lnTo>
                  <a:pt x="385101" y="0"/>
                </a:lnTo>
                <a:close/>
              </a:path>
            </a:pathLst>
          </a:custGeom>
          <a:solidFill>
            <a:schemeClr val="accent2"/>
          </a:solidFill>
          <a:ln w="35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5" name="Free-form: Shape 14">
            <a:extLst>
              <a:ext uri="{FF2B5EF4-FFF2-40B4-BE49-F238E27FC236}">
                <a16:creationId xmlns:a16="http://schemas.microsoft.com/office/drawing/2014/main" id="{C86574D7-D6D6-EF56-FB66-14F53A064D5B}"/>
              </a:ext>
            </a:extLst>
          </p:cNvPr>
          <p:cNvSpPr/>
          <p:nvPr/>
        </p:nvSpPr>
        <p:spPr>
          <a:xfrm>
            <a:off x="10409932" y="0"/>
            <a:ext cx="385100" cy="4568336"/>
          </a:xfrm>
          <a:custGeom>
            <a:avLst/>
            <a:gdLst>
              <a:gd name="connsiteX0" fmla="*/ 385101 w 385100"/>
              <a:gd name="connsiteY0" fmla="*/ 0 h 4570191"/>
              <a:gd name="connsiteX1" fmla="*/ 385101 w 385100"/>
              <a:gd name="connsiteY1" fmla="*/ 4570191 h 4570191"/>
              <a:gd name="connsiteX2" fmla="*/ 0 w 385100"/>
              <a:gd name="connsiteY2" fmla="*/ 4570191 h 4570191"/>
              <a:gd name="connsiteX3" fmla="*/ 0 w 385100"/>
              <a:gd name="connsiteY3" fmla="*/ 0 h 4570191"/>
              <a:gd name="connsiteX4" fmla="*/ 385101 w 385100"/>
              <a:gd name="connsiteY4" fmla="*/ 0 h 45701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5100" h="4570191">
                <a:moveTo>
                  <a:pt x="385101" y="0"/>
                </a:moveTo>
                <a:lnTo>
                  <a:pt x="385101" y="4570191"/>
                </a:lnTo>
                <a:lnTo>
                  <a:pt x="0" y="4570191"/>
                </a:lnTo>
                <a:lnTo>
                  <a:pt x="0" y="0"/>
                </a:lnTo>
                <a:lnTo>
                  <a:pt x="385101" y="0"/>
                </a:lnTo>
                <a:close/>
              </a:path>
            </a:pathLst>
          </a:custGeom>
          <a:solidFill>
            <a:schemeClr val="accent2"/>
          </a:solidFill>
          <a:ln w="35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6" name="Free-form: Shape 15">
            <a:extLst>
              <a:ext uri="{FF2B5EF4-FFF2-40B4-BE49-F238E27FC236}">
                <a16:creationId xmlns:a16="http://schemas.microsoft.com/office/drawing/2014/main" id="{294352AE-8336-96CB-B1E6-4E7E7F5C772A}"/>
              </a:ext>
            </a:extLst>
          </p:cNvPr>
          <p:cNvSpPr/>
          <p:nvPr/>
        </p:nvSpPr>
        <p:spPr>
          <a:xfrm>
            <a:off x="11180116" y="0"/>
            <a:ext cx="385100" cy="4568336"/>
          </a:xfrm>
          <a:custGeom>
            <a:avLst/>
            <a:gdLst>
              <a:gd name="connsiteX0" fmla="*/ 385100 w 385100"/>
              <a:gd name="connsiteY0" fmla="*/ 0 h 4570191"/>
              <a:gd name="connsiteX1" fmla="*/ 385100 w 385100"/>
              <a:gd name="connsiteY1" fmla="*/ 4570191 h 4570191"/>
              <a:gd name="connsiteX2" fmla="*/ 0 w 385100"/>
              <a:gd name="connsiteY2" fmla="*/ 4570191 h 4570191"/>
              <a:gd name="connsiteX3" fmla="*/ 0 w 385100"/>
              <a:gd name="connsiteY3" fmla="*/ 0 h 4570191"/>
              <a:gd name="connsiteX4" fmla="*/ 385100 w 385100"/>
              <a:gd name="connsiteY4" fmla="*/ 0 h 45701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5100" h="4570191">
                <a:moveTo>
                  <a:pt x="385100" y="0"/>
                </a:moveTo>
                <a:lnTo>
                  <a:pt x="385100" y="4570191"/>
                </a:lnTo>
                <a:lnTo>
                  <a:pt x="0" y="4570191"/>
                </a:lnTo>
                <a:lnTo>
                  <a:pt x="0" y="0"/>
                </a:lnTo>
                <a:lnTo>
                  <a:pt x="385100" y="0"/>
                </a:lnTo>
                <a:close/>
              </a:path>
            </a:pathLst>
          </a:custGeom>
          <a:solidFill>
            <a:schemeClr val="accent2"/>
          </a:solidFill>
          <a:ln w="35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7" name="Free-form: Shape 16">
            <a:extLst>
              <a:ext uri="{FF2B5EF4-FFF2-40B4-BE49-F238E27FC236}">
                <a16:creationId xmlns:a16="http://schemas.microsoft.com/office/drawing/2014/main" id="{005D8EB3-53B4-CC5F-7972-88D5D8352E6C}"/>
              </a:ext>
            </a:extLst>
          </p:cNvPr>
          <p:cNvSpPr/>
          <p:nvPr userDrawn="1"/>
        </p:nvSpPr>
        <p:spPr>
          <a:xfrm>
            <a:off x="11950317" y="0"/>
            <a:ext cx="241724" cy="4568336"/>
          </a:xfrm>
          <a:custGeom>
            <a:avLst/>
            <a:gdLst>
              <a:gd name="connsiteX0" fmla="*/ 0 w 241724"/>
              <a:gd name="connsiteY0" fmla="*/ 4570191 h 4570191"/>
              <a:gd name="connsiteX1" fmla="*/ 0 w 241724"/>
              <a:gd name="connsiteY1" fmla="*/ 0 h 4570191"/>
              <a:gd name="connsiteX2" fmla="*/ 241725 w 241724"/>
              <a:gd name="connsiteY2" fmla="*/ 0 h 4570191"/>
              <a:gd name="connsiteX3" fmla="*/ 241725 w 241724"/>
              <a:gd name="connsiteY3" fmla="*/ 4570191 h 4570191"/>
              <a:gd name="connsiteX4" fmla="*/ 0 w 241724"/>
              <a:gd name="connsiteY4" fmla="*/ 4570191 h 45701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1724" h="4570191">
                <a:moveTo>
                  <a:pt x="0" y="4570191"/>
                </a:moveTo>
                <a:lnTo>
                  <a:pt x="0" y="0"/>
                </a:lnTo>
                <a:lnTo>
                  <a:pt x="241725" y="0"/>
                </a:lnTo>
                <a:lnTo>
                  <a:pt x="241725" y="4570191"/>
                </a:lnTo>
                <a:lnTo>
                  <a:pt x="0" y="4570191"/>
                </a:lnTo>
                <a:close/>
              </a:path>
            </a:pathLst>
          </a:custGeom>
          <a:solidFill>
            <a:schemeClr val="accent2"/>
          </a:solidFill>
          <a:ln w="35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A24A5D3F-B208-9740-8F43-58C8D911A4A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39507" y="5596332"/>
            <a:ext cx="2090175" cy="703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008931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DE34914-B5F2-4084-8552-6153E3BFA8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19.5.2021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3C69628-CCBB-4581-842C-07AC1724D7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etra Kokko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414EFF0-E9E2-364E-9793-DF62BACE2D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76380" y="596151"/>
            <a:ext cx="516294" cy="631026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0E5EEC2F-8885-4741-92AA-E21ECE47D5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940" y="484094"/>
            <a:ext cx="9894939" cy="1075323"/>
          </a:xfrm>
        </p:spPr>
        <p:txBody>
          <a:bodyPr anchor="b"/>
          <a:lstStyle/>
          <a:p>
            <a:r>
              <a:rPr lang="fi-FI"/>
              <a:t>Muokkaa perustyyl. napsautt.</a:t>
            </a:r>
            <a:endParaRPr lang="en-GB" dirty="0"/>
          </a:p>
        </p:txBody>
      </p:sp>
      <p:pic>
        <p:nvPicPr>
          <p:cNvPr id="11" name="Kuva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9409" y="6079993"/>
            <a:ext cx="1783265" cy="4990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663998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san ylätunnist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orakulmio 2">
            <a:extLst>
              <a:ext uri="{FF2B5EF4-FFF2-40B4-BE49-F238E27FC236}">
                <a16:creationId xmlns:a16="http://schemas.microsoft.com/office/drawing/2014/main" id="{DCD8BB72-B7B2-E8EB-24B6-FE4ECB31BE5A}"/>
              </a:ext>
            </a:extLst>
          </p:cNvPr>
          <p:cNvSpPr/>
          <p:nvPr userDrawn="1"/>
        </p:nvSpPr>
        <p:spPr>
          <a:xfrm>
            <a:off x="-1" y="4570190"/>
            <a:ext cx="12192001" cy="2287810"/>
          </a:xfrm>
          <a:prstGeom prst="rect">
            <a:avLst/>
          </a:prstGeom>
          <a:solidFill>
            <a:srgbClr val="F0EB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4" name="Free-form: Shape 28">
            <a:extLst>
              <a:ext uri="{FF2B5EF4-FFF2-40B4-BE49-F238E27FC236}">
                <a16:creationId xmlns:a16="http://schemas.microsoft.com/office/drawing/2014/main" id="{09403F87-9585-6CA0-7F3B-A0CDE2652619}"/>
              </a:ext>
            </a:extLst>
          </p:cNvPr>
          <p:cNvSpPr/>
          <p:nvPr userDrawn="1"/>
        </p:nvSpPr>
        <p:spPr>
          <a:xfrm>
            <a:off x="-122" y="0"/>
            <a:ext cx="12192122" cy="387240"/>
          </a:xfrm>
          <a:custGeom>
            <a:avLst/>
            <a:gdLst>
              <a:gd name="connsiteX0" fmla="*/ 0 w 12185437"/>
              <a:gd name="connsiteY0" fmla="*/ 0 h 380838"/>
              <a:gd name="connsiteX1" fmla="*/ 12185437 w 12185437"/>
              <a:gd name="connsiteY1" fmla="*/ 0 h 380838"/>
              <a:gd name="connsiteX2" fmla="*/ 12185437 w 12185437"/>
              <a:gd name="connsiteY2" fmla="*/ 380839 h 380838"/>
              <a:gd name="connsiteX3" fmla="*/ 0 w 12185437"/>
              <a:gd name="connsiteY3" fmla="*/ 380839 h 380838"/>
              <a:gd name="connsiteX4" fmla="*/ 0 w 12185437"/>
              <a:gd name="connsiteY4" fmla="*/ 0 h 380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85437" h="380838">
                <a:moveTo>
                  <a:pt x="0" y="0"/>
                </a:moveTo>
                <a:lnTo>
                  <a:pt x="12185437" y="0"/>
                </a:lnTo>
                <a:lnTo>
                  <a:pt x="12185437" y="380839"/>
                </a:lnTo>
                <a:lnTo>
                  <a:pt x="0" y="380839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36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5" name="Free-form: Shape 29">
            <a:extLst>
              <a:ext uri="{FF2B5EF4-FFF2-40B4-BE49-F238E27FC236}">
                <a16:creationId xmlns:a16="http://schemas.microsoft.com/office/drawing/2014/main" id="{B4E4D196-B8D5-48B6-626D-89C042D57B9C}"/>
              </a:ext>
            </a:extLst>
          </p:cNvPr>
          <p:cNvSpPr/>
          <p:nvPr userDrawn="1"/>
        </p:nvSpPr>
        <p:spPr>
          <a:xfrm>
            <a:off x="-122" y="768193"/>
            <a:ext cx="12192122" cy="380702"/>
          </a:xfrm>
          <a:custGeom>
            <a:avLst/>
            <a:gdLst>
              <a:gd name="connsiteX0" fmla="*/ 0 w 12185437"/>
              <a:gd name="connsiteY0" fmla="*/ 0 h 380702"/>
              <a:gd name="connsiteX1" fmla="*/ 12185437 w 12185437"/>
              <a:gd name="connsiteY1" fmla="*/ 0 h 380702"/>
              <a:gd name="connsiteX2" fmla="*/ 12185437 w 12185437"/>
              <a:gd name="connsiteY2" fmla="*/ 380703 h 380702"/>
              <a:gd name="connsiteX3" fmla="*/ 0 w 12185437"/>
              <a:gd name="connsiteY3" fmla="*/ 380703 h 380702"/>
              <a:gd name="connsiteX4" fmla="*/ 0 w 12185437"/>
              <a:gd name="connsiteY4" fmla="*/ 0 h 380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85437" h="380702">
                <a:moveTo>
                  <a:pt x="0" y="0"/>
                </a:moveTo>
                <a:lnTo>
                  <a:pt x="12185437" y="0"/>
                </a:lnTo>
                <a:lnTo>
                  <a:pt x="12185437" y="380703"/>
                </a:lnTo>
                <a:lnTo>
                  <a:pt x="0" y="380703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36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6" name="Free-form: Shape 30">
            <a:extLst>
              <a:ext uri="{FF2B5EF4-FFF2-40B4-BE49-F238E27FC236}">
                <a16:creationId xmlns:a16="http://schemas.microsoft.com/office/drawing/2014/main" id="{89FD2A67-C5A0-8597-A631-E79F1FDC2375}"/>
              </a:ext>
            </a:extLst>
          </p:cNvPr>
          <p:cNvSpPr/>
          <p:nvPr userDrawn="1"/>
        </p:nvSpPr>
        <p:spPr>
          <a:xfrm>
            <a:off x="-122" y="1529863"/>
            <a:ext cx="12192122" cy="380838"/>
          </a:xfrm>
          <a:custGeom>
            <a:avLst/>
            <a:gdLst>
              <a:gd name="connsiteX0" fmla="*/ 0 w 12185437"/>
              <a:gd name="connsiteY0" fmla="*/ 0 h 380838"/>
              <a:gd name="connsiteX1" fmla="*/ 12185437 w 12185437"/>
              <a:gd name="connsiteY1" fmla="*/ 0 h 380838"/>
              <a:gd name="connsiteX2" fmla="*/ 12185437 w 12185437"/>
              <a:gd name="connsiteY2" fmla="*/ 380839 h 380838"/>
              <a:gd name="connsiteX3" fmla="*/ 0 w 12185437"/>
              <a:gd name="connsiteY3" fmla="*/ 380839 h 380838"/>
              <a:gd name="connsiteX4" fmla="*/ 0 w 12185437"/>
              <a:gd name="connsiteY4" fmla="*/ 0 h 380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85437" h="380838">
                <a:moveTo>
                  <a:pt x="0" y="0"/>
                </a:moveTo>
                <a:lnTo>
                  <a:pt x="12185437" y="0"/>
                </a:lnTo>
                <a:lnTo>
                  <a:pt x="12185437" y="380839"/>
                </a:lnTo>
                <a:lnTo>
                  <a:pt x="0" y="380839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36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0" name="Free-form: Shape 31">
            <a:extLst>
              <a:ext uri="{FF2B5EF4-FFF2-40B4-BE49-F238E27FC236}">
                <a16:creationId xmlns:a16="http://schemas.microsoft.com/office/drawing/2014/main" id="{E7831AEF-0633-77AB-EA0E-DB68A5A08C6C}"/>
              </a:ext>
            </a:extLst>
          </p:cNvPr>
          <p:cNvSpPr/>
          <p:nvPr userDrawn="1"/>
        </p:nvSpPr>
        <p:spPr>
          <a:xfrm>
            <a:off x="-122" y="2291655"/>
            <a:ext cx="12192122" cy="380842"/>
          </a:xfrm>
          <a:custGeom>
            <a:avLst/>
            <a:gdLst>
              <a:gd name="connsiteX0" fmla="*/ 0 w 12185437"/>
              <a:gd name="connsiteY0" fmla="*/ 0 h 380842"/>
              <a:gd name="connsiteX1" fmla="*/ 12185437 w 12185437"/>
              <a:gd name="connsiteY1" fmla="*/ 0 h 380842"/>
              <a:gd name="connsiteX2" fmla="*/ 12185437 w 12185437"/>
              <a:gd name="connsiteY2" fmla="*/ 380842 h 380842"/>
              <a:gd name="connsiteX3" fmla="*/ 0 w 12185437"/>
              <a:gd name="connsiteY3" fmla="*/ 380842 h 380842"/>
              <a:gd name="connsiteX4" fmla="*/ 0 w 12185437"/>
              <a:gd name="connsiteY4" fmla="*/ 0 h 380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85437" h="380842">
                <a:moveTo>
                  <a:pt x="0" y="0"/>
                </a:moveTo>
                <a:lnTo>
                  <a:pt x="12185437" y="0"/>
                </a:lnTo>
                <a:lnTo>
                  <a:pt x="12185437" y="380842"/>
                </a:lnTo>
                <a:lnTo>
                  <a:pt x="0" y="380842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36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1" name="Free-form: Shape 32">
            <a:extLst>
              <a:ext uri="{FF2B5EF4-FFF2-40B4-BE49-F238E27FC236}">
                <a16:creationId xmlns:a16="http://schemas.microsoft.com/office/drawing/2014/main" id="{20B1B5C3-36C4-6C96-F052-EC7C50FC54AC}"/>
              </a:ext>
            </a:extLst>
          </p:cNvPr>
          <p:cNvSpPr/>
          <p:nvPr userDrawn="1"/>
        </p:nvSpPr>
        <p:spPr>
          <a:xfrm>
            <a:off x="-122" y="3053449"/>
            <a:ext cx="12192122" cy="380702"/>
          </a:xfrm>
          <a:custGeom>
            <a:avLst/>
            <a:gdLst>
              <a:gd name="connsiteX0" fmla="*/ 0 w 12185437"/>
              <a:gd name="connsiteY0" fmla="*/ 0 h 380702"/>
              <a:gd name="connsiteX1" fmla="*/ 12185437 w 12185437"/>
              <a:gd name="connsiteY1" fmla="*/ 0 h 380702"/>
              <a:gd name="connsiteX2" fmla="*/ 12185437 w 12185437"/>
              <a:gd name="connsiteY2" fmla="*/ 380703 h 380702"/>
              <a:gd name="connsiteX3" fmla="*/ 0 w 12185437"/>
              <a:gd name="connsiteY3" fmla="*/ 380703 h 380702"/>
              <a:gd name="connsiteX4" fmla="*/ 0 w 12185437"/>
              <a:gd name="connsiteY4" fmla="*/ 0 h 380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85437" h="380702">
                <a:moveTo>
                  <a:pt x="0" y="0"/>
                </a:moveTo>
                <a:lnTo>
                  <a:pt x="12185437" y="0"/>
                </a:lnTo>
                <a:lnTo>
                  <a:pt x="12185437" y="380703"/>
                </a:lnTo>
                <a:lnTo>
                  <a:pt x="0" y="380703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36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2" name="Free-form: Shape 33">
            <a:extLst>
              <a:ext uri="{FF2B5EF4-FFF2-40B4-BE49-F238E27FC236}">
                <a16:creationId xmlns:a16="http://schemas.microsoft.com/office/drawing/2014/main" id="{1D2A1DAB-145A-5F7B-9954-6987015EB4B4}"/>
              </a:ext>
            </a:extLst>
          </p:cNvPr>
          <p:cNvSpPr/>
          <p:nvPr userDrawn="1"/>
        </p:nvSpPr>
        <p:spPr>
          <a:xfrm>
            <a:off x="-122" y="3815119"/>
            <a:ext cx="12192122" cy="380838"/>
          </a:xfrm>
          <a:custGeom>
            <a:avLst/>
            <a:gdLst>
              <a:gd name="connsiteX0" fmla="*/ 0 w 12185437"/>
              <a:gd name="connsiteY0" fmla="*/ 0 h 380838"/>
              <a:gd name="connsiteX1" fmla="*/ 12185437 w 12185437"/>
              <a:gd name="connsiteY1" fmla="*/ 0 h 380838"/>
              <a:gd name="connsiteX2" fmla="*/ 12185437 w 12185437"/>
              <a:gd name="connsiteY2" fmla="*/ 380839 h 380838"/>
              <a:gd name="connsiteX3" fmla="*/ 0 w 12185437"/>
              <a:gd name="connsiteY3" fmla="*/ 380839 h 380838"/>
              <a:gd name="connsiteX4" fmla="*/ 0 w 12185437"/>
              <a:gd name="connsiteY4" fmla="*/ 0 h 380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85437" h="380838">
                <a:moveTo>
                  <a:pt x="0" y="0"/>
                </a:moveTo>
                <a:lnTo>
                  <a:pt x="12185437" y="0"/>
                </a:lnTo>
                <a:lnTo>
                  <a:pt x="12185437" y="380839"/>
                </a:lnTo>
                <a:lnTo>
                  <a:pt x="0" y="380839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36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FA2F872-5FC5-D94D-9E89-698A2F01408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39507" y="5596332"/>
            <a:ext cx="2090175" cy="703499"/>
          </a:xfrm>
          <a:prstGeom prst="rect">
            <a:avLst/>
          </a:prstGeom>
        </p:spPr>
      </p:pic>
      <p:pic>
        <p:nvPicPr>
          <p:cNvPr id="13" name="Kuva 12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589" y="5596332"/>
            <a:ext cx="2513704" cy="703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525624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7C8C091-C242-4851-9826-ECBA43530F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19.5.2021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5B64547-60FB-4F82-B034-DC7F10F48F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etra Kokko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7519037-54EE-46F6-8610-A2A8D9E613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160B98-140E-4345-B1A3-2A7247C42973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517075951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Pää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0" name="Group 59"/>
          <p:cNvGrpSpPr/>
          <p:nvPr userDrawn="1"/>
        </p:nvGrpSpPr>
        <p:grpSpPr>
          <a:xfrm>
            <a:off x="-3691" y="0"/>
            <a:ext cx="12195691" cy="6858003"/>
            <a:chOff x="-2768" y="0"/>
            <a:chExt cx="9146768" cy="5143502"/>
          </a:xfrm>
        </p:grpSpPr>
        <p:sp>
          <p:nvSpPr>
            <p:cNvPr id="58" name="Rectangle 57"/>
            <p:cNvSpPr/>
            <p:nvPr userDrawn="1"/>
          </p:nvSpPr>
          <p:spPr>
            <a:xfrm>
              <a:off x="-2768" y="0"/>
              <a:ext cx="9146768" cy="51435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i-FI" sz="2400"/>
            </a:p>
          </p:txBody>
        </p:sp>
        <p:sp>
          <p:nvSpPr>
            <p:cNvPr id="51" name="Freeform 5"/>
            <p:cNvSpPr>
              <a:spLocks/>
            </p:cNvSpPr>
            <p:nvPr userDrawn="1"/>
          </p:nvSpPr>
          <p:spPr bwMode="auto">
            <a:xfrm>
              <a:off x="6715127" y="3640139"/>
              <a:ext cx="2424113" cy="1503363"/>
            </a:xfrm>
            <a:custGeom>
              <a:avLst/>
              <a:gdLst>
                <a:gd name="T0" fmla="*/ 1527 w 1527"/>
                <a:gd name="T1" fmla="*/ 947 h 947"/>
                <a:gd name="T2" fmla="*/ 1527 w 1527"/>
                <a:gd name="T3" fmla="*/ 491 h 947"/>
                <a:gd name="T4" fmla="*/ 1527 w 1527"/>
                <a:gd name="T5" fmla="*/ 491 h 947"/>
                <a:gd name="T6" fmla="*/ 1291 w 1527"/>
                <a:gd name="T7" fmla="*/ 382 h 947"/>
                <a:gd name="T8" fmla="*/ 1175 w 1527"/>
                <a:gd name="T9" fmla="*/ 327 h 947"/>
                <a:gd name="T10" fmla="*/ 1118 w 1527"/>
                <a:gd name="T11" fmla="*/ 299 h 947"/>
                <a:gd name="T12" fmla="*/ 1060 w 1527"/>
                <a:gd name="T13" fmla="*/ 270 h 947"/>
                <a:gd name="T14" fmla="*/ 1003 w 1527"/>
                <a:gd name="T15" fmla="*/ 241 h 947"/>
                <a:gd name="T16" fmla="*/ 946 w 1527"/>
                <a:gd name="T17" fmla="*/ 210 h 947"/>
                <a:gd name="T18" fmla="*/ 889 w 1527"/>
                <a:gd name="T19" fmla="*/ 179 h 947"/>
                <a:gd name="T20" fmla="*/ 833 w 1527"/>
                <a:gd name="T21" fmla="*/ 146 h 947"/>
                <a:gd name="T22" fmla="*/ 777 w 1527"/>
                <a:gd name="T23" fmla="*/ 111 h 947"/>
                <a:gd name="T24" fmla="*/ 722 w 1527"/>
                <a:gd name="T25" fmla="*/ 76 h 947"/>
                <a:gd name="T26" fmla="*/ 667 w 1527"/>
                <a:gd name="T27" fmla="*/ 39 h 947"/>
                <a:gd name="T28" fmla="*/ 612 w 1527"/>
                <a:gd name="T29" fmla="*/ 0 h 947"/>
                <a:gd name="T30" fmla="*/ 612 w 1527"/>
                <a:gd name="T31" fmla="*/ 0 h 947"/>
                <a:gd name="T32" fmla="*/ 569 w 1527"/>
                <a:gd name="T33" fmla="*/ 70 h 947"/>
                <a:gd name="T34" fmla="*/ 527 w 1527"/>
                <a:gd name="T35" fmla="*/ 137 h 947"/>
                <a:gd name="T36" fmla="*/ 486 w 1527"/>
                <a:gd name="T37" fmla="*/ 202 h 947"/>
                <a:gd name="T38" fmla="*/ 444 w 1527"/>
                <a:gd name="T39" fmla="*/ 265 h 947"/>
                <a:gd name="T40" fmla="*/ 363 w 1527"/>
                <a:gd name="T41" fmla="*/ 386 h 947"/>
                <a:gd name="T42" fmla="*/ 283 w 1527"/>
                <a:gd name="T43" fmla="*/ 502 h 947"/>
                <a:gd name="T44" fmla="*/ 207 w 1527"/>
                <a:gd name="T45" fmla="*/ 614 h 947"/>
                <a:gd name="T46" fmla="*/ 170 w 1527"/>
                <a:gd name="T47" fmla="*/ 669 h 947"/>
                <a:gd name="T48" fmla="*/ 134 w 1527"/>
                <a:gd name="T49" fmla="*/ 724 h 947"/>
                <a:gd name="T50" fmla="*/ 99 w 1527"/>
                <a:gd name="T51" fmla="*/ 779 h 947"/>
                <a:gd name="T52" fmla="*/ 65 w 1527"/>
                <a:gd name="T53" fmla="*/ 835 h 947"/>
                <a:gd name="T54" fmla="*/ 32 w 1527"/>
                <a:gd name="T55" fmla="*/ 890 h 947"/>
                <a:gd name="T56" fmla="*/ 0 w 1527"/>
                <a:gd name="T57" fmla="*/ 947 h 947"/>
                <a:gd name="T58" fmla="*/ 1527 w 1527"/>
                <a:gd name="T59" fmla="*/ 947 h 9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27" h="947">
                  <a:moveTo>
                    <a:pt x="1527" y="947"/>
                  </a:moveTo>
                  <a:lnTo>
                    <a:pt x="1527" y="491"/>
                  </a:lnTo>
                  <a:lnTo>
                    <a:pt x="1527" y="491"/>
                  </a:lnTo>
                  <a:lnTo>
                    <a:pt x="1291" y="382"/>
                  </a:lnTo>
                  <a:lnTo>
                    <a:pt x="1175" y="327"/>
                  </a:lnTo>
                  <a:lnTo>
                    <a:pt x="1118" y="299"/>
                  </a:lnTo>
                  <a:lnTo>
                    <a:pt x="1060" y="270"/>
                  </a:lnTo>
                  <a:lnTo>
                    <a:pt x="1003" y="241"/>
                  </a:lnTo>
                  <a:lnTo>
                    <a:pt x="946" y="210"/>
                  </a:lnTo>
                  <a:lnTo>
                    <a:pt x="889" y="179"/>
                  </a:lnTo>
                  <a:lnTo>
                    <a:pt x="833" y="146"/>
                  </a:lnTo>
                  <a:lnTo>
                    <a:pt x="777" y="111"/>
                  </a:lnTo>
                  <a:lnTo>
                    <a:pt x="722" y="76"/>
                  </a:lnTo>
                  <a:lnTo>
                    <a:pt x="667" y="39"/>
                  </a:lnTo>
                  <a:lnTo>
                    <a:pt x="612" y="0"/>
                  </a:lnTo>
                  <a:lnTo>
                    <a:pt x="612" y="0"/>
                  </a:lnTo>
                  <a:lnTo>
                    <a:pt x="569" y="70"/>
                  </a:lnTo>
                  <a:lnTo>
                    <a:pt x="527" y="137"/>
                  </a:lnTo>
                  <a:lnTo>
                    <a:pt x="486" y="202"/>
                  </a:lnTo>
                  <a:lnTo>
                    <a:pt x="444" y="265"/>
                  </a:lnTo>
                  <a:lnTo>
                    <a:pt x="363" y="386"/>
                  </a:lnTo>
                  <a:lnTo>
                    <a:pt x="283" y="502"/>
                  </a:lnTo>
                  <a:lnTo>
                    <a:pt x="207" y="614"/>
                  </a:lnTo>
                  <a:lnTo>
                    <a:pt x="170" y="669"/>
                  </a:lnTo>
                  <a:lnTo>
                    <a:pt x="134" y="724"/>
                  </a:lnTo>
                  <a:lnTo>
                    <a:pt x="99" y="779"/>
                  </a:lnTo>
                  <a:lnTo>
                    <a:pt x="65" y="835"/>
                  </a:lnTo>
                  <a:lnTo>
                    <a:pt x="32" y="890"/>
                  </a:lnTo>
                  <a:lnTo>
                    <a:pt x="0" y="947"/>
                  </a:lnTo>
                  <a:lnTo>
                    <a:pt x="1527" y="947"/>
                  </a:lnTo>
                  <a:close/>
                </a:path>
              </a:pathLst>
            </a:custGeom>
            <a:solidFill>
              <a:srgbClr val="7991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52" name="Freeform 6"/>
            <p:cNvSpPr>
              <a:spLocks/>
            </p:cNvSpPr>
            <p:nvPr userDrawn="1"/>
          </p:nvSpPr>
          <p:spPr bwMode="auto">
            <a:xfrm>
              <a:off x="7686677" y="2641601"/>
              <a:ext cx="1452563" cy="1671638"/>
            </a:xfrm>
            <a:custGeom>
              <a:avLst/>
              <a:gdLst>
                <a:gd name="T0" fmla="*/ 915 w 915"/>
                <a:gd name="T1" fmla="*/ 0 h 1053"/>
                <a:gd name="T2" fmla="*/ 915 w 915"/>
                <a:gd name="T3" fmla="*/ 0 h 1053"/>
                <a:gd name="T4" fmla="*/ 854 w 915"/>
                <a:gd name="T5" fmla="*/ 29 h 1053"/>
                <a:gd name="T6" fmla="*/ 795 w 915"/>
                <a:gd name="T7" fmla="*/ 62 h 1053"/>
                <a:gd name="T8" fmla="*/ 735 w 915"/>
                <a:gd name="T9" fmla="*/ 97 h 1053"/>
                <a:gd name="T10" fmla="*/ 675 w 915"/>
                <a:gd name="T11" fmla="*/ 133 h 1053"/>
                <a:gd name="T12" fmla="*/ 617 w 915"/>
                <a:gd name="T13" fmla="*/ 171 h 1053"/>
                <a:gd name="T14" fmla="*/ 559 w 915"/>
                <a:gd name="T15" fmla="*/ 210 h 1053"/>
                <a:gd name="T16" fmla="*/ 500 w 915"/>
                <a:gd name="T17" fmla="*/ 251 h 1053"/>
                <a:gd name="T18" fmla="*/ 443 w 915"/>
                <a:gd name="T19" fmla="*/ 294 h 1053"/>
                <a:gd name="T20" fmla="*/ 329 w 915"/>
                <a:gd name="T21" fmla="*/ 378 h 1053"/>
                <a:gd name="T22" fmla="*/ 218 w 915"/>
                <a:gd name="T23" fmla="*/ 465 h 1053"/>
                <a:gd name="T24" fmla="*/ 108 w 915"/>
                <a:gd name="T25" fmla="*/ 549 h 1053"/>
                <a:gd name="T26" fmla="*/ 53 w 915"/>
                <a:gd name="T27" fmla="*/ 589 h 1053"/>
                <a:gd name="T28" fmla="*/ 0 w 915"/>
                <a:gd name="T29" fmla="*/ 629 h 1053"/>
                <a:gd name="T30" fmla="*/ 0 w 915"/>
                <a:gd name="T31" fmla="*/ 629 h 1053"/>
                <a:gd name="T32" fmla="*/ 0 w 915"/>
                <a:gd name="T33" fmla="*/ 629 h 1053"/>
                <a:gd name="T34" fmla="*/ 53 w 915"/>
                <a:gd name="T35" fmla="*/ 667 h 1053"/>
                <a:gd name="T36" fmla="*/ 107 w 915"/>
                <a:gd name="T37" fmla="*/ 704 h 1053"/>
                <a:gd name="T38" fmla="*/ 161 w 915"/>
                <a:gd name="T39" fmla="*/ 739 h 1053"/>
                <a:gd name="T40" fmla="*/ 216 w 915"/>
                <a:gd name="T41" fmla="*/ 774 h 1053"/>
                <a:gd name="T42" fmla="*/ 272 w 915"/>
                <a:gd name="T43" fmla="*/ 808 h 1053"/>
                <a:gd name="T44" fmla="*/ 328 w 915"/>
                <a:gd name="T45" fmla="*/ 839 h 1053"/>
                <a:gd name="T46" fmla="*/ 384 w 915"/>
                <a:gd name="T47" fmla="*/ 870 h 1053"/>
                <a:gd name="T48" fmla="*/ 442 w 915"/>
                <a:gd name="T49" fmla="*/ 899 h 1053"/>
                <a:gd name="T50" fmla="*/ 500 w 915"/>
                <a:gd name="T51" fmla="*/ 926 h 1053"/>
                <a:gd name="T52" fmla="*/ 559 w 915"/>
                <a:gd name="T53" fmla="*/ 951 h 1053"/>
                <a:gd name="T54" fmla="*/ 617 w 915"/>
                <a:gd name="T55" fmla="*/ 973 h 1053"/>
                <a:gd name="T56" fmla="*/ 675 w 915"/>
                <a:gd name="T57" fmla="*/ 994 h 1053"/>
                <a:gd name="T58" fmla="*/ 735 w 915"/>
                <a:gd name="T59" fmla="*/ 1012 h 1053"/>
                <a:gd name="T60" fmla="*/ 795 w 915"/>
                <a:gd name="T61" fmla="*/ 1028 h 1053"/>
                <a:gd name="T62" fmla="*/ 854 w 915"/>
                <a:gd name="T63" fmla="*/ 1042 h 1053"/>
                <a:gd name="T64" fmla="*/ 885 w 915"/>
                <a:gd name="T65" fmla="*/ 1048 h 1053"/>
                <a:gd name="T66" fmla="*/ 915 w 915"/>
                <a:gd name="T67" fmla="*/ 1053 h 1053"/>
                <a:gd name="T68" fmla="*/ 915 w 915"/>
                <a:gd name="T69" fmla="*/ 0 h 10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915" h="1053">
                  <a:moveTo>
                    <a:pt x="915" y="0"/>
                  </a:moveTo>
                  <a:lnTo>
                    <a:pt x="915" y="0"/>
                  </a:lnTo>
                  <a:lnTo>
                    <a:pt x="854" y="29"/>
                  </a:lnTo>
                  <a:lnTo>
                    <a:pt x="795" y="62"/>
                  </a:lnTo>
                  <a:lnTo>
                    <a:pt x="735" y="97"/>
                  </a:lnTo>
                  <a:lnTo>
                    <a:pt x="675" y="133"/>
                  </a:lnTo>
                  <a:lnTo>
                    <a:pt x="617" y="171"/>
                  </a:lnTo>
                  <a:lnTo>
                    <a:pt x="559" y="210"/>
                  </a:lnTo>
                  <a:lnTo>
                    <a:pt x="500" y="251"/>
                  </a:lnTo>
                  <a:lnTo>
                    <a:pt x="443" y="294"/>
                  </a:lnTo>
                  <a:lnTo>
                    <a:pt x="329" y="378"/>
                  </a:lnTo>
                  <a:lnTo>
                    <a:pt x="218" y="465"/>
                  </a:lnTo>
                  <a:lnTo>
                    <a:pt x="108" y="549"/>
                  </a:lnTo>
                  <a:lnTo>
                    <a:pt x="53" y="589"/>
                  </a:lnTo>
                  <a:lnTo>
                    <a:pt x="0" y="629"/>
                  </a:lnTo>
                  <a:lnTo>
                    <a:pt x="0" y="629"/>
                  </a:lnTo>
                  <a:lnTo>
                    <a:pt x="0" y="629"/>
                  </a:lnTo>
                  <a:lnTo>
                    <a:pt x="53" y="667"/>
                  </a:lnTo>
                  <a:lnTo>
                    <a:pt x="107" y="704"/>
                  </a:lnTo>
                  <a:lnTo>
                    <a:pt x="161" y="739"/>
                  </a:lnTo>
                  <a:lnTo>
                    <a:pt x="216" y="774"/>
                  </a:lnTo>
                  <a:lnTo>
                    <a:pt x="272" y="808"/>
                  </a:lnTo>
                  <a:lnTo>
                    <a:pt x="328" y="839"/>
                  </a:lnTo>
                  <a:lnTo>
                    <a:pt x="384" y="870"/>
                  </a:lnTo>
                  <a:lnTo>
                    <a:pt x="442" y="899"/>
                  </a:lnTo>
                  <a:lnTo>
                    <a:pt x="500" y="926"/>
                  </a:lnTo>
                  <a:lnTo>
                    <a:pt x="559" y="951"/>
                  </a:lnTo>
                  <a:lnTo>
                    <a:pt x="617" y="973"/>
                  </a:lnTo>
                  <a:lnTo>
                    <a:pt x="675" y="994"/>
                  </a:lnTo>
                  <a:lnTo>
                    <a:pt x="735" y="1012"/>
                  </a:lnTo>
                  <a:lnTo>
                    <a:pt x="795" y="1028"/>
                  </a:lnTo>
                  <a:lnTo>
                    <a:pt x="854" y="1042"/>
                  </a:lnTo>
                  <a:lnTo>
                    <a:pt x="885" y="1048"/>
                  </a:lnTo>
                  <a:lnTo>
                    <a:pt x="915" y="1053"/>
                  </a:lnTo>
                  <a:lnTo>
                    <a:pt x="915" y="0"/>
                  </a:lnTo>
                  <a:close/>
                </a:path>
              </a:pathLst>
            </a:custGeom>
            <a:solidFill>
              <a:srgbClr val="9BAD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53" name="Freeform 7"/>
            <p:cNvSpPr>
              <a:spLocks/>
            </p:cNvSpPr>
            <p:nvPr userDrawn="1"/>
          </p:nvSpPr>
          <p:spPr bwMode="auto">
            <a:xfrm>
              <a:off x="5970589" y="0"/>
              <a:ext cx="2543176" cy="3640139"/>
            </a:xfrm>
            <a:custGeom>
              <a:avLst/>
              <a:gdLst>
                <a:gd name="T0" fmla="*/ 46 w 1602"/>
                <a:gd name="T1" fmla="*/ 0 h 2293"/>
                <a:gd name="T2" fmla="*/ 27 w 1602"/>
                <a:gd name="T3" fmla="*/ 79 h 2293"/>
                <a:gd name="T4" fmla="*/ 13 w 1602"/>
                <a:gd name="T5" fmla="*/ 158 h 2293"/>
                <a:gd name="T6" fmla="*/ 5 w 1602"/>
                <a:gd name="T7" fmla="*/ 236 h 2293"/>
                <a:gd name="T8" fmla="*/ 0 w 1602"/>
                <a:gd name="T9" fmla="*/ 315 h 2293"/>
                <a:gd name="T10" fmla="*/ 1 w 1602"/>
                <a:gd name="T11" fmla="*/ 394 h 2293"/>
                <a:gd name="T12" fmla="*/ 7 w 1602"/>
                <a:gd name="T13" fmla="*/ 473 h 2293"/>
                <a:gd name="T14" fmla="*/ 16 w 1602"/>
                <a:gd name="T15" fmla="*/ 551 h 2293"/>
                <a:gd name="T16" fmla="*/ 27 w 1602"/>
                <a:gd name="T17" fmla="*/ 630 h 2293"/>
                <a:gd name="T18" fmla="*/ 43 w 1602"/>
                <a:gd name="T19" fmla="*/ 708 h 2293"/>
                <a:gd name="T20" fmla="*/ 80 w 1602"/>
                <a:gd name="T21" fmla="*/ 862 h 2293"/>
                <a:gd name="T22" fmla="*/ 124 w 1602"/>
                <a:gd name="T23" fmla="*/ 1014 h 2293"/>
                <a:gd name="T24" fmla="*/ 195 w 1602"/>
                <a:gd name="T25" fmla="*/ 1236 h 2293"/>
                <a:gd name="T26" fmla="*/ 209 w 1602"/>
                <a:gd name="T27" fmla="*/ 1277 h 2293"/>
                <a:gd name="T28" fmla="*/ 242 w 1602"/>
                <a:gd name="T29" fmla="*/ 1358 h 2293"/>
                <a:gd name="T30" fmla="*/ 279 w 1602"/>
                <a:gd name="T31" fmla="*/ 1437 h 2293"/>
                <a:gd name="T32" fmla="*/ 322 w 1602"/>
                <a:gd name="T33" fmla="*/ 1514 h 2293"/>
                <a:gd name="T34" fmla="*/ 369 w 1602"/>
                <a:gd name="T35" fmla="*/ 1590 h 2293"/>
                <a:gd name="T36" fmla="*/ 420 w 1602"/>
                <a:gd name="T37" fmla="*/ 1662 h 2293"/>
                <a:gd name="T38" fmla="*/ 474 w 1602"/>
                <a:gd name="T39" fmla="*/ 1733 h 2293"/>
                <a:gd name="T40" fmla="*/ 531 w 1602"/>
                <a:gd name="T41" fmla="*/ 1801 h 2293"/>
                <a:gd name="T42" fmla="*/ 590 w 1602"/>
                <a:gd name="T43" fmla="*/ 1869 h 2293"/>
                <a:gd name="T44" fmla="*/ 652 w 1602"/>
                <a:gd name="T45" fmla="*/ 1933 h 2293"/>
                <a:gd name="T46" fmla="*/ 749 w 1602"/>
                <a:gd name="T47" fmla="*/ 2025 h 2293"/>
                <a:gd name="T48" fmla="*/ 881 w 1602"/>
                <a:gd name="T49" fmla="*/ 2139 h 2293"/>
                <a:gd name="T50" fmla="*/ 1014 w 1602"/>
                <a:gd name="T51" fmla="*/ 2244 h 2293"/>
                <a:gd name="T52" fmla="*/ 1081 w 1602"/>
                <a:gd name="T53" fmla="*/ 2293 h 2293"/>
                <a:gd name="T54" fmla="*/ 1107 w 1602"/>
                <a:gd name="T55" fmla="*/ 2266 h 2293"/>
                <a:gd name="T56" fmla="*/ 1157 w 1602"/>
                <a:gd name="T57" fmla="*/ 2210 h 2293"/>
                <a:gd name="T58" fmla="*/ 1206 w 1602"/>
                <a:gd name="T59" fmla="*/ 2151 h 2293"/>
                <a:gd name="T60" fmla="*/ 1249 w 1602"/>
                <a:gd name="T61" fmla="*/ 2090 h 2293"/>
                <a:gd name="T62" fmla="*/ 1290 w 1602"/>
                <a:gd name="T63" fmla="*/ 2027 h 2293"/>
                <a:gd name="T64" fmla="*/ 1328 w 1602"/>
                <a:gd name="T65" fmla="*/ 1963 h 2293"/>
                <a:gd name="T66" fmla="*/ 1363 w 1602"/>
                <a:gd name="T67" fmla="*/ 1898 h 2293"/>
                <a:gd name="T68" fmla="*/ 1396 w 1602"/>
                <a:gd name="T69" fmla="*/ 1830 h 2293"/>
                <a:gd name="T70" fmla="*/ 1425 w 1602"/>
                <a:gd name="T71" fmla="*/ 1762 h 2293"/>
                <a:gd name="T72" fmla="*/ 1452 w 1602"/>
                <a:gd name="T73" fmla="*/ 1692 h 2293"/>
                <a:gd name="T74" fmla="*/ 1475 w 1602"/>
                <a:gd name="T75" fmla="*/ 1620 h 2293"/>
                <a:gd name="T76" fmla="*/ 1508 w 1602"/>
                <a:gd name="T77" fmla="*/ 1511 h 2293"/>
                <a:gd name="T78" fmla="*/ 1542 w 1602"/>
                <a:gd name="T79" fmla="*/ 1362 h 2293"/>
                <a:gd name="T80" fmla="*/ 1568 w 1602"/>
                <a:gd name="T81" fmla="*/ 1211 h 2293"/>
                <a:gd name="T82" fmla="*/ 1586 w 1602"/>
                <a:gd name="T83" fmla="*/ 1058 h 2293"/>
                <a:gd name="T84" fmla="*/ 1597 w 1602"/>
                <a:gd name="T85" fmla="*/ 902 h 2293"/>
                <a:gd name="T86" fmla="*/ 1602 w 1602"/>
                <a:gd name="T87" fmla="*/ 747 h 2293"/>
                <a:gd name="T88" fmla="*/ 1601 w 1602"/>
                <a:gd name="T89" fmla="*/ 593 h 2293"/>
                <a:gd name="T90" fmla="*/ 1597 w 1602"/>
                <a:gd name="T91" fmla="*/ 440 h 2293"/>
                <a:gd name="T92" fmla="*/ 1588 w 1602"/>
                <a:gd name="T93" fmla="*/ 290 h 2293"/>
                <a:gd name="T94" fmla="*/ 1577 w 1602"/>
                <a:gd name="T95" fmla="*/ 143 h 2293"/>
                <a:gd name="T96" fmla="*/ 46 w 1602"/>
                <a:gd name="T97" fmla="*/ 0 h 2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02" h="2293">
                  <a:moveTo>
                    <a:pt x="46" y="0"/>
                  </a:moveTo>
                  <a:lnTo>
                    <a:pt x="46" y="0"/>
                  </a:lnTo>
                  <a:lnTo>
                    <a:pt x="36" y="39"/>
                  </a:lnTo>
                  <a:lnTo>
                    <a:pt x="27" y="79"/>
                  </a:lnTo>
                  <a:lnTo>
                    <a:pt x="19" y="118"/>
                  </a:lnTo>
                  <a:lnTo>
                    <a:pt x="13" y="158"/>
                  </a:lnTo>
                  <a:lnTo>
                    <a:pt x="8" y="197"/>
                  </a:lnTo>
                  <a:lnTo>
                    <a:pt x="5" y="236"/>
                  </a:lnTo>
                  <a:lnTo>
                    <a:pt x="2" y="276"/>
                  </a:lnTo>
                  <a:lnTo>
                    <a:pt x="0" y="315"/>
                  </a:lnTo>
                  <a:lnTo>
                    <a:pt x="0" y="354"/>
                  </a:lnTo>
                  <a:lnTo>
                    <a:pt x="1" y="394"/>
                  </a:lnTo>
                  <a:lnTo>
                    <a:pt x="4" y="433"/>
                  </a:lnTo>
                  <a:lnTo>
                    <a:pt x="7" y="473"/>
                  </a:lnTo>
                  <a:lnTo>
                    <a:pt x="10" y="512"/>
                  </a:lnTo>
                  <a:lnTo>
                    <a:pt x="16" y="551"/>
                  </a:lnTo>
                  <a:lnTo>
                    <a:pt x="22" y="591"/>
                  </a:lnTo>
                  <a:lnTo>
                    <a:pt x="27" y="630"/>
                  </a:lnTo>
                  <a:lnTo>
                    <a:pt x="35" y="668"/>
                  </a:lnTo>
                  <a:lnTo>
                    <a:pt x="43" y="708"/>
                  </a:lnTo>
                  <a:lnTo>
                    <a:pt x="60" y="785"/>
                  </a:lnTo>
                  <a:lnTo>
                    <a:pt x="80" y="862"/>
                  </a:lnTo>
                  <a:lnTo>
                    <a:pt x="101" y="938"/>
                  </a:lnTo>
                  <a:lnTo>
                    <a:pt x="124" y="1014"/>
                  </a:lnTo>
                  <a:lnTo>
                    <a:pt x="147" y="1089"/>
                  </a:lnTo>
                  <a:lnTo>
                    <a:pt x="195" y="1236"/>
                  </a:lnTo>
                  <a:lnTo>
                    <a:pt x="195" y="1236"/>
                  </a:lnTo>
                  <a:lnTo>
                    <a:pt x="209" y="1277"/>
                  </a:lnTo>
                  <a:lnTo>
                    <a:pt x="224" y="1319"/>
                  </a:lnTo>
                  <a:lnTo>
                    <a:pt x="242" y="1358"/>
                  </a:lnTo>
                  <a:lnTo>
                    <a:pt x="260" y="1398"/>
                  </a:lnTo>
                  <a:lnTo>
                    <a:pt x="279" y="1437"/>
                  </a:lnTo>
                  <a:lnTo>
                    <a:pt x="299" y="1476"/>
                  </a:lnTo>
                  <a:lnTo>
                    <a:pt x="322" y="1514"/>
                  </a:lnTo>
                  <a:lnTo>
                    <a:pt x="344" y="1551"/>
                  </a:lnTo>
                  <a:lnTo>
                    <a:pt x="369" y="1590"/>
                  </a:lnTo>
                  <a:lnTo>
                    <a:pt x="394" y="1626"/>
                  </a:lnTo>
                  <a:lnTo>
                    <a:pt x="420" y="1662"/>
                  </a:lnTo>
                  <a:lnTo>
                    <a:pt x="445" y="1698"/>
                  </a:lnTo>
                  <a:lnTo>
                    <a:pt x="474" y="1733"/>
                  </a:lnTo>
                  <a:lnTo>
                    <a:pt x="502" y="1767"/>
                  </a:lnTo>
                  <a:lnTo>
                    <a:pt x="531" y="1801"/>
                  </a:lnTo>
                  <a:lnTo>
                    <a:pt x="560" y="1835"/>
                  </a:lnTo>
                  <a:lnTo>
                    <a:pt x="590" y="1869"/>
                  </a:lnTo>
                  <a:lnTo>
                    <a:pt x="621" y="1900"/>
                  </a:lnTo>
                  <a:lnTo>
                    <a:pt x="652" y="1933"/>
                  </a:lnTo>
                  <a:lnTo>
                    <a:pt x="685" y="1963"/>
                  </a:lnTo>
                  <a:lnTo>
                    <a:pt x="749" y="2025"/>
                  </a:lnTo>
                  <a:lnTo>
                    <a:pt x="814" y="2084"/>
                  </a:lnTo>
                  <a:lnTo>
                    <a:pt x="881" y="2139"/>
                  </a:lnTo>
                  <a:lnTo>
                    <a:pt x="948" y="2193"/>
                  </a:lnTo>
                  <a:lnTo>
                    <a:pt x="1014" y="2244"/>
                  </a:lnTo>
                  <a:lnTo>
                    <a:pt x="1081" y="2293"/>
                  </a:lnTo>
                  <a:lnTo>
                    <a:pt x="1081" y="2293"/>
                  </a:lnTo>
                  <a:lnTo>
                    <a:pt x="1081" y="2293"/>
                  </a:lnTo>
                  <a:lnTo>
                    <a:pt x="1107" y="2266"/>
                  </a:lnTo>
                  <a:lnTo>
                    <a:pt x="1132" y="2238"/>
                  </a:lnTo>
                  <a:lnTo>
                    <a:pt x="1157" y="2210"/>
                  </a:lnTo>
                  <a:lnTo>
                    <a:pt x="1182" y="2180"/>
                  </a:lnTo>
                  <a:lnTo>
                    <a:pt x="1206" y="2151"/>
                  </a:lnTo>
                  <a:lnTo>
                    <a:pt x="1228" y="2121"/>
                  </a:lnTo>
                  <a:lnTo>
                    <a:pt x="1249" y="2090"/>
                  </a:lnTo>
                  <a:lnTo>
                    <a:pt x="1270" y="2059"/>
                  </a:lnTo>
                  <a:lnTo>
                    <a:pt x="1290" y="2027"/>
                  </a:lnTo>
                  <a:lnTo>
                    <a:pt x="1310" y="1996"/>
                  </a:lnTo>
                  <a:lnTo>
                    <a:pt x="1328" y="1963"/>
                  </a:lnTo>
                  <a:lnTo>
                    <a:pt x="1346" y="1931"/>
                  </a:lnTo>
                  <a:lnTo>
                    <a:pt x="1363" y="1898"/>
                  </a:lnTo>
                  <a:lnTo>
                    <a:pt x="1380" y="1864"/>
                  </a:lnTo>
                  <a:lnTo>
                    <a:pt x="1396" y="1830"/>
                  </a:lnTo>
                  <a:lnTo>
                    <a:pt x="1410" y="1797"/>
                  </a:lnTo>
                  <a:lnTo>
                    <a:pt x="1425" y="1762"/>
                  </a:lnTo>
                  <a:lnTo>
                    <a:pt x="1438" y="1727"/>
                  </a:lnTo>
                  <a:lnTo>
                    <a:pt x="1452" y="1692"/>
                  </a:lnTo>
                  <a:lnTo>
                    <a:pt x="1464" y="1656"/>
                  </a:lnTo>
                  <a:lnTo>
                    <a:pt x="1475" y="1620"/>
                  </a:lnTo>
                  <a:lnTo>
                    <a:pt x="1487" y="1584"/>
                  </a:lnTo>
                  <a:lnTo>
                    <a:pt x="1508" y="1511"/>
                  </a:lnTo>
                  <a:lnTo>
                    <a:pt x="1526" y="1438"/>
                  </a:lnTo>
                  <a:lnTo>
                    <a:pt x="1542" y="1362"/>
                  </a:lnTo>
                  <a:lnTo>
                    <a:pt x="1556" y="1287"/>
                  </a:lnTo>
                  <a:lnTo>
                    <a:pt x="1568" y="1211"/>
                  </a:lnTo>
                  <a:lnTo>
                    <a:pt x="1578" y="1134"/>
                  </a:lnTo>
                  <a:lnTo>
                    <a:pt x="1586" y="1058"/>
                  </a:lnTo>
                  <a:lnTo>
                    <a:pt x="1592" y="980"/>
                  </a:lnTo>
                  <a:lnTo>
                    <a:pt x="1597" y="902"/>
                  </a:lnTo>
                  <a:lnTo>
                    <a:pt x="1600" y="825"/>
                  </a:lnTo>
                  <a:lnTo>
                    <a:pt x="1602" y="747"/>
                  </a:lnTo>
                  <a:lnTo>
                    <a:pt x="1602" y="671"/>
                  </a:lnTo>
                  <a:lnTo>
                    <a:pt x="1601" y="593"/>
                  </a:lnTo>
                  <a:lnTo>
                    <a:pt x="1600" y="516"/>
                  </a:lnTo>
                  <a:lnTo>
                    <a:pt x="1597" y="440"/>
                  </a:lnTo>
                  <a:lnTo>
                    <a:pt x="1592" y="365"/>
                  </a:lnTo>
                  <a:lnTo>
                    <a:pt x="1588" y="290"/>
                  </a:lnTo>
                  <a:lnTo>
                    <a:pt x="1582" y="216"/>
                  </a:lnTo>
                  <a:lnTo>
                    <a:pt x="1577" y="143"/>
                  </a:lnTo>
                  <a:lnTo>
                    <a:pt x="1562" y="0"/>
                  </a:lnTo>
                  <a:lnTo>
                    <a:pt x="46" y="0"/>
                  </a:lnTo>
                  <a:close/>
                </a:path>
              </a:pathLst>
            </a:custGeom>
            <a:solidFill>
              <a:srgbClr val="7991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55" name="Freeform 9"/>
            <p:cNvSpPr>
              <a:spLocks/>
            </p:cNvSpPr>
            <p:nvPr userDrawn="1"/>
          </p:nvSpPr>
          <p:spPr bwMode="auto">
            <a:xfrm>
              <a:off x="7686677" y="0"/>
              <a:ext cx="1452563" cy="3640139"/>
            </a:xfrm>
            <a:custGeom>
              <a:avLst/>
              <a:gdLst>
                <a:gd name="T0" fmla="*/ 915 w 915"/>
                <a:gd name="T1" fmla="*/ 1753 h 2293"/>
                <a:gd name="T2" fmla="*/ 915 w 915"/>
                <a:gd name="T3" fmla="*/ 0 h 2293"/>
                <a:gd name="T4" fmla="*/ 240 w 915"/>
                <a:gd name="T5" fmla="*/ 0 h 2293"/>
                <a:gd name="T6" fmla="*/ 240 w 915"/>
                <a:gd name="T7" fmla="*/ 0 h 2293"/>
                <a:gd name="T8" fmla="*/ 247 w 915"/>
                <a:gd name="T9" fmla="*/ 70 h 2293"/>
                <a:gd name="T10" fmla="*/ 254 w 915"/>
                <a:gd name="T11" fmla="*/ 141 h 2293"/>
                <a:gd name="T12" fmla="*/ 259 w 915"/>
                <a:gd name="T13" fmla="*/ 212 h 2293"/>
                <a:gd name="T14" fmla="*/ 263 w 915"/>
                <a:gd name="T15" fmla="*/ 282 h 2293"/>
                <a:gd name="T16" fmla="*/ 266 w 915"/>
                <a:gd name="T17" fmla="*/ 353 h 2293"/>
                <a:gd name="T18" fmla="*/ 270 w 915"/>
                <a:gd name="T19" fmla="*/ 424 h 2293"/>
                <a:gd name="T20" fmla="*/ 271 w 915"/>
                <a:gd name="T21" fmla="*/ 496 h 2293"/>
                <a:gd name="T22" fmla="*/ 272 w 915"/>
                <a:gd name="T23" fmla="*/ 567 h 2293"/>
                <a:gd name="T24" fmla="*/ 271 w 915"/>
                <a:gd name="T25" fmla="*/ 639 h 2293"/>
                <a:gd name="T26" fmla="*/ 270 w 915"/>
                <a:gd name="T27" fmla="*/ 710 h 2293"/>
                <a:gd name="T28" fmla="*/ 268 w 915"/>
                <a:gd name="T29" fmla="*/ 782 h 2293"/>
                <a:gd name="T30" fmla="*/ 265 w 915"/>
                <a:gd name="T31" fmla="*/ 854 h 2293"/>
                <a:gd name="T32" fmla="*/ 261 w 915"/>
                <a:gd name="T33" fmla="*/ 925 h 2293"/>
                <a:gd name="T34" fmla="*/ 256 w 915"/>
                <a:gd name="T35" fmla="*/ 997 h 2293"/>
                <a:gd name="T36" fmla="*/ 250 w 915"/>
                <a:gd name="T37" fmla="*/ 1069 h 2293"/>
                <a:gd name="T38" fmla="*/ 243 w 915"/>
                <a:gd name="T39" fmla="*/ 1141 h 2293"/>
                <a:gd name="T40" fmla="*/ 235 w 915"/>
                <a:gd name="T41" fmla="*/ 1213 h 2293"/>
                <a:gd name="T42" fmla="*/ 227 w 915"/>
                <a:gd name="T43" fmla="*/ 1285 h 2293"/>
                <a:gd name="T44" fmla="*/ 217 w 915"/>
                <a:gd name="T45" fmla="*/ 1357 h 2293"/>
                <a:gd name="T46" fmla="*/ 205 w 915"/>
                <a:gd name="T47" fmla="*/ 1429 h 2293"/>
                <a:gd name="T48" fmla="*/ 194 w 915"/>
                <a:gd name="T49" fmla="*/ 1502 h 2293"/>
                <a:gd name="T50" fmla="*/ 182 w 915"/>
                <a:gd name="T51" fmla="*/ 1574 h 2293"/>
                <a:gd name="T52" fmla="*/ 167 w 915"/>
                <a:gd name="T53" fmla="*/ 1646 h 2293"/>
                <a:gd name="T54" fmla="*/ 153 w 915"/>
                <a:gd name="T55" fmla="*/ 1718 h 2293"/>
                <a:gd name="T56" fmla="*/ 137 w 915"/>
                <a:gd name="T57" fmla="*/ 1790 h 2293"/>
                <a:gd name="T58" fmla="*/ 121 w 915"/>
                <a:gd name="T59" fmla="*/ 1862 h 2293"/>
                <a:gd name="T60" fmla="*/ 103 w 915"/>
                <a:gd name="T61" fmla="*/ 1934 h 2293"/>
                <a:gd name="T62" fmla="*/ 84 w 915"/>
                <a:gd name="T63" fmla="*/ 2006 h 2293"/>
                <a:gd name="T64" fmla="*/ 65 w 915"/>
                <a:gd name="T65" fmla="*/ 2078 h 2293"/>
                <a:gd name="T66" fmla="*/ 44 w 915"/>
                <a:gd name="T67" fmla="*/ 2150 h 2293"/>
                <a:gd name="T68" fmla="*/ 22 w 915"/>
                <a:gd name="T69" fmla="*/ 2221 h 2293"/>
                <a:gd name="T70" fmla="*/ 0 w 915"/>
                <a:gd name="T71" fmla="*/ 2293 h 2293"/>
                <a:gd name="T72" fmla="*/ 0 w 915"/>
                <a:gd name="T73" fmla="*/ 2293 h 2293"/>
                <a:gd name="T74" fmla="*/ 53 w 915"/>
                <a:gd name="T75" fmla="*/ 2255 h 2293"/>
                <a:gd name="T76" fmla="*/ 108 w 915"/>
                <a:gd name="T77" fmla="*/ 2216 h 2293"/>
                <a:gd name="T78" fmla="*/ 162 w 915"/>
                <a:gd name="T79" fmla="*/ 2179 h 2293"/>
                <a:gd name="T80" fmla="*/ 218 w 915"/>
                <a:gd name="T81" fmla="*/ 2142 h 2293"/>
                <a:gd name="T82" fmla="*/ 273 w 915"/>
                <a:gd name="T83" fmla="*/ 2106 h 2293"/>
                <a:gd name="T84" fmla="*/ 329 w 915"/>
                <a:gd name="T85" fmla="*/ 2071 h 2293"/>
                <a:gd name="T86" fmla="*/ 385 w 915"/>
                <a:gd name="T87" fmla="*/ 2036 h 2293"/>
                <a:gd name="T88" fmla="*/ 443 w 915"/>
                <a:gd name="T89" fmla="*/ 2001 h 2293"/>
                <a:gd name="T90" fmla="*/ 500 w 915"/>
                <a:gd name="T91" fmla="*/ 1969 h 2293"/>
                <a:gd name="T92" fmla="*/ 559 w 915"/>
                <a:gd name="T93" fmla="*/ 1935 h 2293"/>
                <a:gd name="T94" fmla="*/ 617 w 915"/>
                <a:gd name="T95" fmla="*/ 1904 h 2293"/>
                <a:gd name="T96" fmla="*/ 675 w 915"/>
                <a:gd name="T97" fmla="*/ 1872 h 2293"/>
                <a:gd name="T98" fmla="*/ 735 w 915"/>
                <a:gd name="T99" fmla="*/ 1842 h 2293"/>
                <a:gd name="T100" fmla="*/ 795 w 915"/>
                <a:gd name="T101" fmla="*/ 1811 h 2293"/>
                <a:gd name="T102" fmla="*/ 854 w 915"/>
                <a:gd name="T103" fmla="*/ 1782 h 2293"/>
                <a:gd name="T104" fmla="*/ 915 w 915"/>
                <a:gd name="T105" fmla="*/ 1753 h 2293"/>
                <a:gd name="T106" fmla="*/ 915 w 915"/>
                <a:gd name="T107" fmla="*/ 1753 h 2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15" h="2293">
                  <a:moveTo>
                    <a:pt x="915" y="1753"/>
                  </a:moveTo>
                  <a:lnTo>
                    <a:pt x="915" y="0"/>
                  </a:lnTo>
                  <a:lnTo>
                    <a:pt x="240" y="0"/>
                  </a:lnTo>
                  <a:lnTo>
                    <a:pt x="240" y="0"/>
                  </a:lnTo>
                  <a:lnTo>
                    <a:pt x="247" y="70"/>
                  </a:lnTo>
                  <a:lnTo>
                    <a:pt x="254" y="141"/>
                  </a:lnTo>
                  <a:lnTo>
                    <a:pt x="259" y="212"/>
                  </a:lnTo>
                  <a:lnTo>
                    <a:pt x="263" y="282"/>
                  </a:lnTo>
                  <a:lnTo>
                    <a:pt x="266" y="353"/>
                  </a:lnTo>
                  <a:lnTo>
                    <a:pt x="270" y="424"/>
                  </a:lnTo>
                  <a:lnTo>
                    <a:pt x="271" y="496"/>
                  </a:lnTo>
                  <a:lnTo>
                    <a:pt x="272" y="567"/>
                  </a:lnTo>
                  <a:lnTo>
                    <a:pt x="271" y="639"/>
                  </a:lnTo>
                  <a:lnTo>
                    <a:pt x="270" y="710"/>
                  </a:lnTo>
                  <a:lnTo>
                    <a:pt x="268" y="782"/>
                  </a:lnTo>
                  <a:lnTo>
                    <a:pt x="265" y="854"/>
                  </a:lnTo>
                  <a:lnTo>
                    <a:pt x="261" y="925"/>
                  </a:lnTo>
                  <a:lnTo>
                    <a:pt x="256" y="997"/>
                  </a:lnTo>
                  <a:lnTo>
                    <a:pt x="250" y="1069"/>
                  </a:lnTo>
                  <a:lnTo>
                    <a:pt x="243" y="1141"/>
                  </a:lnTo>
                  <a:lnTo>
                    <a:pt x="235" y="1213"/>
                  </a:lnTo>
                  <a:lnTo>
                    <a:pt x="227" y="1285"/>
                  </a:lnTo>
                  <a:lnTo>
                    <a:pt x="217" y="1357"/>
                  </a:lnTo>
                  <a:lnTo>
                    <a:pt x="205" y="1429"/>
                  </a:lnTo>
                  <a:lnTo>
                    <a:pt x="194" y="1502"/>
                  </a:lnTo>
                  <a:lnTo>
                    <a:pt x="182" y="1574"/>
                  </a:lnTo>
                  <a:lnTo>
                    <a:pt x="167" y="1646"/>
                  </a:lnTo>
                  <a:lnTo>
                    <a:pt x="153" y="1718"/>
                  </a:lnTo>
                  <a:lnTo>
                    <a:pt x="137" y="1790"/>
                  </a:lnTo>
                  <a:lnTo>
                    <a:pt x="121" y="1862"/>
                  </a:lnTo>
                  <a:lnTo>
                    <a:pt x="103" y="1934"/>
                  </a:lnTo>
                  <a:lnTo>
                    <a:pt x="84" y="2006"/>
                  </a:lnTo>
                  <a:lnTo>
                    <a:pt x="65" y="2078"/>
                  </a:lnTo>
                  <a:lnTo>
                    <a:pt x="44" y="2150"/>
                  </a:lnTo>
                  <a:lnTo>
                    <a:pt x="22" y="2221"/>
                  </a:lnTo>
                  <a:lnTo>
                    <a:pt x="0" y="2293"/>
                  </a:lnTo>
                  <a:lnTo>
                    <a:pt x="0" y="2293"/>
                  </a:lnTo>
                  <a:lnTo>
                    <a:pt x="53" y="2255"/>
                  </a:lnTo>
                  <a:lnTo>
                    <a:pt x="108" y="2216"/>
                  </a:lnTo>
                  <a:lnTo>
                    <a:pt x="162" y="2179"/>
                  </a:lnTo>
                  <a:lnTo>
                    <a:pt x="218" y="2142"/>
                  </a:lnTo>
                  <a:lnTo>
                    <a:pt x="273" y="2106"/>
                  </a:lnTo>
                  <a:lnTo>
                    <a:pt x="329" y="2071"/>
                  </a:lnTo>
                  <a:lnTo>
                    <a:pt x="385" y="2036"/>
                  </a:lnTo>
                  <a:lnTo>
                    <a:pt x="443" y="2001"/>
                  </a:lnTo>
                  <a:lnTo>
                    <a:pt x="500" y="1969"/>
                  </a:lnTo>
                  <a:lnTo>
                    <a:pt x="559" y="1935"/>
                  </a:lnTo>
                  <a:lnTo>
                    <a:pt x="617" y="1904"/>
                  </a:lnTo>
                  <a:lnTo>
                    <a:pt x="675" y="1872"/>
                  </a:lnTo>
                  <a:lnTo>
                    <a:pt x="735" y="1842"/>
                  </a:lnTo>
                  <a:lnTo>
                    <a:pt x="795" y="1811"/>
                  </a:lnTo>
                  <a:lnTo>
                    <a:pt x="854" y="1782"/>
                  </a:lnTo>
                  <a:lnTo>
                    <a:pt x="915" y="1753"/>
                  </a:lnTo>
                  <a:lnTo>
                    <a:pt x="915" y="1753"/>
                  </a:lnTo>
                  <a:close/>
                </a:path>
              </a:pathLst>
            </a:custGeom>
            <a:solidFill>
              <a:srgbClr val="BCC8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56" name="Freeform 10"/>
            <p:cNvSpPr>
              <a:spLocks/>
            </p:cNvSpPr>
            <p:nvPr userDrawn="1"/>
          </p:nvSpPr>
          <p:spPr bwMode="auto">
            <a:xfrm>
              <a:off x="7686677" y="3640139"/>
              <a:ext cx="1452563" cy="857250"/>
            </a:xfrm>
            <a:custGeom>
              <a:avLst/>
              <a:gdLst>
                <a:gd name="T0" fmla="*/ 915 w 915"/>
                <a:gd name="T1" fmla="*/ 378 h 540"/>
                <a:gd name="T2" fmla="*/ 915 w 915"/>
                <a:gd name="T3" fmla="*/ 378 h 540"/>
                <a:gd name="T4" fmla="*/ 854 w 915"/>
                <a:gd name="T5" fmla="*/ 368 h 540"/>
                <a:gd name="T6" fmla="*/ 795 w 915"/>
                <a:gd name="T7" fmla="*/ 356 h 540"/>
                <a:gd name="T8" fmla="*/ 735 w 915"/>
                <a:gd name="T9" fmla="*/ 342 h 540"/>
                <a:gd name="T10" fmla="*/ 675 w 915"/>
                <a:gd name="T11" fmla="*/ 327 h 540"/>
                <a:gd name="T12" fmla="*/ 617 w 915"/>
                <a:gd name="T13" fmla="*/ 309 h 540"/>
                <a:gd name="T14" fmla="*/ 559 w 915"/>
                <a:gd name="T15" fmla="*/ 290 h 540"/>
                <a:gd name="T16" fmla="*/ 500 w 915"/>
                <a:gd name="T17" fmla="*/ 270 h 540"/>
                <a:gd name="T18" fmla="*/ 442 w 915"/>
                <a:gd name="T19" fmla="*/ 247 h 540"/>
                <a:gd name="T20" fmla="*/ 384 w 915"/>
                <a:gd name="T21" fmla="*/ 223 h 540"/>
                <a:gd name="T22" fmla="*/ 328 w 915"/>
                <a:gd name="T23" fmla="*/ 196 h 540"/>
                <a:gd name="T24" fmla="*/ 272 w 915"/>
                <a:gd name="T25" fmla="*/ 167 h 540"/>
                <a:gd name="T26" fmla="*/ 216 w 915"/>
                <a:gd name="T27" fmla="*/ 138 h 540"/>
                <a:gd name="T28" fmla="*/ 161 w 915"/>
                <a:gd name="T29" fmla="*/ 107 h 540"/>
                <a:gd name="T30" fmla="*/ 107 w 915"/>
                <a:gd name="T31" fmla="*/ 73 h 540"/>
                <a:gd name="T32" fmla="*/ 53 w 915"/>
                <a:gd name="T33" fmla="*/ 37 h 540"/>
                <a:gd name="T34" fmla="*/ 0 w 915"/>
                <a:gd name="T35" fmla="*/ 0 h 540"/>
                <a:gd name="T36" fmla="*/ 0 w 915"/>
                <a:gd name="T37" fmla="*/ 0 h 540"/>
                <a:gd name="T38" fmla="*/ 55 w 915"/>
                <a:gd name="T39" fmla="*/ 39 h 540"/>
                <a:gd name="T40" fmla="*/ 110 w 915"/>
                <a:gd name="T41" fmla="*/ 79 h 540"/>
                <a:gd name="T42" fmla="*/ 165 w 915"/>
                <a:gd name="T43" fmla="*/ 116 h 540"/>
                <a:gd name="T44" fmla="*/ 221 w 915"/>
                <a:gd name="T45" fmla="*/ 153 h 540"/>
                <a:gd name="T46" fmla="*/ 277 w 915"/>
                <a:gd name="T47" fmla="*/ 190 h 540"/>
                <a:gd name="T48" fmla="*/ 334 w 915"/>
                <a:gd name="T49" fmla="*/ 225 h 540"/>
                <a:gd name="T50" fmla="*/ 391 w 915"/>
                <a:gd name="T51" fmla="*/ 260 h 540"/>
                <a:gd name="T52" fmla="*/ 448 w 915"/>
                <a:gd name="T53" fmla="*/ 295 h 540"/>
                <a:gd name="T54" fmla="*/ 506 w 915"/>
                <a:gd name="T55" fmla="*/ 327 h 540"/>
                <a:gd name="T56" fmla="*/ 563 w 915"/>
                <a:gd name="T57" fmla="*/ 360 h 540"/>
                <a:gd name="T58" fmla="*/ 622 w 915"/>
                <a:gd name="T59" fmla="*/ 392 h 540"/>
                <a:gd name="T60" fmla="*/ 679 w 915"/>
                <a:gd name="T61" fmla="*/ 423 h 540"/>
                <a:gd name="T62" fmla="*/ 737 w 915"/>
                <a:gd name="T63" fmla="*/ 453 h 540"/>
                <a:gd name="T64" fmla="*/ 797 w 915"/>
                <a:gd name="T65" fmla="*/ 482 h 540"/>
                <a:gd name="T66" fmla="*/ 855 w 915"/>
                <a:gd name="T67" fmla="*/ 512 h 540"/>
                <a:gd name="T68" fmla="*/ 915 w 915"/>
                <a:gd name="T69" fmla="*/ 540 h 540"/>
                <a:gd name="T70" fmla="*/ 915 w 915"/>
                <a:gd name="T71" fmla="*/ 378 h 5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15" h="540">
                  <a:moveTo>
                    <a:pt x="915" y="378"/>
                  </a:moveTo>
                  <a:lnTo>
                    <a:pt x="915" y="378"/>
                  </a:lnTo>
                  <a:lnTo>
                    <a:pt x="854" y="368"/>
                  </a:lnTo>
                  <a:lnTo>
                    <a:pt x="795" y="356"/>
                  </a:lnTo>
                  <a:lnTo>
                    <a:pt x="735" y="342"/>
                  </a:lnTo>
                  <a:lnTo>
                    <a:pt x="675" y="327"/>
                  </a:lnTo>
                  <a:lnTo>
                    <a:pt x="617" y="309"/>
                  </a:lnTo>
                  <a:lnTo>
                    <a:pt x="559" y="290"/>
                  </a:lnTo>
                  <a:lnTo>
                    <a:pt x="500" y="270"/>
                  </a:lnTo>
                  <a:lnTo>
                    <a:pt x="442" y="247"/>
                  </a:lnTo>
                  <a:lnTo>
                    <a:pt x="384" y="223"/>
                  </a:lnTo>
                  <a:lnTo>
                    <a:pt x="328" y="196"/>
                  </a:lnTo>
                  <a:lnTo>
                    <a:pt x="272" y="167"/>
                  </a:lnTo>
                  <a:lnTo>
                    <a:pt x="216" y="138"/>
                  </a:lnTo>
                  <a:lnTo>
                    <a:pt x="161" y="107"/>
                  </a:lnTo>
                  <a:lnTo>
                    <a:pt x="107" y="73"/>
                  </a:lnTo>
                  <a:lnTo>
                    <a:pt x="53" y="37"/>
                  </a:lnTo>
                  <a:lnTo>
                    <a:pt x="0" y="0"/>
                  </a:lnTo>
                  <a:lnTo>
                    <a:pt x="0" y="0"/>
                  </a:lnTo>
                  <a:lnTo>
                    <a:pt x="55" y="39"/>
                  </a:lnTo>
                  <a:lnTo>
                    <a:pt x="110" y="79"/>
                  </a:lnTo>
                  <a:lnTo>
                    <a:pt x="165" y="116"/>
                  </a:lnTo>
                  <a:lnTo>
                    <a:pt x="221" y="153"/>
                  </a:lnTo>
                  <a:lnTo>
                    <a:pt x="277" y="190"/>
                  </a:lnTo>
                  <a:lnTo>
                    <a:pt x="334" y="225"/>
                  </a:lnTo>
                  <a:lnTo>
                    <a:pt x="391" y="260"/>
                  </a:lnTo>
                  <a:lnTo>
                    <a:pt x="448" y="295"/>
                  </a:lnTo>
                  <a:lnTo>
                    <a:pt x="506" y="327"/>
                  </a:lnTo>
                  <a:lnTo>
                    <a:pt x="563" y="360"/>
                  </a:lnTo>
                  <a:lnTo>
                    <a:pt x="622" y="392"/>
                  </a:lnTo>
                  <a:lnTo>
                    <a:pt x="679" y="423"/>
                  </a:lnTo>
                  <a:lnTo>
                    <a:pt x="737" y="453"/>
                  </a:lnTo>
                  <a:lnTo>
                    <a:pt x="797" y="482"/>
                  </a:lnTo>
                  <a:lnTo>
                    <a:pt x="855" y="512"/>
                  </a:lnTo>
                  <a:lnTo>
                    <a:pt x="915" y="540"/>
                  </a:lnTo>
                  <a:lnTo>
                    <a:pt x="915" y="378"/>
                  </a:lnTo>
                  <a:close/>
                </a:path>
              </a:pathLst>
            </a:custGeom>
            <a:solidFill>
              <a:srgbClr val="5876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57" name="Freeform 11"/>
            <p:cNvSpPr>
              <a:spLocks/>
            </p:cNvSpPr>
            <p:nvPr userDrawn="1"/>
          </p:nvSpPr>
          <p:spPr bwMode="auto">
            <a:xfrm>
              <a:off x="4775201" y="0"/>
              <a:ext cx="2911476" cy="3640139"/>
            </a:xfrm>
            <a:custGeom>
              <a:avLst/>
              <a:gdLst>
                <a:gd name="T0" fmla="*/ 1065 w 1834"/>
                <a:gd name="T1" fmla="*/ 1236 h 2293"/>
                <a:gd name="T2" fmla="*/ 1042 w 1834"/>
                <a:gd name="T3" fmla="*/ 1163 h 2293"/>
                <a:gd name="T4" fmla="*/ 1023 w 1834"/>
                <a:gd name="T5" fmla="*/ 1089 h 2293"/>
                <a:gd name="T6" fmla="*/ 1005 w 1834"/>
                <a:gd name="T7" fmla="*/ 1014 h 2293"/>
                <a:gd name="T8" fmla="*/ 992 w 1834"/>
                <a:gd name="T9" fmla="*/ 938 h 2293"/>
                <a:gd name="T10" fmla="*/ 979 w 1834"/>
                <a:gd name="T11" fmla="*/ 862 h 2293"/>
                <a:gd name="T12" fmla="*/ 970 w 1834"/>
                <a:gd name="T13" fmla="*/ 785 h 2293"/>
                <a:gd name="T14" fmla="*/ 965 w 1834"/>
                <a:gd name="T15" fmla="*/ 708 h 2293"/>
                <a:gd name="T16" fmla="*/ 961 w 1834"/>
                <a:gd name="T17" fmla="*/ 630 h 2293"/>
                <a:gd name="T18" fmla="*/ 961 w 1834"/>
                <a:gd name="T19" fmla="*/ 551 h 2293"/>
                <a:gd name="T20" fmla="*/ 963 w 1834"/>
                <a:gd name="T21" fmla="*/ 473 h 2293"/>
                <a:gd name="T22" fmla="*/ 969 w 1834"/>
                <a:gd name="T23" fmla="*/ 394 h 2293"/>
                <a:gd name="T24" fmla="*/ 978 w 1834"/>
                <a:gd name="T25" fmla="*/ 315 h 2293"/>
                <a:gd name="T26" fmla="*/ 990 w 1834"/>
                <a:gd name="T27" fmla="*/ 236 h 2293"/>
                <a:gd name="T28" fmla="*/ 1005 w 1834"/>
                <a:gd name="T29" fmla="*/ 158 h 2293"/>
                <a:gd name="T30" fmla="*/ 1023 w 1834"/>
                <a:gd name="T31" fmla="*/ 79 h 2293"/>
                <a:gd name="T32" fmla="*/ 1043 w 1834"/>
                <a:gd name="T33" fmla="*/ 0 h 2293"/>
                <a:gd name="T34" fmla="*/ 0 w 1834"/>
                <a:gd name="T35" fmla="*/ 0 h 2293"/>
                <a:gd name="T36" fmla="*/ 79 w 1834"/>
                <a:gd name="T37" fmla="*/ 174 h 2293"/>
                <a:gd name="T38" fmla="*/ 162 w 1834"/>
                <a:gd name="T39" fmla="*/ 345 h 2293"/>
                <a:gd name="T40" fmla="*/ 252 w 1834"/>
                <a:gd name="T41" fmla="*/ 512 h 2293"/>
                <a:gd name="T42" fmla="*/ 346 w 1834"/>
                <a:gd name="T43" fmla="*/ 675 h 2293"/>
                <a:gd name="T44" fmla="*/ 445 w 1834"/>
                <a:gd name="T45" fmla="*/ 835 h 2293"/>
                <a:gd name="T46" fmla="*/ 550 w 1834"/>
                <a:gd name="T47" fmla="*/ 989 h 2293"/>
                <a:gd name="T48" fmla="*/ 659 w 1834"/>
                <a:gd name="T49" fmla="*/ 1140 h 2293"/>
                <a:gd name="T50" fmla="*/ 773 w 1834"/>
                <a:gd name="T51" fmla="*/ 1286 h 2293"/>
                <a:gd name="T52" fmla="*/ 891 w 1834"/>
                <a:gd name="T53" fmla="*/ 1428 h 2293"/>
                <a:gd name="T54" fmla="*/ 1014 w 1834"/>
                <a:gd name="T55" fmla="*/ 1565 h 2293"/>
                <a:gd name="T56" fmla="*/ 1141 w 1834"/>
                <a:gd name="T57" fmla="*/ 1699 h 2293"/>
                <a:gd name="T58" fmla="*/ 1272 w 1834"/>
                <a:gd name="T59" fmla="*/ 1827 h 2293"/>
                <a:gd name="T60" fmla="*/ 1406 w 1834"/>
                <a:gd name="T61" fmla="*/ 1951 h 2293"/>
                <a:gd name="T62" fmla="*/ 1545 w 1834"/>
                <a:gd name="T63" fmla="*/ 2069 h 2293"/>
                <a:gd name="T64" fmla="*/ 1688 w 1834"/>
                <a:gd name="T65" fmla="*/ 2184 h 2293"/>
                <a:gd name="T66" fmla="*/ 1834 w 1834"/>
                <a:gd name="T67" fmla="*/ 2293 h 2293"/>
                <a:gd name="T68" fmla="*/ 1801 w 1834"/>
                <a:gd name="T69" fmla="*/ 2269 h 2293"/>
                <a:gd name="T70" fmla="*/ 1737 w 1834"/>
                <a:gd name="T71" fmla="*/ 2219 h 2293"/>
                <a:gd name="T72" fmla="*/ 1675 w 1834"/>
                <a:gd name="T73" fmla="*/ 2167 h 2293"/>
                <a:gd name="T74" fmla="*/ 1616 w 1834"/>
                <a:gd name="T75" fmla="*/ 2112 h 2293"/>
                <a:gd name="T76" fmla="*/ 1557 w 1834"/>
                <a:gd name="T77" fmla="*/ 2054 h 2293"/>
                <a:gd name="T78" fmla="*/ 1502 w 1834"/>
                <a:gd name="T79" fmla="*/ 1995 h 2293"/>
                <a:gd name="T80" fmla="*/ 1448 w 1834"/>
                <a:gd name="T81" fmla="*/ 1933 h 2293"/>
                <a:gd name="T82" fmla="*/ 1396 w 1834"/>
                <a:gd name="T83" fmla="*/ 1869 h 2293"/>
                <a:gd name="T84" fmla="*/ 1348 w 1834"/>
                <a:gd name="T85" fmla="*/ 1801 h 2293"/>
                <a:gd name="T86" fmla="*/ 1301 w 1834"/>
                <a:gd name="T87" fmla="*/ 1733 h 2293"/>
                <a:gd name="T88" fmla="*/ 1257 w 1834"/>
                <a:gd name="T89" fmla="*/ 1662 h 2293"/>
                <a:gd name="T90" fmla="*/ 1216 w 1834"/>
                <a:gd name="T91" fmla="*/ 1590 h 2293"/>
                <a:gd name="T92" fmla="*/ 1177 w 1834"/>
                <a:gd name="T93" fmla="*/ 1514 h 2293"/>
                <a:gd name="T94" fmla="*/ 1142 w 1834"/>
                <a:gd name="T95" fmla="*/ 1437 h 2293"/>
                <a:gd name="T96" fmla="*/ 1108 w 1834"/>
                <a:gd name="T97" fmla="*/ 1358 h 2293"/>
                <a:gd name="T98" fmla="*/ 1079 w 1834"/>
                <a:gd name="T99" fmla="*/ 1277 h 2293"/>
                <a:gd name="T100" fmla="*/ 1065 w 1834"/>
                <a:gd name="T101" fmla="*/ 1236 h 2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834" h="2293">
                  <a:moveTo>
                    <a:pt x="1065" y="1236"/>
                  </a:moveTo>
                  <a:lnTo>
                    <a:pt x="1065" y="1236"/>
                  </a:lnTo>
                  <a:lnTo>
                    <a:pt x="1053" y="1199"/>
                  </a:lnTo>
                  <a:lnTo>
                    <a:pt x="1042" y="1163"/>
                  </a:lnTo>
                  <a:lnTo>
                    <a:pt x="1032" y="1126"/>
                  </a:lnTo>
                  <a:lnTo>
                    <a:pt x="1023" y="1089"/>
                  </a:lnTo>
                  <a:lnTo>
                    <a:pt x="1014" y="1051"/>
                  </a:lnTo>
                  <a:lnTo>
                    <a:pt x="1005" y="1014"/>
                  </a:lnTo>
                  <a:lnTo>
                    <a:pt x="998" y="975"/>
                  </a:lnTo>
                  <a:lnTo>
                    <a:pt x="992" y="938"/>
                  </a:lnTo>
                  <a:lnTo>
                    <a:pt x="985" y="900"/>
                  </a:lnTo>
                  <a:lnTo>
                    <a:pt x="979" y="862"/>
                  </a:lnTo>
                  <a:lnTo>
                    <a:pt x="975" y="824"/>
                  </a:lnTo>
                  <a:lnTo>
                    <a:pt x="970" y="785"/>
                  </a:lnTo>
                  <a:lnTo>
                    <a:pt x="967" y="746"/>
                  </a:lnTo>
                  <a:lnTo>
                    <a:pt x="965" y="708"/>
                  </a:lnTo>
                  <a:lnTo>
                    <a:pt x="962" y="668"/>
                  </a:lnTo>
                  <a:lnTo>
                    <a:pt x="961" y="630"/>
                  </a:lnTo>
                  <a:lnTo>
                    <a:pt x="961" y="591"/>
                  </a:lnTo>
                  <a:lnTo>
                    <a:pt x="961" y="551"/>
                  </a:lnTo>
                  <a:lnTo>
                    <a:pt x="962" y="512"/>
                  </a:lnTo>
                  <a:lnTo>
                    <a:pt x="963" y="473"/>
                  </a:lnTo>
                  <a:lnTo>
                    <a:pt x="967" y="433"/>
                  </a:lnTo>
                  <a:lnTo>
                    <a:pt x="969" y="394"/>
                  </a:lnTo>
                  <a:lnTo>
                    <a:pt x="974" y="354"/>
                  </a:lnTo>
                  <a:lnTo>
                    <a:pt x="978" y="315"/>
                  </a:lnTo>
                  <a:lnTo>
                    <a:pt x="984" y="276"/>
                  </a:lnTo>
                  <a:lnTo>
                    <a:pt x="990" y="236"/>
                  </a:lnTo>
                  <a:lnTo>
                    <a:pt x="997" y="197"/>
                  </a:lnTo>
                  <a:lnTo>
                    <a:pt x="1005" y="158"/>
                  </a:lnTo>
                  <a:lnTo>
                    <a:pt x="1013" y="118"/>
                  </a:lnTo>
                  <a:lnTo>
                    <a:pt x="1023" y="79"/>
                  </a:lnTo>
                  <a:lnTo>
                    <a:pt x="1033" y="39"/>
                  </a:lnTo>
                  <a:lnTo>
                    <a:pt x="104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38" y="88"/>
                  </a:lnTo>
                  <a:lnTo>
                    <a:pt x="79" y="174"/>
                  </a:lnTo>
                  <a:lnTo>
                    <a:pt x="120" y="260"/>
                  </a:lnTo>
                  <a:lnTo>
                    <a:pt x="162" y="345"/>
                  </a:lnTo>
                  <a:lnTo>
                    <a:pt x="207" y="430"/>
                  </a:lnTo>
                  <a:lnTo>
                    <a:pt x="252" y="512"/>
                  </a:lnTo>
                  <a:lnTo>
                    <a:pt x="298" y="594"/>
                  </a:lnTo>
                  <a:lnTo>
                    <a:pt x="346" y="675"/>
                  </a:lnTo>
                  <a:lnTo>
                    <a:pt x="396" y="755"/>
                  </a:lnTo>
                  <a:lnTo>
                    <a:pt x="445" y="835"/>
                  </a:lnTo>
                  <a:lnTo>
                    <a:pt x="497" y="912"/>
                  </a:lnTo>
                  <a:lnTo>
                    <a:pt x="550" y="989"/>
                  </a:lnTo>
                  <a:lnTo>
                    <a:pt x="604" y="1065"/>
                  </a:lnTo>
                  <a:lnTo>
                    <a:pt x="659" y="1140"/>
                  </a:lnTo>
                  <a:lnTo>
                    <a:pt x="716" y="1214"/>
                  </a:lnTo>
                  <a:lnTo>
                    <a:pt x="773" y="1286"/>
                  </a:lnTo>
                  <a:lnTo>
                    <a:pt x="832" y="1358"/>
                  </a:lnTo>
                  <a:lnTo>
                    <a:pt x="891" y="1428"/>
                  </a:lnTo>
                  <a:lnTo>
                    <a:pt x="952" y="1497"/>
                  </a:lnTo>
                  <a:lnTo>
                    <a:pt x="1014" y="1565"/>
                  </a:lnTo>
                  <a:lnTo>
                    <a:pt x="1077" y="1632"/>
                  </a:lnTo>
                  <a:lnTo>
                    <a:pt x="1141" y="1699"/>
                  </a:lnTo>
                  <a:lnTo>
                    <a:pt x="1206" y="1763"/>
                  </a:lnTo>
                  <a:lnTo>
                    <a:pt x="1272" y="1827"/>
                  </a:lnTo>
                  <a:lnTo>
                    <a:pt x="1339" y="1889"/>
                  </a:lnTo>
                  <a:lnTo>
                    <a:pt x="1406" y="1951"/>
                  </a:lnTo>
                  <a:lnTo>
                    <a:pt x="1475" y="2010"/>
                  </a:lnTo>
                  <a:lnTo>
                    <a:pt x="1545" y="2069"/>
                  </a:lnTo>
                  <a:lnTo>
                    <a:pt x="1616" y="2127"/>
                  </a:lnTo>
                  <a:lnTo>
                    <a:pt x="1688" y="2184"/>
                  </a:lnTo>
                  <a:lnTo>
                    <a:pt x="1760" y="2239"/>
                  </a:lnTo>
                  <a:lnTo>
                    <a:pt x="1834" y="2293"/>
                  </a:lnTo>
                  <a:lnTo>
                    <a:pt x="1834" y="2293"/>
                  </a:lnTo>
                  <a:lnTo>
                    <a:pt x="1801" y="2269"/>
                  </a:lnTo>
                  <a:lnTo>
                    <a:pt x="1769" y="2244"/>
                  </a:lnTo>
                  <a:lnTo>
                    <a:pt x="1737" y="2219"/>
                  </a:lnTo>
                  <a:lnTo>
                    <a:pt x="1706" y="2193"/>
                  </a:lnTo>
                  <a:lnTo>
                    <a:pt x="1675" y="2167"/>
                  </a:lnTo>
                  <a:lnTo>
                    <a:pt x="1645" y="2139"/>
                  </a:lnTo>
                  <a:lnTo>
                    <a:pt x="1616" y="2112"/>
                  </a:lnTo>
                  <a:lnTo>
                    <a:pt x="1586" y="2084"/>
                  </a:lnTo>
                  <a:lnTo>
                    <a:pt x="1557" y="2054"/>
                  </a:lnTo>
                  <a:lnTo>
                    <a:pt x="1529" y="2025"/>
                  </a:lnTo>
                  <a:lnTo>
                    <a:pt x="1502" y="1995"/>
                  </a:lnTo>
                  <a:lnTo>
                    <a:pt x="1475" y="1963"/>
                  </a:lnTo>
                  <a:lnTo>
                    <a:pt x="1448" y="1933"/>
                  </a:lnTo>
                  <a:lnTo>
                    <a:pt x="1422" y="1900"/>
                  </a:lnTo>
                  <a:lnTo>
                    <a:pt x="1396" y="1869"/>
                  </a:lnTo>
                  <a:lnTo>
                    <a:pt x="1372" y="1835"/>
                  </a:lnTo>
                  <a:lnTo>
                    <a:pt x="1348" y="1801"/>
                  </a:lnTo>
                  <a:lnTo>
                    <a:pt x="1324" y="1767"/>
                  </a:lnTo>
                  <a:lnTo>
                    <a:pt x="1301" y="1733"/>
                  </a:lnTo>
                  <a:lnTo>
                    <a:pt x="1279" y="1698"/>
                  </a:lnTo>
                  <a:lnTo>
                    <a:pt x="1257" y="1662"/>
                  </a:lnTo>
                  <a:lnTo>
                    <a:pt x="1237" y="1626"/>
                  </a:lnTo>
                  <a:lnTo>
                    <a:pt x="1216" y="1590"/>
                  </a:lnTo>
                  <a:lnTo>
                    <a:pt x="1196" y="1551"/>
                  </a:lnTo>
                  <a:lnTo>
                    <a:pt x="1177" y="1514"/>
                  </a:lnTo>
                  <a:lnTo>
                    <a:pt x="1159" y="1476"/>
                  </a:lnTo>
                  <a:lnTo>
                    <a:pt x="1142" y="1437"/>
                  </a:lnTo>
                  <a:lnTo>
                    <a:pt x="1125" y="1398"/>
                  </a:lnTo>
                  <a:lnTo>
                    <a:pt x="1108" y="1358"/>
                  </a:lnTo>
                  <a:lnTo>
                    <a:pt x="1094" y="1319"/>
                  </a:lnTo>
                  <a:lnTo>
                    <a:pt x="1079" y="1277"/>
                  </a:lnTo>
                  <a:lnTo>
                    <a:pt x="1065" y="1236"/>
                  </a:lnTo>
                  <a:lnTo>
                    <a:pt x="1065" y="1236"/>
                  </a:lnTo>
                  <a:close/>
                </a:path>
              </a:pathLst>
            </a:custGeom>
            <a:solidFill>
              <a:srgbClr val="5876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59" name="Freeform 12"/>
            <p:cNvSpPr>
              <a:spLocks/>
            </p:cNvSpPr>
            <p:nvPr userDrawn="1"/>
          </p:nvSpPr>
          <p:spPr bwMode="auto">
            <a:xfrm>
              <a:off x="6081714" y="3640139"/>
              <a:ext cx="1604963" cy="1503363"/>
            </a:xfrm>
            <a:custGeom>
              <a:avLst/>
              <a:gdLst>
                <a:gd name="T0" fmla="*/ 603 w 1011"/>
                <a:gd name="T1" fmla="*/ 947 h 947"/>
                <a:gd name="T2" fmla="*/ 603 w 1011"/>
                <a:gd name="T3" fmla="*/ 947 h 947"/>
                <a:gd name="T4" fmla="*/ 633 w 1011"/>
                <a:gd name="T5" fmla="*/ 890 h 947"/>
                <a:gd name="T6" fmla="*/ 663 w 1011"/>
                <a:gd name="T7" fmla="*/ 832 h 947"/>
                <a:gd name="T8" fmla="*/ 693 w 1011"/>
                <a:gd name="T9" fmla="*/ 775 h 947"/>
                <a:gd name="T10" fmla="*/ 722 w 1011"/>
                <a:gd name="T11" fmla="*/ 716 h 947"/>
                <a:gd name="T12" fmla="*/ 750 w 1011"/>
                <a:gd name="T13" fmla="*/ 658 h 947"/>
                <a:gd name="T14" fmla="*/ 777 w 1011"/>
                <a:gd name="T15" fmla="*/ 599 h 947"/>
                <a:gd name="T16" fmla="*/ 803 w 1011"/>
                <a:gd name="T17" fmla="*/ 541 h 947"/>
                <a:gd name="T18" fmla="*/ 829 w 1011"/>
                <a:gd name="T19" fmla="*/ 481 h 947"/>
                <a:gd name="T20" fmla="*/ 854 w 1011"/>
                <a:gd name="T21" fmla="*/ 423 h 947"/>
                <a:gd name="T22" fmla="*/ 878 w 1011"/>
                <a:gd name="T23" fmla="*/ 363 h 947"/>
                <a:gd name="T24" fmla="*/ 903 w 1011"/>
                <a:gd name="T25" fmla="*/ 302 h 947"/>
                <a:gd name="T26" fmla="*/ 925 w 1011"/>
                <a:gd name="T27" fmla="*/ 243 h 947"/>
                <a:gd name="T28" fmla="*/ 948 w 1011"/>
                <a:gd name="T29" fmla="*/ 182 h 947"/>
                <a:gd name="T30" fmla="*/ 969 w 1011"/>
                <a:gd name="T31" fmla="*/ 121 h 947"/>
                <a:gd name="T32" fmla="*/ 990 w 1011"/>
                <a:gd name="T33" fmla="*/ 61 h 947"/>
                <a:gd name="T34" fmla="*/ 1011 w 1011"/>
                <a:gd name="T35" fmla="*/ 0 h 947"/>
                <a:gd name="T36" fmla="*/ 1011 w 1011"/>
                <a:gd name="T37" fmla="*/ 0 h 947"/>
                <a:gd name="T38" fmla="*/ 1011 w 1011"/>
                <a:gd name="T39" fmla="*/ 0 h 947"/>
                <a:gd name="T40" fmla="*/ 939 w 1011"/>
                <a:gd name="T41" fmla="*/ 53 h 947"/>
                <a:gd name="T42" fmla="*/ 868 w 1011"/>
                <a:gd name="T43" fmla="*/ 107 h 947"/>
                <a:gd name="T44" fmla="*/ 799 w 1011"/>
                <a:gd name="T45" fmla="*/ 161 h 947"/>
                <a:gd name="T46" fmla="*/ 731 w 1011"/>
                <a:gd name="T47" fmla="*/ 217 h 947"/>
                <a:gd name="T48" fmla="*/ 664 w 1011"/>
                <a:gd name="T49" fmla="*/ 273 h 947"/>
                <a:gd name="T50" fmla="*/ 598 w 1011"/>
                <a:gd name="T51" fmla="*/ 329 h 947"/>
                <a:gd name="T52" fmla="*/ 533 w 1011"/>
                <a:gd name="T53" fmla="*/ 388 h 947"/>
                <a:gd name="T54" fmla="*/ 470 w 1011"/>
                <a:gd name="T55" fmla="*/ 446 h 947"/>
                <a:gd name="T56" fmla="*/ 407 w 1011"/>
                <a:gd name="T57" fmla="*/ 507 h 947"/>
                <a:gd name="T58" fmla="*/ 345 w 1011"/>
                <a:gd name="T59" fmla="*/ 567 h 947"/>
                <a:gd name="T60" fmla="*/ 284 w 1011"/>
                <a:gd name="T61" fmla="*/ 629 h 947"/>
                <a:gd name="T62" fmla="*/ 226 w 1011"/>
                <a:gd name="T63" fmla="*/ 691 h 947"/>
                <a:gd name="T64" fmla="*/ 167 w 1011"/>
                <a:gd name="T65" fmla="*/ 754 h 947"/>
                <a:gd name="T66" fmla="*/ 110 w 1011"/>
                <a:gd name="T67" fmla="*/ 818 h 947"/>
                <a:gd name="T68" fmla="*/ 54 w 1011"/>
                <a:gd name="T69" fmla="*/ 882 h 947"/>
                <a:gd name="T70" fmla="*/ 0 w 1011"/>
                <a:gd name="T71" fmla="*/ 947 h 947"/>
                <a:gd name="T72" fmla="*/ 603 w 1011"/>
                <a:gd name="T73" fmla="*/ 947 h 9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011" h="947">
                  <a:moveTo>
                    <a:pt x="603" y="947"/>
                  </a:moveTo>
                  <a:lnTo>
                    <a:pt x="603" y="947"/>
                  </a:lnTo>
                  <a:lnTo>
                    <a:pt x="633" y="890"/>
                  </a:lnTo>
                  <a:lnTo>
                    <a:pt x="663" y="832"/>
                  </a:lnTo>
                  <a:lnTo>
                    <a:pt x="693" y="775"/>
                  </a:lnTo>
                  <a:lnTo>
                    <a:pt x="722" y="716"/>
                  </a:lnTo>
                  <a:lnTo>
                    <a:pt x="750" y="658"/>
                  </a:lnTo>
                  <a:lnTo>
                    <a:pt x="777" y="599"/>
                  </a:lnTo>
                  <a:lnTo>
                    <a:pt x="803" y="541"/>
                  </a:lnTo>
                  <a:lnTo>
                    <a:pt x="829" y="481"/>
                  </a:lnTo>
                  <a:lnTo>
                    <a:pt x="854" y="423"/>
                  </a:lnTo>
                  <a:lnTo>
                    <a:pt x="878" y="363"/>
                  </a:lnTo>
                  <a:lnTo>
                    <a:pt x="903" y="302"/>
                  </a:lnTo>
                  <a:lnTo>
                    <a:pt x="925" y="243"/>
                  </a:lnTo>
                  <a:lnTo>
                    <a:pt x="948" y="182"/>
                  </a:lnTo>
                  <a:lnTo>
                    <a:pt x="969" y="121"/>
                  </a:lnTo>
                  <a:lnTo>
                    <a:pt x="990" y="61"/>
                  </a:lnTo>
                  <a:lnTo>
                    <a:pt x="1011" y="0"/>
                  </a:lnTo>
                  <a:lnTo>
                    <a:pt x="1011" y="0"/>
                  </a:lnTo>
                  <a:lnTo>
                    <a:pt x="1011" y="0"/>
                  </a:lnTo>
                  <a:lnTo>
                    <a:pt x="939" y="53"/>
                  </a:lnTo>
                  <a:lnTo>
                    <a:pt x="868" y="107"/>
                  </a:lnTo>
                  <a:lnTo>
                    <a:pt x="799" y="161"/>
                  </a:lnTo>
                  <a:lnTo>
                    <a:pt x="731" y="217"/>
                  </a:lnTo>
                  <a:lnTo>
                    <a:pt x="664" y="273"/>
                  </a:lnTo>
                  <a:lnTo>
                    <a:pt x="598" y="329"/>
                  </a:lnTo>
                  <a:lnTo>
                    <a:pt x="533" y="388"/>
                  </a:lnTo>
                  <a:lnTo>
                    <a:pt x="470" y="446"/>
                  </a:lnTo>
                  <a:lnTo>
                    <a:pt x="407" y="507"/>
                  </a:lnTo>
                  <a:lnTo>
                    <a:pt x="345" y="567"/>
                  </a:lnTo>
                  <a:lnTo>
                    <a:pt x="284" y="629"/>
                  </a:lnTo>
                  <a:lnTo>
                    <a:pt x="226" y="691"/>
                  </a:lnTo>
                  <a:lnTo>
                    <a:pt x="167" y="754"/>
                  </a:lnTo>
                  <a:lnTo>
                    <a:pt x="110" y="818"/>
                  </a:lnTo>
                  <a:lnTo>
                    <a:pt x="54" y="882"/>
                  </a:lnTo>
                  <a:lnTo>
                    <a:pt x="0" y="947"/>
                  </a:lnTo>
                  <a:lnTo>
                    <a:pt x="603" y="947"/>
                  </a:lnTo>
                  <a:close/>
                </a:path>
              </a:pathLst>
            </a:custGeom>
            <a:solidFill>
              <a:srgbClr val="5876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</p:grpSp>
      <p:grpSp>
        <p:nvGrpSpPr>
          <p:cNvPr id="2" name="Group 1"/>
          <p:cNvGrpSpPr/>
          <p:nvPr userDrawn="1"/>
        </p:nvGrpSpPr>
        <p:grpSpPr>
          <a:xfrm>
            <a:off x="937685" y="836085"/>
            <a:ext cx="4102100" cy="1198033"/>
            <a:chOff x="703263" y="627063"/>
            <a:chExt cx="3076575" cy="898525"/>
          </a:xfrm>
        </p:grpSpPr>
        <p:sp>
          <p:nvSpPr>
            <p:cNvPr id="4" name="Freeform 5"/>
            <p:cNvSpPr>
              <a:spLocks/>
            </p:cNvSpPr>
            <p:nvPr userDrawn="1"/>
          </p:nvSpPr>
          <p:spPr bwMode="auto">
            <a:xfrm>
              <a:off x="1528763" y="893763"/>
              <a:ext cx="160338" cy="141288"/>
            </a:xfrm>
            <a:custGeom>
              <a:avLst/>
              <a:gdLst>
                <a:gd name="T0" fmla="*/ 623 w 1210"/>
                <a:gd name="T1" fmla="*/ 1065 h 1065"/>
                <a:gd name="T2" fmla="*/ 211 w 1210"/>
                <a:gd name="T3" fmla="*/ 202 h 1065"/>
                <a:gd name="T4" fmla="*/ 194 w 1210"/>
                <a:gd name="T5" fmla="*/ 163 h 1065"/>
                <a:gd name="T6" fmla="*/ 177 w 1210"/>
                <a:gd name="T7" fmla="*/ 131 h 1065"/>
                <a:gd name="T8" fmla="*/ 160 w 1210"/>
                <a:gd name="T9" fmla="*/ 105 h 1065"/>
                <a:gd name="T10" fmla="*/ 139 w 1210"/>
                <a:gd name="T11" fmla="*/ 84 h 1065"/>
                <a:gd name="T12" fmla="*/ 115 w 1210"/>
                <a:gd name="T13" fmla="*/ 69 h 1065"/>
                <a:gd name="T14" fmla="*/ 84 w 1210"/>
                <a:gd name="T15" fmla="*/ 59 h 1065"/>
                <a:gd name="T16" fmla="*/ 47 w 1210"/>
                <a:gd name="T17" fmla="*/ 52 h 1065"/>
                <a:gd name="T18" fmla="*/ 0 w 1210"/>
                <a:gd name="T19" fmla="*/ 50 h 1065"/>
                <a:gd name="T20" fmla="*/ 566 w 1210"/>
                <a:gd name="T21" fmla="*/ 0 h 1065"/>
                <a:gd name="T22" fmla="*/ 566 w 1210"/>
                <a:gd name="T23" fmla="*/ 50 h 1065"/>
                <a:gd name="T24" fmla="*/ 516 w 1210"/>
                <a:gd name="T25" fmla="*/ 52 h 1065"/>
                <a:gd name="T26" fmla="*/ 477 w 1210"/>
                <a:gd name="T27" fmla="*/ 58 h 1065"/>
                <a:gd name="T28" fmla="*/ 448 w 1210"/>
                <a:gd name="T29" fmla="*/ 68 h 1065"/>
                <a:gd name="T30" fmla="*/ 430 w 1210"/>
                <a:gd name="T31" fmla="*/ 81 h 1065"/>
                <a:gd name="T32" fmla="*/ 421 w 1210"/>
                <a:gd name="T33" fmla="*/ 99 h 1065"/>
                <a:gd name="T34" fmla="*/ 419 w 1210"/>
                <a:gd name="T35" fmla="*/ 122 h 1065"/>
                <a:gd name="T36" fmla="*/ 425 w 1210"/>
                <a:gd name="T37" fmla="*/ 150 h 1065"/>
                <a:gd name="T38" fmla="*/ 437 w 1210"/>
                <a:gd name="T39" fmla="*/ 181 h 1065"/>
                <a:gd name="T40" fmla="*/ 922 w 1210"/>
                <a:gd name="T41" fmla="*/ 181 h 1065"/>
                <a:gd name="T42" fmla="*/ 928 w 1210"/>
                <a:gd name="T43" fmla="*/ 165 h 1065"/>
                <a:gd name="T44" fmla="*/ 937 w 1210"/>
                <a:gd name="T45" fmla="*/ 134 h 1065"/>
                <a:gd name="T46" fmla="*/ 938 w 1210"/>
                <a:gd name="T47" fmla="*/ 110 h 1065"/>
                <a:gd name="T48" fmla="*/ 932 w 1210"/>
                <a:gd name="T49" fmla="*/ 89 h 1065"/>
                <a:gd name="T50" fmla="*/ 918 w 1210"/>
                <a:gd name="T51" fmla="*/ 74 h 1065"/>
                <a:gd name="T52" fmla="*/ 894 w 1210"/>
                <a:gd name="T53" fmla="*/ 62 h 1065"/>
                <a:gd name="T54" fmla="*/ 860 w 1210"/>
                <a:gd name="T55" fmla="*/ 54 h 1065"/>
                <a:gd name="T56" fmla="*/ 817 w 1210"/>
                <a:gd name="T57" fmla="*/ 50 h 1065"/>
                <a:gd name="T58" fmla="*/ 792 w 1210"/>
                <a:gd name="T59" fmla="*/ 0 h 1065"/>
                <a:gd name="T60" fmla="*/ 1210 w 1210"/>
                <a:gd name="T61" fmla="*/ 50 h 1065"/>
                <a:gd name="T62" fmla="*/ 1189 w 1210"/>
                <a:gd name="T63" fmla="*/ 50 h 1065"/>
                <a:gd name="T64" fmla="*/ 1151 w 1210"/>
                <a:gd name="T65" fmla="*/ 53 h 1065"/>
                <a:gd name="T66" fmla="*/ 1119 w 1210"/>
                <a:gd name="T67" fmla="*/ 61 h 1065"/>
                <a:gd name="T68" fmla="*/ 1091 w 1210"/>
                <a:gd name="T69" fmla="*/ 73 h 1065"/>
                <a:gd name="T70" fmla="*/ 1068 w 1210"/>
                <a:gd name="T71" fmla="*/ 89 h 1065"/>
                <a:gd name="T72" fmla="*/ 1046 w 1210"/>
                <a:gd name="T73" fmla="*/ 113 h 1065"/>
                <a:gd name="T74" fmla="*/ 1027 w 1210"/>
                <a:gd name="T75" fmla="*/ 142 h 1065"/>
                <a:gd name="T76" fmla="*/ 1008 w 1210"/>
                <a:gd name="T77" fmla="*/ 180 h 1065"/>
                <a:gd name="T78" fmla="*/ 997 w 1210"/>
                <a:gd name="T79" fmla="*/ 202 h 10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10" h="1065">
                  <a:moveTo>
                    <a:pt x="997" y="202"/>
                  </a:moveTo>
                  <a:lnTo>
                    <a:pt x="623" y="1065"/>
                  </a:lnTo>
                  <a:lnTo>
                    <a:pt x="587" y="1065"/>
                  </a:lnTo>
                  <a:lnTo>
                    <a:pt x="211" y="202"/>
                  </a:lnTo>
                  <a:lnTo>
                    <a:pt x="211" y="202"/>
                  </a:lnTo>
                  <a:lnTo>
                    <a:pt x="194" y="163"/>
                  </a:lnTo>
                  <a:lnTo>
                    <a:pt x="185" y="146"/>
                  </a:lnTo>
                  <a:lnTo>
                    <a:pt x="177" y="131"/>
                  </a:lnTo>
                  <a:lnTo>
                    <a:pt x="168" y="117"/>
                  </a:lnTo>
                  <a:lnTo>
                    <a:pt x="160" y="105"/>
                  </a:lnTo>
                  <a:lnTo>
                    <a:pt x="150" y="93"/>
                  </a:lnTo>
                  <a:lnTo>
                    <a:pt x="139" y="84"/>
                  </a:lnTo>
                  <a:lnTo>
                    <a:pt x="128" y="76"/>
                  </a:lnTo>
                  <a:lnTo>
                    <a:pt x="115" y="69"/>
                  </a:lnTo>
                  <a:lnTo>
                    <a:pt x="101" y="63"/>
                  </a:lnTo>
                  <a:lnTo>
                    <a:pt x="84" y="59"/>
                  </a:lnTo>
                  <a:lnTo>
                    <a:pt x="67" y="54"/>
                  </a:lnTo>
                  <a:lnTo>
                    <a:pt x="47" y="52"/>
                  </a:lnTo>
                  <a:lnTo>
                    <a:pt x="25" y="50"/>
                  </a:lnTo>
                  <a:lnTo>
                    <a:pt x="0" y="50"/>
                  </a:lnTo>
                  <a:lnTo>
                    <a:pt x="0" y="0"/>
                  </a:lnTo>
                  <a:lnTo>
                    <a:pt x="566" y="0"/>
                  </a:lnTo>
                  <a:lnTo>
                    <a:pt x="566" y="50"/>
                  </a:lnTo>
                  <a:lnTo>
                    <a:pt x="566" y="50"/>
                  </a:lnTo>
                  <a:lnTo>
                    <a:pt x="539" y="50"/>
                  </a:lnTo>
                  <a:lnTo>
                    <a:pt x="516" y="52"/>
                  </a:lnTo>
                  <a:lnTo>
                    <a:pt x="494" y="54"/>
                  </a:lnTo>
                  <a:lnTo>
                    <a:pt x="477" y="58"/>
                  </a:lnTo>
                  <a:lnTo>
                    <a:pt x="460" y="63"/>
                  </a:lnTo>
                  <a:lnTo>
                    <a:pt x="448" y="68"/>
                  </a:lnTo>
                  <a:lnTo>
                    <a:pt x="438" y="74"/>
                  </a:lnTo>
                  <a:lnTo>
                    <a:pt x="430" y="81"/>
                  </a:lnTo>
                  <a:lnTo>
                    <a:pt x="424" y="90"/>
                  </a:lnTo>
                  <a:lnTo>
                    <a:pt x="421" y="99"/>
                  </a:lnTo>
                  <a:lnTo>
                    <a:pt x="419" y="111"/>
                  </a:lnTo>
                  <a:lnTo>
                    <a:pt x="419" y="122"/>
                  </a:lnTo>
                  <a:lnTo>
                    <a:pt x="421" y="135"/>
                  </a:lnTo>
                  <a:lnTo>
                    <a:pt x="425" y="150"/>
                  </a:lnTo>
                  <a:lnTo>
                    <a:pt x="430" y="165"/>
                  </a:lnTo>
                  <a:lnTo>
                    <a:pt x="437" y="181"/>
                  </a:lnTo>
                  <a:lnTo>
                    <a:pt x="678" y="742"/>
                  </a:lnTo>
                  <a:lnTo>
                    <a:pt x="922" y="181"/>
                  </a:lnTo>
                  <a:lnTo>
                    <a:pt x="922" y="181"/>
                  </a:lnTo>
                  <a:lnTo>
                    <a:pt x="928" y="165"/>
                  </a:lnTo>
                  <a:lnTo>
                    <a:pt x="933" y="149"/>
                  </a:lnTo>
                  <a:lnTo>
                    <a:pt x="937" y="134"/>
                  </a:lnTo>
                  <a:lnTo>
                    <a:pt x="938" y="122"/>
                  </a:lnTo>
                  <a:lnTo>
                    <a:pt x="938" y="110"/>
                  </a:lnTo>
                  <a:lnTo>
                    <a:pt x="936" y="98"/>
                  </a:lnTo>
                  <a:lnTo>
                    <a:pt x="932" y="89"/>
                  </a:lnTo>
                  <a:lnTo>
                    <a:pt x="926" y="81"/>
                  </a:lnTo>
                  <a:lnTo>
                    <a:pt x="918" y="74"/>
                  </a:lnTo>
                  <a:lnTo>
                    <a:pt x="906" y="67"/>
                  </a:lnTo>
                  <a:lnTo>
                    <a:pt x="894" y="62"/>
                  </a:lnTo>
                  <a:lnTo>
                    <a:pt x="879" y="58"/>
                  </a:lnTo>
                  <a:lnTo>
                    <a:pt x="860" y="54"/>
                  </a:lnTo>
                  <a:lnTo>
                    <a:pt x="841" y="52"/>
                  </a:lnTo>
                  <a:lnTo>
                    <a:pt x="817" y="50"/>
                  </a:lnTo>
                  <a:lnTo>
                    <a:pt x="792" y="50"/>
                  </a:lnTo>
                  <a:lnTo>
                    <a:pt x="792" y="0"/>
                  </a:lnTo>
                  <a:lnTo>
                    <a:pt x="1210" y="0"/>
                  </a:lnTo>
                  <a:lnTo>
                    <a:pt x="1210" y="50"/>
                  </a:lnTo>
                  <a:lnTo>
                    <a:pt x="1210" y="50"/>
                  </a:lnTo>
                  <a:lnTo>
                    <a:pt x="1189" y="50"/>
                  </a:lnTo>
                  <a:lnTo>
                    <a:pt x="1169" y="51"/>
                  </a:lnTo>
                  <a:lnTo>
                    <a:pt x="1151" y="53"/>
                  </a:lnTo>
                  <a:lnTo>
                    <a:pt x="1134" y="57"/>
                  </a:lnTo>
                  <a:lnTo>
                    <a:pt x="1119" y="61"/>
                  </a:lnTo>
                  <a:lnTo>
                    <a:pt x="1105" y="66"/>
                  </a:lnTo>
                  <a:lnTo>
                    <a:pt x="1091" y="73"/>
                  </a:lnTo>
                  <a:lnTo>
                    <a:pt x="1079" y="80"/>
                  </a:lnTo>
                  <a:lnTo>
                    <a:pt x="1068" y="89"/>
                  </a:lnTo>
                  <a:lnTo>
                    <a:pt x="1057" y="100"/>
                  </a:lnTo>
                  <a:lnTo>
                    <a:pt x="1046" y="113"/>
                  </a:lnTo>
                  <a:lnTo>
                    <a:pt x="1036" y="127"/>
                  </a:lnTo>
                  <a:lnTo>
                    <a:pt x="1027" y="142"/>
                  </a:lnTo>
                  <a:lnTo>
                    <a:pt x="1017" y="161"/>
                  </a:lnTo>
                  <a:lnTo>
                    <a:pt x="1008" y="180"/>
                  </a:lnTo>
                  <a:lnTo>
                    <a:pt x="997" y="202"/>
                  </a:lnTo>
                  <a:lnTo>
                    <a:pt x="997" y="20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5" name="Freeform 6"/>
            <p:cNvSpPr>
              <a:spLocks noEditPoints="1"/>
            </p:cNvSpPr>
            <p:nvPr userDrawn="1"/>
          </p:nvSpPr>
          <p:spPr bwMode="auto">
            <a:xfrm>
              <a:off x="1671638" y="890588"/>
              <a:ext cx="160338" cy="139700"/>
            </a:xfrm>
            <a:custGeom>
              <a:avLst/>
              <a:gdLst>
                <a:gd name="T0" fmla="*/ 289 w 1210"/>
                <a:gd name="T1" fmla="*/ 883 h 1064"/>
                <a:gd name="T2" fmla="*/ 276 w 1210"/>
                <a:gd name="T3" fmla="*/ 916 h 1064"/>
                <a:gd name="T4" fmla="*/ 271 w 1210"/>
                <a:gd name="T5" fmla="*/ 943 h 1064"/>
                <a:gd name="T6" fmla="*/ 274 w 1210"/>
                <a:gd name="T7" fmla="*/ 966 h 1064"/>
                <a:gd name="T8" fmla="*/ 284 w 1210"/>
                <a:gd name="T9" fmla="*/ 983 h 1064"/>
                <a:gd name="T10" fmla="*/ 303 w 1210"/>
                <a:gd name="T11" fmla="*/ 998 h 1064"/>
                <a:gd name="T12" fmla="*/ 331 w 1210"/>
                <a:gd name="T13" fmla="*/ 1007 h 1064"/>
                <a:gd name="T14" fmla="*/ 369 w 1210"/>
                <a:gd name="T15" fmla="*/ 1013 h 1064"/>
                <a:gd name="T16" fmla="*/ 417 w 1210"/>
                <a:gd name="T17" fmla="*/ 1014 h 1064"/>
                <a:gd name="T18" fmla="*/ 0 w 1210"/>
                <a:gd name="T19" fmla="*/ 1064 h 1064"/>
                <a:gd name="T20" fmla="*/ 0 w 1210"/>
                <a:gd name="T21" fmla="*/ 1014 h 1064"/>
                <a:gd name="T22" fmla="*/ 41 w 1210"/>
                <a:gd name="T23" fmla="*/ 1013 h 1064"/>
                <a:gd name="T24" fmla="*/ 76 w 1210"/>
                <a:gd name="T25" fmla="*/ 1008 h 1064"/>
                <a:gd name="T26" fmla="*/ 106 w 1210"/>
                <a:gd name="T27" fmla="*/ 999 h 1064"/>
                <a:gd name="T28" fmla="*/ 131 w 1210"/>
                <a:gd name="T29" fmla="*/ 984 h 1064"/>
                <a:gd name="T30" fmla="*/ 153 w 1210"/>
                <a:gd name="T31" fmla="*/ 964 h 1064"/>
                <a:gd name="T32" fmla="*/ 173 w 1210"/>
                <a:gd name="T33" fmla="*/ 938 h 1064"/>
                <a:gd name="T34" fmla="*/ 192 w 1210"/>
                <a:gd name="T35" fmla="*/ 904 h 1064"/>
                <a:gd name="T36" fmla="*/ 212 w 1210"/>
                <a:gd name="T37" fmla="*/ 863 h 1064"/>
                <a:gd name="T38" fmla="*/ 623 w 1210"/>
                <a:gd name="T39" fmla="*/ 0 h 1064"/>
                <a:gd name="T40" fmla="*/ 999 w 1210"/>
                <a:gd name="T41" fmla="*/ 863 h 1064"/>
                <a:gd name="T42" fmla="*/ 1025 w 1210"/>
                <a:gd name="T43" fmla="*/ 918 h 1064"/>
                <a:gd name="T44" fmla="*/ 1041 w 1210"/>
                <a:gd name="T45" fmla="*/ 946 h 1064"/>
                <a:gd name="T46" fmla="*/ 1060 w 1210"/>
                <a:gd name="T47" fmla="*/ 970 h 1064"/>
                <a:gd name="T48" fmla="*/ 1082 w 1210"/>
                <a:gd name="T49" fmla="*/ 988 h 1064"/>
                <a:gd name="T50" fmla="*/ 1110 w 1210"/>
                <a:gd name="T51" fmla="*/ 1002 h 1064"/>
                <a:gd name="T52" fmla="*/ 1142 w 1210"/>
                <a:gd name="T53" fmla="*/ 1010 h 1064"/>
                <a:gd name="T54" fmla="*/ 1185 w 1210"/>
                <a:gd name="T55" fmla="*/ 1014 h 1064"/>
                <a:gd name="T56" fmla="*/ 1210 w 1210"/>
                <a:gd name="T57" fmla="*/ 1064 h 1064"/>
                <a:gd name="T58" fmla="*/ 647 w 1210"/>
                <a:gd name="T59" fmla="*/ 1014 h 1064"/>
                <a:gd name="T60" fmla="*/ 674 w 1210"/>
                <a:gd name="T61" fmla="*/ 1014 h 1064"/>
                <a:gd name="T62" fmla="*/ 719 w 1210"/>
                <a:gd name="T63" fmla="*/ 1010 h 1064"/>
                <a:gd name="T64" fmla="*/ 752 w 1210"/>
                <a:gd name="T65" fmla="*/ 1003 h 1064"/>
                <a:gd name="T66" fmla="*/ 775 w 1210"/>
                <a:gd name="T67" fmla="*/ 990 h 1064"/>
                <a:gd name="T68" fmla="*/ 790 w 1210"/>
                <a:gd name="T69" fmla="*/ 974 h 1064"/>
                <a:gd name="T70" fmla="*/ 795 w 1210"/>
                <a:gd name="T71" fmla="*/ 954 h 1064"/>
                <a:gd name="T72" fmla="*/ 793 w 1210"/>
                <a:gd name="T73" fmla="*/ 929 h 1064"/>
                <a:gd name="T74" fmla="*/ 783 w 1210"/>
                <a:gd name="T75" fmla="*/ 899 h 1064"/>
                <a:gd name="T76" fmla="*/ 704 w 1210"/>
                <a:gd name="T77" fmla="*/ 719 h 1064"/>
                <a:gd name="T78" fmla="*/ 289 w 1210"/>
                <a:gd name="T79" fmla="*/ 883 h 1064"/>
                <a:gd name="T80" fmla="*/ 394 w 1210"/>
                <a:gd name="T81" fmla="*/ 642 h 1064"/>
                <a:gd name="T82" fmla="*/ 533 w 1210"/>
                <a:gd name="T83" fmla="*/ 318 h 10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210" h="1064">
                  <a:moveTo>
                    <a:pt x="289" y="883"/>
                  </a:moveTo>
                  <a:lnTo>
                    <a:pt x="289" y="883"/>
                  </a:lnTo>
                  <a:lnTo>
                    <a:pt x="281" y="900"/>
                  </a:lnTo>
                  <a:lnTo>
                    <a:pt x="276" y="916"/>
                  </a:lnTo>
                  <a:lnTo>
                    <a:pt x="273" y="930"/>
                  </a:lnTo>
                  <a:lnTo>
                    <a:pt x="271" y="943"/>
                  </a:lnTo>
                  <a:lnTo>
                    <a:pt x="272" y="955"/>
                  </a:lnTo>
                  <a:lnTo>
                    <a:pt x="274" y="966"/>
                  </a:lnTo>
                  <a:lnTo>
                    <a:pt x="278" y="975"/>
                  </a:lnTo>
                  <a:lnTo>
                    <a:pt x="284" y="983"/>
                  </a:lnTo>
                  <a:lnTo>
                    <a:pt x="293" y="991"/>
                  </a:lnTo>
                  <a:lnTo>
                    <a:pt x="303" y="998"/>
                  </a:lnTo>
                  <a:lnTo>
                    <a:pt x="316" y="1003"/>
                  </a:lnTo>
                  <a:lnTo>
                    <a:pt x="331" y="1007"/>
                  </a:lnTo>
                  <a:lnTo>
                    <a:pt x="349" y="1010"/>
                  </a:lnTo>
                  <a:lnTo>
                    <a:pt x="369" y="1013"/>
                  </a:lnTo>
                  <a:lnTo>
                    <a:pt x="392" y="1014"/>
                  </a:lnTo>
                  <a:lnTo>
                    <a:pt x="417" y="1014"/>
                  </a:lnTo>
                  <a:lnTo>
                    <a:pt x="417" y="1064"/>
                  </a:lnTo>
                  <a:lnTo>
                    <a:pt x="0" y="1064"/>
                  </a:lnTo>
                  <a:lnTo>
                    <a:pt x="0" y="1014"/>
                  </a:lnTo>
                  <a:lnTo>
                    <a:pt x="0" y="1014"/>
                  </a:lnTo>
                  <a:lnTo>
                    <a:pt x="22" y="1014"/>
                  </a:lnTo>
                  <a:lnTo>
                    <a:pt x="41" y="1013"/>
                  </a:lnTo>
                  <a:lnTo>
                    <a:pt x="59" y="1011"/>
                  </a:lnTo>
                  <a:lnTo>
                    <a:pt x="76" y="1008"/>
                  </a:lnTo>
                  <a:lnTo>
                    <a:pt x="91" y="1004"/>
                  </a:lnTo>
                  <a:lnTo>
                    <a:pt x="106" y="999"/>
                  </a:lnTo>
                  <a:lnTo>
                    <a:pt x="119" y="992"/>
                  </a:lnTo>
                  <a:lnTo>
                    <a:pt x="131" y="984"/>
                  </a:lnTo>
                  <a:lnTo>
                    <a:pt x="142" y="975"/>
                  </a:lnTo>
                  <a:lnTo>
                    <a:pt x="153" y="964"/>
                  </a:lnTo>
                  <a:lnTo>
                    <a:pt x="164" y="952"/>
                  </a:lnTo>
                  <a:lnTo>
                    <a:pt x="173" y="938"/>
                  </a:lnTo>
                  <a:lnTo>
                    <a:pt x="183" y="922"/>
                  </a:lnTo>
                  <a:lnTo>
                    <a:pt x="192" y="904"/>
                  </a:lnTo>
                  <a:lnTo>
                    <a:pt x="203" y="884"/>
                  </a:lnTo>
                  <a:lnTo>
                    <a:pt x="212" y="863"/>
                  </a:lnTo>
                  <a:lnTo>
                    <a:pt x="586" y="0"/>
                  </a:lnTo>
                  <a:lnTo>
                    <a:pt x="623" y="0"/>
                  </a:lnTo>
                  <a:lnTo>
                    <a:pt x="999" y="863"/>
                  </a:lnTo>
                  <a:lnTo>
                    <a:pt x="999" y="863"/>
                  </a:lnTo>
                  <a:lnTo>
                    <a:pt x="1017" y="900"/>
                  </a:lnTo>
                  <a:lnTo>
                    <a:pt x="1025" y="918"/>
                  </a:lnTo>
                  <a:lnTo>
                    <a:pt x="1033" y="933"/>
                  </a:lnTo>
                  <a:lnTo>
                    <a:pt x="1041" y="946"/>
                  </a:lnTo>
                  <a:lnTo>
                    <a:pt x="1050" y="959"/>
                  </a:lnTo>
                  <a:lnTo>
                    <a:pt x="1060" y="970"/>
                  </a:lnTo>
                  <a:lnTo>
                    <a:pt x="1071" y="980"/>
                  </a:lnTo>
                  <a:lnTo>
                    <a:pt x="1082" y="988"/>
                  </a:lnTo>
                  <a:lnTo>
                    <a:pt x="1095" y="995"/>
                  </a:lnTo>
                  <a:lnTo>
                    <a:pt x="1110" y="1002"/>
                  </a:lnTo>
                  <a:lnTo>
                    <a:pt x="1125" y="1006"/>
                  </a:lnTo>
                  <a:lnTo>
                    <a:pt x="1142" y="1010"/>
                  </a:lnTo>
                  <a:lnTo>
                    <a:pt x="1163" y="1012"/>
                  </a:lnTo>
                  <a:lnTo>
                    <a:pt x="1185" y="1014"/>
                  </a:lnTo>
                  <a:lnTo>
                    <a:pt x="1210" y="1014"/>
                  </a:lnTo>
                  <a:lnTo>
                    <a:pt x="1210" y="1064"/>
                  </a:lnTo>
                  <a:lnTo>
                    <a:pt x="647" y="1064"/>
                  </a:lnTo>
                  <a:lnTo>
                    <a:pt x="647" y="1014"/>
                  </a:lnTo>
                  <a:lnTo>
                    <a:pt x="647" y="1014"/>
                  </a:lnTo>
                  <a:lnTo>
                    <a:pt x="674" y="1014"/>
                  </a:lnTo>
                  <a:lnTo>
                    <a:pt x="698" y="1012"/>
                  </a:lnTo>
                  <a:lnTo>
                    <a:pt x="719" y="1010"/>
                  </a:lnTo>
                  <a:lnTo>
                    <a:pt x="736" y="1007"/>
                  </a:lnTo>
                  <a:lnTo>
                    <a:pt x="752" y="1003"/>
                  </a:lnTo>
                  <a:lnTo>
                    <a:pt x="765" y="996"/>
                  </a:lnTo>
                  <a:lnTo>
                    <a:pt x="775" y="990"/>
                  </a:lnTo>
                  <a:lnTo>
                    <a:pt x="783" y="983"/>
                  </a:lnTo>
                  <a:lnTo>
                    <a:pt x="790" y="974"/>
                  </a:lnTo>
                  <a:lnTo>
                    <a:pt x="793" y="965"/>
                  </a:lnTo>
                  <a:lnTo>
                    <a:pt x="795" y="954"/>
                  </a:lnTo>
                  <a:lnTo>
                    <a:pt x="795" y="942"/>
                  </a:lnTo>
                  <a:lnTo>
                    <a:pt x="793" y="929"/>
                  </a:lnTo>
                  <a:lnTo>
                    <a:pt x="789" y="915"/>
                  </a:lnTo>
                  <a:lnTo>
                    <a:pt x="783" y="899"/>
                  </a:lnTo>
                  <a:lnTo>
                    <a:pt x="776" y="883"/>
                  </a:lnTo>
                  <a:lnTo>
                    <a:pt x="704" y="719"/>
                  </a:lnTo>
                  <a:lnTo>
                    <a:pt x="359" y="719"/>
                  </a:lnTo>
                  <a:lnTo>
                    <a:pt x="289" y="883"/>
                  </a:lnTo>
                  <a:close/>
                  <a:moveTo>
                    <a:pt x="533" y="318"/>
                  </a:moveTo>
                  <a:lnTo>
                    <a:pt x="394" y="642"/>
                  </a:lnTo>
                  <a:lnTo>
                    <a:pt x="671" y="642"/>
                  </a:lnTo>
                  <a:lnTo>
                    <a:pt x="533" y="31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6" name="Freeform 7"/>
            <p:cNvSpPr>
              <a:spLocks/>
            </p:cNvSpPr>
            <p:nvPr userDrawn="1"/>
          </p:nvSpPr>
          <p:spPr bwMode="auto">
            <a:xfrm>
              <a:off x="1849438" y="893763"/>
              <a:ext cx="131763" cy="136525"/>
            </a:xfrm>
            <a:custGeom>
              <a:avLst/>
              <a:gdLst>
                <a:gd name="T0" fmla="*/ 0 w 1002"/>
                <a:gd name="T1" fmla="*/ 0 h 1035"/>
                <a:gd name="T2" fmla="*/ 545 w 1002"/>
                <a:gd name="T3" fmla="*/ 50 h 1035"/>
                <a:gd name="T4" fmla="*/ 519 w 1002"/>
                <a:gd name="T5" fmla="*/ 50 h 1035"/>
                <a:gd name="T6" fmla="*/ 476 w 1002"/>
                <a:gd name="T7" fmla="*/ 54 h 1035"/>
                <a:gd name="T8" fmla="*/ 443 w 1002"/>
                <a:gd name="T9" fmla="*/ 63 h 1035"/>
                <a:gd name="T10" fmla="*/ 424 w 1002"/>
                <a:gd name="T11" fmla="*/ 73 h 1035"/>
                <a:gd name="T12" fmla="*/ 413 w 1002"/>
                <a:gd name="T13" fmla="*/ 81 h 1035"/>
                <a:gd name="T14" fmla="*/ 405 w 1002"/>
                <a:gd name="T15" fmla="*/ 92 h 1035"/>
                <a:gd name="T16" fmla="*/ 394 w 1002"/>
                <a:gd name="T17" fmla="*/ 113 h 1035"/>
                <a:gd name="T18" fmla="*/ 385 w 1002"/>
                <a:gd name="T19" fmla="*/ 148 h 1035"/>
                <a:gd name="T20" fmla="*/ 380 w 1002"/>
                <a:gd name="T21" fmla="*/ 194 h 1035"/>
                <a:gd name="T22" fmla="*/ 379 w 1002"/>
                <a:gd name="T23" fmla="*/ 252 h 1035"/>
                <a:gd name="T24" fmla="*/ 379 w 1002"/>
                <a:gd name="T25" fmla="*/ 756 h 1035"/>
                <a:gd name="T26" fmla="*/ 380 w 1002"/>
                <a:gd name="T27" fmla="*/ 814 h 1035"/>
                <a:gd name="T28" fmla="*/ 385 w 1002"/>
                <a:gd name="T29" fmla="*/ 860 h 1035"/>
                <a:gd name="T30" fmla="*/ 394 w 1002"/>
                <a:gd name="T31" fmla="*/ 896 h 1035"/>
                <a:gd name="T32" fmla="*/ 405 w 1002"/>
                <a:gd name="T33" fmla="*/ 915 h 1035"/>
                <a:gd name="T34" fmla="*/ 413 w 1002"/>
                <a:gd name="T35" fmla="*/ 927 h 1035"/>
                <a:gd name="T36" fmla="*/ 424 w 1002"/>
                <a:gd name="T37" fmla="*/ 936 h 1035"/>
                <a:gd name="T38" fmla="*/ 443 w 1002"/>
                <a:gd name="T39" fmla="*/ 946 h 1035"/>
                <a:gd name="T40" fmla="*/ 476 w 1002"/>
                <a:gd name="T41" fmla="*/ 954 h 1035"/>
                <a:gd name="T42" fmla="*/ 519 w 1002"/>
                <a:gd name="T43" fmla="*/ 957 h 1035"/>
                <a:gd name="T44" fmla="*/ 743 w 1002"/>
                <a:gd name="T45" fmla="*/ 957 h 1035"/>
                <a:gd name="T46" fmla="*/ 772 w 1002"/>
                <a:gd name="T47" fmla="*/ 957 h 1035"/>
                <a:gd name="T48" fmla="*/ 819 w 1002"/>
                <a:gd name="T49" fmla="*/ 953 h 1035"/>
                <a:gd name="T50" fmla="*/ 855 w 1002"/>
                <a:gd name="T51" fmla="*/ 946 h 1035"/>
                <a:gd name="T52" fmla="*/ 883 w 1002"/>
                <a:gd name="T53" fmla="*/ 934 h 1035"/>
                <a:gd name="T54" fmla="*/ 904 w 1002"/>
                <a:gd name="T55" fmla="*/ 917 h 1035"/>
                <a:gd name="T56" fmla="*/ 919 w 1002"/>
                <a:gd name="T57" fmla="*/ 897 h 1035"/>
                <a:gd name="T58" fmla="*/ 930 w 1002"/>
                <a:gd name="T59" fmla="*/ 872 h 1035"/>
                <a:gd name="T60" fmla="*/ 943 w 1002"/>
                <a:gd name="T61" fmla="*/ 826 h 1035"/>
                <a:gd name="T62" fmla="*/ 1002 w 1002"/>
                <a:gd name="T63" fmla="*/ 792 h 1035"/>
                <a:gd name="T64" fmla="*/ 0 w 1002"/>
                <a:gd name="T65" fmla="*/ 1035 h 1035"/>
                <a:gd name="T66" fmla="*/ 0 w 1002"/>
                <a:gd name="T67" fmla="*/ 985 h 1035"/>
                <a:gd name="T68" fmla="*/ 48 w 1002"/>
                <a:gd name="T69" fmla="*/ 984 h 1035"/>
                <a:gd name="T70" fmla="*/ 86 w 1002"/>
                <a:gd name="T71" fmla="*/ 978 h 1035"/>
                <a:gd name="T72" fmla="*/ 114 w 1002"/>
                <a:gd name="T73" fmla="*/ 966 h 1035"/>
                <a:gd name="T74" fmla="*/ 125 w 1002"/>
                <a:gd name="T75" fmla="*/ 958 h 1035"/>
                <a:gd name="T76" fmla="*/ 136 w 1002"/>
                <a:gd name="T77" fmla="*/ 949 h 1035"/>
                <a:gd name="T78" fmla="*/ 143 w 1002"/>
                <a:gd name="T79" fmla="*/ 937 h 1035"/>
                <a:gd name="T80" fmla="*/ 154 w 1002"/>
                <a:gd name="T81" fmla="*/ 906 h 1035"/>
                <a:gd name="T82" fmla="*/ 161 w 1002"/>
                <a:gd name="T83" fmla="*/ 866 h 1035"/>
                <a:gd name="T84" fmla="*/ 163 w 1002"/>
                <a:gd name="T85" fmla="*/ 814 h 1035"/>
                <a:gd name="T86" fmla="*/ 163 w 1002"/>
                <a:gd name="T87" fmla="*/ 252 h 1035"/>
                <a:gd name="T88" fmla="*/ 163 w 1002"/>
                <a:gd name="T89" fmla="*/ 221 h 1035"/>
                <a:gd name="T90" fmla="*/ 161 w 1002"/>
                <a:gd name="T91" fmla="*/ 169 h 1035"/>
                <a:gd name="T92" fmla="*/ 154 w 1002"/>
                <a:gd name="T93" fmla="*/ 129 h 1035"/>
                <a:gd name="T94" fmla="*/ 143 w 1002"/>
                <a:gd name="T95" fmla="*/ 98 h 1035"/>
                <a:gd name="T96" fmla="*/ 136 w 1002"/>
                <a:gd name="T97" fmla="*/ 86 h 1035"/>
                <a:gd name="T98" fmla="*/ 125 w 1002"/>
                <a:gd name="T99" fmla="*/ 77 h 1035"/>
                <a:gd name="T100" fmla="*/ 114 w 1002"/>
                <a:gd name="T101" fmla="*/ 69 h 1035"/>
                <a:gd name="T102" fmla="*/ 86 w 1002"/>
                <a:gd name="T103" fmla="*/ 58 h 1035"/>
                <a:gd name="T104" fmla="*/ 48 w 1002"/>
                <a:gd name="T105" fmla="*/ 51 h 1035"/>
                <a:gd name="T106" fmla="*/ 0 w 1002"/>
                <a:gd name="T107" fmla="*/ 50 h 10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02" h="1035">
                  <a:moveTo>
                    <a:pt x="0" y="50"/>
                  </a:moveTo>
                  <a:lnTo>
                    <a:pt x="0" y="0"/>
                  </a:lnTo>
                  <a:lnTo>
                    <a:pt x="545" y="0"/>
                  </a:lnTo>
                  <a:lnTo>
                    <a:pt x="545" y="50"/>
                  </a:lnTo>
                  <a:lnTo>
                    <a:pt x="545" y="50"/>
                  </a:lnTo>
                  <a:lnTo>
                    <a:pt x="519" y="50"/>
                  </a:lnTo>
                  <a:lnTo>
                    <a:pt x="497" y="51"/>
                  </a:lnTo>
                  <a:lnTo>
                    <a:pt x="476" y="54"/>
                  </a:lnTo>
                  <a:lnTo>
                    <a:pt x="459" y="58"/>
                  </a:lnTo>
                  <a:lnTo>
                    <a:pt x="443" y="63"/>
                  </a:lnTo>
                  <a:lnTo>
                    <a:pt x="429" y="69"/>
                  </a:lnTo>
                  <a:lnTo>
                    <a:pt x="424" y="73"/>
                  </a:lnTo>
                  <a:lnTo>
                    <a:pt x="418" y="77"/>
                  </a:lnTo>
                  <a:lnTo>
                    <a:pt x="413" y="81"/>
                  </a:lnTo>
                  <a:lnTo>
                    <a:pt x="409" y="86"/>
                  </a:lnTo>
                  <a:lnTo>
                    <a:pt x="405" y="92"/>
                  </a:lnTo>
                  <a:lnTo>
                    <a:pt x="400" y="98"/>
                  </a:lnTo>
                  <a:lnTo>
                    <a:pt x="394" y="113"/>
                  </a:lnTo>
                  <a:lnTo>
                    <a:pt x="389" y="129"/>
                  </a:lnTo>
                  <a:lnTo>
                    <a:pt x="385" y="148"/>
                  </a:lnTo>
                  <a:lnTo>
                    <a:pt x="382" y="169"/>
                  </a:lnTo>
                  <a:lnTo>
                    <a:pt x="380" y="194"/>
                  </a:lnTo>
                  <a:lnTo>
                    <a:pt x="379" y="221"/>
                  </a:lnTo>
                  <a:lnTo>
                    <a:pt x="379" y="252"/>
                  </a:lnTo>
                  <a:lnTo>
                    <a:pt x="379" y="756"/>
                  </a:lnTo>
                  <a:lnTo>
                    <a:pt x="379" y="756"/>
                  </a:lnTo>
                  <a:lnTo>
                    <a:pt x="379" y="787"/>
                  </a:lnTo>
                  <a:lnTo>
                    <a:pt x="380" y="814"/>
                  </a:lnTo>
                  <a:lnTo>
                    <a:pt x="382" y="839"/>
                  </a:lnTo>
                  <a:lnTo>
                    <a:pt x="385" y="860"/>
                  </a:lnTo>
                  <a:lnTo>
                    <a:pt x="389" y="879"/>
                  </a:lnTo>
                  <a:lnTo>
                    <a:pt x="394" y="896"/>
                  </a:lnTo>
                  <a:lnTo>
                    <a:pt x="400" y="909"/>
                  </a:lnTo>
                  <a:lnTo>
                    <a:pt x="405" y="915"/>
                  </a:lnTo>
                  <a:lnTo>
                    <a:pt x="409" y="921"/>
                  </a:lnTo>
                  <a:lnTo>
                    <a:pt x="413" y="927"/>
                  </a:lnTo>
                  <a:lnTo>
                    <a:pt x="418" y="932"/>
                  </a:lnTo>
                  <a:lnTo>
                    <a:pt x="424" y="936"/>
                  </a:lnTo>
                  <a:lnTo>
                    <a:pt x="429" y="939"/>
                  </a:lnTo>
                  <a:lnTo>
                    <a:pt x="443" y="946"/>
                  </a:lnTo>
                  <a:lnTo>
                    <a:pt x="459" y="950"/>
                  </a:lnTo>
                  <a:lnTo>
                    <a:pt x="476" y="954"/>
                  </a:lnTo>
                  <a:lnTo>
                    <a:pt x="497" y="956"/>
                  </a:lnTo>
                  <a:lnTo>
                    <a:pt x="519" y="957"/>
                  </a:lnTo>
                  <a:lnTo>
                    <a:pt x="545" y="957"/>
                  </a:lnTo>
                  <a:lnTo>
                    <a:pt x="743" y="957"/>
                  </a:lnTo>
                  <a:lnTo>
                    <a:pt x="743" y="957"/>
                  </a:lnTo>
                  <a:lnTo>
                    <a:pt x="772" y="957"/>
                  </a:lnTo>
                  <a:lnTo>
                    <a:pt x="796" y="955"/>
                  </a:lnTo>
                  <a:lnTo>
                    <a:pt x="819" y="953"/>
                  </a:lnTo>
                  <a:lnTo>
                    <a:pt x="838" y="950"/>
                  </a:lnTo>
                  <a:lnTo>
                    <a:pt x="855" y="946"/>
                  </a:lnTo>
                  <a:lnTo>
                    <a:pt x="871" y="940"/>
                  </a:lnTo>
                  <a:lnTo>
                    <a:pt x="883" y="934"/>
                  </a:lnTo>
                  <a:lnTo>
                    <a:pt x="894" y="927"/>
                  </a:lnTo>
                  <a:lnTo>
                    <a:pt x="904" y="917"/>
                  </a:lnTo>
                  <a:lnTo>
                    <a:pt x="912" y="908"/>
                  </a:lnTo>
                  <a:lnTo>
                    <a:pt x="919" y="897"/>
                  </a:lnTo>
                  <a:lnTo>
                    <a:pt x="925" y="886"/>
                  </a:lnTo>
                  <a:lnTo>
                    <a:pt x="930" y="872"/>
                  </a:lnTo>
                  <a:lnTo>
                    <a:pt x="935" y="858"/>
                  </a:lnTo>
                  <a:lnTo>
                    <a:pt x="943" y="826"/>
                  </a:lnTo>
                  <a:lnTo>
                    <a:pt x="952" y="792"/>
                  </a:lnTo>
                  <a:lnTo>
                    <a:pt x="1002" y="792"/>
                  </a:lnTo>
                  <a:lnTo>
                    <a:pt x="988" y="1035"/>
                  </a:lnTo>
                  <a:lnTo>
                    <a:pt x="0" y="1035"/>
                  </a:lnTo>
                  <a:lnTo>
                    <a:pt x="0" y="985"/>
                  </a:lnTo>
                  <a:lnTo>
                    <a:pt x="0" y="985"/>
                  </a:lnTo>
                  <a:lnTo>
                    <a:pt x="25" y="985"/>
                  </a:lnTo>
                  <a:lnTo>
                    <a:pt x="48" y="984"/>
                  </a:lnTo>
                  <a:lnTo>
                    <a:pt x="68" y="982"/>
                  </a:lnTo>
                  <a:lnTo>
                    <a:pt x="86" y="978"/>
                  </a:lnTo>
                  <a:lnTo>
                    <a:pt x="101" y="973"/>
                  </a:lnTo>
                  <a:lnTo>
                    <a:pt x="114" y="966"/>
                  </a:lnTo>
                  <a:lnTo>
                    <a:pt x="120" y="963"/>
                  </a:lnTo>
                  <a:lnTo>
                    <a:pt x="125" y="958"/>
                  </a:lnTo>
                  <a:lnTo>
                    <a:pt x="131" y="954"/>
                  </a:lnTo>
                  <a:lnTo>
                    <a:pt x="136" y="949"/>
                  </a:lnTo>
                  <a:lnTo>
                    <a:pt x="140" y="943"/>
                  </a:lnTo>
                  <a:lnTo>
                    <a:pt x="143" y="937"/>
                  </a:lnTo>
                  <a:lnTo>
                    <a:pt x="150" y="923"/>
                  </a:lnTo>
                  <a:lnTo>
                    <a:pt x="154" y="906"/>
                  </a:lnTo>
                  <a:lnTo>
                    <a:pt x="158" y="888"/>
                  </a:lnTo>
                  <a:lnTo>
                    <a:pt x="161" y="866"/>
                  </a:lnTo>
                  <a:lnTo>
                    <a:pt x="162" y="842"/>
                  </a:lnTo>
                  <a:lnTo>
                    <a:pt x="163" y="814"/>
                  </a:lnTo>
                  <a:lnTo>
                    <a:pt x="163" y="783"/>
                  </a:lnTo>
                  <a:lnTo>
                    <a:pt x="163" y="252"/>
                  </a:lnTo>
                  <a:lnTo>
                    <a:pt x="163" y="252"/>
                  </a:lnTo>
                  <a:lnTo>
                    <a:pt x="163" y="221"/>
                  </a:lnTo>
                  <a:lnTo>
                    <a:pt x="162" y="194"/>
                  </a:lnTo>
                  <a:lnTo>
                    <a:pt x="161" y="169"/>
                  </a:lnTo>
                  <a:lnTo>
                    <a:pt x="158" y="148"/>
                  </a:lnTo>
                  <a:lnTo>
                    <a:pt x="154" y="129"/>
                  </a:lnTo>
                  <a:lnTo>
                    <a:pt x="150" y="113"/>
                  </a:lnTo>
                  <a:lnTo>
                    <a:pt x="143" y="98"/>
                  </a:lnTo>
                  <a:lnTo>
                    <a:pt x="140" y="92"/>
                  </a:lnTo>
                  <a:lnTo>
                    <a:pt x="136" y="86"/>
                  </a:lnTo>
                  <a:lnTo>
                    <a:pt x="131" y="81"/>
                  </a:lnTo>
                  <a:lnTo>
                    <a:pt x="125" y="77"/>
                  </a:lnTo>
                  <a:lnTo>
                    <a:pt x="120" y="73"/>
                  </a:lnTo>
                  <a:lnTo>
                    <a:pt x="114" y="69"/>
                  </a:lnTo>
                  <a:lnTo>
                    <a:pt x="101" y="63"/>
                  </a:lnTo>
                  <a:lnTo>
                    <a:pt x="86" y="58"/>
                  </a:lnTo>
                  <a:lnTo>
                    <a:pt x="68" y="54"/>
                  </a:lnTo>
                  <a:lnTo>
                    <a:pt x="48" y="51"/>
                  </a:lnTo>
                  <a:lnTo>
                    <a:pt x="25" y="50"/>
                  </a:lnTo>
                  <a:lnTo>
                    <a:pt x="0" y="50"/>
                  </a:lnTo>
                  <a:lnTo>
                    <a:pt x="0" y="5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7" name="Freeform 8"/>
            <p:cNvSpPr>
              <a:spLocks/>
            </p:cNvSpPr>
            <p:nvPr userDrawn="1"/>
          </p:nvSpPr>
          <p:spPr bwMode="auto">
            <a:xfrm>
              <a:off x="1982788" y="893763"/>
              <a:ext cx="142875" cy="136525"/>
            </a:xfrm>
            <a:custGeom>
              <a:avLst/>
              <a:gdLst>
                <a:gd name="T0" fmla="*/ 1028 w 1078"/>
                <a:gd name="T1" fmla="*/ 244 h 1035"/>
                <a:gd name="T2" fmla="*/ 1019 w 1078"/>
                <a:gd name="T3" fmla="*/ 209 h 1035"/>
                <a:gd name="T4" fmla="*/ 1006 w 1078"/>
                <a:gd name="T5" fmla="*/ 163 h 1035"/>
                <a:gd name="T6" fmla="*/ 995 w 1078"/>
                <a:gd name="T7" fmla="*/ 138 h 1035"/>
                <a:gd name="T8" fmla="*/ 979 w 1078"/>
                <a:gd name="T9" fmla="*/ 118 h 1035"/>
                <a:gd name="T10" fmla="*/ 959 w 1078"/>
                <a:gd name="T11" fmla="*/ 101 h 1035"/>
                <a:gd name="T12" fmla="*/ 931 w 1078"/>
                <a:gd name="T13" fmla="*/ 90 h 1035"/>
                <a:gd name="T14" fmla="*/ 895 w 1078"/>
                <a:gd name="T15" fmla="*/ 82 h 1035"/>
                <a:gd name="T16" fmla="*/ 848 w 1078"/>
                <a:gd name="T17" fmla="*/ 78 h 1035"/>
                <a:gd name="T18" fmla="*/ 646 w 1078"/>
                <a:gd name="T19" fmla="*/ 78 h 1035"/>
                <a:gd name="T20" fmla="*/ 646 w 1078"/>
                <a:gd name="T21" fmla="*/ 783 h 1035"/>
                <a:gd name="T22" fmla="*/ 648 w 1078"/>
                <a:gd name="T23" fmla="*/ 842 h 1035"/>
                <a:gd name="T24" fmla="*/ 652 w 1078"/>
                <a:gd name="T25" fmla="*/ 888 h 1035"/>
                <a:gd name="T26" fmla="*/ 661 w 1078"/>
                <a:gd name="T27" fmla="*/ 923 h 1035"/>
                <a:gd name="T28" fmla="*/ 672 w 1078"/>
                <a:gd name="T29" fmla="*/ 943 h 1035"/>
                <a:gd name="T30" fmla="*/ 680 w 1078"/>
                <a:gd name="T31" fmla="*/ 954 h 1035"/>
                <a:gd name="T32" fmla="*/ 691 w 1078"/>
                <a:gd name="T33" fmla="*/ 963 h 1035"/>
                <a:gd name="T34" fmla="*/ 711 w 1078"/>
                <a:gd name="T35" fmla="*/ 973 h 1035"/>
                <a:gd name="T36" fmla="*/ 743 w 1078"/>
                <a:gd name="T37" fmla="*/ 982 h 1035"/>
                <a:gd name="T38" fmla="*/ 786 w 1078"/>
                <a:gd name="T39" fmla="*/ 985 h 1035"/>
                <a:gd name="T40" fmla="*/ 812 w 1078"/>
                <a:gd name="T41" fmla="*/ 1035 h 1035"/>
                <a:gd name="T42" fmla="*/ 267 w 1078"/>
                <a:gd name="T43" fmla="*/ 985 h 1035"/>
                <a:gd name="T44" fmla="*/ 292 w 1078"/>
                <a:gd name="T45" fmla="*/ 985 h 1035"/>
                <a:gd name="T46" fmla="*/ 335 w 1078"/>
                <a:gd name="T47" fmla="*/ 982 h 1035"/>
                <a:gd name="T48" fmla="*/ 368 w 1078"/>
                <a:gd name="T49" fmla="*/ 973 h 1035"/>
                <a:gd name="T50" fmla="*/ 387 w 1078"/>
                <a:gd name="T51" fmla="*/ 963 h 1035"/>
                <a:gd name="T52" fmla="*/ 398 w 1078"/>
                <a:gd name="T53" fmla="*/ 954 h 1035"/>
                <a:gd name="T54" fmla="*/ 407 w 1078"/>
                <a:gd name="T55" fmla="*/ 943 h 1035"/>
                <a:gd name="T56" fmla="*/ 417 w 1078"/>
                <a:gd name="T57" fmla="*/ 923 h 1035"/>
                <a:gd name="T58" fmla="*/ 425 w 1078"/>
                <a:gd name="T59" fmla="*/ 888 h 1035"/>
                <a:gd name="T60" fmla="*/ 429 w 1078"/>
                <a:gd name="T61" fmla="*/ 842 h 1035"/>
                <a:gd name="T62" fmla="*/ 431 w 1078"/>
                <a:gd name="T63" fmla="*/ 783 h 1035"/>
                <a:gd name="T64" fmla="*/ 259 w 1078"/>
                <a:gd name="T65" fmla="*/ 78 h 1035"/>
                <a:gd name="T66" fmla="*/ 231 w 1078"/>
                <a:gd name="T67" fmla="*/ 78 h 1035"/>
                <a:gd name="T68" fmla="*/ 184 w 1078"/>
                <a:gd name="T69" fmla="*/ 82 h 1035"/>
                <a:gd name="T70" fmla="*/ 147 w 1078"/>
                <a:gd name="T71" fmla="*/ 90 h 1035"/>
                <a:gd name="T72" fmla="*/ 120 w 1078"/>
                <a:gd name="T73" fmla="*/ 101 h 1035"/>
                <a:gd name="T74" fmla="*/ 99 w 1078"/>
                <a:gd name="T75" fmla="*/ 118 h 1035"/>
                <a:gd name="T76" fmla="*/ 85 w 1078"/>
                <a:gd name="T77" fmla="*/ 138 h 1035"/>
                <a:gd name="T78" fmla="*/ 74 w 1078"/>
                <a:gd name="T79" fmla="*/ 163 h 1035"/>
                <a:gd name="T80" fmla="*/ 60 w 1078"/>
                <a:gd name="T81" fmla="*/ 209 h 1035"/>
                <a:gd name="T82" fmla="*/ 0 w 1078"/>
                <a:gd name="T83" fmla="*/ 244 h 1035"/>
                <a:gd name="T84" fmla="*/ 1064 w 1078"/>
                <a:gd name="T85" fmla="*/ 0 h 10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78" h="1035">
                  <a:moveTo>
                    <a:pt x="1078" y="244"/>
                  </a:moveTo>
                  <a:lnTo>
                    <a:pt x="1028" y="244"/>
                  </a:lnTo>
                  <a:lnTo>
                    <a:pt x="1019" y="209"/>
                  </a:lnTo>
                  <a:lnTo>
                    <a:pt x="1019" y="209"/>
                  </a:lnTo>
                  <a:lnTo>
                    <a:pt x="1011" y="177"/>
                  </a:lnTo>
                  <a:lnTo>
                    <a:pt x="1006" y="163"/>
                  </a:lnTo>
                  <a:lnTo>
                    <a:pt x="1001" y="150"/>
                  </a:lnTo>
                  <a:lnTo>
                    <a:pt x="995" y="138"/>
                  </a:lnTo>
                  <a:lnTo>
                    <a:pt x="988" y="127"/>
                  </a:lnTo>
                  <a:lnTo>
                    <a:pt x="979" y="118"/>
                  </a:lnTo>
                  <a:lnTo>
                    <a:pt x="970" y="109"/>
                  </a:lnTo>
                  <a:lnTo>
                    <a:pt x="959" y="101"/>
                  </a:lnTo>
                  <a:lnTo>
                    <a:pt x="946" y="95"/>
                  </a:lnTo>
                  <a:lnTo>
                    <a:pt x="931" y="90"/>
                  </a:lnTo>
                  <a:lnTo>
                    <a:pt x="914" y="85"/>
                  </a:lnTo>
                  <a:lnTo>
                    <a:pt x="895" y="82"/>
                  </a:lnTo>
                  <a:lnTo>
                    <a:pt x="872" y="80"/>
                  </a:lnTo>
                  <a:lnTo>
                    <a:pt x="848" y="78"/>
                  </a:lnTo>
                  <a:lnTo>
                    <a:pt x="819" y="78"/>
                  </a:lnTo>
                  <a:lnTo>
                    <a:pt x="646" y="78"/>
                  </a:lnTo>
                  <a:lnTo>
                    <a:pt x="646" y="783"/>
                  </a:lnTo>
                  <a:lnTo>
                    <a:pt x="646" y="783"/>
                  </a:lnTo>
                  <a:lnTo>
                    <a:pt x="647" y="814"/>
                  </a:lnTo>
                  <a:lnTo>
                    <a:pt x="648" y="842"/>
                  </a:lnTo>
                  <a:lnTo>
                    <a:pt x="649" y="866"/>
                  </a:lnTo>
                  <a:lnTo>
                    <a:pt x="652" y="888"/>
                  </a:lnTo>
                  <a:lnTo>
                    <a:pt x="656" y="906"/>
                  </a:lnTo>
                  <a:lnTo>
                    <a:pt x="661" y="923"/>
                  </a:lnTo>
                  <a:lnTo>
                    <a:pt x="668" y="937"/>
                  </a:lnTo>
                  <a:lnTo>
                    <a:pt x="672" y="943"/>
                  </a:lnTo>
                  <a:lnTo>
                    <a:pt x="676" y="949"/>
                  </a:lnTo>
                  <a:lnTo>
                    <a:pt x="680" y="954"/>
                  </a:lnTo>
                  <a:lnTo>
                    <a:pt x="685" y="958"/>
                  </a:lnTo>
                  <a:lnTo>
                    <a:pt x="691" y="963"/>
                  </a:lnTo>
                  <a:lnTo>
                    <a:pt x="697" y="966"/>
                  </a:lnTo>
                  <a:lnTo>
                    <a:pt x="711" y="973"/>
                  </a:lnTo>
                  <a:lnTo>
                    <a:pt x="726" y="978"/>
                  </a:lnTo>
                  <a:lnTo>
                    <a:pt x="743" y="982"/>
                  </a:lnTo>
                  <a:lnTo>
                    <a:pt x="764" y="984"/>
                  </a:lnTo>
                  <a:lnTo>
                    <a:pt x="786" y="985"/>
                  </a:lnTo>
                  <a:lnTo>
                    <a:pt x="812" y="985"/>
                  </a:lnTo>
                  <a:lnTo>
                    <a:pt x="812" y="1035"/>
                  </a:lnTo>
                  <a:lnTo>
                    <a:pt x="267" y="1035"/>
                  </a:lnTo>
                  <a:lnTo>
                    <a:pt x="267" y="985"/>
                  </a:lnTo>
                  <a:lnTo>
                    <a:pt x="267" y="985"/>
                  </a:lnTo>
                  <a:lnTo>
                    <a:pt x="292" y="985"/>
                  </a:lnTo>
                  <a:lnTo>
                    <a:pt x="315" y="984"/>
                  </a:lnTo>
                  <a:lnTo>
                    <a:pt x="335" y="982"/>
                  </a:lnTo>
                  <a:lnTo>
                    <a:pt x="353" y="978"/>
                  </a:lnTo>
                  <a:lnTo>
                    <a:pt x="368" y="973"/>
                  </a:lnTo>
                  <a:lnTo>
                    <a:pt x="381" y="966"/>
                  </a:lnTo>
                  <a:lnTo>
                    <a:pt x="387" y="963"/>
                  </a:lnTo>
                  <a:lnTo>
                    <a:pt x="394" y="958"/>
                  </a:lnTo>
                  <a:lnTo>
                    <a:pt x="398" y="954"/>
                  </a:lnTo>
                  <a:lnTo>
                    <a:pt x="403" y="949"/>
                  </a:lnTo>
                  <a:lnTo>
                    <a:pt x="407" y="943"/>
                  </a:lnTo>
                  <a:lnTo>
                    <a:pt x="411" y="937"/>
                  </a:lnTo>
                  <a:lnTo>
                    <a:pt x="417" y="923"/>
                  </a:lnTo>
                  <a:lnTo>
                    <a:pt x="422" y="906"/>
                  </a:lnTo>
                  <a:lnTo>
                    <a:pt x="425" y="888"/>
                  </a:lnTo>
                  <a:lnTo>
                    <a:pt x="428" y="866"/>
                  </a:lnTo>
                  <a:lnTo>
                    <a:pt x="429" y="842"/>
                  </a:lnTo>
                  <a:lnTo>
                    <a:pt x="430" y="814"/>
                  </a:lnTo>
                  <a:lnTo>
                    <a:pt x="431" y="783"/>
                  </a:lnTo>
                  <a:lnTo>
                    <a:pt x="431" y="78"/>
                  </a:lnTo>
                  <a:lnTo>
                    <a:pt x="259" y="78"/>
                  </a:lnTo>
                  <a:lnTo>
                    <a:pt x="259" y="78"/>
                  </a:lnTo>
                  <a:lnTo>
                    <a:pt x="231" y="78"/>
                  </a:lnTo>
                  <a:lnTo>
                    <a:pt x="205" y="80"/>
                  </a:lnTo>
                  <a:lnTo>
                    <a:pt x="184" y="82"/>
                  </a:lnTo>
                  <a:lnTo>
                    <a:pt x="165" y="85"/>
                  </a:lnTo>
                  <a:lnTo>
                    <a:pt x="147" y="90"/>
                  </a:lnTo>
                  <a:lnTo>
                    <a:pt x="133" y="95"/>
                  </a:lnTo>
                  <a:lnTo>
                    <a:pt x="120" y="101"/>
                  </a:lnTo>
                  <a:lnTo>
                    <a:pt x="108" y="109"/>
                  </a:lnTo>
                  <a:lnTo>
                    <a:pt x="99" y="118"/>
                  </a:lnTo>
                  <a:lnTo>
                    <a:pt x="91" y="127"/>
                  </a:lnTo>
                  <a:lnTo>
                    <a:pt x="85" y="138"/>
                  </a:lnTo>
                  <a:lnTo>
                    <a:pt x="79" y="150"/>
                  </a:lnTo>
                  <a:lnTo>
                    <a:pt x="74" y="163"/>
                  </a:lnTo>
                  <a:lnTo>
                    <a:pt x="68" y="177"/>
                  </a:lnTo>
                  <a:lnTo>
                    <a:pt x="60" y="209"/>
                  </a:lnTo>
                  <a:lnTo>
                    <a:pt x="51" y="244"/>
                  </a:lnTo>
                  <a:lnTo>
                    <a:pt x="0" y="244"/>
                  </a:lnTo>
                  <a:lnTo>
                    <a:pt x="15" y="0"/>
                  </a:lnTo>
                  <a:lnTo>
                    <a:pt x="1064" y="0"/>
                  </a:lnTo>
                  <a:lnTo>
                    <a:pt x="1078" y="24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8" name="Freeform 9"/>
            <p:cNvSpPr>
              <a:spLocks/>
            </p:cNvSpPr>
            <p:nvPr userDrawn="1"/>
          </p:nvSpPr>
          <p:spPr bwMode="auto">
            <a:xfrm>
              <a:off x="2152651" y="893763"/>
              <a:ext cx="73025" cy="136525"/>
            </a:xfrm>
            <a:custGeom>
              <a:avLst/>
              <a:gdLst>
                <a:gd name="T0" fmla="*/ 0 w 545"/>
                <a:gd name="T1" fmla="*/ 985 h 1035"/>
                <a:gd name="T2" fmla="*/ 26 w 545"/>
                <a:gd name="T3" fmla="*/ 985 h 1035"/>
                <a:gd name="T4" fmla="*/ 69 w 545"/>
                <a:gd name="T5" fmla="*/ 982 h 1035"/>
                <a:gd name="T6" fmla="*/ 102 w 545"/>
                <a:gd name="T7" fmla="*/ 973 h 1035"/>
                <a:gd name="T8" fmla="*/ 121 w 545"/>
                <a:gd name="T9" fmla="*/ 963 h 1035"/>
                <a:gd name="T10" fmla="*/ 131 w 545"/>
                <a:gd name="T11" fmla="*/ 954 h 1035"/>
                <a:gd name="T12" fmla="*/ 140 w 545"/>
                <a:gd name="T13" fmla="*/ 943 h 1035"/>
                <a:gd name="T14" fmla="*/ 151 w 545"/>
                <a:gd name="T15" fmla="*/ 923 h 1035"/>
                <a:gd name="T16" fmla="*/ 159 w 545"/>
                <a:gd name="T17" fmla="*/ 888 h 1035"/>
                <a:gd name="T18" fmla="*/ 163 w 545"/>
                <a:gd name="T19" fmla="*/ 842 h 1035"/>
                <a:gd name="T20" fmla="*/ 164 w 545"/>
                <a:gd name="T21" fmla="*/ 783 h 1035"/>
                <a:gd name="T22" fmla="*/ 164 w 545"/>
                <a:gd name="T23" fmla="*/ 252 h 1035"/>
                <a:gd name="T24" fmla="*/ 163 w 545"/>
                <a:gd name="T25" fmla="*/ 194 h 1035"/>
                <a:gd name="T26" fmla="*/ 159 w 545"/>
                <a:gd name="T27" fmla="*/ 148 h 1035"/>
                <a:gd name="T28" fmla="*/ 151 w 545"/>
                <a:gd name="T29" fmla="*/ 113 h 1035"/>
                <a:gd name="T30" fmla="*/ 140 w 545"/>
                <a:gd name="T31" fmla="*/ 92 h 1035"/>
                <a:gd name="T32" fmla="*/ 131 w 545"/>
                <a:gd name="T33" fmla="*/ 81 h 1035"/>
                <a:gd name="T34" fmla="*/ 121 w 545"/>
                <a:gd name="T35" fmla="*/ 73 h 1035"/>
                <a:gd name="T36" fmla="*/ 102 w 545"/>
                <a:gd name="T37" fmla="*/ 63 h 1035"/>
                <a:gd name="T38" fmla="*/ 69 w 545"/>
                <a:gd name="T39" fmla="*/ 54 h 1035"/>
                <a:gd name="T40" fmla="*/ 26 w 545"/>
                <a:gd name="T41" fmla="*/ 50 h 1035"/>
                <a:gd name="T42" fmla="*/ 0 w 545"/>
                <a:gd name="T43" fmla="*/ 0 h 1035"/>
                <a:gd name="T44" fmla="*/ 545 w 545"/>
                <a:gd name="T45" fmla="*/ 50 h 1035"/>
                <a:gd name="T46" fmla="*/ 520 w 545"/>
                <a:gd name="T47" fmla="*/ 50 h 1035"/>
                <a:gd name="T48" fmla="*/ 477 w 545"/>
                <a:gd name="T49" fmla="*/ 54 h 1035"/>
                <a:gd name="T50" fmla="*/ 444 w 545"/>
                <a:gd name="T51" fmla="*/ 63 h 1035"/>
                <a:gd name="T52" fmla="*/ 425 w 545"/>
                <a:gd name="T53" fmla="*/ 73 h 1035"/>
                <a:gd name="T54" fmla="*/ 413 w 545"/>
                <a:gd name="T55" fmla="*/ 81 h 1035"/>
                <a:gd name="T56" fmla="*/ 405 w 545"/>
                <a:gd name="T57" fmla="*/ 92 h 1035"/>
                <a:gd name="T58" fmla="*/ 395 w 545"/>
                <a:gd name="T59" fmla="*/ 113 h 1035"/>
                <a:gd name="T60" fmla="*/ 386 w 545"/>
                <a:gd name="T61" fmla="*/ 148 h 1035"/>
                <a:gd name="T62" fmla="*/ 381 w 545"/>
                <a:gd name="T63" fmla="*/ 194 h 1035"/>
                <a:gd name="T64" fmla="*/ 380 w 545"/>
                <a:gd name="T65" fmla="*/ 252 h 1035"/>
                <a:gd name="T66" fmla="*/ 380 w 545"/>
                <a:gd name="T67" fmla="*/ 783 h 1035"/>
                <a:gd name="T68" fmla="*/ 381 w 545"/>
                <a:gd name="T69" fmla="*/ 842 h 1035"/>
                <a:gd name="T70" fmla="*/ 386 w 545"/>
                <a:gd name="T71" fmla="*/ 888 h 1035"/>
                <a:gd name="T72" fmla="*/ 395 w 545"/>
                <a:gd name="T73" fmla="*/ 923 h 1035"/>
                <a:gd name="T74" fmla="*/ 405 w 545"/>
                <a:gd name="T75" fmla="*/ 943 h 1035"/>
                <a:gd name="T76" fmla="*/ 413 w 545"/>
                <a:gd name="T77" fmla="*/ 954 h 1035"/>
                <a:gd name="T78" fmla="*/ 425 w 545"/>
                <a:gd name="T79" fmla="*/ 963 h 1035"/>
                <a:gd name="T80" fmla="*/ 444 w 545"/>
                <a:gd name="T81" fmla="*/ 973 h 1035"/>
                <a:gd name="T82" fmla="*/ 477 w 545"/>
                <a:gd name="T83" fmla="*/ 982 h 1035"/>
                <a:gd name="T84" fmla="*/ 520 w 545"/>
                <a:gd name="T85" fmla="*/ 985 h 1035"/>
                <a:gd name="T86" fmla="*/ 545 w 545"/>
                <a:gd name="T87" fmla="*/ 1035 h 10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45" h="1035">
                  <a:moveTo>
                    <a:pt x="0" y="1035"/>
                  </a:moveTo>
                  <a:lnTo>
                    <a:pt x="0" y="985"/>
                  </a:lnTo>
                  <a:lnTo>
                    <a:pt x="0" y="985"/>
                  </a:lnTo>
                  <a:lnTo>
                    <a:pt x="26" y="985"/>
                  </a:lnTo>
                  <a:lnTo>
                    <a:pt x="48" y="984"/>
                  </a:lnTo>
                  <a:lnTo>
                    <a:pt x="69" y="982"/>
                  </a:lnTo>
                  <a:lnTo>
                    <a:pt x="86" y="978"/>
                  </a:lnTo>
                  <a:lnTo>
                    <a:pt x="102" y="973"/>
                  </a:lnTo>
                  <a:lnTo>
                    <a:pt x="115" y="966"/>
                  </a:lnTo>
                  <a:lnTo>
                    <a:pt x="121" y="963"/>
                  </a:lnTo>
                  <a:lnTo>
                    <a:pt x="126" y="958"/>
                  </a:lnTo>
                  <a:lnTo>
                    <a:pt x="131" y="954"/>
                  </a:lnTo>
                  <a:lnTo>
                    <a:pt x="136" y="949"/>
                  </a:lnTo>
                  <a:lnTo>
                    <a:pt x="140" y="943"/>
                  </a:lnTo>
                  <a:lnTo>
                    <a:pt x="143" y="937"/>
                  </a:lnTo>
                  <a:lnTo>
                    <a:pt x="151" y="923"/>
                  </a:lnTo>
                  <a:lnTo>
                    <a:pt x="155" y="906"/>
                  </a:lnTo>
                  <a:lnTo>
                    <a:pt x="159" y="888"/>
                  </a:lnTo>
                  <a:lnTo>
                    <a:pt x="162" y="866"/>
                  </a:lnTo>
                  <a:lnTo>
                    <a:pt x="163" y="842"/>
                  </a:lnTo>
                  <a:lnTo>
                    <a:pt x="164" y="814"/>
                  </a:lnTo>
                  <a:lnTo>
                    <a:pt x="164" y="783"/>
                  </a:lnTo>
                  <a:lnTo>
                    <a:pt x="164" y="252"/>
                  </a:lnTo>
                  <a:lnTo>
                    <a:pt x="164" y="252"/>
                  </a:lnTo>
                  <a:lnTo>
                    <a:pt x="164" y="221"/>
                  </a:lnTo>
                  <a:lnTo>
                    <a:pt x="163" y="194"/>
                  </a:lnTo>
                  <a:lnTo>
                    <a:pt x="162" y="169"/>
                  </a:lnTo>
                  <a:lnTo>
                    <a:pt x="159" y="148"/>
                  </a:lnTo>
                  <a:lnTo>
                    <a:pt x="155" y="129"/>
                  </a:lnTo>
                  <a:lnTo>
                    <a:pt x="151" y="113"/>
                  </a:lnTo>
                  <a:lnTo>
                    <a:pt x="143" y="98"/>
                  </a:lnTo>
                  <a:lnTo>
                    <a:pt x="140" y="92"/>
                  </a:lnTo>
                  <a:lnTo>
                    <a:pt x="136" y="86"/>
                  </a:lnTo>
                  <a:lnTo>
                    <a:pt x="131" y="81"/>
                  </a:lnTo>
                  <a:lnTo>
                    <a:pt x="126" y="77"/>
                  </a:lnTo>
                  <a:lnTo>
                    <a:pt x="121" y="73"/>
                  </a:lnTo>
                  <a:lnTo>
                    <a:pt x="115" y="69"/>
                  </a:lnTo>
                  <a:lnTo>
                    <a:pt x="102" y="63"/>
                  </a:lnTo>
                  <a:lnTo>
                    <a:pt x="86" y="58"/>
                  </a:lnTo>
                  <a:lnTo>
                    <a:pt x="69" y="54"/>
                  </a:lnTo>
                  <a:lnTo>
                    <a:pt x="48" y="51"/>
                  </a:lnTo>
                  <a:lnTo>
                    <a:pt x="26" y="50"/>
                  </a:lnTo>
                  <a:lnTo>
                    <a:pt x="0" y="50"/>
                  </a:lnTo>
                  <a:lnTo>
                    <a:pt x="0" y="0"/>
                  </a:lnTo>
                  <a:lnTo>
                    <a:pt x="545" y="0"/>
                  </a:lnTo>
                  <a:lnTo>
                    <a:pt x="545" y="50"/>
                  </a:lnTo>
                  <a:lnTo>
                    <a:pt x="545" y="50"/>
                  </a:lnTo>
                  <a:lnTo>
                    <a:pt x="520" y="50"/>
                  </a:lnTo>
                  <a:lnTo>
                    <a:pt x="497" y="51"/>
                  </a:lnTo>
                  <a:lnTo>
                    <a:pt x="477" y="54"/>
                  </a:lnTo>
                  <a:lnTo>
                    <a:pt x="459" y="58"/>
                  </a:lnTo>
                  <a:lnTo>
                    <a:pt x="444" y="63"/>
                  </a:lnTo>
                  <a:lnTo>
                    <a:pt x="430" y="69"/>
                  </a:lnTo>
                  <a:lnTo>
                    <a:pt x="425" y="73"/>
                  </a:lnTo>
                  <a:lnTo>
                    <a:pt x="418" y="77"/>
                  </a:lnTo>
                  <a:lnTo>
                    <a:pt x="413" y="81"/>
                  </a:lnTo>
                  <a:lnTo>
                    <a:pt x="409" y="86"/>
                  </a:lnTo>
                  <a:lnTo>
                    <a:pt x="405" y="92"/>
                  </a:lnTo>
                  <a:lnTo>
                    <a:pt x="401" y="98"/>
                  </a:lnTo>
                  <a:lnTo>
                    <a:pt x="395" y="113"/>
                  </a:lnTo>
                  <a:lnTo>
                    <a:pt x="390" y="129"/>
                  </a:lnTo>
                  <a:lnTo>
                    <a:pt x="386" y="148"/>
                  </a:lnTo>
                  <a:lnTo>
                    <a:pt x="383" y="169"/>
                  </a:lnTo>
                  <a:lnTo>
                    <a:pt x="381" y="194"/>
                  </a:lnTo>
                  <a:lnTo>
                    <a:pt x="380" y="221"/>
                  </a:lnTo>
                  <a:lnTo>
                    <a:pt x="380" y="252"/>
                  </a:lnTo>
                  <a:lnTo>
                    <a:pt x="380" y="783"/>
                  </a:lnTo>
                  <a:lnTo>
                    <a:pt x="380" y="783"/>
                  </a:lnTo>
                  <a:lnTo>
                    <a:pt x="380" y="814"/>
                  </a:lnTo>
                  <a:lnTo>
                    <a:pt x="381" y="842"/>
                  </a:lnTo>
                  <a:lnTo>
                    <a:pt x="383" y="866"/>
                  </a:lnTo>
                  <a:lnTo>
                    <a:pt x="386" y="888"/>
                  </a:lnTo>
                  <a:lnTo>
                    <a:pt x="390" y="906"/>
                  </a:lnTo>
                  <a:lnTo>
                    <a:pt x="395" y="923"/>
                  </a:lnTo>
                  <a:lnTo>
                    <a:pt x="401" y="937"/>
                  </a:lnTo>
                  <a:lnTo>
                    <a:pt x="405" y="943"/>
                  </a:lnTo>
                  <a:lnTo>
                    <a:pt x="409" y="949"/>
                  </a:lnTo>
                  <a:lnTo>
                    <a:pt x="413" y="954"/>
                  </a:lnTo>
                  <a:lnTo>
                    <a:pt x="418" y="958"/>
                  </a:lnTo>
                  <a:lnTo>
                    <a:pt x="425" y="963"/>
                  </a:lnTo>
                  <a:lnTo>
                    <a:pt x="430" y="966"/>
                  </a:lnTo>
                  <a:lnTo>
                    <a:pt x="444" y="973"/>
                  </a:lnTo>
                  <a:lnTo>
                    <a:pt x="459" y="978"/>
                  </a:lnTo>
                  <a:lnTo>
                    <a:pt x="477" y="982"/>
                  </a:lnTo>
                  <a:lnTo>
                    <a:pt x="497" y="984"/>
                  </a:lnTo>
                  <a:lnTo>
                    <a:pt x="520" y="985"/>
                  </a:lnTo>
                  <a:lnTo>
                    <a:pt x="545" y="985"/>
                  </a:lnTo>
                  <a:lnTo>
                    <a:pt x="545" y="1035"/>
                  </a:lnTo>
                  <a:lnTo>
                    <a:pt x="0" y="10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9" name="Freeform 10"/>
            <p:cNvSpPr>
              <a:spLocks noEditPoints="1"/>
            </p:cNvSpPr>
            <p:nvPr userDrawn="1"/>
          </p:nvSpPr>
          <p:spPr bwMode="auto">
            <a:xfrm>
              <a:off x="2260601" y="890588"/>
              <a:ext cx="152400" cy="144463"/>
            </a:xfrm>
            <a:custGeom>
              <a:avLst/>
              <a:gdLst>
                <a:gd name="T0" fmla="*/ 489 w 1152"/>
                <a:gd name="T1" fmla="*/ 1087 h 1094"/>
                <a:gd name="T2" fmla="*/ 353 w 1152"/>
                <a:gd name="T3" fmla="*/ 1051 h 1094"/>
                <a:gd name="T4" fmla="*/ 232 w 1152"/>
                <a:gd name="T5" fmla="*/ 984 h 1094"/>
                <a:gd name="T6" fmla="*/ 132 w 1152"/>
                <a:gd name="T7" fmla="*/ 894 h 1094"/>
                <a:gd name="T8" fmla="*/ 57 w 1152"/>
                <a:gd name="T9" fmla="*/ 783 h 1094"/>
                <a:gd name="T10" fmla="*/ 12 w 1152"/>
                <a:gd name="T11" fmla="*/ 656 h 1094"/>
                <a:gd name="T12" fmla="*/ 0 w 1152"/>
                <a:gd name="T13" fmla="*/ 547 h 1094"/>
                <a:gd name="T14" fmla="*/ 19 w 1152"/>
                <a:gd name="T15" fmla="*/ 411 h 1094"/>
                <a:gd name="T16" fmla="*/ 70 w 1152"/>
                <a:gd name="T17" fmla="*/ 287 h 1094"/>
                <a:gd name="T18" fmla="*/ 151 w 1152"/>
                <a:gd name="T19" fmla="*/ 180 h 1094"/>
                <a:gd name="T20" fmla="*/ 255 w 1152"/>
                <a:gd name="T21" fmla="*/ 94 h 1094"/>
                <a:gd name="T22" fmla="*/ 379 w 1152"/>
                <a:gd name="T23" fmla="*/ 33 h 1094"/>
                <a:gd name="T24" fmla="*/ 518 w 1152"/>
                <a:gd name="T25" fmla="*/ 3 h 1094"/>
                <a:gd name="T26" fmla="*/ 635 w 1152"/>
                <a:gd name="T27" fmla="*/ 3 h 1094"/>
                <a:gd name="T28" fmla="*/ 773 w 1152"/>
                <a:gd name="T29" fmla="*/ 33 h 1094"/>
                <a:gd name="T30" fmla="*/ 897 w 1152"/>
                <a:gd name="T31" fmla="*/ 94 h 1094"/>
                <a:gd name="T32" fmla="*/ 1001 w 1152"/>
                <a:gd name="T33" fmla="*/ 180 h 1094"/>
                <a:gd name="T34" fmla="*/ 1082 w 1152"/>
                <a:gd name="T35" fmla="*/ 287 h 1094"/>
                <a:gd name="T36" fmla="*/ 1133 w 1152"/>
                <a:gd name="T37" fmla="*/ 411 h 1094"/>
                <a:gd name="T38" fmla="*/ 1152 w 1152"/>
                <a:gd name="T39" fmla="*/ 547 h 1094"/>
                <a:gd name="T40" fmla="*/ 1139 w 1152"/>
                <a:gd name="T41" fmla="*/ 656 h 1094"/>
                <a:gd name="T42" fmla="*/ 1094 w 1152"/>
                <a:gd name="T43" fmla="*/ 783 h 1094"/>
                <a:gd name="T44" fmla="*/ 1020 w 1152"/>
                <a:gd name="T45" fmla="*/ 894 h 1094"/>
                <a:gd name="T46" fmla="*/ 919 w 1152"/>
                <a:gd name="T47" fmla="*/ 984 h 1094"/>
                <a:gd name="T48" fmla="*/ 800 w 1152"/>
                <a:gd name="T49" fmla="*/ 1051 h 1094"/>
                <a:gd name="T50" fmla="*/ 664 w 1152"/>
                <a:gd name="T51" fmla="*/ 1087 h 1094"/>
                <a:gd name="T52" fmla="*/ 577 w 1152"/>
                <a:gd name="T53" fmla="*/ 82 h 1094"/>
                <a:gd name="T54" fmla="*/ 492 w 1152"/>
                <a:gd name="T55" fmla="*/ 94 h 1094"/>
                <a:gd name="T56" fmla="*/ 404 w 1152"/>
                <a:gd name="T57" fmla="*/ 137 h 1094"/>
                <a:gd name="T58" fmla="*/ 336 w 1152"/>
                <a:gd name="T59" fmla="*/ 204 h 1094"/>
                <a:gd name="T60" fmla="*/ 285 w 1152"/>
                <a:gd name="T61" fmla="*/ 290 h 1094"/>
                <a:gd name="T62" fmla="*/ 253 w 1152"/>
                <a:gd name="T63" fmla="*/ 386 h 1094"/>
                <a:gd name="T64" fmla="*/ 234 w 1152"/>
                <a:gd name="T65" fmla="*/ 507 h 1094"/>
                <a:gd name="T66" fmla="*/ 240 w 1152"/>
                <a:gd name="T67" fmla="*/ 647 h 1094"/>
                <a:gd name="T68" fmla="*/ 264 w 1152"/>
                <a:gd name="T69" fmla="*/ 747 h 1094"/>
                <a:gd name="T70" fmla="*/ 303 w 1152"/>
                <a:gd name="T71" fmla="*/ 840 h 1094"/>
                <a:gd name="T72" fmla="*/ 360 w 1152"/>
                <a:gd name="T73" fmla="*/ 919 h 1094"/>
                <a:gd name="T74" fmla="*/ 437 w 1152"/>
                <a:gd name="T75" fmla="*/ 977 h 1094"/>
                <a:gd name="T76" fmla="*/ 533 w 1152"/>
                <a:gd name="T77" fmla="*/ 1008 h 1094"/>
                <a:gd name="T78" fmla="*/ 621 w 1152"/>
                <a:gd name="T79" fmla="*/ 1008 h 1094"/>
                <a:gd name="T80" fmla="*/ 716 w 1152"/>
                <a:gd name="T81" fmla="*/ 977 h 1094"/>
                <a:gd name="T82" fmla="*/ 793 w 1152"/>
                <a:gd name="T83" fmla="*/ 919 h 1094"/>
                <a:gd name="T84" fmla="*/ 850 w 1152"/>
                <a:gd name="T85" fmla="*/ 840 h 1094"/>
                <a:gd name="T86" fmla="*/ 890 w 1152"/>
                <a:gd name="T87" fmla="*/ 747 h 1094"/>
                <a:gd name="T88" fmla="*/ 912 w 1152"/>
                <a:gd name="T89" fmla="*/ 647 h 1094"/>
                <a:gd name="T90" fmla="*/ 918 w 1152"/>
                <a:gd name="T91" fmla="*/ 507 h 1094"/>
                <a:gd name="T92" fmla="*/ 901 w 1152"/>
                <a:gd name="T93" fmla="*/ 386 h 1094"/>
                <a:gd name="T94" fmla="*/ 867 w 1152"/>
                <a:gd name="T95" fmla="*/ 290 h 1094"/>
                <a:gd name="T96" fmla="*/ 817 w 1152"/>
                <a:gd name="T97" fmla="*/ 204 h 1094"/>
                <a:gd name="T98" fmla="*/ 749 w 1152"/>
                <a:gd name="T99" fmla="*/ 137 h 1094"/>
                <a:gd name="T100" fmla="*/ 662 w 1152"/>
                <a:gd name="T101" fmla="*/ 94 h 1094"/>
                <a:gd name="T102" fmla="*/ 577 w 1152"/>
                <a:gd name="T103" fmla="*/ 82 h 10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152" h="1094">
                  <a:moveTo>
                    <a:pt x="577" y="1094"/>
                  </a:moveTo>
                  <a:lnTo>
                    <a:pt x="577" y="1094"/>
                  </a:lnTo>
                  <a:lnTo>
                    <a:pt x="547" y="1093"/>
                  </a:lnTo>
                  <a:lnTo>
                    <a:pt x="518" y="1091"/>
                  </a:lnTo>
                  <a:lnTo>
                    <a:pt x="489" y="1087"/>
                  </a:lnTo>
                  <a:lnTo>
                    <a:pt x="460" y="1082"/>
                  </a:lnTo>
                  <a:lnTo>
                    <a:pt x="433" y="1076"/>
                  </a:lnTo>
                  <a:lnTo>
                    <a:pt x="406" y="1069"/>
                  </a:lnTo>
                  <a:lnTo>
                    <a:pt x="379" y="1060"/>
                  </a:lnTo>
                  <a:lnTo>
                    <a:pt x="353" y="1051"/>
                  </a:lnTo>
                  <a:lnTo>
                    <a:pt x="327" y="1039"/>
                  </a:lnTo>
                  <a:lnTo>
                    <a:pt x="303" y="1027"/>
                  </a:lnTo>
                  <a:lnTo>
                    <a:pt x="278" y="1014"/>
                  </a:lnTo>
                  <a:lnTo>
                    <a:pt x="255" y="1000"/>
                  </a:lnTo>
                  <a:lnTo>
                    <a:pt x="232" y="984"/>
                  </a:lnTo>
                  <a:lnTo>
                    <a:pt x="211" y="968"/>
                  </a:lnTo>
                  <a:lnTo>
                    <a:pt x="189" y="950"/>
                  </a:lnTo>
                  <a:lnTo>
                    <a:pt x="170" y="933"/>
                  </a:lnTo>
                  <a:lnTo>
                    <a:pt x="151" y="914"/>
                  </a:lnTo>
                  <a:lnTo>
                    <a:pt x="132" y="894"/>
                  </a:lnTo>
                  <a:lnTo>
                    <a:pt x="115" y="873"/>
                  </a:lnTo>
                  <a:lnTo>
                    <a:pt x="99" y="851"/>
                  </a:lnTo>
                  <a:lnTo>
                    <a:pt x="84" y="830"/>
                  </a:lnTo>
                  <a:lnTo>
                    <a:pt x="70" y="806"/>
                  </a:lnTo>
                  <a:lnTo>
                    <a:pt x="57" y="783"/>
                  </a:lnTo>
                  <a:lnTo>
                    <a:pt x="46" y="758"/>
                  </a:lnTo>
                  <a:lnTo>
                    <a:pt x="36" y="734"/>
                  </a:lnTo>
                  <a:lnTo>
                    <a:pt x="27" y="708"/>
                  </a:lnTo>
                  <a:lnTo>
                    <a:pt x="19" y="683"/>
                  </a:lnTo>
                  <a:lnTo>
                    <a:pt x="12" y="656"/>
                  </a:lnTo>
                  <a:lnTo>
                    <a:pt x="7" y="629"/>
                  </a:lnTo>
                  <a:lnTo>
                    <a:pt x="3" y="602"/>
                  </a:lnTo>
                  <a:lnTo>
                    <a:pt x="1" y="574"/>
                  </a:lnTo>
                  <a:lnTo>
                    <a:pt x="0" y="547"/>
                  </a:lnTo>
                  <a:lnTo>
                    <a:pt x="0" y="547"/>
                  </a:lnTo>
                  <a:lnTo>
                    <a:pt x="1" y="519"/>
                  </a:lnTo>
                  <a:lnTo>
                    <a:pt x="3" y="491"/>
                  </a:lnTo>
                  <a:lnTo>
                    <a:pt x="7" y="464"/>
                  </a:lnTo>
                  <a:lnTo>
                    <a:pt x="12" y="437"/>
                  </a:lnTo>
                  <a:lnTo>
                    <a:pt x="19" y="411"/>
                  </a:lnTo>
                  <a:lnTo>
                    <a:pt x="27" y="385"/>
                  </a:lnTo>
                  <a:lnTo>
                    <a:pt x="36" y="360"/>
                  </a:lnTo>
                  <a:lnTo>
                    <a:pt x="46" y="335"/>
                  </a:lnTo>
                  <a:lnTo>
                    <a:pt x="57" y="310"/>
                  </a:lnTo>
                  <a:lnTo>
                    <a:pt x="70" y="287"/>
                  </a:lnTo>
                  <a:lnTo>
                    <a:pt x="84" y="264"/>
                  </a:lnTo>
                  <a:lnTo>
                    <a:pt x="99" y="242"/>
                  </a:lnTo>
                  <a:lnTo>
                    <a:pt x="115" y="220"/>
                  </a:lnTo>
                  <a:lnTo>
                    <a:pt x="132" y="200"/>
                  </a:lnTo>
                  <a:lnTo>
                    <a:pt x="151" y="180"/>
                  </a:lnTo>
                  <a:lnTo>
                    <a:pt x="170" y="161"/>
                  </a:lnTo>
                  <a:lnTo>
                    <a:pt x="189" y="143"/>
                  </a:lnTo>
                  <a:lnTo>
                    <a:pt x="211" y="125"/>
                  </a:lnTo>
                  <a:lnTo>
                    <a:pt x="232" y="109"/>
                  </a:lnTo>
                  <a:lnTo>
                    <a:pt x="255" y="94"/>
                  </a:lnTo>
                  <a:lnTo>
                    <a:pt x="278" y="79"/>
                  </a:lnTo>
                  <a:lnTo>
                    <a:pt x="303" y="66"/>
                  </a:lnTo>
                  <a:lnTo>
                    <a:pt x="327" y="54"/>
                  </a:lnTo>
                  <a:lnTo>
                    <a:pt x="353" y="44"/>
                  </a:lnTo>
                  <a:lnTo>
                    <a:pt x="379" y="33"/>
                  </a:lnTo>
                  <a:lnTo>
                    <a:pt x="406" y="24"/>
                  </a:lnTo>
                  <a:lnTo>
                    <a:pt x="433" y="17"/>
                  </a:lnTo>
                  <a:lnTo>
                    <a:pt x="460" y="11"/>
                  </a:lnTo>
                  <a:lnTo>
                    <a:pt x="489" y="6"/>
                  </a:lnTo>
                  <a:lnTo>
                    <a:pt x="518" y="3"/>
                  </a:lnTo>
                  <a:lnTo>
                    <a:pt x="547" y="1"/>
                  </a:lnTo>
                  <a:lnTo>
                    <a:pt x="577" y="0"/>
                  </a:lnTo>
                  <a:lnTo>
                    <a:pt x="577" y="0"/>
                  </a:lnTo>
                  <a:lnTo>
                    <a:pt x="607" y="1"/>
                  </a:lnTo>
                  <a:lnTo>
                    <a:pt x="635" y="3"/>
                  </a:lnTo>
                  <a:lnTo>
                    <a:pt x="664" y="6"/>
                  </a:lnTo>
                  <a:lnTo>
                    <a:pt x="692" y="11"/>
                  </a:lnTo>
                  <a:lnTo>
                    <a:pt x="720" y="17"/>
                  </a:lnTo>
                  <a:lnTo>
                    <a:pt x="747" y="24"/>
                  </a:lnTo>
                  <a:lnTo>
                    <a:pt x="773" y="33"/>
                  </a:lnTo>
                  <a:lnTo>
                    <a:pt x="800" y="44"/>
                  </a:lnTo>
                  <a:lnTo>
                    <a:pt x="825" y="54"/>
                  </a:lnTo>
                  <a:lnTo>
                    <a:pt x="850" y="66"/>
                  </a:lnTo>
                  <a:lnTo>
                    <a:pt x="873" y="79"/>
                  </a:lnTo>
                  <a:lnTo>
                    <a:pt x="897" y="94"/>
                  </a:lnTo>
                  <a:lnTo>
                    <a:pt x="919" y="109"/>
                  </a:lnTo>
                  <a:lnTo>
                    <a:pt x="942" y="125"/>
                  </a:lnTo>
                  <a:lnTo>
                    <a:pt x="962" y="143"/>
                  </a:lnTo>
                  <a:lnTo>
                    <a:pt x="983" y="161"/>
                  </a:lnTo>
                  <a:lnTo>
                    <a:pt x="1001" y="180"/>
                  </a:lnTo>
                  <a:lnTo>
                    <a:pt x="1020" y="200"/>
                  </a:lnTo>
                  <a:lnTo>
                    <a:pt x="1037" y="220"/>
                  </a:lnTo>
                  <a:lnTo>
                    <a:pt x="1052" y="242"/>
                  </a:lnTo>
                  <a:lnTo>
                    <a:pt x="1068" y="264"/>
                  </a:lnTo>
                  <a:lnTo>
                    <a:pt x="1082" y="287"/>
                  </a:lnTo>
                  <a:lnTo>
                    <a:pt x="1094" y="310"/>
                  </a:lnTo>
                  <a:lnTo>
                    <a:pt x="1106" y="335"/>
                  </a:lnTo>
                  <a:lnTo>
                    <a:pt x="1116" y="360"/>
                  </a:lnTo>
                  <a:lnTo>
                    <a:pt x="1125" y="385"/>
                  </a:lnTo>
                  <a:lnTo>
                    <a:pt x="1133" y="411"/>
                  </a:lnTo>
                  <a:lnTo>
                    <a:pt x="1139" y="437"/>
                  </a:lnTo>
                  <a:lnTo>
                    <a:pt x="1144" y="464"/>
                  </a:lnTo>
                  <a:lnTo>
                    <a:pt x="1148" y="491"/>
                  </a:lnTo>
                  <a:lnTo>
                    <a:pt x="1151" y="519"/>
                  </a:lnTo>
                  <a:lnTo>
                    <a:pt x="1152" y="547"/>
                  </a:lnTo>
                  <a:lnTo>
                    <a:pt x="1152" y="547"/>
                  </a:lnTo>
                  <a:lnTo>
                    <a:pt x="1151" y="574"/>
                  </a:lnTo>
                  <a:lnTo>
                    <a:pt x="1148" y="602"/>
                  </a:lnTo>
                  <a:lnTo>
                    <a:pt x="1144" y="629"/>
                  </a:lnTo>
                  <a:lnTo>
                    <a:pt x="1139" y="656"/>
                  </a:lnTo>
                  <a:lnTo>
                    <a:pt x="1133" y="683"/>
                  </a:lnTo>
                  <a:lnTo>
                    <a:pt x="1125" y="708"/>
                  </a:lnTo>
                  <a:lnTo>
                    <a:pt x="1116" y="734"/>
                  </a:lnTo>
                  <a:lnTo>
                    <a:pt x="1106" y="758"/>
                  </a:lnTo>
                  <a:lnTo>
                    <a:pt x="1094" y="783"/>
                  </a:lnTo>
                  <a:lnTo>
                    <a:pt x="1082" y="806"/>
                  </a:lnTo>
                  <a:lnTo>
                    <a:pt x="1068" y="830"/>
                  </a:lnTo>
                  <a:lnTo>
                    <a:pt x="1052" y="851"/>
                  </a:lnTo>
                  <a:lnTo>
                    <a:pt x="1037" y="873"/>
                  </a:lnTo>
                  <a:lnTo>
                    <a:pt x="1020" y="894"/>
                  </a:lnTo>
                  <a:lnTo>
                    <a:pt x="1001" y="914"/>
                  </a:lnTo>
                  <a:lnTo>
                    <a:pt x="983" y="933"/>
                  </a:lnTo>
                  <a:lnTo>
                    <a:pt x="962" y="950"/>
                  </a:lnTo>
                  <a:lnTo>
                    <a:pt x="942" y="968"/>
                  </a:lnTo>
                  <a:lnTo>
                    <a:pt x="919" y="984"/>
                  </a:lnTo>
                  <a:lnTo>
                    <a:pt x="897" y="1000"/>
                  </a:lnTo>
                  <a:lnTo>
                    <a:pt x="873" y="1014"/>
                  </a:lnTo>
                  <a:lnTo>
                    <a:pt x="850" y="1027"/>
                  </a:lnTo>
                  <a:lnTo>
                    <a:pt x="825" y="1039"/>
                  </a:lnTo>
                  <a:lnTo>
                    <a:pt x="800" y="1051"/>
                  </a:lnTo>
                  <a:lnTo>
                    <a:pt x="773" y="1060"/>
                  </a:lnTo>
                  <a:lnTo>
                    <a:pt x="747" y="1069"/>
                  </a:lnTo>
                  <a:lnTo>
                    <a:pt x="720" y="1076"/>
                  </a:lnTo>
                  <a:lnTo>
                    <a:pt x="692" y="1082"/>
                  </a:lnTo>
                  <a:lnTo>
                    <a:pt x="664" y="1087"/>
                  </a:lnTo>
                  <a:lnTo>
                    <a:pt x="635" y="1091"/>
                  </a:lnTo>
                  <a:lnTo>
                    <a:pt x="607" y="1093"/>
                  </a:lnTo>
                  <a:lnTo>
                    <a:pt x="577" y="1094"/>
                  </a:lnTo>
                  <a:lnTo>
                    <a:pt x="577" y="1094"/>
                  </a:lnTo>
                  <a:close/>
                  <a:moveTo>
                    <a:pt x="577" y="82"/>
                  </a:moveTo>
                  <a:lnTo>
                    <a:pt x="577" y="82"/>
                  </a:lnTo>
                  <a:lnTo>
                    <a:pt x="554" y="83"/>
                  </a:lnTo>
                  <a:lnTo>
                    <a:pt x="533" y="86"/>
                  </a:lnTo>
                  <a:lnTo>
                    <a:pt x="511" y="90"/>
                  </a:lnTo>
                  <a:lnTo>
                    <a:pt x="492" y="94"/>
                  </a:lnTo>
                  <a:lnTo>
                    <a:pt x="473" y="100"/>
                  </a:lnTo>
                  <a:lnTo>
                    <a:pt x="454" y="108"/>
                  </a:lnTo>
                  <a:lnTo>
                    <a:pt x="437" y="116"/>
                  </a:lnTo>
                  <a:lnTo>
                    <a:pt x="419" y="125"/>
                  </a:lnTo>
                  <a:lnTo>
                    <a:pt x="404" y="137"/>
                  </a:lnTo>
                  <a:lnTo>
                    <a:pt x="389" y="148"/>
                  </a:lnTo>
                  <a:lnTo>
                    <a:pt x="374" y="161"/>
                  </a:lnTo>
                  <a:lnTo>
                    <a:pt x="360" y="174"/>
                  </a:lnTo>
                  <a:lnTo>
                    <a:pt x="348" y="189"/>
                  </a:lnTo>
                  <a:lnTo>
                    <a:pt x="336" y="204"/>
                  </a:lnTo>
                  <a:lnTo>
                    <a:pt x="324" y="219"/>
                  </a:lnTo>
                  <a:lnTo>
                    <a:pt x="313" y="237"/>
                  </a:lnTo>
                  <a:lnTo>
                    <a:pt x="303" y="253"/>
                  </a:lnTo>
                  <a:lnTo>
                    <a:pt x="294" y="272"/>
                  </a:lnTo>
                  <a:lnTo>
                    <a:pt x="285" y="290"/>
                  </a:lnTo>
                  <a:lnTo>
                    <a:pt x="277" y="308"/>
                  </a:lnTo>
                  <a:lnTo>
                    <a:pt x="270" y="327"/>
                  </a:lnTo>
                  <a:lnTo>
                    <a:pt x="264" y="346"/>
                  </a:lnTo>
                  <a:lnTo>
                    <a:pt x="258" y="367"/>
                  </a:lnTo>
                  <a:lnTo>
                    <a:pt x="253" y="386"/>
                  </a:lnTo>
                  <a:lnTo>
                    <a:pt x="248" y="407"/>
                  </a:lnTo>
                  <a:lnTo>
                    <a:pt x="245" y="426"/>
                  </a:lnTo>
                  <a:lnTo>
                    <a:pt x="240" y="446"/>
                  </a:lnTo>
                  <a:lnTo>
                    <a:pt x="238" y="467"/>
                  </a:lnTo>
                  <a:lnTo>
                    <a:pt x="234" y="507"/>
                  </a:lnTo>
                  <a:lnTo>
                    <a:pt x="233" y="547"/>
                  </a:lnTo>
                  <a:lnTo>
                    <a:pt x="233" y="547"/>
                  </a:lnTo>
                  <a:lnTo>
                    <a:pt x="234" y="587"/>
                  </a:lnTo>
                  <a:lnTo>
                    <a:pt x="238" y="626"/>
                  </a:lnTo>
                  <a:lnTo>
                    <a:pt x="240" y="647"/>
                  </a:lnTo>
                  <a:lnTo>
                    <a:pt x="245" y="667"/>
                  </a:lnTo>
                  <a:lnTo>
                    <a:pt x="248" y="687"/>
                  </a:lnTo>
                  <a:lnTo>
                    <a:pt x="253" y="707"/>
                  </a:lnTo>
                  <a:lnTo>
                    <a:pt x="258" y="728"/>
                  </a:lnTo>
                  <a:lnTo>
                    <a:pt x="264" y="747"/>
                  </a:lnTo>
                  <a:lnTo>
                    <a:pt x="270" y="766"/>
                  </a:lnTo>
                  <a:lnTo>
                    <a:pt x="277" y="785"/>
                  </a:lnTo>
                  <a:lnTo>
                    <a:pt x="285" y="804"/>
                  </a:lnTo>
                  <a:lnTo>
                    <a:pt x="294" y="822"/>
                  </a:lnTo>
                  <a:lnTo>
                    <a:pt x="303" y="840"/>
                  </a:lnTo>
                  <a:lnTo>
                    <a:pt x="313" y="857"/>
                  </a:lnTo>
                  <a:lnTo>
                    <a:pt x="324" y="874"/>
                  </a:lnTo>
                  <a:lnTo>
                    <a:pt x="336" y="889"/>
                  </a:lnTo>
                  <a:lnTo>
                    <a:pt x="348" y="904"/>
                  </a:lnTo>
                  <a:lnTo>
                    <a:pt x="360" y="919"/>
                  </a:lnTo>
                  <a:lnTo>
                    <a:pt x="374" y="932"/>
                  </a:lnTo>
                  <a:lnTo>
                    <a:pt x="389" y="945"/>
                  </a:lnTo>
                  <a:lnTo>
                    <a:pt x="404" y="957"/>
                  </a:lnTo>
                  <a:lnTo>
                    <a:pt x="419" y="968"/>
                  </a:lnTo>
                  <a:lnTo>
                    <a:pt x="437" y="977"/>
                  </a:lnTo>
                  <a:lnTo>
                    <a:pt x="454" y="986"/>
                  </a:lnTo>
                  <a:lnTo>
                    <a:pt x="473" y="993"/>
                  </a:lnTo>
                  <a:lnTo>
                    <a:pt x="492" y="1000"/>
                  </a:lnTo>
                  <a:lnTo>
                    <a:pt x="511" y="1005"/>
                  </a:lnTo>
                  <a:lnTo>
                    <a:pt x="533" y="1008"/>
                  </a:lnTo>
                  <a:lnTo>
                    <a:pt x="554" y="1010"/>
                  </a:lnTo>
                  <a:lnTo>
                    <a:pt x="577" y="1011"/>
                  </a:lnTo>
                  <a:lnTo>
                    <a:pt x="577" y="1011"/>
                  </a:lnTo>
                  <a:lnTo>
                    <a:pt x="599" y="1010"/>
                  </a:lnTo>
                  <a:lnTo>
                    <a:pt x="621" y="1008"/>
                  </a:lnTo>
                  <a:lnTo>
                    <a:pt x="641" y="1005"/>
                  </a:lnTo>
                  <a:lnTo>
                    <a:pt x="662" y="1000"/>
                  </a:lnTo>
                  <a:lnTo>
                    <a:pt x="680" y="993"/>
                  </a:lnTo>
                  <a:lnTo>
                    <a:pt x="699" y="986"/>
                  </a:lnTo>
                  <a:lnTo>
                    <a:pt x="716" y="977"/>
                  </a:lnTo>
                  <a:lnTo>
                    <a:pt x="733" y="968"/>
                  </a:lnTo>
                  <a:lnTo>
                    <a:pt x="749" y="957"/>
                  </a:lnTo>
                  <a:lnTo>
                    <a:pt x="764" y="945"/>
                  </a:lnTo>
                  <a:lnTo>
                    <a:pt x="778" y="932"/>
                  </a:lnTo>
                  <a:lnTo>
                    <a:pt x="793" y="919"/>
                  </a:lnTo>
                  <a:lnTo>
                    <a:pt x="805" y="904"/>
                  </a:lnTo>
                  <a:lnTo>
                    <a:pt x="817" y="889"/>
                  </a:lnTo>
                  <a:lnTo>
                    <a:pt x="828" y="874"/>
                  </a:lnTo>
                  <a:lnTo>
                    <a:pt x="840" y="857"/>
                  </a:lnTo>
                  <a:lnTo>
                    <a:pt x="850" y="840"/>
                  </a:lnTo>
                  <a:lnTo>
                    <a:pt x="859" y="822"/>
                  </a:lnTo>
                  <a:lnTo>
                    <a:pt x="867" y="804"/>
                  </a:lnTo>
                  <a:lnTo>
                    <a:pt x="875" y="785"/>
                  </a:lnTo>
                  <a:lnTo>
                    <a:pt x="883" y="766"/>
                  </a:lnTo>
                  <a:lnTo>
                    <a:pt x="890" y="747"/>
                  </a:lnTo>
                  <a:lnTo>
                    <a:pt x="895" y="728"/>
                  </a:lnTo>
                  <a:lnTo>
                    <a:pt x="901" y="707"/>
                  </a:lnTo>
                  <a:lnTo>
                    <a:pt x="905" y="687"/>
                  </a:lnTo>
                  <a:lnTo>
                    <a:pt x="909" y="667"/>
                  </a:lnTo>
                  <a:lnTo>
                    <a:pt x="912" y="647"/>
                  </a:lnTo>
                  <a:lnTo>
                    <a:pt x="915" y="626"/>
                  </a:lnTo>
                  <a:lnTo>
                    <a:pt x="918" y="587"/>
                  </a:lnTo>
                  <a:lnTo>
                    <a:pt x="920" y="547"/>
                  </a:lnTo>
                  <a:lnTo>
                    <a:pt x="920" y="547"/>
                  </a:lnTo>
                  <a:lnTo>
                    <a:pt x="918" y="507"/>
                  </a:lnTo>
                  <a:lnTo>
                    <a:pt x="915" y="467"/>
                  </a:lnTo>
                  <a:lnTo>
                    <a:pt x="912" y="446"/>
                  </a:lnTo>
                  <a:lnTo>
                    <a:pt x="909" y="426"/>
                  </a:lnTo>
                  <a:lnTo>
                    <a:pt x="905" y="407"/>
                  </a:lnTo>
                  <a:lnTo>
                    <a:pt x="901" y="386"/>
                  </a:lnTo>
                  <a:lnTo>
                    <a:pt x="895" y="367"/>
                  </a:lnTo>
                  <a:lnTo>
                    <a:pt x="890" y="346"/>
                  </a:lnTo>
                  <a:lnTo>
                    <a:pt x="883" y="327"/>
                  </a:lnTo>
                  <a:lnTo>
                    <a:pt x="875" y="308"/>
                  </a:lnTo>
                  <a:lnTo>
                    <a:pt x="867" y="290"/>
                  </a:lnTo>
                  <a:lnTo>
                    <a:pt x="859" y="272"/>
                  </a:lnTo>
                  <a:lnTo>
                    <a:pt x="850" y="253"/>
                  </a:lnTo>
                  <a:lnTo>
                    <a:pt x="840" y="237"/>
                  </a:lnTo>
                  <a:lnTo>
                    <a:pt x="828" y="219"/>
                  </a:lnTo>
                  <a:lnTo>
                    <a:pt x="817" y="204"/>
                  </a:lnTo>
                  <a:lnTo>
                    <a:pt x="805" y="189"/>
                  </a:lnTo>
                  <a:lnTo>
                    <a:pt x="793" y="174"/>
                  </a:lnTo>
                  <a:lnTo>
                    <a:pt x="778" y="161"/>
                  </a:lnTo>
                  <a:lnTo>
                    <a:pt x="764" y="148"/>
                  </a:lnTo>
                  <a:lnTo>
                    <a:pt x="749" y="137"/>
                  </a:lnTo>
                  <a:lnTo>
                    <a:pt x="733" y="125"/>
                  </a:lnTo>
                  <a:lnTo>
                    <a:pt x="716" y="116"/>
                  </a:lnTo>
                  <a:lnTo>
                    <a:pt x="699" y="108"/>
                  </a:lnTo>
                  <a:lnTo>
                    <a:pt x="680" y="100"/>
                  </a:lnTo>
                  <a:lnTo>
                    <a:pt x="662" y="94"/>
                  </a:lnTo>
                  <a:lnTo>
                    <a:pt x="641" y="90"/>
                  </a:lnTo>
                  <a:lnTo>
                    <a:pt x="621" y="86"/>
                  </a:lnTo>
                  <a:lnTo>
                    <a:pt x="599" y="83"/>
                  </a:lnTo>
                  <a:lnTo>
                    <a:pt x="577" y="82"/>
                  </a:lnTo>
                  <a:lnTo>
                    <a:pt x="577" y="8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13" name="Freeform 11"/>
            <p:cNvSpPr>
              <a:spLocks/>
            </p:cNvSpPr>
            <p:nvPr userDrawn="1"/>
          </p:nvSpPr>
          <p:spPr bwMode="auto">
            <a:xfrm>
              <a:off x="2447926" y="893763"/>
              <a:ext cx="155575" cy="141288"/>
            </a:xfrm>
            <a:custGeom>
              <a:avLst/>
              <a:gdLst>
                <a:gd name="T0" fmla="*/ 922 w 1165"/>
                <a:gd name="T1" fmla="*/ 252 h 1065"/>
                <a:gd name="T2" fmla="*/ 921 w 1165"/>
                <a:gd name="T3" fmla="*/ 194 h 1065"/>
                <a:gd name="T4" fmla="*/ 916 w 1165"/>
                <a:gd name="T5" fmla="*/ 148 h 1065"/>
                <a:gd name="T6" fmla="*/ 906 w 1165"/>
                <a:gd name="T7" fmla="*/ 113 h 1065"/>
                <a:gd name="T8" fmla="*/ 896 w 1165"/>
                <a:gd name="T9" fmla="*/ 92 h 1065"/>
                <a:gd name="T10" fmla="*/ 888 w 1165"/>
                <a:gd name="T11" fmla="*/ 81 h 1065"/>
                <a:gd name="T12" fmla="*/ 877 w 1165"/>
                <a:gd name="T13" fmla="*/ 73 h 1065"/>
                <a:gd name="T14" fmla="*/ 857 w 1165"/>
                <a:gd name="T15" fmla="*/ 63 h 1065"/>
                <a:gd name="T16" fmla="*/ 825 w 1165"/>
                <a:gd name="T17" fmla="*/ 54 h 1065"/>
                <a:gd name="T18" fmla="*/ 782 w 1165"/>
                <a:gd name="T19" fmla="*/ 50 h 1065"/>
                <a:gd name="T20" fmla="*/ 756 w 1165"/>
                <a:gd name="T21" fmla="*/ 0 h 1065"/>
                <a:gd name="T22" fmla="*/ 1165 w 1165"/>
                <a:gd name="T23" fmla="*/ 50 h 1065"/>
                <a:gd name="T24" fmla="*/ 1139 w 1165"/>
                <a:gd name="T25" fmla="*/ 50 h 1065"/>
                <a:gd name="T26" fmla="*/ 1096 w 1165"/>
                <a:gd name="T27" fmla="*/ 54 h 1065"/>
                <a:gd name="T28" fmla="*/ 1062 w 1165"/>
                <a:gd name="T29" fmla="*/ 63 h 1065"/>
                <a:gd name="T30" fmla="*/ 1042 w 1165"/>
                <a:gd name="T31" fmla="*/ 73 h 1065"/>
                <a:gd name="T32" fmla="*/ 1032 w 1165"/>
                <a:gd name="T33" fmla="*/ 81 h 1065"/>
                <a:gd name="T34" fmla="*/ 1023 w 1165"/>
                <a:gd name="T35" fmla="*/ 92 h 1065"/>
                <a:gd name="T36" fmla="*/ 1014 w 1165"/>
                <a:gd name="T37" fmla="*/ 113 h 1065"/>
                <a:gd name="T38" fmla="*/ 1005 w 1165"/>
                <a:gd name="T39" fmla="*/ 148 h 1065"/>
                <a:gd name="T40" fmla="*/ 1000 w 1165"/>
                <a:gd name="T41" fmla="*/ 194 h 1065"/>
                <a:gd name="T42" fmla="*/ 999 w 1165"/>
                <a:gd name="T43" fmla="*/ 252 h 1065"/>
                <a:gd name="T44" fmla="*/ 955 w 1165"/>
                <a:gd name="T45" fmla="*/ 1065 h 1065"/>
                <a:gd name="T46" fmla="*/ 242 w 1165"/>
                <a:gd name="T47" fmla="*/ 783 h 1065"/>
                <a:gd name="T48" fmla="*/ 242 w 1165"/>
                <a:gd name="T49" fmla="*/ 814 h 1065"/>
                <a:gd name="T50" fmla="*/ 245 w 1165"/>
                <a:gd name="T51" fmla="*/ 866 h 1065"/>
                <a:gd name="T52" fmla="*/ 251 w 1165"/>
                <a:gd name="T53" fmla="*/ 906 h 1065"/>
                <a:gd name="T54" fmla="*/ 263 w 1165"/>
                <a:gd name="T55" fmla="*/ 937 h 1065"/>
                <a:gd name="T56" fmla="*/ 271 w 1165"/>
                <a:gd name="T57" fmla="*/ 949 h 1065"/>
                <a:gd name="T58" fmla="*/ 281 w 1165"/>
                <a:gd name="T59" fmla="*/ 958 h 1065"/>
                <a:gd name="T60" fmla="*/ 292 w 1165"/>
                <a:gd name="T61" fmla="*/ 966 h 1065"/>
                <a:gd name="T62" fmla="*/ 322 w 1165"/>
                <a:gd name="T63" fmla="*/ 978 h 1065"/>
                <a:gd name="T64" fmla="*/ 359 w 1165"/>
                <a:gd name="T65" fmla="*/ 984 h 1065"/>
                <a:gd name="T66" fmla="*/ 407 w 1165"/>
                <a:gd name="T67" fmla="*/ 985 h 1065"/>
                <a:gd name="T68" fmla="*/ 0 w 1165"/>
                <a:gd name="T69" fmla="*/ 1035 h 1065"/>
                <a:gd name="T70" fmla="*/ 0 w 1165"/>
                <a:gd name="T71" fmla="*/ 985 h 1065"/>
                <a:gd name="T72" fmla="*/ 49 w 1165"/>
                <a:gd name="T73" fmla="*/ 984 h 1065"/>
                <a:gd name="T74" fmla="*/ 86 w 1165"/>
                <a:gd name="T75" fmla="*/ 978 h 1065"/>
                <a:gd name="T76" fmla="*/ 115 w 1165"/>
                <a:gd name="T77" fmla="*/ 966 h 1065"/>
                <a:gd name="T78" fmla="*/ 126 w 1165"/>
                <a:gd name="T79" fmla="*/ 958 h 1065"/>
                <a:gd name="T80" fmla="*/ 135 w 1165"/>
                <a:gd name="T81" fmla="*/ 949 h 1065"/>
                <a:gd name="T82" fmla="*/ 144 w 1165"/>
                <a:gd name="T83" fmla="*/ 937 h 1065"/>
                <a:gd name="T84" fmla="*/ 155 w 1165"/>
                <a:gd name="T85" fmla="*/ 906 h 1065"/>
                <a:gd name="T86" fmla="*/ 161 w 1165"/>
                <a:gd name="T87" fmla="*/ 866 h 1065"/>
                <a:gd name="T88" fmla="*/ 164 w 1165"/>
                <a:gd name="T89" fmla="*/ 814 h 1065"/>
                <a:gd name="T90" fmla="*/ 164 w 1165"/>
                <a:gd name="T91" fmla="*/ 252 h 1065"/>
                <a:gd name="T92" fmla="*/ 164 w 1165"/>
                <a:gd name="T93" fmla="*/ 221 h 1065"/>
                <a:gd name="T94" fmla="*/ 161 w 1165"/>
                <a:gd name="T95" fmla="*/ 169 h 1065"/>
                <a:gd name="T96" fmla="*/ 155 w 1165"/>
                <a:gd name="T97" fmla="*/ 129 h 1065"/>
                <a:gd name="T98" fmla="*/ 144 w 1165"/>
                <a:gd name="T99" fmla="*/ 98 h 1065"/>
                <a:gd name="T100" fmla="*/ 135 w 1165"/>
                <a:gd name="T101" fmla="*/ 86 h 1065"/>
                <a:gd name="T102" fmla="*/ 126 w 1165"/>
                <a:gd name="T103" fmla="*/ 77 h 1065"/>
                <a:gd name="T104" fmla="*/ 115 w 1165"/>
                <a:gd name="T105" fmla="*/ 69 h 1065"/>
                <a:gd name="T106" fmla="*/ 86 w 1165"/>
                <a:gd name="T107" fmla="*/ 58 h 1065"/>
                <a:gd name="T108" fmla="*/ 49 w 1165"/>
                <a:gd name="T109" fmla="*/ 51 h 1065"/>
                <a:gd name="T110" fmla="*/ 0 w 1165"/>
                <a:gd name="T111" fmla="*/ 50 h 1065"/>
                <a:gd name="T112" fmla="*/ 345 w 1165"/>
                <a:gd name="T113" fmla="*/ 0 h 1065"/>
                <a:gd name="T114" fmla="*/ 922 w 1165"/>
                <a:gd name="T115" fmla="*/ 252 h 10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165" h="1065">
                  <a:moveTo>
                    <a:pt x="922" y="252"/>
                  </a:moveTo>
                  <a:lnTo>
                    <a:pt x="922" y="252"/>
                  </a:lnTo>
                  <a:lnTo>
                    <a:pt x="921" y="221"/>
                  </a:lnTo>
                  <a:lnTo>
                    <a:pt x="921" y="194"/>
                  </a:lnTo>
                  <a:lnTo>
                    <a:pt x="919" y="169"/>
                  </a:lnTo>
                  <a:lnTo>
                    <a:pt x="916" y="148"/>
                  </a:lnTo>
                  <a:lnTo>
                    <a:pt x="912" y="129"/>
                  </a:lnTo>
                  <a:lnTo>
                    <a:pt x="906" y="113"/>
                  </a:lnTo>
                  <a:lnTo>
                    <a:pt x="900" y="98"/>
                  </a:lnTo>
                  <a:lnTo>
                    <a:pt x="896" y="92"/>
                  </a:lnTo>
                  <a:lnTo>
                    <a:pt x="892" y="86"/>
                  </a:lnTo>
                  <a:lnTo>
                    <a:pt x="888" y="81"/>
                  </a:lnTo>
                  <a:lnTo>
                    <a:pt x="883" y="77"/>
                  </a:lnTo>
                  <a:lnTo>
                    <a:pt x="877" y="73"/>
                  </a:lnTo>
                  <a:lnTo>
                    <a:pt x="872" y="69"/>
                  </a:lnTo>
                  <a:lnTo>
                    <a:pt x="857" y="63"/>
                  </a:lnTo>
                  <a:lnTo>
                    <a:pt x="842" y="58"/>
                  </a:lnTo>
                  <a:lnTo>
                    <a:pt x="825" y="54"/>
                  </a:lnTo>
                  <a:lnTo>
                    <a:pt x="804" y="51"/>
                  </a:lnTo>
                  <a:lnTo>
                    <a:pt x="782" y="50"/>
                  </a:lnTo>
                  <a:lnTo>
                    <a:pt x="756" y="50"/>
                  </a:lnTo>
                  <a:lnTo>
                    <a:pt x="756" y="0"/>
                  </a:lnTo>
                  <a:lnTo>
                    <a:pt x="1165" y="0"/>
                  </a:lnTo>
                  <a:lnTo>
                    <a:pt x="1165" y="50"/>
                  </a:lnTo>
                  <a:lnTo>
                    <a:pt x="1165" y="50"/>
                  </a:lnTo>
                  <a:lnTo>
                    <a:pt x="1139" y="50"/>
                  </a:lnTo>
                  <a:lnTo>
                    <a:pt x="1116" y="51"/>
                  </a:lnTo>
                  <a:lnTo>
                    <a:pt x="1096" y="54"/>
                  </a:lnTo>
                  <a:lnTo>
                    <a:pt x="1078" y="58"/>
                  </a:lnTo>
                  <a:lnTo>
                    <a:pt x="1062" y="63"/>
                  </a:lnTo>
                  <a:lnTo>
                    <a:pt x="1049" y="69"/>
                  </a:lnTo>
                  <a:lnTo>
                    <a:pt x="1042" y="73"/>
                  </a:lnTo>
                  <a:lnTo>
                    <a:pt x="1037" y="77"/>
                  </a:lnTo>
                  <a:lnTo>
                    <a:pt x="1032" y="81"/>
                  </a:lnTo>
                  <a:lnTo>
                    <a:pt x="1028" y="86"/>
                  </a:lnTo>
                  <a:lnTo>
                    <a:pt x="1023" y="92"/>
                  </a:lnTo>
                  <a:lnTo>
                    <a:pt x="1020" y="98"/>
                  </a:lnTo>
                  <a:lnTo>
                    <a:pt x="1014" y="113"/>
                  </a:lnTo>
                  <a:lnTo>
                    <a:pt x="1009" y="129"/>
                  </a:lnTo>
                  <a:lnTo>
                    <a:pt x="1005" y="148"/>
                  </a:lnTo>
                  <a:lnTo>
                    <a:pt x="1002" y="169"/>
                  </a:lnTo>
                  <a:lnTo>
                    <a:pt x="1000" y="194"/>
                  </a:lnTo>
                  <a:lnTo>
                    <a:pt x="999" y="221"/>
                  </a:lnTo>
                  <a:lnTo>
                    <a:pt x="999" y="252"/>
                  </a:lnTo>
                  <a:lnTo>
                    <a:pt x="999" y="1065"/>
                  </a:lnTo>
                  <a:lnTo>
                    <a:pt x="955" y="1065"/>
                  </a:lnTo>
                  <a:lnTo>
                    <a:pt x="242" y="212"/>
                  </a:lnTo>
                  <a:lnTo>
                    <a:pt x="242" y="783"/>
                  </a:lnTo>
                  <a:lnTo>
                    <a:pt x="242" y="783"/>
                  </a:lnTo>
                  <a:lnTo>
                    <a:pt x="242" y="814"/>
                  </a:lnTo>
                  <a:lnTo>
                    <a:pt x="243" y="842"/>
                  </a:lnTo>
                  <a:lnTo>
                    <a:pt x="245" y="866"/>
                  </a:lnTo>
                  <a:lnTo>
                    <a:pt x="248" y="888"/>
                  </a:lnTo>
                  <a:lnTo>
                    <a:pt x="251" y="906"/>
                  </a:lnTo>
                  <a:lnTo>
                    <a:pt x="256" y="923"/>
                  </a:lnTo>
                  <a:lnTo>
                    <a:pt x="263" y="937"/>
                  </a:lnTo>
                  <a:lnTo>
                    <a:pt x="266" y="943"/>
                  </a:lnTo>
                  <a:lnTo>
                    <a:pt x="271" y="949"/>
                  </a:lnTo>
                  <a:lnTo>
                    <a:pt x="276" y="954"/>
                  </a:lnTo>
                  <a:lnTo>
                    <a:pt x="281" y="958"/>
                  </a:lnTo>
                  <a:lnTo>
                    <a:pt x="286" y="963"/>
                  </a:lnTo>
                  <a:lnTo>
                    <a:pt x="292" y="966"/>
                  </a:lnTo>
                  <a:lnTo>
                    <a:pt x="305" y="973"/>
                  </a:lnTo>
                  <a:lnTo>
                    <a:pt x="322" y="978"/>
                  </a:lnTo>
                  <a:lnTo>
                    <a:pt x="339" y="982"/>
                  </a:lnTo>
                  <a:lnTo>
                    <a:pt x="359" y="984"/>
                  </a:lnTo>
                  <a:lnTo>
                    <a:pt x="382" y="985"/>
                  </a:lnTo>
                  <a:lnTo>
                    <a:pt x="407" y="985"/>
                  </a:lnTo>
                  <a:lnTo>
                    <a:pt x="407" y="1035"/>
                  </a:lnTo>
                  <a:lnTo>
                    <a:pt x="0" y="1035"/>
                  </a:lnTo>
                  <a:lnTo>
                    <a:pt x="0" y="985"/>
                  </a:lnTo>
                  <a:lnTo>
                    <a:pt x="0" y="985"/>
                  </a:lnTo>
                  <a:lnTo>
                    <a:pt x="26" y="985"/>
                  </a:lnTo>
                  <a:lnTo>
                    <a:pt x="49" y="984"/>
                  </a:lnTo>
                  <a:lnTo>
                    <a:pt x="69" y="982"/>
                  </a:lnTo>
                  <a:lnTo>
                    <a:pt x="86" y="978"/>
                  </a:lnTo>
                  <a:lnTo>
                    <a:pt x="102" y="973"/>
                  </a:lnTo>
                  <a:lnTo>
                    <a:pt x="115" y="966"/>
                  </a:lnTo>
                  <a:lnTo>
                    <a:pt x="121" y="963"/>
                  </a:lnTo>
                  <a:lnTo>
                    <a:pt x="126" y="958"/>
                  </a:lnTo>
                  <a:lnTo>
                    <a:pt x="131" y="954"/>
                  </a:lnTo>
                  <a:lnTo>
                    <a:pt x="135" y="949"/>
                  </a:lnTo>
                  <a:lnTo>
                    <a:pt x="141" y="943"/>
                  </a:lnTo>
                  <a:lnTo>
                    <a:pt x="144" y="937"/>
                  </a:lnTo>
                  <a:lnTo>
                    <a:pt x="150" y="923"/>
                  </a:lnTo>
                  <a:lnTo>
                    <a:pt x="155" y="906"/>
                  </a:lnTo>
                  <a:lnTo>
                    <a:pt x="159" y="888"/>
                  </a:lnTo>
                  <a:lnTo>
                    <a:pt x="161" y="866"/>
                  </a:lnTo>
                  <a:lnTo>
                    <a:pt x="163" y="842"/>
                  </a:lnTo>
                  <a:lnTo>
                    <a:pt x="164" y="814"/>
                  </a:lnTo>
                  <a:lnTo>
                    <a:pt x="164" y="783"/>
                  </a:lnTo>
                  <a:lnTo>
                    <a:pt x="164" y="252"/>
                  </a:lnTo>
                  <a:lnTo>
                    <a:pt x="164" y="252"/>
                  </a:lnTo>
                  <a:lnTo>
                    <a:pt x="164" y="221"/>
                  </a:lnTo>
                  <a:lnTo>
                    <a:pt x="163" y="194"/>
                  </a:lnTo>
                  <a:lnTo>
                    <a:pt x="161" y="169"/>
                  </a:lnTo>
                  <a:lnTo>
                    <a:pt x="159" y="148"/>
                  </a:lnTo>
                  <a:lnTo>
                    <a:pt x="155" y="129"/>
                  </a:lnTo>
                  <a:lnTo>
                    <a:pt x="150" y="113"/>
                  </a:lnTo>
                  <a:lnTo>
                    <a:pt x="144" y="98"/>
                  </a:lnTo>
                  <a:lnTo>
                    <a:pt x="141" y="92"/>
                  </a:lnTo>
                  <a:lnTo>
                    <a:pt x="135" y="86"/>
                  </a:lnTo>
                  <a:lnTo>
                    <a:pt x="131" y="81"/>
                  </a:lnTo>
                  <a:lnTo>
                    <a:pt x="126" y="77"/>
                  </a:lnTo>
                  <a:lnTo>
                    <a:pt x="121" y="73"/>
                  </a:lnTo>
                  <a:lnTo>
                    <a:pt x="115" y="69"/>
                  </a:lnTo>
                  <a:lnTo>
                    <a:pt x="102" y="63"/>
                  </a:lnTo>
                  <a:lnTo>
                    <a:pt x="86" y="58"/>
                  </a:lnTo>
                  <a:lnTo>
                    <a:pt x="69" y="54"/>
                  </a:lnTo>
                  <a:lnTo>
                    <a:pt x="49" y="51"/>
                  </a:lnTo>
                  <a:lnTo>
                    <a:pt x="26" y="50"/>
                  </a:lnTo>
                  <a:lnTo>
                    <a:pt x="0" y="50"/>
                  </a:lnTo>
                  <a:lnTo>
                    <a:pt x="0" y="0"/>
                  </a:lnTo>
                  <a:lnTo>
                    <a:pt x="345" y="0"/>
                  </a:lnTo>
                  <a:lnTo>
                    <a:pt x="922" y="686"/>
                  </a:lnTo>
                  <a:lnTo>
                    <a:pt x="922" y="25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14" name="Freeform 12"/>
            <p:cNvSpPr>
              <a:spLocks/>
            </p:cNvSpPr>
            <p:nvPr userDrawn="1"/>
          </p:nvSpPr>
          <p:spPr bwMode="auto">
            <a:xfrm>
              <a:off x="2636838" y="893763"/>
              <a:ext cx="127000" cy="136525"/>
            </a:xfrm>
            <a:custGeom>
              <a:avLst/>
              <a:gdLst>
                <a:gd name="T0" fmla="*/ 25 w 959"/>
                <a:gd name="T1" fmla="*/ 985 h 1035"/>
                <a:gd name="T2" fmla="*/ 86 w 959"/>
                <a:gd name="T3" fmla="*/ 978 h 1035"/>
                <a:gd name="T4" fmla="*/ 120 w 959"/>
                <a:gd name="T5" fmla="*/ 963 h 1035"/>
                <a:gd name="T6" fmla="*/ 136 w 959"/>
                <a:gd name="T7" fmla="*/ 949 h 1035"/>
                <a:gd name="T8" fmla="*/ 150 w 959"/>
                <a:gd name="T9" fmla="*/ 923 h 1035"/>
                <a:gd name="T10" fmla="*/ 161 w 959"/>
                <a:gd name="T11" fmla="*/ 866 h 1035"/>
                <a:gd name="T12" fmla="*/ 163 w 959"/>
                <a:gd name="T13" fmla="*/ 783 h 1035"/>
                <a:gd name="T14" fmla="*/ 163 w 959"/>
                <a:gd name="T15" fmla="*/ 221 h 1035"/>
                <a:gd name="T16" fmla="*/ 158 w 959"/>
                <a:gd name="T17" fmla="*/ 148 h 1035"/>
                <a:gd name="T18" fmla="*/ 143 w 959"/>
                <a:gd name="T19" fmla="*/ 98 h 1035"/>
                <a:gd name="T20" fmla="*/ 131 w 959"/>
                <a:gd name="T21" fmla="*/ 81 h 1035"/>
                <a:gd name="T22" fmla="*/ 114 w 959"/>
                <a:gd name="T23" fmla="*/ 69 h 1035"/>
                <a:gd name="T24" fmla="*/ 68 w 959"/>
                <a:gd name="T25" fmla="*/ 54 h 1035"/>
                <a:gd name="T26" fmla="*/ 0 w 959"/>
                <a:gd name="T27" fmla="*/ 50 h 1035"/>
                <a:gd name="T28" fmla="*/ 902 w 959"/>
                <a:gd name="T29" fmla="*/ 244 h 1035"/>
                <a:gd name="T30" fmla="*/ 843 w 959"/>
                <a:gd name="T31" fmla="*/ 209 h 1035"/>
                <a:gd name="T32" fmla="*/ 824 w 959"/>
                <a:gd name="T33" fmla="*/ 150 h 1035"/>
                <a:gd name="T34" fmla="*/ 803 w 959"/>
                <a:gd name="T35" fmla="*/ 118 h 1035"/>
                <a:gd name="T36" fmla="*/ 770 w 959"/>
                <a:gd name="T37" fmla="*/ 95 h 1035"/>
                <a:gd name="T38" fmla="*/ 719 w 959"/>
                <a:gd name="T39" fmla="*/ 82 h 1035"/>
                <a:gd name="T40" fmla="*/ 643 w 959"/>
                <a:gd name="T41" fmla="*/ 78 h 1035"/>
                <a:gd name="T42" fmla="*/ 474 w 959"/>
                <a:gd name="T43" fmla="*/ 449 h 1035"/>
                <a:gd name="T44" fmla="*/ 532 w 959"/>
                <a:gd name="T45" fmla="*/ 447 h 1035"/>
                <a:gd name="T46" fmla="*/ 597 w 959"/>
                <a:gd name="T47" fmla="*/ 439 h 1035"/>
                <a:gd name="T48" fmla="*/ 634 w 959"/>
                <a:gd name="T49" fmla="*/ 424 h 1035"/>
                <a:gd name="T50" fmla="*/ 649 w 959"/>
                <a:gd name="T51" fmla="*/ 410 h 1035"/>
                <a:gd name="T52" fmla="*/ 662 w 959"/>
                <a:gd name="T53" fmla="*/ 385 h 1035"/>
                <a:gd name="T54" fmla="*/ 673 w 959"/>
                <a:gd name="T55" fmla="*/ 332 h 1035"/>
                <a:gd name="T56" fmla="*/ 725 w 959"/>
                <a:gd name="T57" fmla="*/ 283 h 1035"/>
                <a:gd name="T58" fmla="*/ 675 w 959"/>
                <a:gd name="T59" fmla="*/ 691 h 1035"/>
                <a:gd name="T60" fmla="*/ 671 w 959"/>
                <a:gd name="T61" fmla="*/ 623 h 1035"/>
                <a:gd name="T62" fmla="*/ 656 w 959"/>
                <a:gd name="T63" fmla="*/ 576 h 1035"/>
                <a:gd name="T64" fmla="*/ 644 w 959"/>
                <a:gd name="T65" fmla="*/ 560 h 1035"/>
                <a:gd name="T66" fmla="*/ 628 w 959"/>
                <a:gd name="T67" fmla="*/ 547 h 1035"/>
                <a:gd name="T68" fmla="*/ 578 w 959"/>
                <a:gd name="T69" fmla="*/ 532 h 1035"/>
                <a:gd name="T70" fmla="*/ 505 w 959"/>
                <a:gd name="T71" fmla="*/ 527 h 1035"/>
                <a:gd name="T72" fmla="*/ 379 w 959"/>
                <a:gd name="T73" fmla="*/ 756 h 1035"/>
                <a:gd name="T74" fmla="*/ 380 w 959"/>
                <a:gd name="T75" fmla="*/ 814 h 1035"/>
                <a:gd name="T76" fmla="*/ 389 w 959"/>
                <a:gd name="T77" fmla="*/ 879 h 1035"/>
                <a:gd name="T78" fmla="*/ 405 w 959"/>
                <a:gd name="T79" fmla="*/ 915 h 1035"/>
                <a:gd name="T80" fmla="*/ 418 w 959"/>
                <a:gd name="T81" fmla="*/ 932 h 1035"/>
                <a:gd name="T82" fmla="*/ 444 w 959"/>
                <a:gd name="T83" fmla="*/ 946 h 1035"/>
                <a:gd name="T84" fmla="*/ 497 w 959"/>
                <a:gd name="T85" fmla="*/ 956 h 1035"/>
                <a:gd name="T86" fmla="*/ 700 w 959"/>
                <a:gd name="T87" fmla="*/ 957 h 1035"/>
                <a:gd name="T88" fmla="*/ 753 w 959"/>
                <a:gd name="T89" fmla="*/ 955 h 1035"/>
                <a:gd name="T90" fmla="*/ 813 w 959"/>
                <a:gd name="T91" fmla="*/ 946 h 1035"/>
                <a:gd name="T92" fmla="*/ 852 w 959"/>
                <a:gd name="T93" fmla="*/ 927 h 1035"/>
                <a:gd name="T94" fmla="*/ 876 w 959"/>
                <a:gd name="T95" fmla="*/ 897 h 1035"/>
                <a:gd name="T96" fmla="*/ 891 w 959"/>
                <a:gd name="T97" fmla="*/ 858 h 1035"/>
                <a:gd name="T98" fmla="*/ 959 w 959"/>
                <a:gd name="T99" fmla="*/ 792 h 1035"/>
                <a:gd name="T100" fmla="*/ 0 w 959"/>
                <a:gd name="T101" fmla="*/ 985 h 10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959" h="1035">
                  <a:moveTo>
                    <a:pt x="0" y="985"/>
                  </a:moveTo>
                  <a:lnTo>
                    <a:pt x="0" y="985"/>
                  </a:lnTo>
                  <a:lnTo>
                    <a:pt x="25" y="985"/>
                  </a:lnTo>
                  <a:lnTo>
                    <a:pt x="48" y="984"/>
                  </a:lnTo>
                  <a:lnTo>
                    <a:pt x="68" y="982"/>
                  </a:lnTo>
                  <a:lnTo>
                    <a:pt x="86" y="978"/>
                  </a:lnTo>
                  <a:lnTo>
                    <a:pt x="101" y="973"/>
                  </a:lnTo>
                  <a:lnTo>
                    <a:pt x="114" y="966"/>
                  </a:lnTo>
                  <a:lnTo>
                    <a:pt x="120" y="963"/>
                  </a:lnTo>
                  <a:lnTo>
                    <a:pt x="126" y="958"/>
                  </a:lnTo>
                  <a:lnTo>
                    <a:pt x="131" y="954"/>
                  </a:lnTo>
                  <a:lnTo>
                    <a:pt x="136" y="949"/>
                  </a:lnTo>
                  <a:lnTo>
                    <a:pt x="140" y="943"/>
                  </a:lnTo>
                  <a:lnTo>
                    <a:pt x="143" y="937"/>
                  </a:lnTo>
                  <a:lnTo>
                    <a:pt x="150" y="923"/>
                  </a:lnTo>
                  <a:lnTo>
                    <a:pt x="154" y="906"/>
                  </a:lnTo>
                  <a:lnTo>
                    <a:pt x="158" y="888"/>
                  </a:lnTo>
                  <a:lnTo>
                    <a:pt x="161" y="866"/>
                  </a:lnTo>
                  <a:lnTo>
                    <a:pt x="162" y="842"/>
                  </a:lnTo>
                  <a:lnTo>
                    <a:pt x="163" y="814"/>
                  </a:lnTo>
                  <a:lnTo>
                    <a:pt x="163" y="783"/>
                  </a:lnTo>
                  <a:lnTo>
                    <a:pt x="163" y="252"/>
                  </a:lnTo>
                  <a:lnTo>
                    <a:pt x="163" y="252"/>
                  </a:lnTo>
                  <a:lnTo>
                    <a:pt x="163" y="221"/>
                  </a:lnTo>
                  <a:lnTo>
                    <a:pt x="162" y="194"/>
                  </a:lnTo>
                  <a:lnTo>
                    <a:pt x="161" y="169"/>
                  </a:lnTo>
                  <a:lnTo>
                    <a:pt x="158" y="148"/>
                  </a:lnTo>
                  <a:lnTo>
                    <a:pt x="154" y="129"/>
                  </a:lnTo>
                  <a:lnTo>
                    <a:pt x="150" y="113"/>
                  </a:lnTo>
                  <a:lnTo>
                    <a:pt x="143" y="98"/>
                  </a:lnTo>
                  <a:lnTo>
                    <a:pt x="140" y="92"/>
                  </a:lnTo>
                  <a:lnTo>
                    <a:pt x="136" y="86"/>
                  </a:lnTo>
                  <a:lnTo>
                    <a:pt x="131" y="81"/>
                  </a:lnTo>
                  <a:lnTo>
                    <a:pt x="126" y="77"/>
                  </a:lnTo>
                  <a:lnTo>
                    <a:pt x="120" y="73"/>
                  </a:lnTo>
                  <a:lnTo>
                    <a:pt x="114" y="69"/>
                  </a:lnTo>
                  <a:lnTo>
                    <a:pt x="101" y="63"/>
                  </a:lnTo>
                  <a:lnTo>
                    <a:pt x="86" y="58"/>
                  </a:lnTo>
                  <a:lnTo>
                    <a:pt x="68" y="54"/>
                  </a:lnTo>
                  <a:lnTo>
                    <a:pt x="48" y="51"/>
                  </a:lnTo>
                  <a:lnTo>
                    <a:pt x="25" y="50"/>
                  </a:lnTo>
                  <a:lnTo>
                    <a:pt x="0" y="50"/>
                  </a:lnTo>
                  <a:lnTo>
                    <a:pt x="0" y="0"/>
                  </a:lnTo>
                  <a:lnTo>
                    <a:pt x="888" y="0"/>
                  </a:lnTo>
                  <a:lnTo>
                    <a:pt x="902" y="244"/>
                  </a:lnTo>
                  <a:lnTo>
                    <a:pt x="852" y="244"/>
                  </a:lnTo>
                  <a:lnTo>
                    <a:pt x="843" y="209"/>
                  </a:lnTo>
                  <a:lnTo>
                    <a:pt x="843" y="209"/>
                  </a:lnTo>
                  <a:lnTo>
                    <a:pt x="834" y="177"/>
                  </a:lnTo>
                  <a:lnTo>
                    <a:pt x="830" y="163"/>
                  </a:lnTo>
                  <a:lnTo>
                    <a:pt x="824" y="150"/>
                  </a:lnTo>
                  <a:lnTo>
                    <a:pt x="818" y="138"/>
                  </a:lnTo>
                  <a:lnTo>
                    <a:pt x="812" y="127"/>
                  </a:lnTo>
                  <a:lnTo>
                    <a:pt x="803" y="118"/>
                  </a:lnTo>
                  <a:lnTo>
                    <a:pt x="794" y="109"/>
                  </a:lnTo>
                  <a:lnTo>
                    <a:pt x="783" y="101"/>
                  </a:lnTo>
                  <a:lnTo>
                    <a:pt x="770" y="95"/>
                  </a:lnTo>
                  <a:lnTo>
                    <a:pt x="755" y="90"/>
                  </a:lnTo>
                  <a:lnTo>
                    <a:pt x="738" y="85"/>
                  </a:lnTo>
                  <a:lnTo>
                    <a:pt x="719" y="82"/>
                  </a:lnTo>
                  <a:lnTo>
                    <a:pt x="696" y="80"/>
                  </a:lnTo>
                  <a:lnTo>
                    <a:pt x="672" y="78"/>
                  </a:lnTo>
                  <a:lnTo>
                    <a:pt x="643" y="78"/>
                  </a:lnTo>
                  <a:lnTo>
                    <a:pt x="379" y="78"/>
                  </a:lnTo>
                  <a:lnTo>
                    <a:pt x="379" y="449"/>
                  </a:lnTo>
                  <a:lnTo>
                    <a:pt x="474" y="449"/>
                  </a:lnTo>
                  <a:lnTo>
                    <a:pt x="474" y="449"/>
                  </a:lnTo>
                  <a:lnTo>
                    <a:pt x="505" y="448"/>
                  </a:lnTo>
                  <a:lnTo>
                    <a:pt x="532" y="447"/>
                  </a:lnTo>
                  <a:lnTo>
                    <a:pt x="557" y="446"/>
                  </a:lnTo>
                  <a:lnTo>
                    <a:pt x="578" y="443"/>
                  </a:lnTo>
                  <a:lnTo>
                    <a:pt x="597" y="439"/>
                  </a:lnTo>
                  <a:lnTo>
                    <a:pt x="613" y="434"/>
                  </a:lnTo>
                  <a:lnTo>
                    <a:pt x="628" y="428"/>
                  </a:lnTo>
                  <a:lnTo>
                    <a:pt x="634" y="424"/>
                  </a:lnTo>
                  <a:lnTo>
                    <a:pt x="639" y="419"/>
                  </a:lnTo>
                  <a:lnTo>
                    <a:pt x="644" y="415"/>
                  </a:lnTo>
                  <a:lnTo>
                    <a:pt x="649" y="410"/>
                  </a:lnTo>
                  <a:lnTo>
                    <a:pt x="653" y="404"/>
                  </a:lnTo>
                  <a:lnTo>
                    <a:pt x="656" y="398"/>
                  </a:lnTo>
                  <a:lnTo>
                    <a:pt x="662" y="385"/>
                  </a:lnTo>
                  <a:lnTo>
                    <a:pt x="667" y="369"/>
                  </a:lnTo>
                  <a:lnTo>
                    <a:pt x="671" y="352"/>
                  </a:lnTo>
                  <a:lnTo>
                    <a:pt x="673" y="332"/>
                  </a:lnTo>
                  <a:lnTo>
                    <a:pt x="674" y="309"/>
                  </a:lnTo>
                  <a:lnTo>
                    <a:pt x="675" y="283"/>
                  </a:lnTo>
                  <a:lnTo>
                    <a:pt x="725" y="283"/>
                  </a:lnTo>
                  <a:lnTo>
                    <a:pt x="725" y="691"/>
                  </a:lnTo>
                  <a:lnTo>
                    <a:pt x="675" y="691"/>
                  </a:lnTo>
                  <a:lnTo>
                    <a:pt x="675" y="691"/>
                  </a:lnTo>
                  <a:lnTo>
                    <a:pt x="674" y="666"/>
                  </a:lnTo>
                  <a:lnTo>
                    <a:pt x="673" y="643"/>
                  </a:lnTo>
                  <a:lnTo>
                    <a:pt x="671" y="623"/>
                  </a:lnTo>
                  <a:lnTo>
                    <a:pt x="667" y="605"/>
                  </a:lnTo>
                  <a:lnTo>
                    <a:pt x="662" y="589"/>
                  </a:lnTo>
                  <a:lnTo>
                    <a:pt x="656" y="576"/>
                  </a:lnTo>
                  <a:lnTo>
                    <a:pt x="653" y="570"/>
                  </a:lnTo>
                  <a:lnTo>
                    <a:pt x="649" y="565"/>
                  </a:lnTo>
                  <a:lnTo>
                    <a:pt x="644" y="560"/>
                  </a:lnTo>
                  <a:lnTo>
                    <a:pt x="639" y="554"/>
                  </a:lnTo>
                  <a:lnTo>
                    <a:pt x="634" y="550"/>
                  </a:lnTo>
                  <a:lnTo>
                    <a:pt x="628" y="547"/>
                  </a:lnTo>
                  <a:lnTo>
                    <a:pt x="613" y="540"/>
                  </a:lnTo>
                  <a:lnTo>
                    <a:pt x="597" y="536"/>
                  </a:lnTo>
                  <a:lnTo>
                    <a:pt x="578" y="532"/>
                  </a:lnTo>
                  <a:lnTo>
                    <a:pt x="557" y="529"/>
                  </a:lnTo>
                  <a:lnTo>
                    <a:pt x="532" y="528"/>
                  </a:lnTo>
                  <a:lnTo>
                    <a:pt x="505" y="527"/>
                  </a:lnTo>
                  <a:lnTo>
                    <a:pt x="474" y="527"/>
                  </a:lnTo>
                  <a:lnTo>
                    <a:pt x="379" y="527"/>
                  </a:lnTo>
                  <a:lnTo>
                    <a:pt x="379" y="756"/>
                  </a:lnTo>
                  <a:lnTo>
                    <a:pt x="379" y="756"/>
                  </a:lnTo>
                  <a:lnTo>
                    <a:pt x="379" y="787"/>
                  </a:lnTo>
                  <a:lnTo>
                    <a:pt x="380" y="814"/>
                  </a:lnTo>
                  <a:lnTo>
                    <a:pt x="382" y="839"/>
                  </a:lnTo>
                  <a:lnTo>
                    <a:pt x="385" y="860"/>
                  </a:lnTo>
                  <a:lnTo>
                    <a:pt x="389" y="879"/>
                  </a:lnTo>
                  <a:lnTo>
                    <a:pt x="394" y="896"/>
                  </a:lnTo>
                  <a:lnTo>
                    <a:pt x="401" y="909"/>
                  </a:lnTo>
                  <a:lnTo>
                    <a:pt x="405" y="915"/>
                  </a:lnTo>
                  <a:lnTo>
                    <a:pt x="409" y="921"/>
                  </a:lnTo>
                  <a:lnTo>
                    <a:pt x="413" y="927"/>
                  </a:lnTo>
                  <a:lnTo>
                    <a:pt x="418" y="932"/>
                  </a:lnTo>
                  <a:lnTo>
                    <a:pt x="424" y="936"/>
                  </a:lnTo>
                  <a:lnTo>
                    <a:pt x="429" y="939"/>
                  </a:lnTo>
                  <a:lnTo>
                    <a:pt x="444" y="946"/>
                  </a:lnTo>
                  <a:lnTo>
                    <a:pt x="459" y="950"/>
                  </a:lnTo>
                  <a:lnTo>
                    <a:pt x="476" y="954"/>
                  </a:lnTo>
                  <a:lnTo>
                    <a:pt x="497" y="956"/>
                  </a:lnTo>
                  <a:lnTo>
                    <a:pt x="519" y="957"/>
                  </a:lnTo>
                  <a:lnTo>
                    <a:pt x="545" y="957"/>
                  </a:lnTo>
                  <a:lnTo>
                    <a:pt x="700" y="957"/>
                  </a:lnTo>
                  <a:lnTo>
                    <a:pt x="700" y="957"/>
                  </a:lnTo>
                  <a:lnTo>
                    <a:pt x="729" y="957"/>
                  </a:lnTo>
                  <a:lnTo>
                    <a:pt x="753" y="955"/>
                  </a:lnTo>
                  <a:lnTo>
                    <a:pt x="776" y="953"/>
                  </a:lnTo>
                  <a:lnTo>
                    <a:pt x="795" y="950"/>
                  </a:lnTo>
                  <a:lnTo>
                    <a:pt x="813" y="946"/>
                  </a:lnTo>
                  <a:lnTo>
                    <a:pt x="827" y="940"/>
                  </a:lnTo>
                  <a:lnTo>
                    <a:pt x="840" y="934"/>
                  </a:lnTo>
                  <a:lnTo>
                    <a:pt x="852" y="927"/>
                  </a:lnTo>
                  <a:lnTo>
                    <a:pt x="861" y="917"/>
                  </a:lnTo>
                  <a:lnTo>
                    <a:pt x="869" y="908"/>
                  </a:lnTo>
                  <a:lnTo>
                    <a:pt x="876" y="897"/>
                  </a:lnTo>
                  <a:lnTo>
                    <a:pt x="882" y="886"/>
                  </a:lnTo>
                  <a:lnTo>
                    <a:pt x="887" y="872"/>
                  </a:lnTo>
                  <a:lnTo>
                    <a:pt x="891" y="858"/>
                  </a:lnTo>
                  <a:lnTo>
                    <a:pt x="901" y="826"/>
                  </a:lnTo>
                  <a:lnTo>
                    <a:pt x="909" y="792"/>
                  </a:lnTo>
                  <a:lnTo>
                    <a:pt x="959" y="792"/>
                  </a:lnTo>
                  <a:lnTo>
                    <a:pt x="946" y="1035"/>
                  </a:lnTo>
                  <a:lnTo>
                    <a:pt x="0" y="1035"/>
                  </a:lnTo>
                  <a:lnTo>
                    <a:pt x="0" y="98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15" name="Freeform 13"/>
            <p:cNvSpPr>
              <a:spLocks/>
            </p:cNvSpPr>
            <p:nvPr userDrawn="1"/>
          </p:nvSpPr>
          <p:spPr bwMode="auto">
            <a:xfrm>
              <a:off x="2798763" y="893763"/>
              <a:ext cx="152400" cy="141288"/>
            </a:xfrm>
            <a:custGeom>
              <a:avLst/>
              <a:gdLst>
                <a:gd name="T0" fmla="*/ 1159 w 1159"/>
                <a:gd name="T1" fmla="*/ 50 h 1065"/>
                <a:gd name="T2" fmla="*/ 1091 w 1159"/>
                <a:gd name="T3" fmla="*/ 54 h 1065"/>
                <a:gd name="T4" fmla="*/ 1039 w 1159"/>
                <a:gd name="T5" fmla="*/ 73 h 1065"/>
                <a:gd name="T6" fmla="*/ 1019 w 1159"/>
                <a:gd name="T7" fmla="*/ 92 h 1065"/>
                <a:gd name="T8" fmla="*/ 1001 w 1159"/>
                <a:gd name="T9" fmla="*/ 148 h 1065"/>
                <a:gd name="T10" fmla="*/ 996 w 1159"/>
                <a:gd name="T11" fmla="*/ 252 h 1065"/>
                <a:gd name="T12" fmla="*/ 994 w 1159"/>
                <a:gd name="T13" fmla="*/ 700 h 1065"/>
                <a:gd name="T14" fmla="*/ 976 w 1159"/>
                <a:gd name="T15" fmla="*/ 790 h 1065"/>
                <a:gd name="T16" fmla="*/ 944 w 1159"/>
                <a:gd name="T17" fmla="*/ 866 h 1065"/>
                <a:gd name="T18" fmla="*/ 899 w 1159"/>
                <a:gd name="T19" fmla="*/ 932 h 1065"/>
                <a:gd name="T20" fmla="*/ 843 w 1159"/>
                <a:gd name="T21" fmla="*/ 984 h 1065"/>
                <a:gd name="T22" fmla="*/ 777 w 1159"/>
                <a:gd name="T23" fmla="*/ 1023 h 1065"/>
                <a:gd name="T24" fmla="*/ 702 w 1159"/>
                <a:gd name="T25" fmla="*/ 1049 h 1065"/>
                <a:gd name="T26" fmla="*/ 621 w 1159"/>
                <a:gd name="T27" fmla="*/ 1063 h 1065"/>
                <a:gd name="T28" fmla="*/ 558 w 1159"/>
                <a:gd name="T29" fmla="*/ 1065 h 1065"/>
                <a:gd name="T30" fmla="*/ 476 w 1159"/>
                <a:gd name="T31" fmla="*/ 1054 h 1065"/>
                <a:gd name="T32" fmla="*/ 399 w 1159"/>
                <a:gd name="T33" fmla="*/ 1031 h 1065"/>
                <a:gd name="T34" fmla="*/ 331 w 1159"/>
                <a:gd name="T35" fmla="*/ 995 h 1065"/>
                <a:gd name="T36" fmla="*/ 273 w 1159"/>
                <a:gd name="T37" fmla="*/ 946 h 1065"/>
                <a:gd name="T38" fmla="*/ 226 w 1159"/>
                <a:gd name="T39" fmla="*/ 884 h 1065"/>
                <a:gd name="T40" fmla="*/ 191 w 1159"/>
                <a:gd name="T41" fmla="*/ 810 h 1065"/>
                <a:gd name="T42" fmla="*/ 170 w 1159"/>
                <a:gd name="T43" fmla="*/ 723 h 1065"/>
                <a:gd name="T44" fmla="*/ 165 w 1159"/>
                <a:gd name="T45" fmla="*/ 252 h 1065"/>
                <a:gd name="T46" fmla="*/ 162 w 1159"/>
                <a:gd name="T47" fmla="*/ 169 h 1065"/>
                <a:gd name="T48" fmla="*/ 145 w 1159"/>
                <a:gd name="T49" fmla="*/ 98 h 1065"/>
                <a:gd name="T50" fmla="*/ 126 w 1159"/>
                <a:gd name="T51" fmla="*/ 77 h 1065"/>
                <a:gd name="T52" fmla="*/ 87 w 1159"/>
                <a:gd name="T53" fmla="*/ 58 h 1065"/>
                <a:gd name="T54" fmla="*/ 0 w 1159"/>
                <a:gd name="T55" fmla="*/ 50 h 1065"/>
                <a:gd name="T56" fmla="*/ 547 w 1159"/>
                <a:gd name="T57" fmla="*/ 50 h 1065"/>
                <a:gd name="T58" fmla="*/ 460 w 1159"/>
                <a:gd name="T59" fmla="*/ 58 h 1065"/>
                <a:gd name="T60" fmla="*/ 419 w 1159"/>
                <a:gd name="T61" fmla="*/ 77 h 1065"/>
                <a:gd name="T62" fmla="*/ 402 w 1159"/>
                <a:gd name="T63" fmla="*/ 98 h 1065"/>
                <a:gd name="T64" fmla="*/ 384 w 1159"/>
                <a:gd name="T65" fmla="*/ 169 h 1065"/>
                <a:gd name="T66" fmla="*/ 381 w 1159"/>
                <a:gd name="T67" fmla="*/ 631 h 1065"/>
                <a:gd name="T68" fmla="*/ 384 w 1159"/>
                <a:gd name="T69" fmla="*/ 691 h 1065"/>
                <a:gd name="T70" fmla="*/ 397 w 1159"/>
                <a:gd name="T71" fmla="*/ 761 h 1065"/>
                <a:gd name="T72" fmla="*/ 420 w 1159"/>
                <a:gd name="T73" fmla="*/ 819 h 1065"/>
                <a:gd name="T74" fmla="*/ 451 w 1159"/>
                <a:gd name="T75" fmla="*/ 867 h 1065"/>
                <a:gd name="T76" fmla="*/ 488 w 1159"/>
                <a:gd name="T77" fmla="*/ 905 h 1065"/>
                <a:gd name="T78" fmla="*/ 532 w 1159"/>
                <a:gd name="T79" fmla="*/ 933 h 1065"/>
                <a:gd name="T80" fmla="*/ 581 w 1159"/>
                <a:gd name="T81" fmla="*/ 950 h 1065"/>
                <a:gd name="T82" fmla="*/ 635 w 1159"/>
                <a:gd name="T83" fmla="*/ 957 h 1065"/>
                <a:gd name="T84" fmla="*/ 676 w 1159"/>
                <a:gd name="T85" fmla="*/ 956 h 1065"/>
                <a:gd name="T86" fmla="*/ 727 w 1159"/>
                <a:gd name="T87" fmla="*/ 947 h 1065"/>
                <a:gd name="T88" fmla="*/ 773 w 1159"/>
                <a:gd name="T89" fmla="*/ 927 h 1065"/>
                <a:gd name="T90" fmla="*/ 814 w 1159"/>
                <a:gd name="T91" fmla="*/ 897 h 1065"/>
                <a:gd name="T92" fmla="*/ 847 w 1159"/>
                <a:gd name="T93" fmla="*/ 857 h 1065"/>
                <a:gd name="T94" fmla="*/ 873 w 1159"/>
                <a:gd name="T95" fmla="*/ 806 h 1065"/>
                <a:gd name="T96" fmla="*/ 891 w 1159"/>
                <a:gd name="T97" fmla="*/ 745 h 1065"/>
                <a:gd name="T98" fmla="*/ 901 w 1159"/>
                <a:gd name="T99" fmla="*/ 672 h 1065"/>
                <a:gd name="T100" fmla="*/ 903 w 1159"/>
                <a:gd name="T101" fmla="*/ 252 h 1065"/>
                <a:gd name="T102" fmla="*/ 896 w 1159"/>
                <a:gd name="T103" fmla="*/ 148 h 1065"/>
                <a:gd name="T104" fmla="*/ 878 w 1159"/>
                <a:gd name="T105" fmla="*/ 92 h 1065"/>
                <a:gd name="T106" fmla="*/ 859 w 1159"/>
                <a:gd name="T107" fmla="*/ 73 h 1065"/>
                <a:gd name="T108" fmla="*/ 805 w 1159"/>
                <a:gd name="T109" fmla="*/ 54 h 1065"/>
                <a:gd name="T110" fmla="*/ 737 w 1159"/>
                <a:gd name="T111" fmla="*/ 50 h 10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59" h="1065">
                  <a:moveTo>
                    <a:pt x="737" y="50"/>
                  </a:moveTo>
                  <a:lnTo>
                    <a:pt x="737" y="0"/>
                  </a:lnTo>
                  <a:lnTo>
                    <a:pt x="1159" y="0"/>
                  </a:lnTo>
                  <a:lnTo>
                    <a:pt x="1159" y="50"/>
                  </a:lnTo>
                  <a:lnTo>
                    <a:pt x="1159" y="50"/>
                  </a:lnTo>
                  <a:lnTo>
                    <a:pt x="1134" y="50"/>
                  </a:lnTo>
                  <a:lnTo>
                    <a:pt x="1111" y="51"/>
                  </a:lnTo>
                  <a:lnTo>
                    <a:pt x="1091" y="54"/>
                  </a:lnTo>
                  <a:lnTo>
                    <a:pt x="1073" y="58"/>
                  </a:lnTo>
                  <a:lnTo>
                    <a:pt x="1058" y="63"/>
                  </a:lnTo>
                  <a:lnTo>
                    <a:pt x="1045" y="69"/>
                  </a:lnTo>
                  <a:lnTo>
                    <a:pt x="1039" y="73"/>
                  </a:lnTo>
                  <a:lnTo>
                    <a:pt x="1033" y="77"/>
                  </a:lnTo>
                  <a:lnTo>
                    <a:pt x="1028" y="81"/>
                  </a:lnTo>
                  <a:lnTo>
                    <a:pt x="1023" y="86"/>
                  </a:lnTo>
                  <a:lnTo>
                    <a:pt x="1019" y="92"/>
                  </a:lnTo>
                  <a:lnTo>
                    <a:pt x="1016" y="98"/>
                  </a:lnTo>
                  <a:lnTo>
                    <a:pt x="1009" y="113"/>
                  </a:lnTo>
                  <a:lnTo>
                    <a:pt x="1005" y="129"/>
                  </a:lnTo>
                  <a:lnTo>
                    <a:pt x="1001" y="148"/>
                  </a:lnTo>
                  <a:lnTo>
                    <a:pt x="998" y="169"/>
                  </a:lnTo>
                  <a:lnTo>
                    <a:pt x="997" y="194"/>
                  </a:lnTo>
                  <a:lnTo>
                    <a:pt x="996" y="221"/>
                  </a:lnTo>
                  <a:lnTo>
                    <a:pt x="996" y="252"/>
                  </a:lnTo>
                  <a:lnTo>
                    <a:pt x="996" y="651"/>
                  </a:lnTo>
                  <a:lnTo>
                    <a:pt x="996" y="651"/>
                  </a:lnTo>
                  <a:lnTo>
                    <a:pt x="995" y="675"/>
                  </a:lnTo>
                  <a:lnTo>
                    <a:pt x="994" y="700"/>
                  </a:lnTo>
                  <a:lnTo>
                    <a:pt x="990" y="723"/>
                  </a:lnTo>
                  <a:lnTo>
                    <a:pt x="986" y="746"/>
                  </a:lnTo>
                  <a:lnTo>
                    <a:pt x="982" y="768"/>
                  </a:lnTo>
                  <a:lnTo>
                    <a:pt x="976" y="790"/>
                  </a:lnTo>
                  <a:lnTo>
                    <a:pt x="970" y="810"/>
                  </a:lnTo>
                  <a:lnTo>
                    <a:pt x="962" y="829"/>
                  </a:lnTo>
                  <a:lnTo>
                    <a:pt x="954" y="849"/>
                  </a:lnTo>
                  <a:lnTo>
                    <a:pt x="944" y="866"/>
                  </a:lnTo>
                  <a:lnTo>
                    <a:pt x="934" y="884"/>
                  </a:lnTo>
                  <a:lnTo>
                    <a:pt x="924" y="901"/>
                  </a:lnTo>
                  <a:lnTo>
                    <a:pt x="912" y="916"/>
                  </a:lnTo>
                  <a:lnTo>
                    <a:pt x="899" y="932"/>
                  </a:lnTo>
                  <a:lnTo>
                    <a:pt x="886" y="946"/>
                  </a:lnTo>
                  <a:lnTo>
                    <a:pt x="873" y="959"/>
                  </a:lnTo>
                  <a:lnTo>
                    <a:pt x="859" y="972"/>
                  </a:lnTo>
                  <a:lnTo>
                    <a:pt x="843" y="984"/>
                  </a:lnTo>
                  <a:lnTo>
                    <a:pt x="828" y="995"/>
                  </a:lnTo>
                  <a:lnTo>
                    <a:pt x="812" y="1005"/>
                  </a:lnTo>
                  <a:lnTo>
                    <a:pt x="794" y="1015"/>
                  </a:lnTo>
                  <a:lnTo>
                    <a:pt x="777" y="1023"/>
                  </a:lnTo>
                  <a:lnTo>
                    <a:pt x="759" y="1031"/>
                  </a:lnTo>
                  <a:lnTo>
                    <a:pt x="741" y="1038"/>
                  </a:lnTo>
                  <a:lnTo>
                    <a:pt x="722" y="1044"/>
                  </a:lnTo>
                  <a:lnTo>
                    <a:pt x="702" y="1049"/>
                  </a:lnTo>
                  <a:lnTo>
                    <a:pt x="683" y="1054"/>
                  </a:lnTo>
                  <a:lnTo>
                    <a:pt x="662" y="1057"/>
                  </a:lnTo>
                  <a:lnTo>
                    <a:pt x="643" y="1061"/>
                  </a:lnTo>
                  <a:lnTo>
                    <a:pt x="621" y="1063"/>
                  </a:lnTo>
                  <a:lnTo>
                    <a:pt x="601" y="1065"/>
                  </a:lnTo>
                  <a:lnTo>
                    <a:pt x="579" y="1065"/>
                  </a:lnTo>
                  <a:lnTo>
                    <a:pt x="579" y="1065"/>
                  </a:lnTo>
                  <a:lnTo>
                    <a:pt x="558" y="1065"/>
                  </a:lnTo>
                  <a:lnTo>
                    <a:pt x="538" y="1063"/>
                  </a:lnTo>
                  <a:lnTo>
                    <a:pt x="516" y="1061"/>
                  </a:lnTo>
                  <a:lnTo>
                    <a:pt x="496" y="1057"/>
                  </a:lnTo>
                  <a:lnTo>
                    <a:pt x="476" y="1054"/>
                  </a:lnTo>
                  <a:lnTo>
                    <a:pt x="456" y="1049"/>
                  </a:lnTo>
                  <a:lnTo>
                    <a:pt x="437" y="1044"/>
                  </a:lnTo>
                  <a:lnTo>
                    <a:pt x="418" y="1038"/>
                  </a:lnTo>
                  <a:lnTo>
                    <a:pt x="399" y="1031"/>
                  </a:lnTo>
                  <a:lnTo>
                    <a:pt x="382" y="1023"/>
                  </a:lnTo>
                  <a:lnTo>
                    <a:pt x="365" y="1015"/>
                  </a:lnTo>
                  <a:lnTo>
                    <a:pt x="347" y="1005"/>
                  </a:lnTo>
                  <a:lnTo>
                    <a:pt x="331" y="995"/>
                  </a:lnTo>
                  <a:lnTo>
                    <a:pt x="316" y="984"/>
                  </a:lnTo>
                  <a:lnTo>
                    <a:pt x="301" y="972"/>
                  </a:lnTo>
                  <a:lnTo>
                    <a:pt x="286" y="959"/>
                  </a:lnTo>
                  <a:lnTo>
                    <a:pt x="273" y="946"/>
                  </a:lnTo>
                  <a:lnTo>
                    <a:pt x="259" y="932"/>
                  </a:lnTo>
                  <a:lnTo>
                    <a:pt x="247" y="916"/>
                  </a:lnTo>
                  <a:lnTo>
                    <a:pt x="236" y="901"/>
                  </a:lnTo>
                  <a:lnTo>
                    <a:pt x="226" y="884"/>
                  </a:lnTo>
                  <a:lnTo>
                    <a:pt x="215" y="866"/>
                  </a:lnTo>
                  <a:lnTo>
                    <a:pt x="206" y="849"/>
                  </a:lnTo>
                  <a:lnTo>
                    <a:pt x="198" y="829"/>
                  </a:lnTo>
                  <a:lnTo>
                    <a:pt x="191" y="810"/>
                  </a:lnTo>
                  <a:lnTo>
                    <a:pt x="184" y="790"/>
                  </a:lnTo>
                  <a:lnTo>
                    <a:pt x="179" y="768"/>
                  </a:lnTo>
                  <a:lnTo>
                    <a:pt x="174" y="746"/>
                  </a:lnTo>
                  <a:lnTo>
                    <a:pt x="170" y="723"/>
                  </a:lnTo>
                  <a:lnTo>
                    <a:pt x="167" y="700"/>
                  </a:lnTo>
                  <a:lnTo>
                    <a:pt x="166" y="675"/>
                  </a:lnTo>
                  <a:lnTo>
                    <a:pt x="165" y="651"/>
                  </a:lnTo>
                  <a:lnTo>
                    <a:pt x="165" y="252"/>
                  </a:lnTo>
                  <a:lnTo>
                    <a:pt x="165" y="252"/>
                  </a:lnTo>
                  <a:lnTo>
                    <a:pt x="165" y="221"/>
                  </a:lnTo>
                  <a:lnTo>
                    <a:pt x="164" y="194"/>
                  </a:lnTo>
                  <a:lnTo>
                    <a:pt x="162" y="169"/>
                  </a:lnTo>
                  <a:lnTo>
                    <a:pt x="160" y="148"/>
                  </a:lnTo>
                  <a:lnTo>
                    <a:pt x="156" y="129"/>
                  </a:lnTo>
                  <a:lnTo>
                    <a:pt x="151" y="113"/>
                  </a:lnTo>
                  <a:lnTo>
                    <a:pt x="145" y="98"/>
                  </a:lnTo>
                  <a:lnTo>
                    <a:pt x="141" y="92"/>
                  </a:lnTo>
                  <a:lnTo>
                    <a:pt x="137" y="86"/>
                  </a:lnTo>
                  <a:lnTo>
                    <a:pt x="132" y="81"/>
                  </a:lnTo>
                  <a:lnTo>
                    <a:pt x="126" y="77"/>
                  </a:lnTo>
                  <a:lnTo>
                    <a:pt x="121" y="73"/>
                  </a:lnTo>
                  <a:lnTo>
                    <a:pt x="115" y="69"/>
                  </a:lnTo>
                  <a:lnTo>
                    <a:pt x="102" y="63"/>
                  </a:lnTo>
                  <a:lnTo>
                    <a:pt x="87" y="58"/>
                  </a:lnTo>
                  <a:lnTo>
                    <a:pt x="68" y="54"/>
                  </a:lnTo>
                  <a:lnTo>
                    <a:pt x="48" y="51"/>
                  </a:lnTo>
                  <a:lnTo>
                    <a:pt x="25" y="50"/>
                  </a:lnTo>
                  <a:lnTo>
                    <a:pt x="0" y="50"/>
                  </a:lnTo>
                  <a:lnTo>
                    <a:pt x="0" y="0"/>
                  </a:lnTo>
                  <a:lnTo>
                    <a:pt x="547" y="0"/>
                  </a:lnTo>
                  <a:lnTo>
                    <a:pt x="547" y="50"/>
                  </a:lnTo>
                  <a:lnTo>
                    <a:pt x="547" y="50"/>
                  </a:lnTo>
                  <a:lnTo>
                    <a:pt x="521" y="50"/>
                  </a:lnTo>
                  <a:lnTo>
                    <a:pt x="498" y="51"/>
                  </a:lnTo>
                  <a:lnTo>
                    <a:pt x="477" y="54"/>
                  </a:lnTo>
                  <a:lnTo>
                    <a:pt x="460" y="58"/>
                  </a:lnTo>
                  <a:lnTo>
                    <a:pt x="444" y="63"/>
                  </a:lnTo>
                  <a:lnTo>
                    <a:pt x="430" y="69"/>
                  </a:lnTo>
                  <a:lnTo>
                    <a:pt x="425" y="73"/>
                  </a:lnTo>
                  <a:lnTo>
                    <a:pt x="419" y="77"/>
                  </a:lnTo>
                  <a:lnTo>
                    <a:pt x="414" y="81"/>
                  </a:lnTo>
                  <a:lnTo>
                    <a:pt x="410" y="86"/>
                  </a:lnTo>
                  <a:lnTo>
                    <a:pt x="406" y="92"/>
                  </a:lnTo>
                  <a:lnTo>
                    <a:pt x="402" y="98"/>
                  </a:lnTo>
                  <a:lnTo>
                    <a:pt x="395" y="113"/>
                  </a:lnTo>
                  <a:lnTo>
                    <a:pt x="390" y="129"/>
                  </a:lnTo>
                  <a:lnTo>
                    <a:pt x="386" y="148"/>
                  </a:lnTo>
                  <a:lnTo>
                    <a:pt x="384" y="169"/>
                  </a:lnTo>
                  <a:lnTo>
                    <a:pt x="382" y="194"/>
                  </a:lnTo>
                  <a:lnTo>
                    <a:pt x="381" y="221"/>
                  </a:lnTo>
                  <a:lnTo>
                    <a:pt x="381" y="252"/>
                  </a:lnTo>
                  <a:lnTo>
                    <a:pt x="381" y="631"/>
                  </a:lnTo>
                  <a:lnTo>
                    <a:pt x="381" y="631"/>
                  </a:lnTo>
                  <a:lnTo>
                    <a:pt x="381" y="652"/>
                  </a:lnTo>
                  <a:lnTo>
                    <a:pt x="382" y="672"/>
                  </a:lnTo>
                  <a:lnTo>
                    <a:pt x="384" y="691"/>
                  </a:lnTo>
                  <a:lnTo>
                    <a:pt x="386" y="710"/>
                  </a:lnTo>
                  <a:lnTo>
                    <a:pt x="389" y="727"/>
                  </a:lnTo>
                  <a:lnTo>
                    <a:pt x="393" y="745"/>
                  </a:lnTo>
                  <a:lnTo>
                    <a:pt x="397" y="761"/>
                  </a:lnTo>
                  <a:lnTo>
                    <a:pt x="403" y="776"/>
                  </a:lnTo>
                  <a:lnTo>
                    <a:pt x="408" y="792"/>
                  </a:lnTo>
                  <a:lnTo>
                    <a:pt x="413" y="806"/>
                  </a:lnTo>
                  <a:lnTo>
                    <a:pt x="420" y="819"/>
                  </a:lnTo>
                  <a:lnTo>
                    <a:pt x="427" y="833"/>
                  </a:lnTo>
                  <a:lnTo>
                    <a:pt x="434" y="845"/>
                  </a:lnTo>
                  <a:lnTo>
                    <a:pt x="442" y="857"/>
                  </a:lnTo>
                  <a:lnTo>
                    <a:pt x="451" y="867"/>
                  </a:lnTo>
                  <a:lnTo>
                    <a:pt x="459" y="878"/>
                  </a:lnTo>
                  <a:lnTo>
                    <a:pt x="468" y="888"/>
                  </a:lnTo>
                  <a:lnTo>
                    <a:pt x="478" y="897"/>
                  </a:lnTo>
                  <a:lnTo>
                    <a:pt x="488" y="905"/>
                  </a:lnTo>
                  <a:lnTo>
                    <a:pt x="499" y="913"/>
                  </a:lnTo>
                  <a:lnTo>
                    <a:pt x="510" y="920"/>
                  </a:lnTo>
                  <a:lnTo>
                    <a:pt x="521" y="927"/>
                  </a:lnTo>
                  <a:lnTo>
                    <a:pt x="532" y="933"/>
                  </a:lnTo>
                  <a:lnTo>
                    <a:pt x="544" y="938"/>
                  </a:lnTo>
                  <a:lnTo>
                    <a:pt x="556" y="943"/>
                  </a:lnTo>
                  <a:lnTo>
                    <a:pt x="569" y="947"/>
                  </a:lnTo>
                  <a:lnTo>
                    <a:pt x="581" y="950"/>
                  </a:lnTo>
                  <a:lnTo>
                    <a:pt x="595" y="953"/>
                  </a:lnTo>
                  <a:lnTo>
                    <a:pt x="608" y="955"/>
                  </a:lnTo>
                  <a:lnTo>
                    <a:pt x="621" y="956"/>
                  </a:lnTo>
                  <a:lnTo>
                    <a:pt x="635" y="957"/>
                  </a:lnTo>
                  <a:lnTo>
                    <a:pt x="649" y="957"/>
                  </a:lnTo>
                  <a:lnTo>
                    <a:pt x="649" y="957"/>
                  </a:lnTo>
                  <a:lnTo>
                    <a:pt x="662" y="957"/>
                  </a:lnTo>
                  <a:lnTo>
                    <a:pt x="676" y="956"/>
                  </a:lnTo>
                  <a:lnTo>
                    <a:pt x="689" y="955"/>
                  </a:lnTo>
                  <a:lnTo>
                    <a:pt x="702" y="953"/>
                  </a:lnTo>
                  <a:lnTo>
                    <a:pt x="714" y="950"/>
                  </a:lnTo>
                  <a:lnTo>
                    <a:pt x="727" y="947"/>
                  </a:lnTo>
                  <a:lnTo>
                    <a:pt x="739" y="943"/>
                  </a:lnTo>
                  <a:lnTo>
                    <a:pt x="751" y="938"/>
                  </a:lnTo>
                  <a:lnTo>
                    <a:pt x="762" y="933"/>
                  </a:lnTo>
                  <a:lnTo>
                    <a:pt x="773" y="927"/>
                  </a:lnTo>
                  <a:lnTo>
                    <a:pt x="784" y="920"/>
                  </a:lnTo>
                  <a:lnTo>
                    <a:pt x="794" y="913"/>
                  </a:lnTo>
                  <a:lnTo>
                    <a:pt x="803" y="905"/>
                  </a:lnTo>
                  <a:lnTo>
                    <a:pt x="814" y="897"/>
                  </a:lnTo>
                  <a:lnTo>
                    <a:pt x="823" y="888"/>
                  </a:lnTo>
                  <a:lnTo>
                    <a:pt x="831" y="878"/>
                  </a:lnTo>
                  <a:lnTo>
                    <a:pt x="839" y="867"/>
                  </a:lnTo>
                  <a:lnTo>
                    <a:pt x="847" y="857"/>
                  </a:lnTo>
                  <a:lnTo>
                    <a:pt x="854" y="845"/>
                  </a:lnTo>
                  <a:lnTo>
                    <a:pt x="861" y="833"/>
                  </a:lnTo>
                  <a:lnTo>
                    <a:pt x="868" y="819"/>
                  </a:lnTo>
                  <a:lnTo>
                    <a:pt x="873" y="806"/>
                  </a:lnTo>
                  <a:lnTo>
                    <a:pt x="879" y="792"/>
                  </a:lnTo>
                  <a:lnTo>
                    <a:pt x="883" y="776"/>
                  </a:lnTo>
                  <a:lnTo>
                    <a:pt x="887" y="761"/>
                  </a:lnTo>
                  <a:lnTo>
                    <a:pt x="891" y="745"/>
                  </a:lnTo>
                  <a:lnTo>
                    <a:pt x="894" y="727"/>
                  </a:lnTo>
                  <a:lnTo>
                    <a:pt x="897" y="710"/>
                  </a:lnTo>
                  <a:lnTo>
                    <a:pt x="899" y="691"/>
                  </a:lnTo>
                  <a:lnTo>
                    <a:pt x="901" y="672"/>
                  </a:lnTo>
                  <a:lnTo>
                    <a:pt x="902" y="652"/>
                  </a:lnTo>
                  <a:lnTo>
                    <a:pt x="903" y="631"/>
                  </a:lnTo>
                  <a:lnTo>
                    <a:pt x="903" y="252"/>
                  </a:lnTo>
                  <a:lnTo>
                    <a:pt x="903" y="252"/>
                  </a:lnTo>
                  <a:lnTo>
                    <a:pt x="902" y="221"/>
                  </a:lnTo>
                  <a:lnTo>
                    <a:pt x="901" y="194"/>
                  </a:lnTo>
                  <a:lnTo>
                    <a:pt x="899" y="169"/>
                  </a:lnTo>
                  <a:lnTo>
                    <a:pt x="896" y="148"/>
                  </a:lnTo>
                  <a:lnTo>
                    <a:pt x="893" y="129"/>
                  </a:lnTo>
                  <a:lnTo>
                    <a:pt x="888" y="113"/>
                  </a:lnTo>
                  <a:lnTo>
                    <a:pt x="881" y="98"/>
                  </a:lnTo>
                  <a:lnTo>
                    <a:pt x="878" y="92"/>
                  </a:lnTo>
                  <a:lnTo>
                    <a:pt x="874" y="86"/>
                  </a:lnTo>
                  <a:lnTo>
                    <a:pt x="869" y="81"/>
                  </a:lnTo>
                  <a:lnTo>
                    <a:pt x="864" y="77"/>
                  </a:lnTo>
                  <a:lnTo>
                    <a:pt x="859" y="73"/>
                  </a:lnTo>
                  <a:lnTo>
                    <a:pt x="852" y="69"/>
                  </a:lnTo>
                  <a:lnTo>
                    <a:pt x="839" y="63"/>
                  </a:lnTo>
                  <a:lnTo>
                    <a:pt x="824" y="58"/>
                  </a:lnTo>
                  <a:lnTo>
                    <a:pt x="805" y="54"/>
                  </a:lnTo>
                  <a:lnTo>
                    <a:pt x="785" y="51"/>
                  </a:lnTo>
                  <a:lnTo>
                    <a:pt x="762" y="50"/>
                  </a:lnTo>
                  <a:lnTo>
                    <a:pt x="737" y="50"/>
                  </a:lnTo>
                  <a:lnTo>
                    <a:pt x="737" y="5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16" name="Freeform 14"/>
            <p:cNvSpPr>
              <a:spLocks/>
            </p:cNvSpPr>
            <p:nvPr userDrawn="1"/>
          </p:nvSpPr>
          <p:spPr bwMode="auto">
            <a:xfrm>
              <a:off x="2962276" y="893763"/>
              <a:ext cx="160338" cy="141288"/>
            </a:xfrm>
            <a:custGeom>
              <a:avLst/>
              <a:gdLst>
                <a:gd name="T0" fmla="*/ 623 w 1210"/>
                <a:gd name="T1" fmla="*/ 1065 h 1065"/>
                <a:gd name="T2" fmla="*/ 211 w 1210"/>
                <a:gd name="T3" fmla="*/ 202 h 1065"/>
                <a:gd name="T4" fmla="*/ 193 w 1210"/>
                <a:gd name="T5" fmla="*/ 163 h 1065"/>
                <a:gd name="T6" fmla="*/ 177 w 1210"/>
                <a:gd name="T7" fmla="*/ 131 h 1065"/>
                <a:gd name="T8" fmla="*/ 159 w 1210"/>
                <a:gd name="T9" fmla="*/ 105 h 1065"/>
                <a:gd name="T10" fmla="*/ 139 w 1210"/>
                <a:gd name="T11" fmla="*/ 84 h 1065"/>
                <a:gd name="T12" fmla="*/ 114 w 1210"/>
                <a:gd name="T13" fmla="*/ 69 h 1065"/>
                <a:gd name="T14" fmla="*/ 85 w 1210"/>
                <a:gd name="T15" fmla="*/ 59 h 1065"/>
                <a:gd name="T16" fmla="*/ 47 w 1210"/>
                <a:gd name="T17" fmla="*/ 52 h 1065"/>
                <a:gd name="T18" fmla="*/ 0 w 1210"/>
                <a:gd name="T19" fmla="*/ 50 h 1065"/>
                <a:gd name="T20" fmla="*/ 566 w 1210"/>
                <a:gd name="T21" fmla="*/ 0 h 1065"/>
                <a:gd name="T22" fmla="*/ 566 w 1210"/>
                <a:gd name="T23" fmla="*/ 50 h 1065"/>
                <a:gd name="T24" fmla="*/ 515 w 1210"/>
                <a:gd name="T25" fmla="*/ 52 h 1065"/>
                <a:gd name="T26" fmla="*/ 476 w 1210"/>
                <a:gd name="T27" fmla="*/ 58 h 1065"/>
                <a:gd name="T28" fmla="*/ 448 w 1210"/>
                <a:gd name="T29" fmla="*/ 68 h 1065"/>
                <a:gd name="T30" fmla="*/ 429 w 1210"/>
                <a:gd name="T31" fmla="*/ 81 h 1065"/>
                <a:gd name="T32" fmla="*/ 420 w 1210"/>
                <a:gd name="T33" fmla="*/ 99 h 1065"/>
                <a:gd name="T34" fmla="*/ 419 w 1210"/>
                <a:gd name="T35" fmla="*/ 122 h 1065"/>
                <a:gd name="T36" fmla="*/ 424 w 1210"/>
                <a:gd name="T37" fmla="*/ 150 h 1065"/>
                <a:gd name="T38" fmla="*/ 436 w 1210"/>
                <a:gd name="T39" fmla="*/ 181 h 1065"/>
                <a:gd name="T40" fmla="*/ 921 w 1210"/>
                <a:gd name="T41" fmla="*/ 181 h 1065"/>
                <a:gd name="T42" fmla="*/ 928 w 1210"/>
                <a:gd name="T43" fmla="*/ 165 h 1065"/>
                <a:gd name="T44" fmla="*/ 936 w 1210"/>
                <a:gd name="T45" fmla="*/ 134 h 1065"/>
                <a:gd name="T46" fmla="*/ 938 w 1210"/>
                <a:gd name="T47" fmla="*/ 110 h 1065"/>
                <a:gd name="T48" fmla="*/ 931 w 1210"/>
                <a:gd name="T49" fmla="*/ 89 h 1065"/>
                <a:gd name="T50" fmla="*/ 917 w 1210"/>
                <a:gd name="T51" fmla="*/ 74 h 1065"/>
                <a:gd name="T52" fmla="*/ 894 w 1210"/>
                <a:gd name="T53" fmla="*/ 62 h 1065"/>
                <a:gd name="T54" fmla="*/ 861 w 1210"/>
                <a:gd name="T55" fmla="*/ 54 h 1065"/>
                <a:gd name="T56" fmla="*/ 817 w 1210"/>
                <a:gd name="T57" fmla="*/ 50 h 1065"/>
                <a:gd name="T58" fmla="*/ 792 w 1210"/>
                <a:gd name="T59" fmla="*/ 0 h 1065"/>
                <a:gd name="T60" fmla="*/ 1210 w 1210"/>
                <a:gd name="T61" fmla="*/ 50 h 1065"/>
                <a:gd name="T62" fmla="*/ 1188 w 1210"/>
                <a:gd name="T63" fmla="*/ 50 h 1065"/>
                <a:gd name="T64" fmla="*/ 1150 w 1210"/>
                <a:gd name="T65" fmla="*/ 53 h 1065"/>
                <a:gd name="T66" fmla="*/ 1119 w 1210"/>
                <a:gd name="T67" fmla="*/ 61 h 1065"/>
                <a:gd name="T68" fmla="*/ 1091 w 1210"/>
                <a:gd name="T69" fmla="*/ 73 h 1065"/>
                <a:gd name="T70" fmla="*/ 1067 w 1210"/>
                <a:gd name="T71" fmla="*/ 89 h 1065"/>
                <a:gd name="T72" fmla="*/ 1046 w 1210"/>
                <a:gd name="T73" fmla="*/ 113 h 1065"/>
                <a:gd name="T74" fmla="*/ 1026 w 1210"/>
                <a:gd name="T75" fmla="*/ 142 h 1065"/>
                <a:gd name="T76" fmla="*/ 1007 w 1210"/>
                <a:gd name="T77" fmla="*/ 180 h 1065"/>
                <a:gd name="T78" fmla="*/ 997 w 1210"/>
                <a:gd name="T79" fmla="*/ 202 h 10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10" h="1065">
                  <a:moveTo>
                    <a:pt x="997" y="202"/>
                  </a:moveTo>
                  <a:lnTo>
                    <a:pt x="623" y="1065"/>
                  </a:lnTo>
                  <a:lnTo>
                    <a:pt x="587" y="1065"/>
                  </a:lnTo>
                  <a:lnTo>
                    <a:pt x="211" y="202"/>
                  </a:lnTo>
                  <a:lnTo>
                    <a:pt x="211" y="202"/>
                  </a:lnTo>
                  <a:lnTo>
                    <a:pt x="193" y="163"/>
                  </a:lnTo>
                  <a:lnTo>
                    <a:pt x="185" y="146"/>
                  </a:lnTo>
                  <a:lnTo>
                    <a:pt x="177" y="131"/>
                  </a:lnTo>
                  <a:lnTo>
                    <a:pt x="169" y="117"/>
                  </a:lnTo>
                  <a:lnTo>
                    <a:pt x="159" y="105"/>
                  </a:lnTo>
                  <a:lnTo>
                    <a:pt x="149" y="93"/>
                  </a:lnTo>
                  <a:lnTo>
                    <a:pt x="139" y="84"/>
                  </a:lnTo>
                  <a:lnTo>
                    <a:pt x="128" y="76"/>
                  </a:lnTo>
                  <a:lnTo>
                    <a:pt x="114" y="69"/>
                  </a:lnTo>
                  <a:lnTo>
                    <a:pt x="100" y="63"/>
                  </a:lnTo>
                  <a:lnTo>
                    <a:pt x="85" y="59"/>
                  </a:lnTo>
                  <a:lnTo>
                    <a:pt x="66" y="54"/>
                  </a:lnTo>
                  <a:lnTo>
                    <a:pt x="47" y="52"/>
                  </a:lnTo>
                  <a:lnTo>
                    <a:pt x="24" y="50"/>
                  </a:lnTo>
                  <a:lnTo>
                    <a:pt x="0" y="50"/>
                  </a:lnTo>
                  <a:lnTo>
                    <a:pt x="0" y="0"/>
                  </a:lnTo>
                  <a:lnTo>
                    <a:pt x="566" y="0"/>
                  </a:lnTo>
                  <a:lnTo>
                    <a:pt x="566" y="50"/>
                  </a:lnTo>
                  <a:lnTo>
                    <a:pt x="566" y="50"/>
                  </a:lnTo>
                  <a:lnTo>
                    <a:pt x="539" y="50"/>
                  </a:lnTo>
                  <a:lnTo>
                    <a:pt x="515" y="52"/>
                  </a:lnTo>
                  <a:lnTo>
                    <a:pt x="494" y="54"/>
                  </a:lnTo>
                  <a:lnTo>
                    <a:pt x="476" y="58"/>
                  </a:lnTo>
                  <a:lnTo>
                    <a:pt x="461" y="63"/>
                  </a:lnTo>
                  <a:lnTo>
                    <a:pt x="448" y="68"/>
                  </a:lnTo>
                  <a:lnTo>
                    <a:pt x="438" y="74"/>
                  </a:lnTo>
                  <a:lnTo>
                    <a:pt x="429" y="81"/>
                  </a:lnTo>
                  <a:lnTo>
                    <a:pt x="423" y="90"/>
                  </a:lnTo>
                  <a:lnTo>
                    <a:pt x="420" y="99"/>
                  </a:lnTo>
                  <a:lnTo>
                    <a:pt x="418" y="111"/>
                  </a:lnTo>
                  <a:lnTo>
                    <a:pt x="419" y="122"/>
                  </a:lnTo>
                  <a:lnTo>
                    <a:pt x="421" y="135"/>
                  </a:lnTo>
                  <a:lnTo>
                    <a:pt x="424" y="150"/>
                  </a:lnTo>
                  <a:lnTo>
                    <a:pt x="429" y="165"/>
                  </a:lnTo>
                  <a:lnTo>
                    <a:pt x="436" y="181"/>
                  </a:lnTo>
                  <a:lnTo>
                    <a:pt x="678" y="742"/>
                  </a:lnTo>
                  <a:lnTo>
                    <a:pt x="921" y="181"/>
                  </a:lnTo>
                  <a:lnTo>
                    <a:pt x="921" y="181"/>
                  </a:lnTo>
                  <a:lnTo>
                    <a:pt x="928" y="165"/>
                  </a:lnTo>
                  <a:lnTo>
                    <a:pt x="933" y="149"/>
                  </a:lnTo>
                  <a:lnTo>
                    <a:pt x="936" y="134"/>
                  </a:lnTo>
                  <a:lnTo>
                    <a:pt x="938" y="122"/>
                  </a:lnTo>
                  <a:lnTo>
                    <a:pt x="938" y="110"/>
                  </a:lnTo>
                  <a:lnTo>
                    <a:pt x="935" y="98"/>
                  </a:lnTo>
                  <a:lnTo>
                    <a:pt x="931" y="89"/>
                  </a:lnTo>
                  <a:lnTo>
                    <a:pt x="925" y="81"/>
                  </a:lnTo>
                  <a:lnTo>
                    <a:pt x="917" y="74"/>
                  </a:lnTo>
                  <a:lnTo>
                    <a:pt x="906" y="67"/>
                  </a:lnTo>
                  <a:lnTo>
                    <a:pt x="894" y="62"/>
                  </a:lnTo>
                  <a:lnTo>
                    <a:pt x="878" y="58"/>
                  </a:lnTo>
                  <a:lnTo>
                    <a:pt x="861" y="54"/>
                  </a:lnTo>
                  <a:lnTo>
                    <a:pt x="840" y="52"/>
                  </a:lnTo>
                  <a:lnTo>
                    <a:pt x="817" y="50"/>
                  </a:lnTo>
                  <a:lnTo>
                    <a:pt x="792" y="50"/>
                  </a:lnTo>
                  <a:lnTo>
                    <a:pt x="792" y="0"/>
                  </a:lnTo>
                  <a:lnTo>
                    <a:pt x="1210" y="0"/>
                  </a:lnTo>
                  <a:lnTo>
                    <a:pt x="1210" y="50"/>
                  </a:lnTo>
                  <a:lnTo>
                    <a:pt x="1210" y="50"/>
                  </a:lnTo>
                  <a:lnTo>
                    <a:pt x="1188" y="50"/>
                  </a:lnTo>
                  <a:lnTo>
                    <a:pt x="1169" y="51"/>
                  </a:lnTo>
                  <a:lnTo>
                    <a:pt x="1150" y="53"/>
                  </a:lnTo>
                  <a:lnTo>
                    <a:pt x="1134" y="57"/>
                  </a:lnTo>
                  <a:lnTo>
                    <a:pt x="1119" y="61"/>
                  </a:lnTo>
                  <a:lnTo>
                    <a:pt x="1104" y="66"/>
                  </a:lnTo>
                  <a:lnTo>
                    <a:pt x="1091" y="73"/>
                  </a:lnTo>
                  <a:lnTo>
                    <a:pt x="1079" y="80"/>
                  </a:lnTo>
                  <a:lnTo>
                    <a:pt x="1067" y="89"/>
                  </a:lnTo>
                  <a:lnTo>
                    <a:pt x="1056" y="100"/>
                  </a:lnTo>
                  <a:lnTo>
                    <a:pt x="1046" y="113"/>
                  </a:lnTo>
                  <a:lnTo>
                    <a:pt x="1036" y="127"/>
                  </a:lnTo>
                  <a:lnTo>
                    <a:pt x="1026" y="142"/>
                  </a:lnTo>
                  <a:lnTo>
                    <a:pt x="1016" y="161"/>
                  </a:lnTo>
                  <a:lnTo>
                    <a:pt x="1007" y="180"/>
                  </a:lnTo>
                  <a:lnTo>
                    <a:pt x="997" y="202"/>
                  </a:lnTo>
                  <a:lnTo>
                    <a:pt x="997" y="20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17" name="Freeform 15"/>
            <p:cNvSpPr>
              <a:spLocks noEditPoints="1"/>
            </p:cNvSpPr>
            <p:nvPr userDrawn="1"/>
          </p:nvSpPr>
          <p:spPr bwMode="auto">
            <a:xfrm>
              <a:off x="3135313" y="890588"/>
              <a:ext cx="152400" cy="144463"/>
            </a:xfrm>
            <a:custGeom>
              <a:avLst/>
              <a:gdLst>
                <a:gd name="T0" fmla="*/ 489 w 1151"/>
                <a:gd name="T1" fmla="*/ 1087 h 1094"/>
                <a:gd name="T2" fmla="*/ 353 w 1151"/>
                <a:gd name="T3" fmla="*/ 1051 h 1094"/>
                <a:gd name="T4" fmla="*/ 232 w 1151"/>
                <a:gd name="T5" fmla="*/ 984 h 1094"/>
                <a:gd name="T6" fmla="*/ 132 w 1151"/>
                <a:gd name="T7" fmla="*/ 894 h 1094"/>
                <a:gd name="T8" fmla="*/ 57 w 1151"/>
                <a:gd name="T9" fmla="*/ 783 h 1094"/>
                <a:gd name="T10" fmla="*/ 12 w 1151"/>
                <a:gd name="T11" fmla="*/ 656 h 1094"/>
                <a:gd name="T12" fmla="*/ 0 w 1151"/>
                <a:gd name="T13" fmla="*/ 547 h 1094"/>
                <a:gd name="T14" fmla="*/ 18 w 1151"/>
                <a:gd name="T15" fmla="*/ 411 h 1094"/>
                <a:gd name="T16" fmla="*/ 70 w 1151"/>
                <a:gd name="T17" fmla="*/ 287 h 1094"/>
                <a:gd name="T18" fmla="*/ 150 w 1151"/>
                <a:gd name="T19" fmla="*/ 180 h 1094"/>
                <a:gd name="T20" fmla="*/ 254 w 1151"/>
                <a:gd name="T21" fmla="*/ 94 h 1094"/>
                <a:gd name="T22" fmla="*/ 379 w 1151"/>
                <a:gd name="T23" fmla="*/ 33 h 1094"/>
                <a:gd name="T24" fmla="*/ 517 w 1151"/>
                <a:gd name="T25" fmla="*/ 3 h 1094"/>
                <a:gd name="T26" fmla="*/ 635 w 1151"/>
                <a:gd name="T27" fmla="*/ 3 h 1094"/>
                <a:gd name="T28" fmla="*/ 774 w 1151"/>
                <a:gd name="T29" fmla="*/ 33 h 1094"/>
                <a:gd name="T30" fmla="*/ 897 w 1151"/>
                <a:gd name="T31" fmla="*/ 94 h 1094"/>
                <a:gd name="T32" fmla="*/ 1001 w 1151"/>
                <a:gd name="T33" fmla="*/ 180 h 1094"/>
                <a:gd name="T34" fmla="*/ 1082 w 1151"/>
                <a:gd name="T35" fmla="*/ 287 h 1094"/>
                <a:gd name="T36" fmla="*/ 1133 w 1151"/>
                <a:gd name="T37" fmla="*/ 411 h 1094"/>
                <a:gd name="T38" fmla="*/ 1151 w 1151"/>
                <a:gd name="T39" fmla="*/ 547 h 1094"/>
                <a:gd name="T40" fmla="*/ 1139 w 1151"/>
                <a:gd name="T41" fmla="*/ 656 h 1094"/>
                <a:gd name="T42" fmla="*/ 1094 w 1151"/>
                <a:gd name="T43" fmla="*/ 783 h 1094"/>
                <a:gd name="T44" fmla="*/ 1019 w 1151"/>
                <a:gd name="T45" fmla="*/ 894 h 1094"/>
                <a:gd name="T46" fmla="*/ 919 w 1151"/>
                <a:gd name="T47" fmla="*/ 984 h 1094"/>
                <a:gd name="T48" fmla="*/ 799 w 1151"/>
                <a:gd name="T49" fmla="*/ 1051 h 1094"/>
                <a:gd name="T50" fmla="*/ 663 w 1151"/>
                <a:gd name="T51" fmla="*/ 1087 h 1094"/>
                <a:gd name="T52" fmla="*/ 577 w 1151"/>
                <a:gd name="T53" fmla="*/ 82 h 1094"/>
                <a:gd name="T54" fmla="*/ 492 w 1151"/>
                <a:gd name="T55" fmla="*/ 94 h 1094"/>
                <a:gd name="T56" fmla="*/ 404 w 1151"/>
                <a:gd name="T57" fmla="*/ 137 h 1094"/>
                <a:gd name="T58" fmla="*/ 335 w 1151"/>
                <a:gd name="T59" fmla="*/ 204 h 1094"/>
                <a:gd name="T60" fmla="*/ 285 w 1151"/>
                <a:gd name="T61" fmla="*/ 290 h 1094"/>
                <a:gd name="T62" fmla="*/ 252 w 1151"/>
                <a:gd name="T63" fmla="*/ 386 h 1094"/>
                <a:gd name="T64" fmla="*/ 234 w 1151"/>
                <a:gd name="T65" fmla="*/ 507 h 1094"/>
                <a:gd name="T66" fmla="*/ 240 w 1151"/>
                <a:gd name="T67" fmla="*/ 647 h 1094"/>
                <a:gd name="T68" fmla="*/ 264 w 1151"/>
                <a:gd name="T69" fmla="*/ 747 h 1094"/>
                <a:gd name="T70" fmla="*/ 303 w 1151"/>
                <a:gd name="T71" fmla="*/ 840 h 1094"/>
                <a:gd name="T72" fmla="*/ 360 w 1151"/>
                <a:gd name="T73" fmla="*/ 919 h 1094"/>
                <a:gd name="T74" fmla="*/ 436 w 1151"/>
                <a:gd name="T75" fmla="*/ 977 h 1094"/>
                <a:gd name="T76" fmla="*/ 533 w 1151"/>
                <a:gd name="T77" fmla="*/ 1008 h 1094"/>
                <a:gd name="T78" fmla="*/ 621 w 1151"/>
                <a:gd name="T79" fmla="*/ 1008 h 1094"/>
                <a:gd name="T80" fmla="*/ 716 w 1151"/>
                <a:gd name="T81" fmla="*/ 977 h 1094"/>
                <a:gd name="T82" fmla="*/ 792 w 1151"/>
                <a:gd name="T83" fmla="*/ 919 h 1094"/>
                <a:gd name="T84" fmla="*/ 850 w 1151"/>
                <a:gd name="T85" fmla="*/ 840 h 1094"/>
                <a:gd name="T86" fmla="*/ 889 w 1151"/>
                <a:gd name="T87" fmla="*/ 747 h 1094"/>
                <a:gd name="T88" fmla="*/ 912 w 1151"/>
                <a:gd name="T89" fmla="*/ 647 h 1094"/>
                <a:gd name="T90" fmla="*/ 919 w 1151"/>
                <a:gd name="T91" fmla="*/ 507 h 1094"/>
                <a:gd name="T92" fmla="*/ 901 w 1151"/>
                <a:gd name="T93" fmla="*/ 386 h 1094"/>
                <a:gd name="T94" fmla="*/ 867 w 1151"/>
                <a:gd name="T95" fmla="*/ 290 h 1094"/>
                <a:gd name="T96" fmla="*/ 817 w 1151"/>
                <a:gd name="T97" fmla="*/ 204 h 1094"/>
                <a:gd name="T98" fmla="*/ 748 w 1151"/>
                <a:gd name="T99" fmla="*/ 137 h 1094"/>
                <a:gd name="T100" fmla="*/ 661 w 1151"/>
                <a:gd name="T101" fmla="*/ 94 h 1094"/>
                <a:gd name="T102" fmla="*/ 577 w 1151"/>
                <a:gd name="T103" fmla="*/ 82 h 10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151" h="1094">
                  <a:moveTo>
                    <a:pt x="577" y="1094"/>
                  </a:moveTo>
                  <a:lnTo>
                    <a:pt x="577" y="1094"/>
                  </a:lnTo>
                  <a:lnTo>
                    <a:pt x="547" y="1093"/>
                  </a:lnTo>
                  <a:lnTo>
                    <a:pt x="517" y="1091"/>
                  </a:lnTo>
                  <a:lnTo>
                    <a:pt x="489" y="1087"/>
                  </a:lnTo>
                  <a:lnTo>
                    <a:pt x="461" y="1082"/>
                  </a:lnTo>
                  <a:lnTo>
                    <a:pt x="432" y="1076"/>
                  </a:lnTo>
                  <a:lnTo>
                    <a:pt x="406" y="1069"/>
                  </a:lnTo>
                  <a:lnTo>
                    <a:pt x="379" y="1060"/>
                  </a:lnTo>
                  <a:lnTo>
                    <a:pt x="353" y="1051"/>
                  </a:lnTo>
                  <a:lnTo>
                    <a:pt x="327" y="1039"/>
                  </a:lnTo>
                  <a:lnTo>
                    <a:pt x="303" y="1027"/>
                  </a:lnTo>
                  <a:lnTo>
                    <a:pt x="278" y="1014"/>
                  </a:lnTo>
                  <a:lnTo>
                    <a:pt x="254" y="1000"/>
                  </a:lnTo>
                  <a:lnTo>
                    <a:pt x="232" y="984"/>
                  </a:lnTo>
                  <a:lnTo>
                    <a:pt x="210" y="968"/>
                  </a:lnTo>
                  <a:lnTo>
                    <a:pt x="189" y="950"/>
                  </a:lnTo>
                  <a:lnTo>
                    <a:pt x="170" y="933"/>
                  </a:lnTo>
                  <a:lnTo>
                    <a:pt x="150" y="914"/>
                  </a:lnTo>
                  <a:lnTo>
                    <a:pt x="132" y="894"/>
                  </a:lnTo>
                  <a:lnTo>
                    <a:pt x="115" y="873"/>
                  </a:lnTo>
                  <a:lnTo>
                    <a:pt x="99" y="851"/>
                  </a:lnTo>
                  <a:lnTo>
                    <a:pt x="84" y="830"/>
                  </a:lnTo>
                  <a:lnTo>
                    <a:pt x="70" y="806"/>
                  </a:lnTo>
                  <a:lnTo>
                    <a:pt x="57" y="783"/>
                  </a:lnTo>
                  <a:lnTo>
                    <a:pt x="46" y="758"/>
                  </a:lnTo>
                  <a:lnTo>
                    <a:pt x="36" y="734"/>
                  </a:lnTo>
                  <a:lnTo>
                    <a:pt x="26" y="708"/>
                  </a:lnTo>
                  <a:lnTo>
                    <a:pt x="18" y="683"/>
                  </a:lnTo>
                  <a:lnTo>
                    <a:pt x="12" y="656"/>
                  </a:lnTo>
                  <a:lnTo>
                    <a:pt x="7" y="629"/>
                  </a:lnTo>
                  <a:lnTo>
                    <a:pt x="3" y="602"/>
                  </a:lnTo>
                  <a:lnTo>
                    <a:pt x="1" y="574"/>
                  </a:lnTo>
                  <a:lnTo>
                    <a:pt x="0" y="547"/>
                  </a:lnTo>
                  <a:lnTo>
                    <a:pt x="0" y="547"/>
                  </a:lnTo>
                  <a:lnTo>
                    <a:pt x="1" y="519"/>
                  </a:lnTo>
                  <a:lnTo>
                    <a:pt x="3" y="491"/>
                  </a:lnTo>
                  <a:lnTo>
                    <a:pt x="7" y="464"/>
                  </a:lnTo>
                  <a:lnTo>
                    <a:pt x="12" y="437"/>
                  </a:lnTo>
                  <a:lnTo>
                    <a:pt x="18" y="411"/>
                  </a:lnTo>
                  <a:lnTo>
                    <a:pt x="26" y="385"/>
                  </a:lnTo>
                  <a:lnTo>
                    <a:pt x="36" y="360"/>
                  </a:lnTo>
                  <a:lnTo>
                    <a:pt x="46" y="335"/>
                  </a:lnTo>
                  <a:lnTo>
                    <a:pt x="57" y="310"/>
                  </a:lnTo>
                  <a:lnTo>
                    <a:pt x="70" y="287"/>
                  </a:lnTo>
                  <a:lnTo>
                    <a:pt x="84" y="264"/>
                  </a:lnTo>
                  <a:lnTo>
                    <a:pt x="99" y="242"/>
                  </a:lnTo>
                  <a:lnTo>
                    <a:pt x="115" y="220"/>
                  </a:lnTo>
                  <a:lnTo>
                    <a:pt x="132" y="200"/>
                  </a:lnTo>
                  <a:lnTo>
                    <a:pt x="150" y="180"/>
                  </a:lnTo>
                  <a:lnTo>
                    <a:pt x="170" y="161"/>
                  </a:lnTo>
                  <a:lnTo>
                    <a:pt x="189" y="143"/>
                  </a:lnTo>
                  <a:lnTo>
                    <a:pt x="210" y="125"/>
                  </a:lnTo>
                  <a:lnTo>
                    <a:pt x="232" y="109"/>
                  </a:lnTo>
                  <a:lnTo>
                    <a:pt x="254" y="94"/>
                  </a:lnTo>
                  <a:lnTo>
                    <a:pt x="278" y="79"/>
                  </a:lnTo>
                  <a:lnTo>
                    <a:pt x="303" y="66"/>
                  </a:lnTo>
                  <a:lnTo>
                    <a:pt x="327" y="54"/>
                  </a:lnTo>
                  <a:lnTo>
                    <a:pt x="353" y="44"/>
                  </a:lnTo>
                  <a:lnTo>
                    <a:pt x="379" y="33"/>
                  </a:lnTo>
                  <a:lnTo>
                    <a:pt x="406" y="24"/>
                  </a:lnTo>
                  <a:lnTo>
                    <a:pt x="432" y="17"/>
                  </a:lnTo>
                  <a:lnTo>
                    <a:pt x="461" y="11"/>
                  </a:lnTo>
                  <a:lnTo>
                    <a:pt x="489" y="6"/>
                  </a:lnTo>
                  <a:lnTo>
                    <a:pt x="517" y="3"/>
                  </a:lnTo>
                  <a:lnTo>
                    <a:pt x="547" y="1"/>
                  </a:lnTo>
                  <a:lnTo>
                    <a:pt x="577" y="0"/>
                  </a:lnTo>
                  <a:lnTo>
                    <a:pt x="577" y="0"/>
                  </a:lnTo>
                  <a:lnTo>
                    <a:pt x="606" y="1"/>
                  </a:lnTo>
                  <a:lnTo>
                    <a:pt x="635" y="3"/>
                  </a:lnTo>
                  <a:lnTo>
                    <a:pt x="663" y="6"/>
                  </a:lnTo>
                  <a:lnTo>
                    <a:pt x="692" y="11"/>
                  </a:lnTo>
                  <a:lnTo>
                    <a:pt x="720" y="17"/>
                  </a:lnTo>
                  <a:lnTo>
                    <a:pt x="746" y="24"/>
                  </a:lnTo>
                  <a:lnTo>
                    <a:pt x="774" y="33"/>
                  </a:lnTo>
                  <a:lnTo>
                    <a:pt x="799" y="44"/>
                  </a:lnTo>
                  <a:lnTo>
                    <a:pt x="825" y="54"/>
                  </a:lnTo>
                  <a:lnTo>
                    <a:pt x="850" y="66"/>
                  </a:lnTo>
                  <a:lnTo>
                    <a:pt x="874" y="79"/>
                  </a:lnTo>
                  <a:lnTo>
                    <a:pt x="897" y="94"/>
                  </a:lnTo>
                  <a:lnTo>
                    <a:pt x="919" y="109"/>
                  </a:lnTo>
                  <a:lnTo>
                    <a:pt x="942" y="125"/>
                  </a:lnTo>
                  <a:lnTo>
                    <a:pt x="962" y="143"/>
                  </a:lnTo>
                  <a:lnTo>
                    <a:pt x="982" y="161"/>
                  </a:lnTo>
                  <a:lnTo>
                    <a:pt x="1001" y="180"/>
                  </a:lnTo>
                  <a:lnTo>
                    <a:pt x="1019" y="200"/>
                  </a:lnTo>
                  <a:lnTo>
                    <a:pt x="1037" y="220"/>
                  </a:lnTo>
                  <a:lnTo>
                    <a:pt x="1052" y="242"/>
                  </a:lnTo>
                  <a:lnTo>
                    <a:pt x="1067" y="264"/>
                  </a:lnTo>
                  <a:lnTo>
                    <a:pt x="1082" y="287"/>
                  </a:lnTo>
                  <a:lnTo>
                    <a:pt x="1094" y="310"/>
                  </a:lnTo>
                  <a:lnTo>
                    <a:pt x="1105" y="335"/>
                  </a:lnTo>
                  <a:lnTo>
                    <a:pt x="1116" y="360"/>
                  </a:lnTo>
                  <a:lnTo>
                    <a:pt x="1125" y="385"/>
                  </a:lnTo>
                  <a:lnTo>
                    <a:pt x="1133" y="411"/>
                  </a:lnTo>
                  <a:lnTo>
                    <a:pt x="1139" y="437"/>
                  </a:lnTo>
                  <a:lnTo>
                    <a:pt x="1144" y="464"/>
                  </a:lnTo>
                  <a:lnTo>
                    <a:pt x="1148" y="491"/>
                  </a:lnTo>
                  <a:lnTo>
                    <a:pt x="1150" y="519"/>
                  </a:lnTo>
                  <a:lnTo>
                    <a:pt x="1151" y="547"/>
                  </a:lnTo>
                  <a:lnTo>
                    <a:pt x="1151" y="547"/>
                  </a:lnTo>
                  <a:lnTo>
                    <a:pt x="1150" y="574"/>
                  </a:lnTo>
                  <a:lnTo>
                    <a:pt x="1148" y="602"/>
                  </a:lnTo>
                  <a:lnTo>
                    <a:pt x="1144" y="629"/>
                  </a:lnTo>
                  <a:lnTo>
                    <a:pt x="1139" y="656"/>
                  </a:lnTo>
                  <a:lnTo>
                    <a:pt x="1133" y="683"/>
                  </a:lnTo>
                  <a:lnTo>
                    <a:pt x="1125" y="708"/>
                  </a:lnTo>
                  <a:lnTo>
                    <a:pt x="1116" y="734"/>
                  </a:lnTo>
                  <a:lnTo>
                    <a:pt x="1105" y="758"/>
                  </a:lnTo>
                  <a:lnTo>
                    <a:pt x="1094" y="783"/>
                  </a:lnTo>
                  <a:lnTo>
                    <a:pt x="1082" y="806"/>
                  </a:lnTo>
                  <a:lnTo>
                    <a:pt x="1067" y="830"/>
                  </a:lnTo>
                  <a:lnTo>
                    <a:pt x="1052" y="851"/>
                  </a:lnTo>
                  <a:lnTo>
                    <a:pt x="1037" y="873"/>
                  </a:lnTo>
                  <a:lnTo>
                    <a:pt x="1019" y="894"/>
                  </a:lnTo>
                  <a:lnTo>
                    <a:pt x="1001" y="914"/>
                  </a:lnTo>
                  <a:lnTo>
                    <a:pt x="982" y="933"/>
                  </a:lnTo>
                  <a:lnTo>
                    <a:pt x="962" y="950"/>
                  </a:lnTo>
                  <a:lnTo>
                    <a:pt x="942" y="968"/>
                  </a:lnTo>
                  <a:lnTo>
                    <a:pt x="919" y="984"/>
                  </a:lnTo>
                  <a:lnTo>
                    <a:pt x="897" y="1000"/>
                  </a:lnTo>
                  <a:lnTo>
                    <a:pt x="874" y="1014"/>
                  </a:lnTo>
                  <a:lnTo>
                    <a:pt x="850" y="1027"/>
                  </a:lnTo>
                  <a:lnTo>
                    <a:pt x="825" y="1039"/>
                  </a:lnTo>
                  <a:lnTo>
                    <a:pt x="799" y="1051"/>
                  </a:lnTo>
                  <a:lnTo>
                    <a:pt x="774" y="1060"/>
                  </a:lnTo>
                  <a:lnTo>
                    <a:pt x="746" y="1069"/>
                  </a:lnTo>
                  <a:lnTo>
                    <a:pt x="720" y="1076"/>
                  </a:lnTo>
                  <a:lnTo>
                    <a:pt x="692" y="1082"/>
                  </a:lnTo>
                  <a:lnTo>
                    <a:pt x="663" y="1087"/>
                  </a:lnTo>
                  <a:lnTo>
                    <a:pt x="635" y="1091"/>
                  </a:lnTo>
                  <a:lnTo>
                    <a:pt x="606" y="1093"/>
                  </a:lnTo>
                  <a:lnTo>
                    <a:pt x="577" y="1094"/>
                  </a:lnTo>
                  <a:lnTo>
                    <a:pt x="577" y="1094"/>
                  </a:lnTo>
                  <a:close/>
                  <a:moveTo>
                    <a:pt x="577" y="82"/>
                  </a:moveTo>
                  <a:lnTo>
                    <a:pt x="577" y="82"/>
                  </a:lnTo>
                  <a:lnTo>
                    <a:pt x="554" y="83"/>
                  </a:lnTo>
                  <a:lnTo>
                    <a:pt x="533" y="86"/>
                  </a:lnTo>
                  <a:lnTo>
                    <a:pt x="511" y="90"/>
                  </a:lnTo>
                  <a:lnTo>
                    <a:pt x="492" y="94"/>
                  </a:lnTo>
                  <a:lnTo>
                    <a:pt x="472" y="100"/>
                  </a:lnTo>
                  <a:lnTo>
                    <a:pt x="454" y="108"/>
                  </a:lnTo>
                  <a:lnTo>
                    <a:pt x="436" y="116"/>
                  </a:lnTo>
                  <a:lnTo>
                    <a:pt x="419" y="125"/>
                  </a:lnTo>
                  <a:lnTo>
                    <a:pt x="404" y="137"/>
                  </a:lnTo>
                  <a:lnTo>
                    <a:pt x="388" y="148"/>
                  </a:lnTo>
                  <a:lnTo>
                    <a:pt x="374" y="161"/>
                  </a:lnTo>
                  <a:lnTo>
                    <a:pt x="360" y="174"/>
                  </a:lnTo>
                  <a:lnTo>
                    <a:pt x="347" y="189"/>
                  </a:lnTo>
                  <a:lnTo>
                    <a:pt x="335" y="204"/>
                  </a:lnTo>
                  <a:lnTo>
                    <a:pt x="324" y="219"/>
                  </a:lnTo>
                  <a:lnTo>
                    <a:pt x="313" y="237"/>
                  </a:lnTo>
                  <a:lnTo>
                    <a:pt x="303" y="253"/>
                  </a:lnTo>
                  <a:lnTo>
                    <a:pt x="293" y="272"/>
                  </a:lnTo>
                  <a:lnTo>
                    <a:pt x="285" y="290"/>
                  </a:lnTo>
                  <a:lnTo>
                    <a:pt x="277" y="308"/>
                  </a:lnTo>
                  <a:lnTo>
                    <a:pt x="270" y="327"/>
                  </a:lnTo>
                  <a:lnTo>
                    <a:pt x="264" y="346"/>
                  </a:lnTo>
                  <a:lnTo>
                    <a:pt x="258" y="367"/>
                  </a:lnTo>
                  <a:lnTo>
                    <a:pt x="252" y="386"/>
                  </a:lnTo>
                  <a:lnTo>
                    <a:pt x="248" y="407"/>
                  </a:lnTo>
                  <a:lnTo>
                    <a:pt x="244" y="426"/>
                  </a:lnTo>
                  <a:lnTo>
                    <a:pt x="240" y="446"/>
                  </a:lnTo>
                  <a:lnTo>
                    <a:pt x="238" y="467"/>
                  </a:lnTo>
                  <a:lnTo>
                    <a:pt x="234" y="507"/>
                  </a:lnTo>
                  <a:lnTo>
                    <a:pt x="233" y="547"/>
                  </a:lnTo>
                  <a:lnTo>
                    <a:pt x="233" y="547"/>
                  </a:lnTo>
                  <a:lnTo>
                    <a:pt x="234" y="587"/>
                  </a:lnTo>
                  <a:lnTo>
                    <a:pt x="238" y="626"/>
                  </a:lnTo>
                  <a:lnTo>
                    <a:pt x="240" y="647"/>
                  </a:lnTo>
                  <a:lnTo>
                    <a:pt x="244" y="667"/>
                  </a:lnTo>
                  <a:lnTo>
                    <a:pt x="248" y="687"/>
                  </a:lnTo>
                  <a:lnTo>
                    <a:pt x="252" y="707"/>
                  </a:lnTo>
                  <a:lnTo>
                    <a:pt x="258" y="728"/>
                  </a:lnTo>
                  <a:lnTo>
                    <a:pt x="264" y="747"/>
                  </a:lnTo>
                  <a:lnTo>
                    <a:pt x="270" y="766"/>
                  </a:lnTo>
                  <a:lnTo>
                    <a:pt x="277" y="785"/>
                  </a:lnTo>
                  <a:lnTo>
                    <a:pt x="285" y="804"/>
                  </a:lnTo>
                  <a:lnTo>
                    <a:pt x="293" y="822"/>
                  </a:lnTo>
                  <a:lnTo>
                    <a:pt x="303" y="840"/>
                  </a:lnTo>
                  <a:lnTo>
                    <a:pt x="313" y="857"/>
                  </a:lnTo>
                  <a:lnTo>
                    <a:pt x="324" y="874"/>
                  </a:lnTo>
                  <a:lnTo>
                    <a:pt x="335" y="889"/>
                  </a:lnTo>
                  <a:lnTo>
                    <a:pt x="347" y="904"/>
                  </a:lnTo>
                  <a:lnTo>
                    <a:pt x="360" y="919"/>
                  </a:lnTo>
                  <a:lnTo>
                    <a:pt x="374" y="932"/>
                  </a:lnTo>
                  <a:lnTo>
                    <a:pt x="388" y="945"/>
                  </a:lnTo>
                  <a:lnTo>
                    <a:pt x="404" y="957"/>
                  </a:lnTo>
                  <a:lnTo>
                    <a:pt x="419" y="968"/>
                  </a:lnTo>
                  <a:lnTo>
                    <a:pt x="436" y="977"/>
                  </a:lnTo>
                  <a:lnTo>
                    <a:pt x="454" y="986"/>
                  </a:lnTo>
                  <a:lnTo>
                    <a:pt x="472" y="993"/>
                  </a:lnTo>
                  <a:lnTo>
                    <a:pt x="492" y="1000"/>
                  </a:lnTo>
                  <a:lnTo>
                    <a:pt x="511" y="1005"/>
                  </a:lnTo>
                  <a:lnTo>
                    <a:pt x="533" y="1008"/>
                  </a:lnTo>
                  <a:lnTo>
                    <a:pt x="554" y="1010"/>
                  </a:lnTo>
                  <a:lnTo>
                    <a:pt x="577" y="1011"/>
                  </a:lnTo>
                  <a:lnTo>
                    <a:pt x="577" y="1011"/>
                  </a:lnTo>
                  <a:lnTo>
                    <a:pt x="599" y="1010"/>
                  </a:lnTo>
                  <a:lnTo>
                    <a:pt x="621" y="1008"/>
                  </a:lnTo>
                  <a:lnTo>
                    <a:pt x="641" y="1005"/>
                  </a:lnTo>
                  <a:lnTo>
                    <a:pt x="661" y="1000"/>
                  </a:lnTo>
                  <a:lnTo>
                    <a:pt x="680" y="993"/>
                  </a:lnTo>
                  <a:lnTo>
                    <a:pt x="698" y="986"/>
                  </a:lnTo>
                  <a:lnTo>
                    <a:pt x="716" y="977"/>
                  </a:lnTo>
                  <a:lnTo>
                    <a:pt x="733" y="968"/>
                  </a:lnTo>
                  <a:lnTo>
                    <a:pt x="748" y="957"/>
                  </a:lnTo>
                  <a:lnTo>
                    <a:pt x="764" y="945"/>
                  </a:lnTo>
                  <a:lnTo>
                    <a:pt x="778" y="932"/>
                  </a:lnTo>
                  <a:lnTo>
                    <a:pt x="792" y="919"/>
                  </a:lnTo>
                  <a:lnTo>
                    <a:pt x="805" y="904"/>
                  </a:lnTo>
                  <a:lnTo>
                    <a:pt x="817" y="889"/>
                  </a:lnTo>
                  <a:lnTo>
                    <a:pt x="829" y="874"/>
                  </a:lnTo>
                  <a:lnTo>
                    <a:pt x="839" y="857"/>
                  </a:lnTo>
                  <a:lnTo>
                    <a:pt x="850" y="840"/>
                  </a:lnTo>
                  <a:lnTo>
                    <a:pt x="859" y="822"/>
                  </a:lnTo>
                  <a:lnTo>
                    <a:pt x="867" y="804"/>
                  </a:lnTo>
                  <a:lnTo>
                    <a:pt x="875" y="785"/>
                  </a:lnTo>
                  <a:lnTo>
                    <a:pt x="882" y="766"/>
                  </a:lnTo>
                  <a:lnTo>
                    <a:pt x="889" y="747"/>
                  </a:lnTo>
                  <a:lnTo>
                    <a:pt x="896" y="728"/>
                  </a:lnTo>
                  <a:lnTo>
                    <a:pt x="901" y="707"/>
                  </a:lnTo>
                  <a:lnTo>
                    <a:pt x="905" y="687"/>
                  </a:lnTo>
                  <a:lnTo>
                    <a:pt x="909" y="667"/>
                  </a:lnTo>
                  <a:lnTo>
                    <a:pt x="912" y="647"/>
                  </a:lnTo>
                  <a:lnTo>
                    <a:pt x="915" y="626"/>
                  </a:lnTo>
                  <a:lnTo>
                    <a:pt x="919" y="587"/>
                  </a:lnTo>
                  <a:lnTo>
                    <a:pt x="920" y="547"/>
                  </a:lnTo>
                  <a:lnTo>
                    <a:pt x="920" y="547"/>
                  </a:lnTo>
                  <a:lnTo>
                    <a:pt x="919" y="507"/>
                  </a:lnTo>
                  <a:lnTo>
                    <a:pt x="915" y="467"/>
                  </a:lnTo>
                  <a:lnTo>
                    <a:pt x="912" y="446"/>
                  </a:lnTo>
                  <a:lnTo>
                    <a:pt x="909" y="426"/>
                  </a:lnTo>
                  <a:lnTo>
                    <a:pt x="905" y="407"/>
                  </a:lnTo>
                  <a:lnTo>
                    <a:pt x="901" y="386"/>
                  </a:lnTo>
                  <a:lnTo>
                    <a:pt x="896" y="367"/>
                  </a:lnTo>
                  <a:lnTo>
                    <a:pt x="889" y="346"/>
                  </a:lnTo>
                  <a:lnTo>
                    <a:pt x="882" y="327"/>
                  </a:lnTo>
                  <a:lnTo>
                    <a:pt x="875" y="308"/>
                  </a:lnTo>
                  <a:lnTo>
                    <a:pt x="867" y="290"/>
                  </a:lnTo>
                  <a:lnTo>
                    <a:pt x="859" y="272"/>
                  </a:lnTo>
                  <a:lnTo>
                    <a:pt x="850" y="253"/>
                  </a:lnTo>
                  <a:lnTo>
                    <a:pt x="839" y="237"/>
                  </a:lnTo>
                  <a:lnTo>
                    <a:pt x="829" y="219"/>
                  </a:lnTo>
                  <a:lnTo>
                    <a:pt x="817" y="204"/>
                  </a:lnTo>
                  <a:lnTo>
                    <a:pt x="805" y="189"/>
                  </a:lnTo>
                  <a:lnTo>
                    <a:pt x="792" y="174"/>
                  </a:lnTo>
                  <a:lnTo>
                    <a:pt x="778" y="161"/>
                  </a:lnTo>
                  <a:lnTo>
                    <a:pt x="764" y="148"/>
                  </a:lnTo>
                  <a:lnTo>
                    <a:pt x="748" y="137"/>
                  </a:lnTo>
                  <a:lnTo>
                    <a:pt x="733" y="125"/>
                  </a:lnTo>
                  <a:lnTo>
                    <a:pt x="716" y="116"/>
                  </a:lnTo>
                  <a:lnTo>
                    <a:pt x="698" y="108"/>
                  </a:lnTo>
                  <a:lnTo>
                    <a:pt x="680" y="100"/>
                  </a:lnTo>
                  <a:lnTo>
                    <a:pt x="661" y="94"/>
                  </a:lnTo>
                  <a:lnTo>
                    <a:pt x="641" y="90"/>
                  </a:lnTo>
                  <a:lnTo>
                    <a:pt x="621" y="86"/>
                  </a:lnTo>
                  <a:lnTo>
                    <a:pt x="599" y="83"/>
                  </a:lnTo>
                  <a:lnTo>
                    <a:pt x="577" y="82"/>
                  </a:lnTo>
                  <a:lnTo>
                    <a:pt x="577" y="8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18" name="Freeform 16"/>
            <p:cNvSpPr>
              <a:spLocks/>
            </p:cNvSpPr>
            <p:nvPr userDrawn="1"/>
          </p:nvSpPr>
          <p:spPr bwMode="auto">
            <a:xfrm>
              <a:off x="3332163" y="889001"/>
              <a:ext cx="93663" cy="146050"/>
            </a:xfrm>
            <a:custGeom>
              <a:avLst/>
              <a:gdLst>
                <a:gd name="T0" fmla="*/ 52 w 712"/>
                <a:gd name="T1" fmla="*/ 723 h 1103"/>
                <a:gd name="T2" fmla="*/ 75 w 712"/>
                <a:gd name="T3" fmla="*/ 804 h 1103"/>
                <a:gd name="T4" fmla="*/ 112 w 712"/>
                <a:gd name="T5" fmla="*/ 875 h 1103"/>
                <a:gd name="T6" fmla="*/ 159 w 712"/>
                <a:gd name="T7" fmla="*/ 933 h 1103"/>
                <a:gd name="T8" fmla="*/ 215 w 712"/>
                <a:gd name="T9" fmla="*/ 978 h 1103"/>
                <a:gd name="T10" fmla="*/ 278 w 712"/>
                <a:gd name="T11" fmla="*/ 1009 h 1103"/>
                <a:gd name="T12" fmla="*/ 343 w 712"/>
                <a:gd name="T13" fmla="*/ 1024 h 1103"/>
                <a:gd name="T14" fmla="*/ 405 w 712"/>
                <a:gd name="T15" fmla="*/ 1022 h 1103"/>
                <a:gd name="T16" fmla="*/ 481 w 712"/>
                <a:gd name="T17" fmla="*/ 992 h 1103"/>
                <a:gd name="T18" fmla="*/ 529 w 712"/>
                <a:gd name="T19" fmla="*/ 929 h 1103"/>
                <a:gd name="T20" fmla="*/ 541 w 712"/>
                <a:gd name="T21" fmla="*/ 854 h 1103"/>
                <a:gd name="T22" fmla="*/ 528 w 712"/>
                <a:gd name="T23" fmla="*/ 795 h 1103"/>
                <a:gd name="T24" fmla="*/ 490 w 712"/>
                <a:gd name="T25" fmla="*/ 737 h 1103"/>
                <a:gd name="T26" fmla="*/ 429 w 712"/>
                <a:gd name="T27" fmla="*/ 688 h 1103"/>
                <a:gd name="T28" fmla="*/ 198 w 712"/>
                <a:gd name="T29" fmla="*/ 566 h 1103"/>
                <a:gd name="T30" fmla="*/ 94 w 712"/>
                <a:gd name="T31" fmla="*/ 485 h 1103"/>
                <a:gd name="T32" fmla="*/ 32 w 712"/>
                <a:gd name="T33" fmla="*/ 380 h 1103"/>
                <a:gd name="T34" fmla="*/ 16 w 712"/>
                <a:gd name="T35" fmla="*/ 267 h 1103"/>
                <a:gd name="T36" fmla="*/ 25 w 712"/>
                <a:gd name="T37" fmla="*/ 204 h 1103"/>
                <a:gd name="T38" fmla="*/ 52 w 712"/>
                <a:gd name="T39" fmla="*/ 145 h 1103"/>
                <a:gd name="T40" fmla="*/ 94 w 712"/>
                <a:gd name="T41" fmla="*/ 95 h 1103"/>
                <a:gd name="T42" fmla="*/ 148 w 712"/>
                <a:gd name="T43" fmla="*/ 54 h 1103"/>
                <a:gd name="T44" fmla="*/ 212 w 712"/>
                <a:gd name="T45" fmla="*/ 25 h 1103"/>
                <a:gd name="T46" fmla="*/ 285 w 712"/>
                <a:gd name="T47" fmla="*/ 11 h 1103"/>
                <a:gd name="T48" fmla="*/ 352 w 712"/>
                <a:gd name="T49" fmla="*/ 11 h 1103"/>
                <a:gd name="T50" fmla="*/ 427 w 712"/>
                <a:gd name="T51" fmla="*/ 25 h 1103"/>
                <a:gd name="T52" fmla="*/ 526 w 712"/>
                <a:gd name="T53" fmla="*/ 79 h 1103"/>
                <a:gd name="T54" fmla="*/ 556 w 712"/>
                <a:gd name="T55" fmla="*/ 47 h 1103"/>
                <a:gd name="T56" fmla="*/ 624 w 712"/>
                <a:gd name="T57" fmla="*/ 0 h 1103"/>
                <a:gd name="T58" fmla="*/ 568 w 712"/>
                <a:gd name="T59" fmla="*/ 328 h 1103"/>
                <a:gd name="T60" fmla="*/ 527 w 712"/>
                <a:gd name="T61" fmla="*/ 203 h 1103"/>
                <a:gd name="T62" fmla="*/ 481 w 712"/>
                <a:gd name="T63" fmla="*/ 142 h 1103"/>
                <a:gd name="T64" fmla="*/ 428 w 712"/>
                <a:gd name="T65" fmla="*/ 106 h 1103"/>
                <a:gd name="T66" fmla="*/ 358 w 712"/>
                <a:gd name="T67" fmla="*/ 86 h 1103"/>
                <a:gd name="T68" fmla="*/ 300 w 712"/>
                <a:gd name="T69" fmla="*/ 87 h 1103"/>
                <a:gd name="T70" fmla="*/ 240 w 712"/>
                <a:gd name="T71" fmla="*/ 113 h 1103"/>
                <a:gd name="T72" fmla="*/ 199 w 712"/>
                <a:gd name="T73" fmla="*/ 165 h 1103"/>
                <a:gd name="T74" fmla="*/ 187 w 712"/>
                <a:gd name="T75" fmla="*/ 222 h 1103"/>
                <a:gd name="T76" fmla="*/ 200 w 712"/>
                <a:gd name="T77" fmla="*/ 278 h 1103"/>
                <a:gd name="T78" fmla="*/ 241 w 712"/>
                <a:gd name="T79" fmla="*/ 336 h 1103"/>
                <a:gd name="T80" fmla="*/ 308 w 712"/>
                <a:gd name="T81" fmla="*/ 390 h 1103"/>
                <a:gd name="T82" fmla="*/ 535 w 712"/>
                <a:gd name="T83" fmla="*/ 510 h 1103"/>
                <a:gd name="T84" fmla="*/ 631 w 712"/>
                <a:gd name="T85" fmla="*/ 590 h 1103"/>
                <a:gd name="T86" fmla="*/ 695 w 712"/>
                <a:gd name="T87" fmla="*/ 693 h 1103"/>
                <a:gd name="T88" fmla="*/ 712 w 712"/>
                <a:gd name="T89" fmla="*/ 789 h 1103"/>
                <a:gd name="T90" fmla="*/ 701 w 712"/>
                <a:gd name="T91" fmla="*/ 872 h 1103"/>
                <a:gd name="T92" fmla="*/ 669 w 712"/>
                <a:gd name="T93" fmla="*/ 945 h 1103"/>
                <a:gd name="T94" fmla="*/ 619 w 712"/>
                <a:gd name="T95" fmla="*/ 1005 h 1103"/>
                <a:gd name="T96" fmla="*/ 556 w 712"/>
                <a:gd name="T97" fmla="*/ 1053 h 1103"/>
                <a:gd name="T98" fmla="*/ 483 w 712"/>
                <a:gd name="T99" fmla="*/ 1085 h 1103"/>
                <a:gd name="T100" fmla="*/ 402 w 712"/>
                <a:gd name="T101" fmla="*/ 1101 h 1103"/>
                <a:gd name="T102" fmla="*/ 323 w 712"/>
                <a:gd name="T103" fmla="*/ 1100 h 1103"/>
                <a:gd name="T104" fmla="*/ 223 w 712"/>
                <a:gd name="T105" fmla="*/ 1073 h 1103"/>
                <a:gd name="T106" fmla="*/ 111 w 712"/>
                <a:gd name="T107" fmla="*/ 1024 h 1103"/>
                <a:gd name="T108" fmla="*/ 77 w 712"/>
                <a:gd name="T109" fmla="*/ 1044 h 1103"/>
                <a:gd name="T110" fmla="*/ 51 w 712"/>
                <a:gd name="T111" fmla="*/ 1103 h 1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12" h="1103">
                  <a:moveTo>
                    <a:pt x="51" y="1103"/>
                  </a:moveTo>
                  <a:lnTo>
                    <a:pt x="0" y="1103"/>
                  </a:lnTo>
                  <a:lnTo>
                    <a:pt x="0" y="723"/>
                  </a:lnTo>
                  <a:lnTo>
                    <a:pt x="52" y="723"/>
                  </a:lnTo>
                  <a:lnTo>
                    <a:pt x="52" y="723"/>
                  </a:lnTo>
                  <a:lnTo>
                    <a:pt x="56" y="740"/>
                  </a:lnTo>
                  <a:lnTo>
                    <a:pt x="60" y="757"/>
                  </a:lnTo>
                  <a:lnTo>
                    <a:pt x="64" y="773"/>
                  </a:lnTo>
                  <a:lnTo>
                    <a:pt x="69" y="789"/>
                  </a:lnTo>
                  <a:lnTo>
                    <a:pt x="75" y="804"/>
                  </a:lnTo>
                  <a:lnTo>
                    <a:pt x="81" y="819"/>
                  </a:lnTo>
                  <a:lnTo>
                    <a:pt x="88" y="834"/>
                  </a:lnTo>
                  <a:lnTo>
                    <a:pt x="96" y="848"/>
                  </a:lnTo>
                  <a:lnTo>
                    <a:pt x="104" y="861"/>
                  </a:lnTo>
                  <a:lnTo>
                    <a:pt x="112" y="875"/>
                  </a:lnTo>
                  <a:lnTo>
                    <a:pt x="120" y="888"/>
                  </a:lnTo>
                  <a:lnTo>
                    <a:pt x="129" y="899"/>
                  </a:lnTo>
                  <a:lnTo>
                    <a:pt x="139" y="911"/>
                  </a:lnTo>
                  <a:lnTo>
                    <a:pt x="149" y="923"/>
                  </a:lnTo>
                  <a:lnTo>
                    <a:pt x="159" y="933"/>
                  </a:lnTo>
                  <a:lnTo>
                    <a:pt x="170" y="943"/>
                  </a:lnTo>
                  <a:lnTo>
                    <a:pt x="180" y="952"/>
                  </a:lnTo>
                  <a:lnTo>
                    <a:pt x="192" y="962"/>
                  </a:lnTo>
                  <a:lnTo>
                    <a:pt x="204" y="970"/>
                  </a:lnTo>
                  <a:lnTo>
                    <a:pt x="215" y="978"/>
                  </a:lnTo>
                  <a:lnTo>
                    <a:pt x="227" y="985"/>
                  </a:lnTo>
                  <a:lnTo>
                    <a:pt x="240" y="992"/>
                  </a:lnTo>
                  <a:lnTo>
                    <a:pt x="252" y="998"/>
                  </a:lnTo>
                  <a:lnTo>
                    <a:pt x="264" y="1003"/>
                  </a:lnTo>
                  <a:lnTo>
                    <a:pt x="278" y="1009"/>
                  </a:lnTo>
                  <a:lnTo>
                    <a:pt x="290" y="1013"/>
                  </a:lnTo>
                  <a:lnTo>
                    <a:pt x="303" y="1017"/>
                  </a:lnTo>
                  <a:lnTo>
                    <a:pt x="316" y="1020"/>
                  </a:lnTo>
                  <a:lnTo>
                    <a:pt x="330" y="1022"/>
                  </a:lnTo>
                  <a:lnTo>
                    <a:pt x="343" y="1024"/>
                  </a:lnTo>
                  <a:lnTo>
                    <a:pt x="356" y="1025"/>
                  </a:lnTo>
                  <a:lnTo>
                    <a:pt x="370" y="1025"/>
                  </a:lnTo>
                  <a:lnTo>
                    <a:pt x="370" y="1025"/>
                  </a:lnTo>
                  <a:lnTo>
                    <a:pt x="388" y="1024"/>
                  </a:lnTo>
                  <a:lnTo>
                    <a:pt x="405" y="1022"/>
                  </a:lnTo>
                  <a:lnTo>
                    <a:pt x="423" y="1019"/>
                  </a:lnTo>
                  <a:lnTo>
                    <a:pt x="438" y="1015"/>
                  </a:lnTo>
                  <a:lnTo>
                    <a:pt x="453" y="1009"/>
                  </a:lnTo>
                  <a:lnTo>
                    <a:pt x="468" y="1000"/>
                  </a:lnTo>
                  <a:lnTo>
                    <a:pt x="481" y="992"/>
                  </a:lnTo>
                  <a:lnTo>
                    <a:pt x="493" y="982"/>
                  </a:lnTo>
                  <a:lnTo>
                    <a:pt x="504" y="971"/>
                  </a:lnTo>
                  <a:lnTo>
                    <a:pt x="514" y="958"/>
                  </a:lnTo>
                  <a:lnTo>
                    <a:pt x="522" y="944"/>
                  </a:lnTo>
                  <a:lnTo>
                    <a:pt x="529" y="929"/>
                  </a:lnTo>
                  <a:lnTo>
                    <a:pt x="534" y="912"/>
                  </a:lnTo>
                  <a:lnTo>
                    <a:pt x="538" y="894"/>
                  </a:lnTo>
                  <a:lnTo>
                    <a:pt x="541" y="875"/>
                  </a:lnTo>
                  <a:lnTo>
                    <a:pt x="541" y="854"/>
                  </a:lnTo>
                  <a:lnTo>
                    <a:pt x="541" y="854"/>
                  </a:lnTo>
                  <a:lnTo>
                    <a:pt x="541" y="842"/>
                  </a:lnTo>
                  <a:lnTo>
                    <a:pt x="539" y="831"/>
                  </a:lnTo>
                  <a:lnTo>
                    <a:pt x="537" y="818"/>
                  </a:lnTo>
                  <a:lnTo>
                    <a:pt x="533" y="806"/>
                  </a:lnTo>
                  <a:lnTo>
                    <a:pt x="528" y="795"/>
                  </a:lnTo>
                  <a:lnTo>
                    <a:pt x="523" y="783"/>
                  </a:lnTo>
                  <a:lnTo>
                    <a:pt x="516" y="771"/>
                  </a:lnTo>
                  <a:lnTo>
                    <a:pt x="509" y="759"/>
                  </a:lnTo>
                  <a:lnTo>
                    <a:pt x="499" y="748"/>
                  </a:lnTo>
                  <a:lnTo>
                    <a:pt x="490" y="737"/>
                  </a:lnTo>
                  <a:lnTo>
                    <a:pt x="480" y="726"/>
                  </a:lnTo>
                  <a:lnTo>
                    <a:pt x="469" y="716"/>
                  </a:lnTo>
                  <a:lnTo>
                    <a:pt x="457" y="706"/>
                  </a:lnTo>
                  <a:lnTo>
                    <a:pt x="443" y="697"/>
                  </a:lnTo>
                  <a:lnTo>
                    <a:pt x="429" y="688"/>
                  </a:lnTo>
                  <a:lnTo>
                    <a:pt x="415" y="680"/>
                  </a:lnTo>
                  <a:lnTo>
                    <a:pt x="250" y="593"/>
                  </a:lnTo>
                  <a:lnTo>
                    <a:pt x="250" y="593"/>
                  </a:lnTo>
                  <a:lnTo>
                    <a:pt x="223" y="580"/>
                  </a:lnTo>
                  <a:lnTo>
                    <a:pt x="198" y="566"/>
                  </a:lnTo>
                  <a:lnTo>
                    <a:pt x="174" y="551"/>
                  </a:lnTo>
                  <a:lnTo>
                    <a:pt x="152" y="535"/>
                  </a:lnTo>
                  <a:lnTo>
                    <a:pt x="131" y="520"/>
                  </a:lnTo>
                  <a:lnTo>
                    <a:pt x="112" y="502"/>
                  </a:lnTo>
                  <a:lnTo>
                    <a:pt x="94" y="485"/>
                  </a:lnTo>
                  <a:lnTo>
                    <a:pt x="78" y="467"/>
                  </a:lnTo>
                  <a:lnTo>
                    <a:pt x="64" y="447"/>
                  </a:lnTo>
                  <a:lnTo>
                    <a:pt x="52" y="426"/>
                  </a:lnTo>
                  <a:lnTo>
                    <a:pt x="40" y="404"/>
                  </a:lnTo>
                  <a:lnTo>
                    <a:pt x="32" y="380"/>
                  </a:lnTo>
                  <a:lnTo>
                    <a:pt x="25" y="355"/>
                  </a:lnTo>
                  <a:lnTo>
                    <a:pt x="20" y="328"/>
                  </a:lnTo>
                  <a:lnTo>
                    <a:pt x="17" y="299"/>
                  </a:lnTo>
                  <a:lnTo>
                    <a:pt x="16" y="267"/>
                  </a:lnTo>
                  <a:lnTo>
                    <a:pt x="16" y="267"/>
                  </a:lnTo>
                  <a:lnTo>
                    <a:pt x="16" y="254"/>
                  </a:lnTo>
                  <a:lnTo>
                    <a:pt x="17" y="242"/>
                  </a:lnTo>
                  <a:lnTo>
                    <a:pt x="19" y="228"/>
                  </a:lnTo>
                  <a:lnTo>
                    <a:pt x="22" y="216"/>
                  </a:lnTo>
                  <a:lnTo>
                    <a:pt x="25" y="204"/>
                  </a:lnTo>
                  <a:lnTo>
                    <a:pt x="29" y="192"/>
                  </a:lnTo>
                  <a:lnTo>
                    <a:pt x="34" y="179"/>
                  </a:lnTo>
                  <a:lnTo>
                    <a:pt x="39" y="167"/>
                  </a:lnTo>
                  <a:lnTo>
                    <a:pt x="45" y="156"/>
                  </a:lnTo>
                  <a:lnTo>
                    <a:pt x="52" y="145"/>
                  </a:lnTo>
                  <a:lnTo>
                    <a:pt x="59" y="134"/>
                  </a:lnTo>
                  <a:lnTo>
                    <a:pt x="67" y="123"/>
                  </a:lnTo>
                  <a:lnTo>
                    <a:pt x="75" y="114"/>
                  </a:lnTo>
                  <a:lnTo>
                    <a:pt x="83" y="104"/>
                  </a:lnTo>
                  <a:lnTo>
                    <a:pt x="94" y="95"/>
                  </a:lnTo>
                  <a:lnTo>
                    <a:pt x="103" y="85"/>
                  </a:lnTo>
                  <a:lnTo>
                    <a:pt x="113" y="76"/>
                  </a:lnTo>
                  <a:lnTo>
                    <a:pt x="124" y="69"/>
                  </a:lnTo>
                  <a:lnTo>
                    <a:pt x="135" y="61"/>
                  </a:lnTo>
                  <a:lnTo>
                    <a:pt x="148" y="54"/>
                  </a:lnTo>
                  <a:lnTo>
                    <a:pt x="160" y="46"/>
                  </a:lnTo>
                  <a:lnTo>
                    <a:pt x="172" y="40"/>
                  </a:lnTo>
                  <a:lnTo>
                    <a:pt x="186" y="34"/>
                  </a:lnTo>
                  <a:lnTo>
                    <a:pt x="199" y="29"/>
                  </a:lnTo>
                  <a:lnTo>
                    <a:pt x="212" y="25"/>
                  </a:lnTo>
                  <a:lnTo>
                    <a:pt x="226" y="21"/>
                  </a:lnTo>
                  <a:lnTo>
                    <a:pt x="241" y="17"/>
                  </a:lnTo>
                  <a:lnTo>
                    <a:pt x="255" y="14"/>
                  </a:lnTo>
                  <a:lnTo>
                    <a:pt x="269" y="12"/>
                  </a:lnTo>
                  <a:lnTo>
                    <a:pt x="285" y="11"/>
                  </a:lnTo>
                  <a:lnTo>
                    <a:pt x="300" y="10"/>
                  </a:lnTo>
                  <a:lnTo>
                    <a:pt x="315" y="9"/>
                  </a:lnTo>
                  <a:lnTo>
                    <a:pt x="315" y="9"/>
                  </a:lnTo>
                  <a:lnTo>
                    <a:pt x="335" y="10"/>
                  </a:lnTo>
                  <a:lnTo>
                    <a:pt x="352" y="11"/>
                  </a:lnTo>
                  <a:lnTo>
                    <a:pt x="369" y="12"/>
                  </a:lnTo>
                  <a:lnTo>
                    <a:pt x="384" y="15"/>
                  </a:lnTo>
                  <a:lnTo>
                    <a:pt x="399" y="18"/>
                  </a:lnTo>
                  <a:lnTo>
                    <a:pt x="414" y="21"/>
                  </a:lnTo>
                  <a:lnTo>
                    <a:pt x="427" y="25"/>
                  </a:lnTo>
                  <a:lnTo>
                    <a:pt x="440" y="30"/>
                  </a:lnTo>
                  <a:lnTo>
                    <a:pt x="464" y="40"/>
                  </a:lnTo>
                  <a:lnTo>
                    <a:pt x="486" y="53"/>
                  </a:lnTo>
                  <a:lnTo>
                    <a:pt x="507" y="66"/>
                  </a:lnTo>
                  <a:lnTo>
                    <a:pt x="526" y="79"/>
                  </a:lnTo>
                  <a:lnTo>
                    <a:pt x="526" y="79"/>
                  </a:lnTo>
                  <a:lnTo>
                    <a:pt x="534" y="73"/>
                  </a:lnTo>
                  <a:lnTo>
                    <a:pt x="541" y="65"/>
                  </a:lnTo>
                  <a:lnTo>
                    <a:pt x="549" y="57"/>
                  </a:lnTo>
                  <a:lnTo>
                    <a:pt x="556" y="47"/>
                  </a:lnTo>
                  <a:lnTo>
                    <a:pt x="562" y="36"/>
                  </a:lnTo>
                  <a:lnTo>
                    <a:pt x="568" y="26"/>
                  </a:lnTo>
                  <a:lnTo>
                    <a:pt x="572" y="14"/>
                  </a:lnTo>
                  <a:lnTo>
                    <a:pt x="576" y="0"/>
                  </a:lnTo>
                  <a:lnTo>
                    <a:pt x="624" y="0"/>
                  </a:lnTo>
                  <a:lnTo>
                    <a:pt x="624" y="380"/>
                  </a:lnTo>
                  <a:lnTo>
                    <a:pt x="575" y="380"/>
                  </a:lnTo>
                  <a:lnTo>
                    <a:pt x="575" y="380"/>
                  </a:lnTo>
                  <a:lnTo>
                    <a:pt x="572" y="354"/>
                  </a:lnTo>
                  <a:lnTo>
                    <a:pt x="568" y="328"/>
                  </a:lnTo>
                  <a:lnTo>
                    <a:pt x="563" y="301"/>
                  </a:lnTo>
                  <a:lnTo>
                    <a:pt x="556" y="275"/>
                  </a:lnTo>
                  <a:lnTo>
                    <a:pt x="549" y="250"/>
                  </a:lnTo>
                  <a:lnTo>
                    <a:pt x="538" y="225"/>
                  </a:lnTo>
                  <a:lnTo>
                    <a:pt x="527" y="203"/>
                  </a:lnTo>
                  <a:lnTo>
                    <a:pt x="514" y="180"/>
                  </a:lnTo>
                  <a:lnTo>
                    <a:pt x="507" y="170"/>
                  </a:lnTo>
                  <a:lnTo>
                    <a:pt x="498" y="160"/>
                  </a:lnTo>
                  <a:lnTo>
                    <a:pt x="490" y="151"/>
                  </a:lnTo>
                  <a:lnTo>
                    <a:pt x="481" y="142"/>
                  </a:lnTo>
                  <a:lnTo>
                    <a:pt x="472" y="133"/>
                  </a:lnTo>
                  <a:lnTo>
                    <a:pt x="462" y="125"/>
                  </a:lnTo>
                  <a:lnTo>
                    <a:pt x="451" y="118"/>
                  </a:lnTo>
                  <a:lnTo>
                    <a:pt x="440" y="112"/>
                  </a:lnTo>
                  <a:lnTo>
                    <a:pt x="428" y="106"/>
                  </a:lnTo>
                  <a:lnTo>
                    <a:pt x="416" y="101"/>
                  </a:lnTo>
                  <a:lnTo>
                    <a:pt x="402" y="96"/>
                  </a:lnTo>
                  <a:lnTo>
                    <a:pt x="388" y="91"/>
                  </a:lnTo>
                  <a:lnTo>
                    <a:pt x="374" y="88"/>
                  </a:lnTo>
                  <a:lnTo>
                    <a:pt x="358" y="86"/>
                  </a:lnTo>
                  <a:lnTo>
                    <a:pt x="343" y="85"/>
                  </a:lnTo>
                  <a:lnTo>
                    <a:pt x="327" y="84"/>
                  </a:lnTo>
                  <a:lnTo>
                    <a:pt x="327" y="84"/>
                  </a:lnTo>
                  <a:lnTo>
                    <a:pt x="313" y="85"/>
                  </a:lnTo>
                  <a:lnTo>
                    <a:pt x="300" y="87"/>
                  </a:lnTo>
                  <a:lnTo>
                    <a:pt x="287" y="90"/>
                  </a:lnTo>
                  <a:lnTo>
                    <a:pt x="275" y="95"/>
                  </a:lnTo>
                  <a:lnTo>
                    <a:pt x="262" y="100"/>
                  </a:lnTo>
                  <a:lnTo>
                    <a:pt x="251" y="106"/>
                  </a:lnTo>
                  <a:lnTo>
                    <a:pt x="240" y="113"/>
                  </a:lnTo>
                  <a:lnTo>
                    <a:pt x="230" y="121"/>
                  </a:lnTo>
                  <a:lnTo>
                    <a:pt x="220" y="131"/>
                  </a:lnTo>
                  <a:lnTo>
                    <a:pt x="212" y="142"/>
                  </a:lnTo>
                  <a:lnTo>
                    <a:pt x="205" y="153"/>
                  </a:lnTo>
                  <a:lnTo>
                    <a:pt x="199" y="165"/>
                  </a:lnTo>
                  <a:lnTo>
                    <a:pt x="194" y="178"/>
                  </a:lnTo>
                  <a:lnTo>
                    <a:pt x="190" y="192"/>
                  </a:lnTo>
                  <a:lnTo>
                    <a:pt x="188" y="207"/>
                  </a:lnTo>
                  <a:lnTo>
                    <a:pt x="187" y="222"/>
                  </a:lnTo>
                  <a:lnTo>
                    <a:pt x="187" y="222"/>
                  </a:lnTo>
                  <a:lnTo>
                    <a:pt x="187" y="233"/>
                  </a:lnTo>
                  <a:lnTo>
                    <a:pt x="189" y="244"/>
                  </a:lnTo>
                  <a:lnTo>
                    <a:pt x="192" y="254"/>
                  </a:lnTo>
                  <a:lnTo>
                    <a:pt x="195" y="265"/>
                  </a:lnTo>
                  <a:lnTo>
                    <a:pt x="200" y="278"/>
                  </a:lnTo>
                  <a:lnTo>
                    <a:pt x="206" y="289"/>
                  </a:lnTo>
                  <a:lnTo>
                    <a:pt x="213" y="301"/>
                  </a:lnTo>
                  <a:lnTo>
                    <a:pt x="221" y="312"/>
                  </a:lnTo>
                  <a:lnTo>
                    <a:pt x="231" y="325"/>
                  </a:lnTo>
                  <a:lnTo>
                    <a:pt x="241" y="336"/>
                  </a:lnTo>
                  <a:lnTo>
                    <a:pt x="252" y="348"/>
                  </a:lnTo>
                  <a:lnTo>
                    <a:pt x="264" y="359"/>
                  </a:lnTo>
                  <a:lnTo>
                    <a:pt x="278" y="370"/>
                  </a:lnTo>
                  <a:lnTo>
                    <a:pt x="292" y="380"/>
                  </a:lnTo>
                  <a:lnTo>
                    <a:pt x="308" y="390"/>
                  </a:lnTo>
                  <a:lnTo>
                    <a:pt x="325" y="399"/>
                  </a:lnTo>
                  <a:lnTo>
                    <a:pt x="490" y="483"/>
                  </a:lnTo>
                  <a:lnTo>
                    <a:pt x="490" y="483"/>
                  </a:lnTo>
                  <a:lnTo>
                    <a:pt x="513" y="495"/>
                  </a:lnTo>
                  <a:lnTo>
                    <a:pt x="535" y="510"/>
                  </a:lnTo>
                  <a:lnTo>
                    <a:pt x="556" y="524"/>
                  </a:lnTo>
                  <a:lnTo>
                    <a:pt x="576" y="538"/>
                  </a:lnTo>
                  <a:lnTo>
                    <a:pt x="596" y="555"/>
                  </a:lnTo>
                  <a:lnTo>
                    <a:pt x="614" y="572"/>
                  </a:lnTo>
                  <a:lnTo>
                    <a:pt x="631" y="590"/>
                  </a:lnTo>
                  <a:lnTo>
                    <a:pt x="648" y="609"/>
                  </a:lnTo>
                  <a:lnTo>
                    <a:pt x="662" y="628"/>
                  </a:lnTo>
                  <a:lnTo>
                    <a:pt x="674" y="649"/>
                  </a:lnTo>
                  <a:lnTo>
                    <a:pt x="686" y="670"/>
                  </a:lnTo>
                  <a:lnTo>
                    <a:pt x="695" y="693"/>
                  </a:lnTo>
                  <a:lnTo>
                    <a:pt x="703" y="715"/>
                  </a:lnTo>
                  <a:lnTo>
                    <a:pt x="708" y="739"/>
                  </a:lnTo>
                  <a:lnTo>
                    <a:pt x="711" y="763"/>
                  </a:lnTo>
                  <a:lnTo>
                    <a:pt x="712" y="789"/>
                  </a:lnTo>
                  <a:lnTo>
                    <a:pt x="712" y="789"/>
                  </a:lnTo>
                  <a:lnTo>
                    <a:pt x="712" y="806"/>
                  </a:lnTo>
                  <a:lnTo>
                    <a:pt x="711" y="824"/>
                  </a:lnTo>
                  <a:lnTo>
                    <a:pt x="708" y="840"/>
                  </a:lnTo>
                  <a:lnTo>
                    <a:pt x="705" y="856"/>
                  </a:lnTo>
                  <a:lnTo>
                    <a:pt x="701" y="872"/>
                  </a:lnTo>
                  <a:lnTo>
                    <a:pt x="696" y="887"/>
                  </a:lnTo>
                  <a:lnTo>
                    <a:pt x="691" y="902"/>
                  </a:lnTo>
                  <a:lnTo>
                    <a:pt x="684" y="917"/>
                  </a:lnTo>
                  <a:lnTo>
                    <a:pt x="676" y="931"/>
                  </a:lnTo>
                  <a:lnTo>
                    <a:pt x="669" y="945"/>
                  </a:lnTo>
                  <a:lnTo>
                    <a:pt x="660" y="957"/>
                  </a:lnTo>
                  <a:lnTo>
                    <a:pt x="651" y="971"/>
                  </a:lnTo>
                  <a:lnTo>
                    <a:pt x="641" y="983"/>
                  </a:lnTo>
                  <a:lnTo>
                    <a:pt x="630" y="994"/>
                  </a:lnTo>
                  <a:lnTo>
                    <a:pt x="619" y="1005"/>
                  </a:lnTo>
                  <a:lnTo>
                    <a:pt x="608" y="1016"/>
                  </a:lnTo>
                  <a:lnTo>
                    <a:pt x="596" y="1026"/>
                  </a:lnTo>
                  <a:lnTo>
                    <a:pt x="582" y="1035"/>
                  </a:lnTo>
                  <a:lnTo>
                    <a:pt x="570" y="1044"/>
                  </a:lnTo>
                  <a:lnTo>
                    <a:pt x="556" y="1053"/>
                  </a:lnTo>
                  <a:lnTo>
                    <a:pt x="542" y="1061"/>
                  </a:lnTo>
                  <a:lnTo>
                    <a:pt x="528" y="1068"/>
                  </a:lnTo>
                  <a:lnTo>
                    <a:pt x="513" y="1074"/>
                  </a:lnTo>
                  <a:lnTo>
                    <a:pt x="498" y="1080"/>
                  </a:lnTo>
                  <a:lnTo>
                    <a:pt x="483" y="1085"/>
                  </a:lnTo>
                  <a:lnTo>
                    <a:pt x="467" y="1089"/>
                  </a:lnTo>
                  <a:lnTo>
                    <a:pt x="451" y="1093"/>
                  </a:lnTo>
                  <a:lnTo>
                    <a:pt x="435" y="1096"/>
                  </a:lnTo>
                  <a:lnTo>
                    <a:pt x="419" y="1100"/>
                  </a:lnTo>
                  <a:lnTo>
                    <a:pt x="402" y="1101"/>
                  </a:lnTo>
                  <a:lnTo>
                    <a:pt x="386" y="1103"/>
                  </a:lnTo>
                  <a:lnTo>
                    <a:pt x="370" y="1103"/>
                  </a:lnTo>
                  <a:lnTo>
                    <a:pt x="370" y="1103"/>
                  </a:lnTo>
                  <a:lnTo>
                    <a:pt x="345" y="1102"/>
                  </a:lnTo>
                  <a:lnTo>
                    <a:pt x="323" y="1100"/>
                  </a:lnTo>
                  <a:lnTo>
                    <a:pt x="300" y="1096"/>
                  </a:lnTo>
                  <a:lnTo>
                    <a:pt x="280" y="1091"/>
                  </a:lnTo>
                  <a:lnTo>
                    <a:pt x="260" y="1086"/>
                  </a:lnTo>
                  <a:lnTo>
                    <a:pt x="241" y="1080"/>
                  </a:lnTo>
                  <a:lnTo>
                    <a:pt x="223" y="1073"/>
                  </a:lnTo>
                  <a:lnTo>
                    <a:pt x="206" y="1067"/>
                  </a:lnTo>
                  <a:lnTo>
                    <a:pt x="175" y="1053"/>
                  </a:lnTo>
                  <a:lnTo>
                    <a:pt x="147" y="1039"/>
                  </a:lnTo>
                  <a:lnTo>
                    <a:pt x="122" y="1028"/>
                  </a:lnTo>
                  <a:lnTo>
                    <a:pt x="111" y="1024"/>
                  </a:lnTo>
                  <a:lnTo>
                    <a:pt x="101" y="1022"/>
                  </a:lnTo>
                  <a:lnTo>
                    <a:pt x="101" y="1022"/>
                  </a:lnTo>
                  <a:lnTo>
                    <a:pt x="93" y="1028"/>
                  </a:lnTo>
                  <a:lnTo>
                    <a:pt x="85" y="1036"/>
                  </a:lnTo>
                  <a:lnTo>
                    <a:pt x="77" y="1044"/>
                  </a:lnTo>
                  <a:lnTo>
                    <a:pt x="71" y="1055"/>
                  </a:lnTo>
                  <a:lnTo>
                    <a:pt x="64" y="1065"/>
                  </a:lnTo>
                  <a:lnTo>
                    <a:pt x="59" y="1076"/>
                  </a:lnTo>
                  <a:lnTo>
                    <a:pt x="54" y="1089"/>
                  </a:lnTo>
                  <a:lnTo>
                    <a:pt x="51" y="1103"/>
                  </a:lnTo>
                  <a:lnTo>
                    <a:pt x="51" y="1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19" name="Freeform 17"/>
            <p:cNvSpPr>
              <a:spLocks/>
            </p:cNvSpPr>
            <p:nvPr userDrawn="1"/>
          </p:nvSpPr>
          <p:spPr bwMode="auto">
            <a:xfrm>
              <a:off x="3455988" y="893763"/>
              <a:ext cx="142875" cy="136525"/>
            </a:xfrm>
            <a:custGeom>
              <a:avLst/>
              <a:gdLst>
                <a:gd name="T0" fmla="*/ 1028 w 1078"/>
                <a:gd name="T1" fmla="*/ 244 h 1035"/>
                <a:gd name="T2" fmla="*/ 1020 w 1078"/>
                <a:gd name="T3" fmla="*/ 209 h 1035"/>
                <a:gd name="T4" fmla="*/ 1006 w 1078"/>
                <a:gd name="T5" fmla="*/ 163 h 1035"/>
                <a:gd name="T6" fmla="*/ 995 w 1078"/>
                <a:gd name="T7" fmla="*/ 138 h 1035"/>
                <a:gd name="T8" fmla="*/ 980 w 1078"/>
                <a:gd name="T9" fmla="*/ 118 h 1035"/>
                <a:gd name="T10" fmla="*/ 959 w 1078"/>
                <a:gd name="T11" fmla="*/ 101 h 1035"/>
                <a:gd name="T12" fmla="*/ 932 w 1078"/>
                <a:gd name="T13" fmla="*/ 90 h 1035"/>
                <a:gd name="T14" fmla="*/ 895 w 1078"/>
                <a:gd name="T15" fmla="*/ 82 h 1035"/>
                <a:gd name="T16" fmla="*/ 848 w 1078"/>
                <a:gd name="T17" fmla="*/ 78 h 1035"/>
                <a:gd name="T18" fmla="*/ 646 w 1078"/>
                <a:gd name="T19" fmla="*/ 78 h 1035"/>
                <a:gd name="T20" fmla="*/ 646 w 1078"/>
                <a:gd name="T21" fmla="*/ 783 h 1035"/>
                <a:gd name="T22" fmla="*/ 648 w 1078"/>
                <a:gd name="T23" fmla="*/ 842 h 1035"/>
                <a:gd name="T24" fmla="*/ 652 w 1078"/>
                <a:gd name="T25" fmla="*/ 888 h 1035"/>
                <a:gd name="T26" fmla="*/ 662 w 1078"/>
                <a:gd name="T27" fmla="*/ 923 h 1035"/>
                <a:gd name="T28" fmla="*/ 672 w 1078"/>
                <a:gd name="T29" fmla="*/ 943 h 1035"/>
                <a:gd name="T30" fmla="*/ 680 w 1078"/>
                <a:gd name="T31" fmla="*/ 954 h 1035"/>
                <a:gd name="T32" fmla="*/ 691 w 1078"/>
                <a:gd name="T33" fmla="*/ 963 h 1035"/>
                <a:gd name="T34" fmla="*/ 711 w 1078"/>
                <a:gd name="T35" fmla="*/ 973 h 1035"/>
                <a:gd name="T36" fmla="*/ 743 w 1078"/>
                <a:gd name="T37" fmla="*/ 982 h 1035"/>
                <a:gd name="T38" fmla="*/ 787 w 1078"/>
                <a:gd name="T39" fmla="*/ 985 h 1035"/>
                <a:gd name="T40" fmla="*/ 812 w 1078"/>
                <a:gd name="T41" fmla="*/ 1035 h 1035"/>
                <a:gd name="T42" fmla="*/ 267 w 1078"/>
                <a:gd name="T43" fmla="*/ 985 h 1035"/>
                <a:gd name="T44" fmla="*/ 293 w 1078"/>
                <a:gd name="T45" fmla="*/ 985 h 1035"/>
                <a:gd name="T46" fmla="*/ 335 w 1078"/>
                <a:gd name="T47" fmla="*/ 982 h 1035"/>
                <a:gd name="T48" fmla="*/ 369 w 1078"/>
                <a:gd name="T49" fmla="*/ 973 h 1035"/>
                <a:gd name="T50" fmla="*/ 388 w 1078"/>
                <a:gd name="T51" fmla="*/ 963 h 1035"/>
                <a:gd name="T52" fmla="*/ 399 w 1078"/>
                <a:gd name="T53" fmla="*/ 954 h 1035"/>
                <a:gd name="T54" fmla="*/ 407 w 1078"/>
                <a:gd name="T55" fmla="*/ 943 h 1035"/>
                <a:gd name="T56" fmla="*/ 417 w 1078"/>
                <a:gd name="T57" fmla="*/ 923 h 1035"/>
                <a:gd name="T58" fmla="*/ 425 w 1078"/>
                <a:gd name="T59" fmla="*/ 888 h 1035"/>
                <a:gd name="T60" fmla="*/ 430 w 1078"/>
                <a:gd name="T61" fmla="*/ 842 h 1035"/>
                <a:gd name="T62" fmla="*/ 432 w 1078"/>
                <a:gd name="T63" fmla="*/ 783 h 1035"/>
                <a:gd name="T64" fmla="*/ 259 w 1078"/>
                <a:gd name="T65" fmla="*/ 78 h 1035"/>
                <a:gd name="T66" fmla="*/ 231 w 1078"/>
                <a:gd name="T67" fmla="*/ 78 h 1035"/>
                <a:gd name="T68" fmla="*/ 184 w 1078"/>
                <a:gd name="T69" fmla="*/ 82 h 1035"/>
                <a:gd name="T70" fmla="*/ 147 w 1078"/>
                <a:gd name="T71" fmla="*/ 90 h 1035"/>
                <a:gd name="T72" fmla="*/ 120 w 1078"/>
                <a:gd name="T73" fmla="*/ 101 h 1035"/>
                <a:gd name="T74" fmla="*/ 99 w 1078"/>
                <a:gd name="T75" fmla="*/ 118 h 1035"/>
                <a:gd name="T76" fmla="*/ 85 w 1078"/>
                <a:gd name="T77" fmla="*/ 138 h 1035"/>
                <a:gd name="T78" fmla="*/ 74 w 1078"/>
                <a:gd name="T79" fmla="*/ 163 h 1035"/>
                <a:gd name="T80" fmla="*/ 60 w 1078"/>
                <a:gd name="T81" fmla="*/ 209 h 1035"/>
                <a:gd name="T82" fmla="*/ 0 w 1078"/>
                <a:gd name="T83" fmla="*/ 244 h 1035"/>
                <a:gd name="T84" fmla="*/ 1065 w 1078"/>
                <a:gd name="T85" fmla="*/ 0 h 10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78" h="1035">
                  <a:moveTo>
                    <a:pt x="1078" y="244"/>
                  </a:moveTo>
                  <a:lnTo>
                    <a:pt x="1028" y="244"/>
                  </a:lnTo>
                  <a:lnTo>
                    <a:pt x="1020" y="209"/>
                  </a:lnTo>
                  <a:lnTo>
                    <a:pt x="1020" y="209"/>
                  </a:lnTo>
                  <a:lnTo>
                    <a:pt x="1011" y="177"/>
                  </a:lnTo>
                  <a:lnTo>
                    <a:pt x="1006" y="163"/>
                  </a:lnTo>
                  <a:lnTo>
                    <a:pt x="1001" y="150"/>
                  </a:lnTo>
                  <a:lnTo>
                    <a:pt x="995" y="138"/>
                  </a:lnTo>
                  <a:lnTo>
                    <a:pt x="988" y="127"/>
                  </a:lnTo>
                  <a:lnTo>
                    <a:pt x="980" y="118"/>
                  </a:lnTo>
                  <a:lnTo>
                    <a:pt x="970" y="109"/>
                  </a:lnTo>
                  <a:lnTo>
                    <a:pt x="959" y="101"/>
                  </a:lnTo>
                  <a:lnTo>
                    <a:pt x="947" y="95"/>
                  </a:lnTo>
                  <a:lnTo>
                    <a:pt x="932" y="90"/>
                  </a:lnTo>
                  <a:lnTo>
                    <a:pt x="914" y="85"/>
                  </a:lnTo>
                  <a:lnTo>
                    <a:pt x="895" y="82"/>
                  </a:lnTo>
                  <a:lnTo>
                    <a:pt x="872" y="80"/>
                  </a:lnTo>
                  <a:lnTo>
                    <a:pt x="848" y="78"/>
                  </a:lnTo>
                  <a:lnTo>
                    <a:pt x="819" y="78"/>
                  </a:lnTo>
                  <a:lnTo>
                    <a:pt x="646" y="78"/>
                  </a:lnTo>
                  <a:lnTo>
                    <a:pt x="646" y="783"/>
                  </a:lnTo>
                  <a:lnTo>
                    <a:pt x="646" y="783"/>
                  </a:lnTo>
                  <a:lnTo>
                    <a:pt x="647" y="814"/>
                  </a:lnTo>
                  <a:lnTo>
                    <a:pt x="648" y="842"/>
                  </a:lnTo>
                  <a:lnTo>
                    <a:pt x="649" y="866"/>
                  </a:lnTo>
                  <a:lnTo>
                    <a:pt x="652" y="888"/>
                  </a:lnTo>
                  <a:lnTo>
                    <a:pt x="657" y="906"/>
                  </a:lnTo>
                  <a:lnTo>
                    <a:pt x="662" y="923"/>
                  </a:lnTo>
                  <a:lnTo>
                    <a:pt x="668" y="937"/>
                  </a:lnTo>
                  <a:lnTo>
                    <a:pt x="672" y="943"/>
                  </a:lnTo>
                  <a:lnTo>
                    <a:pt x="676" y="949"/>
                  </a:lnTo>
                  <a:lnTo>
                    <a:pt x="680" y="954"/>
                  </a:lnTo>
                  <a:lnTo>
                    <a:pt x="685" y="958"/>
                  </a:lnTo>
                  <a:lnTo>
                    <a:pt x="691" y="963"/>
                  </a:lnTo>
                  <a:lnTo>
                    <a:pt x="697" y="966"/>
                  </a:lnTo>
                  <a:lnTo>
                    <a:pt x="711" y="973"/>
                  </a:lnTo>
                  <a:lnTo>
                    <a:pt x="726" y="978"/>
                  </a:lnTo>
                  <a:lnTo>
                    <a:pt x="743" y="982"/>
                  </a:lnTo>
                  <a:lnTo>
                    <a:pt x="764" y="984"/>
                  </a:lnTo>
                  <a:lnTo>
                    <a:pt x="787" y="985"/>
                  </a:lnTo>
                  <a:lnTo>
                    <a:pt x="812" y="985"/>
                  </a:lnTo>
                  <a:lnTo>
                    <a:pt x="812" y="1035"/>
                  </a:lnTo>
                  <a:lnTo>
                    <a:pt x="267" y="1035"/>
                  </a:lnTo>
                  <a:lnTo>
                    <a:pt x="267" y="985"/>
                  </a:lnTo>
                  <a:lnTo>
                    <a:pt x="267" y="985"/>
                  </a:lnTo>
                  <a:lnTo>
                    <a:pt x="293" y="985"/>
                  </a:lnTo>
                  <a:lnTo>
                    <a:pt x="315" y="984"/>
                  </a:lnTo>
                  <a:lnTo>
                    <a:pt x="335" y="982"/>
                  </a:lnTo>
                  <a:lnTo>
                    <a:pt x="353" y="978"/>
                  </a:lnTo>
                  <a:lnTo>
                    <a:pt x="369" y="973"/>
                  </a:lnTo>
                  <a:lnTo>
                    <a:pt x="383" y="966"/>
                  </a:lnTo>
                  <a:lnTo>
                    <a:pt x="388" y="963"/>
                  </a:lnTo>
                  <a:lnTo>
                    <a:pt x="394" y="958"/>
                  </a:lnTo>
                  <a:lnTo>
                    <a:pt x="399" y="954"/>
                  </a:lnTo>
                  <a:lnTo>
                    <a:pt x="403" y="949"/>
                  </a:lnTo>
                  <a:lnTo>
                    <a:pt x="407" y="943"/>
                  </a:lnTo>
                  <a:lnTo>
                    <a:pt x="411" y="937"/>
                  </a:lnTo>
                  <a:lnTo>
                    <a:pt x="417" y="923"/>
                  </a:lnTo>
                  <a:lnTo>
                    <a:pt x="422" y="906"/>
                  </a:lnTo>
                  <a:lnTo>
                    <a:pt x="425" y="888"/>
                  </a:lnTo>
                  <a:lnTo>
                    <a:pt x="429" y="866"/>
                  </a:lnTo>
                  <a:lnTo>
                    <a:pt x="430" y="842"/>
                  </a:lnTo>
                  <a:lnTo>
                    <a:pt x="431" y="814"/>
                  </a:lnTo>
                  <a:lnTo>
                    <a:pt x="432" y="783"/>
                  </a:lnTo>
                  <a:lnTo>
                    <a:pt x="432" y="78"/>
                  </a:lnTo>
                  <a:lnTo>
                    <a:pt x="259" y="78"/>
                  </a:lnTo>
                  <a:lnTo>
                    <a:pt x="259" y="78"/>
                  </a:lnTo>
                  <a:lnTo>
                    <a:pt x="231" y="78"/>
                  </a:lnTo>
                  <a:lnTo>
                    <a:pt x="206" y="80"/>
                  </a:lnTo>
                  <a:lnTo>
                    <a:pt x="184" y="82"/>
                  </a:lnTo>
                  <a:lnTo>
                    <a:pt x="165" y="85"/>
                  </a:lnTo>
                  <a:lnTo>
                    <a:pt x="147" y="90"/>
                  </a:lnTo>
                  <a:lnTo>
                    <a:pt x="133" y="95"/>
                  </a:lnTo>
                  <a:lnTo>
                    <a:pt x="120" y="101"/>
                  </a:lnTo>
                  <a:lnTo>
                    <a:pt x="110" y="109"/>
                  </a:lnTo>
                  <a:lnTo>
                    <a:pt x="99" y="118"/>
                  </a:lnTo>
                  <a:lnTo>
                    <a:pt x="91" y="127"/>
                  </a:lnTo>
                  <a:lnTo>
                    <a:pt x="85" y="138"/>
                  </a:lnTo>
                  <a:lnTo>
                    <a:pt x="79" y="150"/>
                  </a:lnTo>
                  <a:lnTo>
                    <a:pt x="74" y="163"/>
                  </a:lnTo>
                  <a:lnTo>
                    <a:pt x="69" y="177"/>
                  </a:lnTo>
                  <a:lnTo>
                    <a:pt x="60" y="209"/>
                  </a:lnTo>
                  <a:lnTo>
                    <a:pt x="51" y="244"/>
                  </a:lnTo>
                  <a:lnTo>
                    <a:pt x="0" y="244"/>
                  </a:lnTo>
                  <a:lnTo>
                    <a:pt x="15" y="0"/>
                  </a:lnTo>
                  <a:lnTo>
                    <a:pt x="1065" y="0"/>
                  </a:lnTo>
                  <a:lnTo>
                    <a:pt x="1078" y="24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20" name="Freeform 18"/>
            <p:cNvSpPr>
              <a:spLocks noEditPoints="1"/>
            </p:cNvSpPr>
            <p:nvPr userDrawn="1"/>
          </p:nvSpPr>
          <p:spPr bwMode="auto">
            <a:xfrm>
              <a:off x="3627438" y="890588"/>
              <a:ext cx="152400" cy="144463"/>
            </a:xfrm>
            <a:custGeom>
              <a:avLst/>
              <a:gdLst>
                <a:gd name="T0" fmla="*/ 487 w 1150"/>
                <a:gd name="T1" fmla="*/ 1087 h 1094"/>
                <a:gd name="T2" fmla="*/ 351 w 1150"/>
                <a:gd name="T3" fmla="*/ 1051 h 1094"/>
                <a:gd name="T4" fmla="*/ 231 w 1150"/>
                <a:gd name="T5" fmla="*/ 984 h 1094"/>
                <a:gd name="T6" fmla="*/ 131 w 1150"/>
                <a:gd name="T7" fmla="*/ 894 h 1094"/>
                <a:gd name="T8" fmla="*/ 56 w 1150"/>
                <a:gd name="T9" fmla="*/ 783 h 1094"/>
                <a:gd name="T10" fmla="*/ 11 w 1150"/>
                <a:gd name="T11" fmla="*/ 656 h 1094"/>
                <a:gd name="T12" fmla="*/ 0 w 1150"/>
                <a:gd name="T13" fmla="*/ 547 h 1094"/>
                <a:gd name="T14" fmla="*/ 17 w 1150"/>
                <a:gd name="T15" fmla="*/ 411 h 1094"/>
                <a:gd name="T16" fmla="*/ 69 w 1150"/>
                <a:gd name="T17" fmla="*/ 287 h 1094"/>
                <a:gd name="T18" fmla="*/ 149 w 1150"/>
                <a:gd name="T19" fmla="*/ 180 h 1094"/>
                <a:gd name="T20" fmla="*/ 253 w 1150"/>
                <a:gd name="T21" fmla="*/ 94 h 1094"/>
                <a:gd name="T22" fmla="*/ 378 w 1150"/>
                <a:gd name="T23" fmla="*/ 33 h 1094"/>
                <a:gd name="T24" fmla="*/ 517 w 1150"/>
                <a:gd name="T25" fmla="*/ 3 h 1094"/>
                <a:gd name="T26" fmla="*/ 634 w 1150"/>
                <a:gd name="T27" fmla="*/ 3 h 1094"/>
                <a:gd name="T28" fmla="*/ 773 w 1150"/>
                <a:gd name="T29" fmla="*/ 33 h 1094"/>
                <a:gd name="T30" fmla="*/ 895 w 1150"/>
                <a:gd name="T31" fmla="*/ 94 h 1094"/>
                <a:gd name="T32" fmla="*/ 1000 w 1150"/>
                <a:gd name="T33" fmla="*/ 180 h 1094"/>
                <a:gd name="T34" fmla="*/ 1080 w 1150"/>
                <a:gd name="T35" fmla="*/ 287 h 1094"/>
                <a:gd name="T36" fmla="*/ 1132 w 1150"/>
                <a:gd name="T37" fmla="*/ 411 h 1094"/>
                <a:gd name="T38" fmla="*/ 1150 w 1150"/>
                <a:gd name="T39" fmla="*/ 547 h 1094"/>
                <a:gd name="T40" fmla="*/ 1138 w 1150"/>
                <a:gd name="T41" fmla="*/ 656 h 1094"/>
                <a:gd name="T42" fmla="*/ 1093 w 1150"/>
                <a:gd name="T43" fmla="*/ 783 h 1094"/>
                <a:gd name="T44" fmla="*/ 1018 w 1150"/>
                <a:gd name="T45" fmla="*/ 894 h 1094"/>
                <a:gd name="T46" fmla="*/ 919 w 1150"/>
                <a:gd name="T47" fmla="*/ 984 h 1094"/>
                <a:gd name="T48" fmla="*/ 798 w 1150"/>
                <a:gd name="T49" fmla="*/ 1051 h 1094"/>
                <a:gd name="T50" fmla="*/ 662 w 1150"/>
                <a:gd name="T51" fmla="*/ 1087 h 1094"/>
                <a:gd name="T52" fmla="*/ 575 w 1150"/>
                <a:gd name="T53" fmla="*/ 82 h 1094"/>
                <a:gd name="T54" fmla="*/ 490 w 1150"/>
                <a:gd name="T55" fmla="*/ 94 h 1094"/>
                <a:gd name="T56" fmla="*/ 403 w 1150"/>
                <a:gd name="T57" fmla="*/ 137 h 1094"/>
                <a:gd name="T58" fmla="*/ 334 w 1150"/>
                <a:gd name="T59" fmla="*/ 204 h 1094"/>
                <a:gd name="T60" fmla="*/ 284 w 1150"/>
                <a:gd name="T61" fmla="*/ 290 h 1094"/>
                <a:gd name="T62" fmla="*/ 251 w 1150"/>
                <a:gd name="T63" fmla="*/ 386 h 1094"/>
                <a:gd name="T64" fmla="*/ 233 w 1150"/>
                <a:gd name="T65" fmla="*/ 507 h 1094"/>
                <a:gd name="T66" fmla="*/ 240 w 1150"/>
                <a:gd name="T67" fmla="*/ 647 h 1094"/>
                <a:gd name="T68" fmla="*/ 262 w 1150"/>
                <a:gd name="T69" fmla="*/ 747 h 1094"/>
                <a:gd name="T70" fmla="*/ 302 w 1150"/>
                <a:gd name="T71" fmla="*/ 840 h 1094"/>
                <a:gd name="T72" fmla="*/ 360 w 1150"/>
                <a:gd name="T73" fmla="*/ 919 h 1094"/>
                <a:gd name="T74" fmla="*/ 435 w 1150"/>
                <a:gd name="T75" fmla="*/ 977 h 1094"/>
                <a:gd name="T76" fmla="*/ 531 w 1150"/>
                <a:gd name="T77" fmla="*/ 1008 h 1094"/>
                <a:gd name="T78" fmla="*/ 619 w 1150"/>
                <a:gd name="T79" fmla="*/ 1008 h 1094"/>
                <a:gd name="T80" fmla="*/ 715 w 1150"/>
                <a:gd name="T81" fmla="*/ 977 h 1094"/>
                <a:gd name="T82" fmla="*/ 791 w 1150"/>
                <a:gd name="T83" fmla="*/ 919 h 1094"/>
                <a:gd name="T84" fmla="*/ 848 w 1150"/>
                <a:gd name="T85" fmla="*/ 840 h 1094"/>
                <a:gd name="T86" fmla="*/ 888 w 1150"/>
                <a:gd name="T87" fmla="*/ 747 h 1094"/>
                <a:gd name="T88" fmla="*/ 911 w 1150"/>
                <a:gd name="T89" fmla="*/ 647 h 1094"/>
                <a:gd name="T90" fmla="*/ 918 w 1150"/>
                <a:gd name="T91" fmla="*/ 507 h 1094"/>
                <a:gd name="T92" fmla="*/ 899 w 1150"/>
                <a:gd name="T93" fmla="*/ 386 h 1094"/>
                <a:gd name="T94" fmla="*/ 867 w 1150"/>
                <a:gd name="T95" fmla="*/ 290 h 1094"/>
                <a:gd name="T96" fmla="*/ 816 w 1150"/>
                <a:gd name="T97" fmla="*/ 204 h 1094"/>
                <a:gd name="T98" fmla="*/ 747 w 1150"/>
                <a:gd name="T99" fmla="*/ 137 h 1094"/>
                <a:gd name="T100" fmla="*/ 660 w 1150"/>
                <a:gd name="T101" fmla="*/ 94 h 1094"/>
                <a:gd name="T102" fmla="*/ 575 w 1150"/>
                <a:gd name="T103" fmla="*/ 82 h 10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150" h="1094">
                  <a:moveTo>
                    <a:pt x="575" y="1094"/>
                  </a:moveTo>
                  <a:lnTo>
                    <a:pt x="575" y="1094"/>
                  </a:lnTo>
                  <a:lnTo>
                    <a:pt x="546" y="1093"/>
                  </a:lnTo>
                  <a:lnTo>
                    <a:pt x="517" y="1091"/>
                  </a:lnTo>
                  <a:lnTo>
                    <a:pt x="487" y="1087"/>
                  </a:lnTo>
                  <a:lnTo>
                    <a:pt x="460" y="1082"/>
                  </a:lnTo>
                  <a:lnTo>
                    <a:pt x="431" y="1076"/>
                  </a:lnTo>
                  <a:lnTo>
                    <a:pt x="405" y="1069"/>
                  </a:lnTo>
                  <a:lnTo>
                    <a:pt x="378" y="1060"/>
                  </a:lnTo>
                  <a:lnTo>
                    <a:pt x="351" y="1051"/>
                  </a:lnTo>
                  <a:lnTo>
                    <a:pt x="326" y="1039"/>
                  </a:lnTo>
                  <a:lnTo>
                    <a:pt x="301" y="1027"/>
                  </a:lnTo>
                  <a:lnTo>
                    <a:pt x="277" y="1014"/>
                  </a:lnTo>
                  <a:lnTo>
                    <a:pt x="253" y="1000"/>
                  </a:lnTo>
                  <a:lnTo>
                    <a:pt x="231" y="984"/>
                  </a:lnTo>
                  <a:lnTo>
                    <a:pt x="209" y="968"/>
                  </a:lnTo>
                  <a:lnTo>
                    <a:pt x="188" y="950"/>
                  </a:lnTo>
                  <a:lnTo>
                    <a:pt x="168" y="933"/>
                  </a:lnTo>
                  <a:lnTo>
                    <a:pt x="149" y="914"/>
                  </a:lnTo>
                  <a:lnTo>
                    <a:pt x="131" y="894"/>
                  </a:lnTo>
                  <a:lnTo>
                    <a:pt x="114" y="873"/>
                  </a:lnTo>
                  <a:lnTo>
                    <a:pt x="98" y="851"/>
                  </a:lnTo>
                  <a:lnTo>
                    <a:pt x="82" y="830"/>
                  </a:lnTo>
                  <a:lnTo>
                    <a:pt x="69" y="806"/>
                  </a:lnTo>
                  <a:lnTo>
                    <a:pt x="56" y="783"/>
                  </a:lnTo>
                  <a:lnTo>
                    <a:pt x="45" y="758"/>
                  </a:lnTo>
                  <a:lnTo>
                    <a:pt x="34" y="734"/>
                  </a:lnTo>
                  <a:lnTo>
                    <a:pt x="25" y="708"/>
                  </a:lnTo>
                  <a:lnTo>
                    <a:pt x="17" y="683"/>
                  </a:lnTo>
                  <a:lnTo>
                    <a:pt x="11" y="656"/>
                  </a:lnTo>
                  <a:lnTo>
                    <a:pt x="6" y="629"/>
                  </a:lnTo>
                  <a:lnTo>
                    <a:pt x="2" y="602"/>
                  </a:lnTo>
                  <a:lnTo>
                    <a:pt x="0" y="574"/>
                  </a:lnTo>
                  <a:lnTo>
                    <a:pt x="0" y="547"/>
                  </a:lnTo>
                  <a:lnTo>
                    <a:pt x="0" y="547"/>
                  </a:lnTo>
                  <a:lnTo>
                    <a:pt x="0" y="519"/>
                  </a:lnTo>
                  <a:lnTo>
                    <a:pt x="2" y="491"/>
                  </a:lnTo>
                  <a:lnTo>
                    <a:pt x="6" y="464"/>
                  </a:lnTo>
                  <a:lnTo>
                    <a:pt x="11" y="437"/>
                  </a:lnTo>
                  <a:lnTo>
                    <a:pt x="17" y="411"/>
                  </a:lnTo>
                  <a:lnTo>
                    <a:pt x="25" y="385"/>
                  </a:lnTo>
                  <a:lnTo>
                    <a:pt x="34" y="360"/>
                  </a:lnTo>
                  <a:lnTo>
                    <a:pt x="45" y="335"/>
                  </a:lnTo>
                  <a:lnTo>
                    <a:pt x="56" y="310"/>
                  </a:lnTo>
                  <a:lnTo>
                    <a:pt x="69" y="287"/>
                  </a:lnTo>
                  <a:lnTo>
                    <a:pt x="82" y="264"/>
                  </a:lnTo>
                  <a:lnTo>
                    <a:pt x="98" y="242"/>
                  </a:lnTo>
                  <a:lnTo>
                    <a:pt x="114" y="220"/>
                  </a:lnTo>
                  <a:lnTo>
                    <a:pt x="131" y="200"/>
                  </a:lnTo>
                  <a:lnTo>
                    <a:pt x="149" y="180"/>
                  </a:lnTo>
                  <a:lnTo>
                    <a:pt x="168" y="161"/>
                  </a:lnTo>
                  <a:lnTo>
                    <a:pt x="188" y="143"/>
                  </a:lnTo>
                  <a:lnTo>
                    <a:pt x="209" y="125"/>
                  </a:lnTo>
                  <a:lnTo>
                    <a:pt x="231" y="109"/>
                  </a:lnTo>
                  <a:lnTo>
                    <a:pt x="253" y="94"/>
                  </a:lnTo>
                  <a:lnTo>
                    <a:pt x="277" y="79"/>
                  </a:lnTo>
                  <a:lnTo>
                    <a:pt x="301" y="66"/>
                  </a:lnTo>
                  <a:lnTo>
                    <a:pt x="326" y="54"/>
                  </a:lnTo>
                  <a:lnTo>
                    <a:pt x="351" y="44"/>
                  </a:lnTo>
                  <a:lnTo>
                    <a:pt x="378" y="33"/>
                  </a:lnTo>
                  <a:lnTo>
                    <a:pt x="405" y="24"/>
                  </a:lnTo>
                  <a:lnTo>
                    <a:pt x="431" y="17"/>
                  </a:lnTo>
                  <a:lnTo>
                    <a:pt x="460" y="11"/>
                  </a:lnTo>
                  <a:lnTo>
                    <a:pt x="487" y="6"/>
                  </a:lnTo>
                  <a:lnTo>
                    <a:pt x="517" y="3"/>
                  </a:lnTo>
                  <a:lnTo>
                    <a:pt x="546" y="1"/>
                  </a:lnTo>
                  <a:lnTo>
                    <a:pt x="575" y="0"/>
                  </a:lnTo>
                  <a:lnTo>
                    <a:pt x="575" y="0"/>
                  </a:lnTo>
                  <a:lnTo>
                    <a:pt x="605" y="1"/>
                  </a:lnTo>
                  <a:lnTo>
                    <a:pt x="634" y="3"/>
                  </a:lnTo>
                  <a:lnTo>
                    <a:pt x="662" y="6"/>
                  </a:lnTo>
                  <a:lnTo>
                    <a:pt x="691" y="11"/>
                  </a:lnTo>
                  <a:lnTo>
                    <a:pt x="719" y="17"/>
                  </a:lnTo>
                  <a:lnTo>
                    <a:pt x="746" y="24"/>
                  </a:lnTo>
                  <a:lnTo>
                    <a:pt x="773" y="33"/>
                  </a:lnTo>
                  <a:lnTo>
                    <a:pt x="798" y="44"/>
                  </a:lnTo>
                  <a:lnTo>
                    <a:pt x="824" y="54"/>
                  </a:lnTo>
                  <a:lnTo>
                    <a:pt x="848" y="66"/>
                  </a:lnTo>
                  <a:lnTo>
                    <a:pt x="873" y="79"/>
                  </a:lnTo>
                  <a:lnTo>
                    <a:pt x="895" y="94"/>
                  </a:lnTo>
                  <a:lnTo>
                    <a:pt x="919" y="109"/>
                  </a:lnTo>
                  <a:lnTo>
                    <a:pt x="940" y="125"/>
                  </a:lnTo>
                  <a:lnTo>
                    <a:pt x="961" y="143"/>
                  </a:lnTo>
                  <a:lnTo>
                    <a:pt x="981" y="161"/>
                  </a:lnTo>
                  <a:lnTo>
                    <a:pt x="1000" y="180"/>
                  </a:lnTo>
                  <a:lnTo>
                    <a:pt x="1018" y="200"/>
                  </a:lnTo>
                  <a:lnTo>
                    <a:pt x="1035" y="220"/>
                  </a:lnTo>
                  <a:lnTo>
                    <a:pt x="1052" y="242"/>
                  </a:lnTo>
                  <a:lnTo>
                    <a:pt x="1066" y="264"/>
                  </a:lnTo>
                  <a:lnTo>
                    <a:pt x="1080" y="287"/>
                  </a:lnTo>
                  <a:lnTo>
                    <a:pt x="1093" y="310"/>
                  </a:lnTo>
                  <a:lnTo>
                    <a:pt x="1104" y="335"/>
                  </a:lnTo>
                  <a:lnTo>
                    <a:pt x="1115" y="360"/>
                  </a:lnTo>
                  <a:lnTo>
                    <a:pt x="1123" y="385"/>
                  </a:lnTo>
                  <a:lnTo>
                    <a:pt x="1132" y="411"/>
                  </a:lnTo>
                  <a:lnTo>
                    <a:pt x="1138" y="437"/>
                  </a:lnTo>
                  <a:lnTo>
                    <a:pt x="1143" y="464"/>
                  </a:lnTo>
                  <a:lnTo>
                    <a:pt x="1147" y="491"/>
                  </a:lnTo>
                  <a:lnTo>
                    <a:pt x="1149" y="519"/>
                  </a:lnTo>
                  <a:lnTo>
                    <a:pt x="1150" y="547"/>
                  </a:lnTo>
                  <a:lnTo>
                    <a:pt x="1150" y="547"/>
                  </a:lnTo>
                  <a:lnTo>
                    <a:pt x="1149" y="574"/>
                  </a:lnTo>
                  <a:lnTo>
                    <a:pt x="1147" y="602"/>
                  </a:lnTo>
                  <a:lnTo>
                    <a:pt x="1143" y="629"/>
                  </a:lnTo>
                  <a:lnTo>
                    <a:pt x="1138" y="656"/>
                  </a:lnTo>
                  <a:lnTo>
                    <a:pt x="1132" y="683"/>
                  </a:lnTo>
                  <a:lnTo>
                    <a:pt x="1123" y="708"/>
                  </a:lnTo>
                  <a:lnTo>
                    <a:pt x="1115" y="734"/>
                  </a:lnTo>
                  <a:lnTo>
                    <a:pt x="1104" y="758"/>
                  </a:lnTo>
                  <a:lnTo>
                    <a:pt x="1093" y="783"/>
                  </a:lnTo>
                  <a:lnTo>
                    <a:pt x="1080" y="806"/>
                  </a:lnTo>
                  <a:lnTo>
                    <a:pt x="1066" y="830"/>
                  </a:lnTo>
                  <a:lnTo>
                    <a:pt x="1052" y="851"/>
                  </a:lnTo>
                  <a:lnTo>
                    <a:pt x="1035" y="873"/>
                  </a:lnTo>
                  <a:lnTo>
                    <a:pt x="1018" y="894"/>
                  </a:lnTo>
                  <a:lnTo>
                    <a:pt x="1000" y="914"/>
                  </a:lnTo>
                  <a:lnTo>
                    <a:pt x="981" y="933"/>
                  </a:lnTo>
                  <a:lnTo>
                    <a:pt x="961" y="950"/>
                  </a:lnTo>
                  <a:lnTo>
                    <a:pt x="940" y="968"/>
                  </a:lnTo>
                  <a:lnTo>
                    <a:pt x="919" y="984"/>
                  </a:lnTo>
                  <a:lnTo>
                    <a:pt x="895" y="1000"/>
                  </a:lnTo>
                  <a:lnTo>
                    <a:pt x="873" y="1014"/>
                  </a:lnTo>
                  <a:lnTo>
                    <a:pt x="848" y="1027"/>
                  </a:lnTo>
                  <a:lnTo>
                    <a:pt x="824" y="1039"/>
                  </a:lnTo>
                  <a:lnTo>
                    <a:pt x="798" y="1051"/>
                  </a:lnTo>
                  <a:lnTo>
                    <a:pt x="773" y="1060"/>
                  </a:lnTo>
                  <a:lnTo>
                    <a:pt x="746" y="1069"/>
                  </a:lnTo>
                  <a:lnTo>
                    <a:pt x="719" y="1076"/>
                  </a:lnTo>
                  <a:lnTo>
                    <a:pt x="691" y="1082"/>
                  </a:lnTo>
                  <a:lnTo>
                    <a:pt x="662" y="1087"/>
                  </a:lnTo>
                  <a:lnTo>
                    <a:pt x="634" y="1091"/>
                  </a:lnTo>
                  <a:lnTo>
                    <a:pt x="605" y="1093"/>
                  </a:lnTo>
                  <a:lnTo>
                    <a:pt x="575" y="1094"/>
                  </a:lnTo>
                  <a:lnTo>
                    <a:pt x="575" y="1094"/>
                  </a:lnTo>
                  <a:close/>
                  <a:moveTo>
                    <a:pt x="575" y="82"/>
                  </a:moveTo>
                  <a:lnTo>
                    <a:pt x="575" y="82"/>
                  </a:lnTo>
                  <a:lnTo>
                    <a:pt x="553" y="83"/>
                  </a:lnTo>
                  <a:lnTo>
                    <a:pt x="531" y="86"/>
                  </a:lnTo>
                  <a:lnTo>
                    <a:pt x="510" y="90"/>
                  </a:lnTo>
                  <a:lnTo>
                    <a:pt x="490" y="94"/>
                  </a:lnTo>
                  <a:lnTo>
                    <a:pt x="471" y="100"/>
                  </a:lnTo>
                  <a:lnTo>
                    <a:pt x="453" y="108"/>
                  </a:lnTo>
                  <a:lnTo>
                    <a:pt x="435" y="116"/>
                  </a:lnTo>
                  <a:lnTo>
                    <a:pt x="419" y="125"/>
                  </a:lnTo>
                  <a:lnTo>
                    <a:pt x="403" y="137"/>
                  </a:lnTo>
                  <a:lnTo>
                    <a:pt x="387" y="148"/>
                  </a:lnTo>
                  <a:lnTo>
                    <a:pt x="373" y="161"/>
                  </a:lnTo>
                  <a:lnTo>
                    <a:pt x="360" y="174"/>
                  </a:lnTo>
                  <a:lnTo>
                    <a:pt x="346" y="189"/>
                  </a:lnTo>
                  <a:lnTo>
                    <a:pt x="334" y="204"/>
                  </a:lnTo>
                  <a:lnTo>
                    <a:pt x="323" y="219"/>
                  </a:lnTo>
                  <a:lnTo>
                    <a:pt x="312" y="237"/>
                  </a:lnTo>
                  <a:lnTo>
                    <a:pt x="302" y="253"/>
                  </a:lnTo>
                  <a:lnTo>
                    <a:pt x="292" y="272"/>
                  </a:lnTo>
                  <a:lnTo>
                    <a:pt x="284" y="290"/>
                  </a:lnTo>
                  <a:lnTo>
                    <a:pt x="276" y="308"/>
                  </a:lnTo>
                  <a:lnTo>
                    <a:pt x="269" y="327"/>
                  </a:lnTo>
                  <a:lnTo>
                    <a:pt x="262" y="346"/>
                  </a:lnTo>
                  <a:lnTo>
                    <a:pt x="256" y="367"/>
                  </a:lnTo>
                  <a:lnTo>
                    <a:pt x="251" y="386"/>
                  </a:lnTo>
                  <a:lnTo>
                    <a:pt x="247" y="407"/>
                  </a:lnTo>
                  <a:lnTo>
                    <a:pt x="243" y="426"/>
                  </a:lnTo>
                  <a:lnTo>
                    <a:pt x="240" y="446"/>
                  </a:lnTo>
                  <a:lnTo>
                    <a:pt x="237" y="467"/>
                  </a:lnTo>
                  <a:lnTo>
                    <a:pt x="233" y="507"/>
                  </a:lnTo>
                  <a:lnTo>
                    <a:pt x="232" y="547"/>
                  </a:lnTo>
                  <a:lnTo>
                    <a:pt x="232" y="547"/>
                  </a:lnTo>
                  <a:lnTo>
                    <a:pt x="233" y="587"/>
                  </a:lnTo>
                  <a:lnTo>
                    <a:pt x="237" y="626"/>
                  </a:lnTo>
                  <a:lnTo>
                    <a:pt x="240" y="647"/>
                  </a:lnTo>
                  <a:lnTo>
                    <a:pt x="243" y="667"/>
                  </a:lnTo>
                  <a:lnTo>
                    <a:pt x="247" y="687"/>
                  </a:lnTo>
                  <a:lnTo>
                    <a:pt x="251" y="707"/>
                  </a:lnTo>
                  <a:lnTo>
                    <a:pt x="256" y="728"/>
                  </a:lnTo>
                  <a:lnTo>
                    <a:pt x="262" y="747"/>
                  </a:lnTo>
                  <a:lnTo>
                    <a:pt x="269" y="766"/>
                  </a:lnTo>
                  <a:lnTo>
                    <a:pt x="276" y="785"/>
                  </a:lnTo>
                  <a:lnTo>
                    <a:pt x="284" y="804"/>
                  </a:lnTo>
                  <a:lnTo>
                    <a:pt x="292" y="822"/>
                  </a:lnTo>
                  <a:lnTo>
                    <a:pt x="302" y="840"/>
                  </a:lnTo>
                  <a:lnTo>
                    <a:pt x="312" y="857"/>
                  </a:lnTo>
                  <a:lnTo>
                    <a:pt x="323" y="874"/>
                  </a:lnTo>
                  <a:lnTo>
                    <a:pt x="334" y="889"/>
                  </a:lnTo>
                  <a:lnTo>
                    <a:pt x="346" y="904"/>
                  </a:lnTo>
                  <a:lnTo>
                    <a:pt x="360" y="919"/>
                  </a:lnTo>
                  <a:lnTo>
                    <a:pt x="373" y="932"/>
                  </a:lnTo>
                  <a:lnTo>
                    <a:pt x="387" y="945"/>
                  </a:lnTo>
                  <a:lnTo>
                    <a:pt x="403" y="957"/>
                  </a:lnTo>
                  <a:lnTo>
                    <a:pt x="419" y="968"/>
                  </a:lnTo>
                  <a:lnTo>
                    <a:pt x="435" y="977"/>
                  </a:lnTo>
                  <a:lnTo>
                    <a:pt x="453" y="986"/>
                  </a:lnTo>
                  <a:lnTo>
                    <a:pt x="471" y="993"/>
                  </a:lnTo>
                  <a:lnTo>
                    <a:pt x="490" y="1000"/>
                  </a:lnTo>
                  <a:lnTo>
                    <a:pt x="510" y="1005"/>
                  </a:lnTo>
                  <a:lnTo>
                    <a:pt x="531" y="1008"/>
                  </a:lnTo>
                  <a:lnTo>
                    <a:pt x="553" y="1010"/>
                  </a:lnTo>
                  <a:lnTo>
                    <a:pt x="575" y="1011"/>
                  </a:lnTo>
                  <a:lnTo>
                    <a:pt x="575" y="1011"/>
                  </a:lnTo>
                  <a:lnTo>
                    <a:pt x="598" y="1010"/>
                  </a:lnTo>
                  <a:lnTo>
                    <a:pt x="619" y="1008"/>
                  </a:lnTo>
                  <a:lnTo>
                    <a:pt x="640" y="1005"/>
                  </a:lnTo>
                  <a:lnTo>
                    <a:pt x="660" y="1000"/>
                  </a:lnTo>
                  <a:lnTo>
                    <a:pt x="679" y="993"/>
                  </a:lnTo>
                  <a:lnTo>
                    <a:pt x="697" y="986"/>
                  </a:lnTo>
                  <a:lnTo>
                    <a:pt x="715" y="977"/>
                  </a:lnTo>
                  <a:lnTo>
                    <a:pt x="732" y="968"/>
                  </a:lnTo>
                  <a:lnTo>
                    <a:pt x="747" y="957"/>
                  </a:lnTo>
                  <a:lnTo>
                    <a:pt x="762" y="945"/>
                  </a:lnTo>
                  <a:lnTo>
                    <a:pt x="777" y="932"/>
                  </a:lnTo>
                  <a:lnTo>
                    <a:pt x="791" y="919"/>
                  </a:lnTo>
                  <a:lnTo>
                    <a:pt x="803" y="904"/>
                  </a:lnTo>
                  <a:lnTo>
                    <a:pt x="816" y="889"/>
                  </a:lnTo>
                  <a:lnTo>
                    <a:pt x="828" y="874"/>
                  </a:lnTo>
                  <a:lnTo>
                    <a:pt x="838" y="857"/>
                  </a:lnTo>
                  <a:lnTo>
                    <a:pt x="848" y="840"/>
                  </a:lnTo>
                  <a:lnTo>
                    <a:pt x="858" y="822"/>
                  </a:lnTo>
                  <a:lnTo>
                    <a:pt x="867" y="804"/>
                  </a:lnTo>
                  <a:lnTo>
                    <a:pt x="874" y="785"/>
                  </a:lnTo>
                  <a:lnTo>
                    <a:pt x="881" y="766"/>
                  </a:lnTo>
                  <a:lnTo>
                    <a:pt x="888" y="747"/>
                  </a:lnTo>
                  <a:lnTo>
                    <a:pt x="894" y="728"/>
                  </a:lnTo>
                  <a:lnTo>
                    <a:pt x="899" y="707"/>
                  </a:lnTo>
                  <a:lnTo>
                    <a:pt x="904" y="687"/>
                  </a:lnTo>
                  <a:lnTo>
                    <a:pt x="908" y="667"/>
                  </a:lnTo>
                  <a:lnTo>
                    <a:pt x="911" y="647"/>
                  </a:lnTo>
                  <a:lnTo>
                    <a:pt x="914" y="626"/>
                  </a:lnTo>
                  <a:lnTo>
                    <a:pt x="918" y="587"/>
                  </a:lnTo>
                  <a:lnTo>
                    <a:pt x="919" y="547"/>
                  </a:lnTo>
                  <a:lnTo>
                    <a:pt x="919" y="547"/>
                  </a:lnTo>
                  <a:lnTo>
                    <a:pt x="918" y="507"/>
                  </a:lnTo>
                  <a:lnTo>
                    <a:pt x="914" y="467"/>
                  </a:lnTo>
                  <a:lnTo>
                    <a:pt x="911" y="446"/>
                  </a:lnTo>
                  <a:lnTo>
                    <a:pt x="908" y="426"/>
                  </a:lnTo>
                  <a:lnTo>
                    <a:pt x="904" y="407"/>
                  </a:lnTo>
                  <a:lnTo>
                    <a:pt x="899" y="386"/>
                  </a:lnTo>
                  <a:lnTo>
                    <a:pt x="894" y="367"/>
                  </a:lnTo>
                  <a:lnTo>
                    <a:pt x="888" y="346"/>
                  </a:lnTo>
                  <a:lnTo>
                    <a:pt x="881" y="327"/>
                  </a:lnTo>
                  <a:lnTo>
                    <a:pt x="874" y="308"/>
                  </a:lnTo>
                  <a:lnTo>
                    <a:pt x="867" y="290"/>
                  </a:lnTo>
                  <a:lnTo>
                    <a:pt x="858" y="272"/>
                  </a:lnTo>
                  <a:lnTo>
                    <a:pt x="848" y="253"/>
                  </a:lnTo>
                  <a:lnTo>
                    <a:pt x="838" y="237"/>
                  </a:lnTo>
                  <a:lnTo>
                    <a:pt x="828" y="219"/>
                  </a:lnTo>
                  <a:lnTo>
                    <a:pt x="816" y="204"/>
                  </a:lnTo>
                  <a:lnTo>
                    <a:pt x="803" y="189"/>
                  </a:lnTo>
                  <a:lnTo>
                    <a:pt x="791" y="174"/>
                  </a:lnTo>
                  <a:lnTo>
                    <a:pt x="777" y="161"/>
                  </a:lnTo>
                  <a:lnTo>
                    <a:pt x="762" y="148"/>
                  </a:lnTo>
                  <a:lnTo>
                    <a:pt x="747" y="137"/>
                  </a:lnTo>
                  <a:lnTo>
                    <a:pt x="732" y="125"/>
                  </a:lnTo>
                  <a:lnTo>
                    <a:pt x="715" y="116"/>
                  </a:lnTo>
                  <a:lnTo>
                    <a:pt x="697" y="108"/>
                  </a:lnTo>
                  <a:lnTo>
                    <a:pt x="679" y="100"/>
                  </a:lnTo>
                  <a:lnTo>
                    <a:pt x="660" y="94"/>
                  </a:lnTo>
                  <a:lnTo>
                    <a:pt x="640" y="90"/>
                  </a:lnTo>
                  <a:lnTo>
                    <a:pt x="619" y="86"/>
                  </a:lnTo>
                  <a:lnTo>
                    <a:pt x="598" y="83"/>
                  </a:lnTo>
                  <a:lnTo>
                    <a:pt x="575" y="82"/>
                  </a:lnTo>
                  <a:lnTo>
                    <a:pt x="575" y="8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21" name="Freeform 19"/>
            <p:cNvSpPr>
              <a:spLocks/>
            </p:cNvSpPr>
            <p:nvPr userDrawn="1"/>
          </p:nvSpPr>
          <p:spPr bwMode="auto">
            <a:xfrm>
              <a:off x="1552576" y="1154113"/>
              <a:ext cx="90488" cy="144463"/>
            </a:xfrm>
            <a:custGeom>
              <a:avLst/>
              <a:gdLst>
                <a:gd name="T0" fmla="*/ 38 w 683"/>
                <a:gd name="T1" fmla="*/ 752 h 1102"/>
                <a:gd name="T2" fmla="*/ 64 w 683"/>
                <a:gd name="T3" fmla="*/ 849 h 1102"/>
                <a:gd name="T4" fmla="*/ 104 w 683"/>
                <a:gd name="T5" fmla="*/ 921 h 1102"/>
                <a:gd name="T6" fmla="*/ 171 w 683"/>
                <a:gd name="T7" fmla="*/ 985 h 1102"/>
                <a:gd name="T8" fmla="*/ 273 w 683"/>
                <a:gd name="T9" fmla="*/ 1026 h 1102"/>
                <a:gd name="T10" fmla="*/ 377 w 683"/>
                <a:gd name="T11" fmla="*/ 1032 h 1102"/>
                <a:gd name="T12" fmla="*/ 476 w 683"/>
                <a:gd name="T13" fmla="*/ 1002 h 1102"/>
                <a:gd name="T14" fmla="*/ 544 w 683"/>
                <a:gd name="T15" fmla="*/ 937 h 1102"/>
                <a:gd name="T16" fmla="*/ 570 w 683"/>
                <a:gd name="T17" fmla="*/ 844 h 1102"/>
                <a:gd name="T18" fmla="*/ 556 w 683"/>
                <a:gd name="T19" fmla="*/ 787 h 1102"/>
                <a:gd name="T20" fmla="*/ 501 w 683"/>
                <a:gd name="T21" fmla="*/ 720 h 1102"/>
                <a:gd name="T22" fmla="*/ 413 w 683"/>
                <a:gd name="T23" fmla="*/ 659 h 1102"/>
                <a:gd name="T24" fmla="*/ 168 w 683"/>
                <a:gd name="T25" fmla="*/ 529 h 1102"/>
                <a:gd name="T26" fmla="*/ 86 w 683"/>
                <a:gd name="T27" fmla="*/ 455 h 1102"/>
                <a:gd name="T28" fmla="*/ 30 w 683"/>
                <a:gd name="T29" fmla="*/ 358 h 1102"/>
                <a:gd name="T30" fmla="*/ 14 w 683"/>
                <a:gd name="T31" fmla="*/ 265 h 1102"/>
                <a:gd name="T32" fmla="*/ 23 w 683"/>
                <a:gd name="T33" fmla="*/ 201 h 1102"/>
                <a:gd name="T34" fmla="*/ 46 w 683"/>
                <a:gd name="T35" fmla="*/ 142 h 1102"/>
                <a:gd name="T36" fmla="*/ 85 w 683"/>
                <a:gd name="T37" fmla="*/ 92 h 1102"/>
                <a:gd name="T38" fmla="*/ 136 w 683"/>
                <a:gd name="T39" fmla="*/ 52 h 1102"/>
                <a:gd name="T40" fmla="*/ 199 w 683"/>
                <a:gd name="T41" fmla="*/ 24 h 1102"/>
                <a:gd name="T42" fmla="*/ 269 w 683"/>
                <a:gd name="T43" fmla="*/ 9 h 1102"/>
                <a:gd name="T44" fmla="*/ 337 w 683"/>
                <a:gd name="T45" fmla="*/ 10 h 1102"/>
                <a:gd name="T46" fmla="*/ 411 w 683"/>
                <a:gd name="T47" fmla="*/ 25 h 1102"/>
                <a:gd name="T48" fmla="*/ 511 w 683"/>
                <a:gd name="T49" fmla="*/ 79 h 1102"/>
                <a:gd name="T50" fmla="*/ 540 w 683"/>
                <a:gd name="T51" fmla="*/ 46 h 1102"/>
                <a:gd name="T52" fmla="*/ 595 w 683"/>
                <a:gd name="T53" fmla="*/ 0 h 1102"/>
                <a:gd name="T54" fmla="*/ 553 w 683"/>
                <a:gd name="T55" fmla="*/ 326 h 1102"/>
                <a:gd name="T56" fmla="*/ 512 w 683"/>
                <a:gd name="T57" fmla="*/ 200 h 1102"/>
                <a:gd name="T58" fmla="*/ 473 w 683"/>
                <a:gd name="T59" fmla="*/ 145 h 1102"/>
                <a:gd name="T60" fmla="*/ 420 w 683"/>
                <a:gd name="T61" fmla="*/ 106 h 1102"/>
                <a:gd name="T62" fmla="*/ 348 w 683"/>
                <a:gd name="T63" fmla="*/ 82 h 1102"/>
                <a:gd name="T64" fmla="*/ 277 w 683"/>
                <a:gd name="T65" fmla="*/ 78 h 1102"/>
                <a:gd name="T66" fmla="*/ 200 w 683"/>
                <a:gd name="T67" fmla="*/ 104 h 1102"/>
                <a:gd name="T68" fmla="*/ 148 w 683"/>
                <a:gd name="T69" fmla="*/ 158 h 1102"/>
                <a:gd name="T70" fmla="*/ 128 w 683"/>
                <a:gd name="T71" fmla="*/ 231 h 1102"/>
                <a:gd name="T72" fmla="*/ 139 w 683"/>
                <a:gd name="T73" fmla="*/ 292 h 1102"/>
                <a:gd name="T74" fmla="*/ 191 w 683"/>
                <a:gd name="T75" fmla="*/ 355 h 1102"/>
                <a:gd name="T76" fmla="*/ 287 w 683"/>
                <a:gd name="T77" fmla="*/ 417 h 1102"/>
                <a:gd name="T78" fmla="*/ 548 w 683"/>
                <a:gd name="T79" fmla="*/ 556 h 1102"/>
                <a:gd name="T80" fmla="*/ 631 w 683"/>
                <a:gd name="T81" fmla="*/ 633 h 1102"/>
                <a:gd name="T82" fmla="*/ 674 w 683"/>
                <a:gd name="T83" fmla="*/ 720 h 1102"/>
                <a:gd name="T84" fmla="*/ 683 w 683"/>
                <a:gd name="T85" fmla="*/ 792 h 1102"/>
                <a:gd name="T86" fmla="*/ 673 w 683"/>
                <a:gd name="T87" fmla="*/ 874 h 1102"/>
                <a:gd name="T88" fmla="*/ 643 w 683"/>
                <a:gd name="T89" fmla="*/ 947 h 1102"/>
                <a:gd name="T90" fmla="*/ 597 w 683"/>
                <a:gd name="T91" fmla="*/ 1007 h 1102"/>
                <a:gd name="T92" fmla="*/ 536 w 683"/>
                <a:gd name="T93" fmla="*/ 1053 h 1102"/>
                <a:gd name="T94" fmla="*/ 466 w 683"/>
                <a:gd name="T95" fmla="*/ 1085 h 1102"/>
                <a:gd name="T96" fmla="*/ 387 w 683"/>
                <a:gd name="T97" fmla="*/ 1100 h 1102"/>
                <a:gd name="T98" fmla="*/ 307 w 683"/>
                <a:gd name="T99" fmla="*/ 1099 h 1102"/>
                <a:gd name="T100" fmla="*/ 208 w 683"/>
                <a:gd name="T101" fmla="*/ 1073 h 1102"/>
                <a:gd name="T102" fmla="*/ 95 w 683"/>
                <a:gd name="T103" fmla="*/ 1024 h 1102"/>
                <a:gd name="T104" fmla="*/ 62 w 683"/>
                <a:gd name="T105" fmla="*/ 1044 h 1102"/>
                <a:gd name="T106" fmla="*/ 35 w 683"/>
                <a:gd name="T107" fmla="*/ 1102 h 1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83" h="1102">
                  <a:moveTo>
                    <a:pt x="0" y="723"/>
                  </a:moveTo>
                  <a:lnTo>
                    <a:pt x="36" y="723"/>
                  </a:lnTo>
                  <a:lnTo>
                    <a:pt x="36" y="723"/>
                  </a:lnTo>
                  <a:lnTo>
                    <a:pt x="37" y="736"/>
                  </a:lnTo>
                  <a:lnTo>
                    <a:pt x="38" y="752"/>
                  </a:lnTo>
                  <a:lnTo>
                    <a:pt x="41" y="771"/>
                  </a:lnTo>
                  <a:lnTo>
                    <a:pt x="46" y="795"/>
                  </a:lnTo>
                  <a:lnTo>
                    <a:pt x="54" y="821"/>
                  </a:lnTo>
                  <a:lnTo>
                    <a:pt x="59" y="835"/>
                  </a:lnTo>
                  <a:lnTo>
                    <a:pt x="64" y="849"/>
                  </a:lnTo>
                  <a:lnTo>
                    <a:pt x="70" y="863"/>
                  </a:lnTo>
                  <a:lnTo>
                    <a:pt x="77" y="878"/>
                  </a:lnTo>
                  <a:lnTo>
                    <a:pt x="84" y="893"/>
                  </a:lnTo>
                  <a:lnTo>
                    <a:pt x="93" y="907"/>
                  </a:lnTo>
                  <a:lnTo>
                    <a:pt x="104" y="921"/>
                  </a:lnTo>
                  <a:lnTo>
                    <a:pt x="115" y="935"/>
                  </a:lnTo>
                  <a:lnTo>
                    <a:pt x="127" y="948"/>
                  </a:lnTo>
                  <a:lnTo>
                    <a:pt x="140" y="961"/>
                  </a:lnTo>
                  <a:lnTo>
                    <a:pt x="155" y="974"/>
                  </a:lnTo>
                  <a:lnTo>
                    <a:pt x="171" y="985"/>
                  </a:lnTo>
                  <a:lnTo>
                    <a:pt x="189" y="995"/>
                  </a:lnTo>
                  <a:lnTo>
                    <a:pt x="207" y="1004"/>
                  </a:lnTo>
                  <a:lnTo>
                    <a:pt x="227" y="1012"/>
                  </a:lnTo>
                  <a:lnTo>
                    <a:pt x="250" y="1020"/>
                  </a:lnTo>
                  <a:lnTo>
                    <a:pt x="273" y="1026"/>
                  </a:lnTo>
                  <a:lnTo>
                    <a:pt x="298" y="1030"/>
                  </a:lnTo>
                  <a:lnTo>
                    <a:pt x="326" y="1032"/>
                  </a:lnTo>
                  <a:lnTo>
                    <a:pt x="354" y="1033"/>
                  </a:lnTo>
                  <a:lnTo>
                    <a:pt x="354" y="1033"/>
                  </a:lnTo>
                  <a:lnTo>
                    <a:pt x="377" y="1032"/>
                  </a:lnTo>
                  <a:lnTo>
                    <a:pt x="398" y="1030"/>
                  </a:lnTo>
                  <a:lnTo>
                    <a:pt x="420" y="1025"/>
                  </a:lnTo>
                  <a:lnTo>
                    <a:pt x="439" y="1019"/>
                  </a:lnTo>
                  <a:lnTo>
                    <a:pt x="458" y="1011"/>
                  </a:lnTo>
                  <a:lnTo>
                    <a:pt x="476" y="1002"/>
                  </a:lnTo>
                  <a:lnTo>
                    <a:pt x="492" y="992"/>
                  </a:lnTo>
                  <a:lnTo>
                    <a:pt x="508" y="980"/>
                  </a:lnTo>
                  <a:lnTo>
                    <a:pt x="522" y="966"/>
                  </a:lnTo>
                  <a:lnTo>
                    <a:pt x="533" y="952"/>
                  </a:lnTo>
                  <a:lnTo>
                    <a:pt x="544" y="937"/>
                  </a:lnTo>
                  <a:lnTo>
                    <a:pt x="553" y="919"/>
                  </a:lnTo>
                  <a:lnTo>
                    <a:pt x="560" y="902"/>
                  </a:lnTo>
                  <a:lnTo>
                    <a:pt x="565" y="884"/>
                  </a:lnTo>
                  <a:lnTo>
                    <a:pt x="569" y="864"/>
                  </a:lnTo>
                  <a:lnTo>
                    <a:pt x="570" y="844"/>
                  </a:lnTo>
                  <a:lnTo>
                    <a:pt x="570" y="844"/>
                  </a:lnTo>
                  <a:lnTo>
                    <a:pt x="569" y="828"/>
                  </a:lnTo>
                  <a:lnTo>
                    <a:pt x="566" y="814"/>
                  </a:lnTo>
                  <a:lnTo>
                    <a:pt x="562" y="800"/>
                  </a:lnTo>
                  <a:lnTo>
                    <a:pt x="556" y="787"/>
                  </a:lnTo>
                  <a:lnTo>
                    <a:pt x="547" y="772"/>
                  </a:lnTo>
                  <a:lnTo>
                    <a:pt x="538" y="759"/>
                  </a:lnTo>
                  <a:lnTo>
                    <a:pt x="527" y="746"/>
                  </a:lnTo>
                  <a:lnTo>
                    <a:pt x="515" y="732"/>
                  </a:lnTo>
                  <a:lnTo>
                    <a:pt x="501" y="720"/>
                  </a:lnTo>
                  <a:lnTo>
                    <a:pt x="486" y="707"/>
                  </a:lnTo>
                  <a:lnTo>
                    <a:pt x="470" y="695"/>
                  </a:lnTo>
                  <a:lnTo>
                    <a:pt x="452" y="682"/>
                  </a:lnTo>
                  <a:lnTo>
                    <a:pt x="434" y="670"/>
                  </a:lnTo>
                  <a:lnTo>
                    <a:pt x="413" y="659"/>
                  </a:lnTo>
                  <a:lnTo>
                    <a:pt x="372" y="634"/>
                  </a:lnTo>
                  <a:lnTo>
                    <a:pt x="206" y="550"/>
                  </a:lnTo>
                  <a:lnTo>
                    <a:pt x="206" y="550"/>
                  </a:lnTo>
                  <a:lnTo>
                    <a:pt x="186" y="540"/>
                  </a:lnTo>
                  <a:lnTo>
                    <a:pt x="168" y="529"/>
                  </a:lnTo>
                  <a:lnTo>
                    <a:pt x="151" y="516"/>
                  </a:lnTo>
                  <a:lnTo>
                    <a:pt x="133" y="502"/>
                  </a:lnTo>
                  <a:lnTo>
                    <a:pt x="117" y="488"/>
                  </a:lnTo>
                  <a:lnTo>
                    <a:pt x="101" y="472"/>
                  </a:lnTo>
                  <a:lnTo>
                    <a:pt x="86" y="455"/>
                  </a:lnTo>
                  <a:lnTo>
                    <a:pt x="72" y="438"/>
                  </a:lnTo>
                  <a:lnTo>
                    <a:pt x="60" y="419"/>
                  </a:lnTo>
                  <a:lnTo>
                    <a:pt x="48" y="400"/>
                  </a:lnTo>
                  <a:lnTo>
                    <a:pt x="38" y="380"/>
                  </a:lnTo>
                  <a:lnTo>
                    <a:pt x="30" y="358"/>
                  </a:lnTo>
                  <a:lnTo>
                    <a:pt x="23" y="336"/>
                  </a:lnTo>
                  <a:lnTo>
                    <a:pt x="18" y="313"/>
                  </a:lnTo>
                  <a:lnTo>
                    <a:pt x="15" y="290"/>
                  </a:lnTo>
                  <a:lnTo>
                    <a:pt x="14" y="265"/>
                  </a:lnTo>
                  <a:lnTo>
                    <a:pt x="14" y="265"/>
                  </a:lnTo>
                  <a:lnTo>
                    <a:pt x="15" y="252"/>
                  </a:lnTo>
                  <a:lnTo>
                    <a:pt x="16" y="240"/>
                  </a:lnTo>
                  <a:lnTo>
                    <a:pt x="17" y="226"/>
                  </a:lnTo>
                  <a:lnTo>
                    <a:pt x="20" y="213"/>
                  </a:lnTo>
                  <a:lnTo>
                    <a:pt x="23" y="201"/>
                  </a:lnTo>
                  <a:lnTo>
                    <a:pt x="26" y="188"/>
                  </a:lnTo>
                  <a:lnTo>
                    <a:pt x="30" y="177"/>
                  </a:lnTo>
                  <a:lnTo>
                    <a:pt x="35" y="165"/>
                  </a:lnTo>
                  <a:lnTo>
                    <a:pt x="40" y="154"/>
                  </a:lnTo>
                  <a:lnTo>
                    <a:pt x="46" y="142"/>
                  </a:lnTo>
                  <a:lnTo>
                    <a:pt x="54" y="132"/>
                  </a:lnTo>
                  <a:lnTo>
                    <a:pt x="61" y="121"/>
                  </a:lnTo>
                  <a:lnTo>
                    <a:pt x="68" y="112"/>
                  </a:lnTo>
                  <a:lnTo>
                    <a:pt x="76" y="101"/>
                  </a:lnTo>
                  <a:lnTo>
                    <a:pt x="85" y="92"/>
                  </a:lnTo>
                  <a:lnTo>
                    <a:pt x="94" y="83"/>
                  </a:lnTo>
                  <a:lnTo>
                    <a:pt x="105" y="75"/>
                  </a:lnTo>
                  <a:lnTo>
                    <a:pt x="115" y="67"/>
                  </a:lnTo>
                  <a:lnTo>
                    <a:pt x="125" y="60"/>
                  </a:lnTo>
                  <a:lnTo>
                    <a:pt x="136" y="52"/>
                  </a:lnTo>
                  <a:lnTo>
                    <a:pt x="148" y="45"/>
                  </a:lnTo>
                  <a:lnTo>
                    <a:pt x="160" y="39"/>
                  </a:lnTo>
                  <a:lnTo>
                    <a:pt x="172" y="34"/>
                  </a:lnTo>
                  <a:lnTo>
                    <a:pt x="185" y="29"/>
                  </a:lnTo>
                  <a:lnTo>
                    <a:pt x="199" y="24"/>
                  </a:lnTo>
                  <a:lnTo>
                    <a:pt x="212" y="20"/>
                  </a:lnTo>
                  <a:lnTo>
                    <a:pt x="225" y="17"/>
                  </a:lnTo>
                  <a:lnTo>
                    <a:pt x="240" y="14"/>
                  </a:lnTo>
                  <a:lnTo>
                    <a:pt x="255" y="12"/>
                  </a:lnTo>
                  <a:lnTo>
                    <a:pt x="269" y="9"/>
                  </a:lnTo>
                  <a:lnTo>
                    <a:pt x="285" y="8"/>
                  </a:lnTo>
                  <a:lnTo>
                    <a:pt x="300" y="8"/>
                  </a:lnTo>
                  <a:lnTo>
                    <a:pt x="300" y="8"/>
                  </a:lnTo>
                  <a:lnTo>
                    <a:pt x="319" y="8"/>
                  </a:lnTo>
                  <a:lnTo>
                    <a:pt x="337" y="10"/>
                  </a:lnTo>
                  <a:lnTo>
                    <a:pt x="353" y="12"/>
                  </a:lnTo>
                  <a:lnTo>
                    <a:pt x="368" y="15"/>
                  </a:lnTo>
                  <a:lnTo>
                    <a:pt x="384" y="18"/>
                  </a:lnTo>
                  <a:lnTo>
                    <a:pt x="398" y="21"/>
                  </a:lnTo>
                  <a:lnTo>
                    <a:pt x="411" y="25"/>
                  </a:lnTo>
                  <a:lnTo>
                    <a:pt x="425" y="30"/>
                  </a:lnTo>
                  <a:lnTo>
                    <a:pt x="448" y="40"/>
                  </a:lnTo>
                  <a:lnTo>
                    <a:pt x="471" y="52"/>
                  </a:lnTo>
                  <a:lnTo>
                    <a:pt x="491" y="66"/>
                  </a:lnTo>
                  <a:lnTo>
                    <a:pt x="511" y="79"/>
                  </a:lnTo>
                  <a:lnTo>
                    <a:pt x="511" y="79"/>
                  </a:lnTo>
                  <a:lnTo>
                    <a:pt x="519" y="73"/>
                  </a:lnTo>
                  <a:lnTo>
                    <a:pt x="526" y="65"/>
                  </a:lnTo>
                  <a:lnTo>
                    <a:pt x="533" y="57"/>
                  </a:lnTo>
                  <a:lnTo>
                    <a:pt x="540" y="46"/>
                  </a:lnTo>
                  <a:lnTo>
                    <a:pt x="546" y="36"/>
                  </a:lnTo>
                  <a:lnTo>
                    <a:pt x="553" y="25"/>
                  </a:lnTo>
                  <a:lnTo>
                    <a:pt x="557" y="13"/>
                  </a:lnTo>
                  <a:lnTo>
                    <a:pt x="561" y="0"/>
                  </a:lnTo>
                  <a:lnTo>
                    <a:pt x="595" y="0"/>
                  </a:lnTo>
                  <a:lnTo>
                    <a:pt x="595" y="380"/>
                  </a:lnTo>
                  <a:lnTo>
                    <a:pt x="559" y="380"/>
                  </a:lnTo>
                  <a:lnTo>
                    <a:pt x="559" y="380"/>
                  </a:lnTo>
                  <a:lnTo>
                    <a:pt x="557" y="353"/>
                  </a:lnTo>
                  <a:lnTo>
                    <a:pt x="553" y="326"/>
                  </a:lnTo>
                  <a:lnTo>
                    <a:pt x="547" y="300"/>
                  </a:lnTo>
                  <a:lnTo>
                    <a:pt x="541" y="274"/>
                  </a:lnTo>
                  <a:lnTo>
                    <a:pt x="533" y="249"/>
                  </a:lnTo>
                  <a:lnTo>
                    <a:pt x="523" y="223"/>
                  </a:lnTo>
                  <a:lnTo>
                    <a:pt x="512" y="200"/>
                  </a:lnTo>
                  <a:lnTo>
                    <a:pt x="504" y="187"/>
                  </a:lnTo>
                  <a:lnTo>
                    <a:pt x="497" y="177"/>
                  </a:lnTo>
                  <a:lnTo>
                    <a:pt x="490" y="166"/>
                  </a:lnTo>
                  <a:lnTo>
                    <a:pt x="482" y="156"/>
                  </a:lnTo>
                  <a:lnTo>
                    <a:pt x="473" y="145"/>
                  </a:lnTo>
                  <a:lnTo>
                    <a:pt x="464" y="136"/>
                  </a:lnTo>
                  <a:lnTo>
                    <a:pt x="453" y="128"/>
                  </a:lnTo>
                  <a:lnTo>
                    <a:pt x="443" y="120"/>
                  </a:lnTo>
                  <a:lnTo>
                    <a:pt x="431" y="112"/>
                  </a:lnTo>
                  <a:lnTo>
                    <a:pt x="420" y="106"/>
                  </a:lnTo>
                  <a:lnTo>
                    <a:pt x="406" y="99"/>
                  </a:lnTo>
                  <a:lnTo>
                    <a:pt x="393" y="93"/>
                  </a:lnTo>
                  <a:lnTo>
                    <a:pt x="379" y="89"/>
                  </a:lnTo>
                  <a:lnTo>
                    <a:pt x="363" y="85"/>
                  </a:lnTo>
                  <a:lnTo>
                    <a:pt x="348" y="82"/>
                  </a:lnTo>
                  <a:lnTo>
                    <a:pt x="331" y="79"/>
                  </a:lnTo>
                  <a:lnTo>
                    <a:pt x="313" y="78"/>
                  </a:lnTo>
                  <a:lnTo>
                    <a:pt x="295" y="78"/>
                  </a:lnTo>
                  <a:lnTo>
                    <a:pt x="295" y="78"/>
                  </a:lnTo>
                  <a:lnTo>
                    <a:pt x="277" y="78"/>
                  </a:lnTo>
                  <a:lnTo>
                    <a:pt x="260" y="81"/>
                  </a:lnTo>
                  <a:lnTo>
                    <a:pt x="244" y="84"/>
                  </a:lnTo>
                  <a:lnTo>
                    <a:pt x="228" y="89"/>
                  </a:lnTo>
                  <a:lnTo>
                    <a:pt x="214" y="95"/>
                  </a:lnTo>
                  <a:lnTo>
                    <a:pt x="200" y="104"/>
                  </a:lnTo>
                  <a:lnTo>
                    <a:pt x="188" y="112"/>
                  </a:lnTo>
                  <a:lnTo>
                    <a:pt x="175" y="122"/>
                  </a:lnTo>
                  <a:lnTo>
                    <a:pt x="165" y="133"/>
                  </a:lnTo>
                  <a:lnTo>
                    <a:pt x="156" y="144"/>
                  </a:lnTo>
                  <a:lnTo>
                    <a:pt x="148" y="158"/>
                  </a:lnTo>
                  <a:lnTo>
                    <a:pt x="140" y="171"/>
                  </a:lnTo>
                  <a:lnTo>
                    <a:pt x="135" y="185"/>
                  </a:lnTo>
                  <a:lnTo>
                    <a:pt x="131" y="200"/>
                  </a:lnTo>
                  <a:lnTo>
                    <a:pt x="128" y="215"/>
                  </a:lnTo>
                  <a:lnTo>
                    <a:pt x="128" y="231"/>
                  </a:lnTo>
                  <a:lnTo>
                    <a:pt x="128" y="231"/>
                  </a:lnTo>
                  <a:lnTo>
                    <a:pt x="128" y="248"/>
                  </a:lnTo>
                  <a:lnTo>
                    <a:pt x="131" y="263"/>
                  </a:lnTo>
                  <a:lnTo>
                    <a:pt x="134" y="277"/>
                  </a:lnTo>
                  <a:lnTo>
                    <a:pt x="139" y="292"/>
                  </a:lnTo>
                  <a:lnTo>
                    <a:pt x="147" y="305"/>
                  </a:lnTo>
                  <a:lnTo>
                    <a:pt x="155" y="317"/>
                  </a:lnTo>
                  <a:lnTo>
                    <a:pt x="165" y="331"/>
                  </a:lnTo>
                  <a:lnTo>
                    <a:pt x="177" y="343"/>
                  </a:lnTo>
                  <a:lnTo>
                    <a:pt x="191" y="355"/>
                  </a:lnTo>
                  <a:lnTo>
                    <a:pt x="206" y="366"/>
                  </a:lnTo>
                  <a:lnTo>
                    <a:pt x="223" y="379"/>
                  </a:lnTo>
                  <a:lnTo>
                    <a:pt x="242" y="392"/>
                  </a:lnTo>
                  <a:lnTo>
                    <a:pt x="263" y="404"/>
                  </a:lnTo>
                  <a:lnTo>
                    <a:pt x="287" y="417"/>
                  </a:lnTo>
                  <a:lnTo>
                    <a:pt x="339" y="445"/>
                  </a:lnTo>
                  <a:lnTo>
                    <a:pt x="502" y="530"/>
                  </a:lnTo>
                  <a:lnTo>
                    <a:pt x="502" y="530"/>
                  </a:lnTo>
                  <a:lnTo>
                    <a:pt x="526" y="542"/>
                  </a:lnTo>
                  <a:lnTo>
                    <a:pt x="548" y="556"/>
                  </a:lnTo>
                  <a:lnTo>
                    <a:pt x="568" y="571"/>
                  </a:lnTo>
                  <a:lnTo>
                    <a:pt x="586" y="585"/>
                  </a:lnTo>
                  <a:lnTo>
                    <a:pt x="603" y="601"/>
                  </a:lnTo>
                  <a:lnTo>
                    <a:pt x="618" y="617"/>
                  </a:lnTo>
                  <a:lnTo>
                    <a:pt x="631" y="633"/>
                  </a:lnTo>
                  <a:lnTo>
                    <a:pt x="643" y="651"/>
                  </a:lnTo>
                  <a:lnTo>
                    <a:pt x="653" y="667"/>
                  </a:lnTo>
                  <a:lnTo>
                    <a:pt x="661" y="684"/>
                  </a:lnTo>
                  <a:lnTo>
                    <a:pt x="668" y="703"/>
                  </a:lnTo>
                  <a:lnTo>
                    <a:pt x="674" y="720"/>
                  </a:lnTo>
                  <a:lnTo>
                    <a:pt x="678" y="738"/>
                  </a:lnTo>
                  <a:lnTo>
                    <a:pt x="681" y="756"/>
                  </a:lnTo>
                  <a:lnTo>
                    <a:pt x="682" y="774"/>
                  </a:lnTo>
                  <a:lnTo>
                    <a:pt x="683" y="792"/>
                  </a:lnTo>
                  <a:lnTo>
                    <a:pt x="683" y="792"/>
                  </a:lnTo>
                  <a:lnTo>
                    <a:pt x="683" y="809"/>
                  </a:lnTo>
                  <a:lnTo>
                    <a:pt x="681" y="826"/>
                  </a:lnTo>
                  <a:lnTo>
                    <a:pt x="679" y="843"/>
                  </a:lnTo>
                  <a:lnTo>
                    <a:pt x="676" y="859"/>
                  </a:lnTo>
                  <a:lnTo>
                    <a:pt x="673" y="874"/>
                  </a:lnTo>
                  <a:lnTo>
                    <a:pt x="668" y="890"/>
                  </a:lnTo>
                  <a:lnTo>
                    <a:pt x="663" y="905"/>
                  </a:lnTo>
                  <a:lnTo>
                    <a:pt x="657" y="919"/>
                  </a:lnTo>
                  <a:lnTo>
                    <a:pt x="650" y="934"/>
                  </a:lnTo>
                  <a:lnTo>
                    <a:pt x="643" y="947"/>
                  </a:lnTo>
                  <a:lnTo>
                    <a:pt x="634" y="960"/>
                  </a:lnTo>
                  <a:lnTo>
                    <a:pt x="626" y="973"/>
                  </a:lnTo>
                  <a:lnTo>
                    <a:pt x="617" y="985"/>
                  </a:lnTo>
                  <a:lnTo>
                    <a:pt x="607" y="996"/>
                  </a:lnTo>
                  <a:lnTo>
                    <a:pt x="597" y="1007"/>
                  </a:lnTo>
                  <a:lnTo>
                    <a:pt x="585" y="1018"/>
                  </a:lnTo>
                  <a:lnTo>
                    <a:pt x="574" y="1028"/>
                  </a:lnTo>
                  <a:lnTo>
                    <a:pt x="562" y="1037"/>
                  </a:lnTo>
                  <a:lnTo>
                    <a:pt x="549" y="1045"/>
                  </a:lnTo>
                  <a:lnTo>
                    <a:pt x="536" y="1053"/>
                  </a:lnTo>
                  <a:lnTo>
                    <a:pt x="523" y="1062"/>
                  </a:lnTo>
                  <a:lnTo>
                    <a:pt x="509" y="1068"/>
                  </a:lnTo>
                  <a:lnTo>
                    <a:pt x="495" y="1075"/>
                  </a:lnTo>
                  <a:lnTo>
                    <a:pt x="480" y="1080"/>
                  </a:lnTo>
                  <a:lnTo>
                    <a:pt x="466" y="1085"/>
                  </a:lnTo>
                  <a:lnTo>
                    <a:pt x="450" y="1089"/>
                  </a:lnTo>
                  <a:lnTo>
                    <a:pt x="435" y="1093"/>
                  </a:lnTo>
                  <a:lnTo>
                    <a:pt x="419" y="1096"/>
                  </a:lnTo>
                  <a:lnTo>
                    <a:pt x="403" y="1099"/>
                  </a:lnTo>
                  <a:lnTo>
                    <a:pt x="387" y="1100"/>
                  </a:lnTo>
                  <a:lnTo>
                    <a:pt x="371" y="1101"/>
                  </a:lnTo>
                  <a:lnTo>
                    <a:pt x="354" y="1102"/>
                  </a:lnTo>
                  <a:lnTo>
                    <a:pt x="354" y="1102"/>
                  </a:lnTo>
                  <a:lnTo>
                    <a:pt x="330" y="1101"/>
                  </a:lnTo>
                  <a:lnTo>
                    <a:pt x="307" y="1099"/>
                  </a:lnTo>
                  <a:lnTo>
                    <a:pt x="285" y="1095"/>
                  </a:lnTo>
                  <a:lnTo>
                    <a:pt x="264" y="1091"/>
                  </a:lnTo>
                  <a:lnTo>
                    <a:pt x="245" y="1086"/>
                  </a:lnTo>
                  <a:lnTo>
                    <a:pt x="225" y="1080"/>
                  </a:lnTo>
                  <a:lnTo>
                    <a:pt x="208" y="1073"/>
                  </a:lnTo>
                  <a:lnTo>
                    <a:pt x="191" y="1067"/>
                  </a:lnTo>
                  <a:lnTo>
                    <a:pt x="160" y="1052"/>
                  </a:lnTo>
                  <a:lnTo>
                    <a:pt x="131" y="1039"/>
                  </a:lnTo>
                  <a:lnTo>
                    <a:pt x="107" y="1028"/>
                  </a:lnTo>
                  <a:lnTo>
                    <a:pt x="95" y="1024"/>
                  </a:lnTo>
                  <a:lnTo>
                    <a:pt x="85" y="1021"/>
                  </a:lnTo>
                  <a:lnTo>
                    <a:pt x="85" y="1021"/>
                  </a:lnTo>
                  <a:lnTo>
                    <a:pt x="77" y="1028"/>
                  </a:lnTo>
                  <a:lnTo>
                    <a:pt x="70" y="1036"/>
                  </a:lnTo>
                  <a:lnTo>
                    <a:pt x="62" y="1044"/>
                  </a:lnTo>
                  <a:lnTo>
                    <a:pt x="56" y="1053"/>
                  </a:lnTo>
                  <a:lnTo>
                    <a:pt x="48" y="1065"/>
                  </a:lnTo>
                  <a:lnTo>
                    <a:pt x="43" y="1076"/>
                  </a:lnTo>
                  <a:lnTo>
                    <a:pt x="38" y="1088"/>
                  </a:lnTo>
                  <a:lnTo>
                    <a:pt x="35" y="1102"/>
                  </a:lnTo>
                  <a:lnTo>
                    <a:pt x="0" y="1102"/>
                  </a:lnTo>
                  <a:lnTo>
                    <a:pt x="0" y="7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22" name="Freeform 20"/>
            <p:cNvSpPr>
              <a:spLocks/>
            </p:cNvSpPr>
            <p:nvPr userDrawn="1"/>
          </p:nvSpPr>
          <p:spPr bwMode="auto">
            <a:xfrm>
              <a:off x="1671638" y="1158876"/>
              <a:ext cx="141288" cy="136525"/>
            </a:xfrm>
            <a:custGeom>
              <a:avLst/>
              <a:gdLst>
                <a:gd name="T0" fmla="*/ 304 w 1077"/>
                <a:gd name="T1" fmla="*/ 999 h 1035"/>
                <a:gd name="T2" fmla="*/ 352 w 1077"/>
                <a:gd name="T3" fmla="*/ 997 h 1035"/>
                <a:gd name="T4" fmla="*/ 390 w 1077"/>
                <a:gd name="T5" fmla="*/ 991 h 1035"/>
                <a:gd name="T6" fmla="*/ 419 w 1077"/>
                <a:gd name="T7" fmla="*/ 981 h 1035"/>
                <a:gd name="T8" fmla="*/ 431 w 1077"/>
                <a:gd name="T9" fmla="*/ 972 h 1035"/>
                <a:gd name="T10" fmla="*/ 441 w 1077"/>
                <a:gd name="T11" fmla="*/ 962 h 1035"/>
                <a:gd name="T12" fmla="*/ 448 w 1077"/>
                <a:gd name="T13" fmla="*/ 951 h 1035"/>
                <a:gd name="T14" fmla="*/ 460 w 1077"/>
                <a:gd name="T15" fmla="*/ 920 h 1035"/>
                <a:gd name="T16" fmla="*/ 466 w 1077"/>
                <a:gd name="T17" fmla="*/ 879 h 1035"/>
                <a:gd name="T18" fmla="*/ 469 w 1077"/>
                <a:gd name="T19" fmla="*/ 827 h 1035"/>
                <a:gd name="T20" fmla="*/ 469 w 1077"/>
                <a:gd name="T21" fmla="*/ 68 h 1035"/>
                <a:gd name="T22" fmla="*/ 245 w 1077"/>
                <a:gd name="T23" fmla="*/ 68 h 1035"/>
                <a:gd name="T24" fmla="*/ 192 w 1077"/>
                <a:gd name="T25" fmla="*/ 69 h 1035"/>
                <a:gd name="T26" fmla="*/ 150 w 1077"/>
                <a:gd name="T27" fmla="*/ 75 h 1035"/>
                <a:gd name="T28" fmla="*/ 119 w 1077"/>
                <a:gd name="T29" fmla="*/ 85 h 1035"/>
                <a:gd name="T30" fmla="*/ 94 w 1077"/>
                <a:gd name="T31" fmla="*/ 98 h 1035"/>
                <a:gd name="T32" fmla="*/ 77 w 1077"/>
                <a:gd name="T33" fmla="*/ 117 h 1035"/>
                <a:gd name="T34" fmla="*/ 64 w 1077"/>
                <a:gd name="T35" fmla="*/ 139 h 1035"/>
                <a:gd name="T36" fmla="*/ 54 w 1077"/>
                <a:gd name="T37" fmla="*/ 167 h 1035"/>
                <a:gd name="T38" fmla="*/ 37 w 1077"/>
                <a:gd name="T39" fmla="*/ 233 h 1035"/>
                <a:gd name="T40" fmla="*/ 15 w 1077"/>
                <a:gd name="T41" fmla="*/ 0 h 1035"/>
                <a:gd name="T42" fmla="*/ 1077 w 1077"/>
                <a:gd name="T43" fmla="*/ 233 h 1035"/>
                <a:gd name="T44" fmla="*/ 1032 w 1077"/>
                <a:gd name="T45" fmla="*/ 198 h 1035"/>
                <a:gd name="T46" fmla="*/ 1023 w 1077"/>
                <a:gd name="T47" fmla="*/ 167 h 1035"/>
                <a:gd name="T48" fmla="*/ 1012 w 1077"/>
                <a:gd name="T49" fmla="*/ 139 h 1035"/>
                <a:gd name="T50" fmla="*/ 1000 w 1077"/>
                <a:gd name="T51" fmla="*/ 117 h 1035"/>
                <a:gd name="T52" fmla="*/ 983 w 1077"/>
                <a:gd name="T53" fmla="*/ 98 h 1035"/>
                <a:gd name="T54" fmla="*/ 958 w 1077"/>
                <a:gd name="T55" fmla="*/ 85 h 1035"/>
                <a:gd name="T56" fmla="*/ 926 w 1077"/>
                <a:gd name="T57" fmla="*/ 75 h 1035"/>
                <a:gd name="T58" fmla="*/ 884 w 1077"/>
                <a:gd name="T59" fmla="*/ 69 h 1035"/>
                <a:gd name="T60" fmla="*/ 831 w 1077"/>
                <a:gd name="T61" fmla="*/ 68 h 1035"/>
                <a:gd name="T62" fmla="*/ 607 w 1077"/>
                <a:gd name="T63" fmla="*/ 797 h 1035"/>
                <a:gd name="T64" fmla="*/ 607 w 1077"/>
                <a:gd name="T65" fmla="*/ 827 h 1035"/>
                <a:gd name="T66" fmla="*/ 610 w 1077"/>
                <a:gd name="T67" fmla="*/ 879 h 1035"/>
                <a:gd name="T68" fmla="*/ 617 w 1077"/>
                <a:gd name="T69" fmla="*/ 920 h 1035"/>
                <a:gd name="T70" fmla="*/ 629 w 1077"/>
                <a:gd name="T71" fmla="*/ 951 h 1035"/>
                <a:gd name="T72" fmla="*/ 636 w 1077"/>
                <a:gd name="T73" fmla="*/ 962 h 1035"/>
                <a:gd name="T74" fmla="*/ 646 w 1077"/>
                <a:gd name="T75" fmla="*/ 972 h 1035"/>
                <a:gd name="T76" fmla="*/ 657 w 1077"/>
                <a:gd name="T77" fmla="*/ 981 h 1035"/>
                <a:gd name="T78" fmla="*/ 687 w 1077"/>
                <a:gd name="T79" fmla="*/ 991 h 1035"/>
                <a:gd name="T80" fmla="*/ 725 w 1077"/>
                <a:gd name="T81" fmla="*/ 997 h 1035"/>
                <a:gd name="T82" fmla="*/ 773 w 1077"/>
                <a:gd name="T83" fmla="*/ 999 h 1035"/>
                <a:gd name="T84" fmla="*/ 304 w 1077"/>
                <a:gd name="T85" fmla="*/ 1035 h 10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77" h="1035">
                  <a:moveTo>
                    <a:pt x="304" y="999"/>
                  </a:moveTo>
                  <a:lnTo>
                    <a:pt x="304" y="999"/>
                  </a:lnTo>
                  <a:lnTo>
                    <a:pt x="329" y="998"/>
                  </a:lnTo>
                  <a:lnTo>
                    <a:pt x="352" y="997"/>
                  </a:lnTo>
                  <a:lnTo>
                    <a:pt x="372" y="995"/>
                  </a:lnTo>
                  <a:lnTo>
                    <a:pt x="390" y="991"/>
                  </a:lnTo>
                  <a:lnTo>
                    <a:pt x="406" y="987"/>
                  </a:lnTo>
                  <a:lnTo>
                    <a:pt x="419" y="981"/>
                  </a:lnTo>
                  <a:lnTo>
                    <a:pt x="425" y="977"/>
                  </a:lnTo>
                  <a:lnTo>
                    <a:pt x="431" y="972"/>
                  </a:lnTo>
                  <a:lnTo>
                    <a:pt x="436" y="967"/>
                  </a:lnTo>
                  <a:lnTo>
                    <a:pt x="441" y="962"/>
                  </a:lnTo>
                  <a:lnTo>
                    <a:pt x="445" y="957"/>
                  </a:lnTo>
                  <a:lnTo>
                    <a:pt x="448" y="951"/>
                  </a:lnTo>
                  <a:lnTo>
                    <a:pt x="455" y="937"/>
                  </a:lnTo>
                  <a:lnTo>
                    <a:pt x="460" y="920"/>
                  </a:lnTo>
                  <a:lnTo>
                    <a:pt x="463" y="901"/>
                  </a:lnTo>
                  <a:lnTo>
                    <a:pt x="466" y="879"/>
                  </a:lnTo>
                  <a:lnTo>
                    <a:pt x="468" y="855"/>
                  </a:lnTo>
                  <a:lnTo>
                    <a:pt x="469" y="827"/>
                  </a:lnTo>
                  <a:lnTo>
                    <a:pt x="469" y="797"/>
                  </a:lnTo>
                  <a:lnTo>
                    <a:pt x="469" y="68"/>
                  </a:lnTo>
                  <a:lnTo>
                    <a:pt x="245" y="68"/>
                  </a:lnTo>
                  <a:lnTo>
                    <a:pt x="245" y="68"/>
                  </a:lnTo>
                  <a:lnTo>
                    <a:pt x="217" y="68"/>
                  </a:lnTo>
                  <a:lnTo>
                    <a:pt x="192" y="69"/>
                  </a:lnTo>
                  <a:lnTo>
                    <a:pt x="170" y="72"/>
                  </a:lnTo>
                  <a:lnTo>
                    <a:pt x="150" y="75"/>
                  </a:lnTo>
                  <a:lnTo>
                    <a:pt x="133" y="79"/>
                  </a:lnTo>
                  <a:lnTo>
                    <a:pt x="119" y="85"/>
                  </a:lnTo>
                  <a:lnTo>
                    <a:pt x="105" y="91"/>
                  </a:lnTo>
                  <a:lnTo>
                    <a:pt x="94" y="98"/>
                  </a:lnTo>
                  <a:lnTo>
                    <a:pt x="85" y="106"/>
                  </a:lnTo>
                  <a:lnTo>
                    <a:pt x="77" y="117"/>
                  </a:lnTo>
                  <a:lnTo>
                    <a:pt x="71" y="127"/>
                  </a:lnTo>
                  <a:lnTo>
                    <a:pt x="64" y="139"/>
                  </a:lnTo>
                  <a:lnTo>
                    <a:pt x="59" y="152"/>
                  </a:lnTo>
                  <a:lnTo>
                    <a:pt x="54" y="167"/>
                  </a:lnTo>
                  <a:lnTo>
                    <a:pt x="45" y="198"/>
                  </a:lnTo>
                  <a:lnTo>
                    <a:pt x="37" y="233"/>
                  </a:lnTo>
                  <a:lnTo>
                    <a:pt x="0" y="233"/>
                  </a:lnTo>
                  <a:lnTo>
                    <a:pt x="15" y="0"/>
                  </a:lnTo>
                  <a:lnTo>
                    <a:pt x="1061" y="0"/>
                  </a:lnTo>
                  <a:lnTo>
                    <a:pt x="1077" y="233"/>
                  </a:lnTo>
                  <a:lnTo>
                    <a:pt x="1040" y="233"/>
                  </a:lnTo>
                  <a:lnTo>
                    <a:pt x="1032" y="198"/>
                  </a:lnTo>
                  <a:lnTo>
                    <a:pt x="1032" y="198"/>
                  </a:lnTo>
                  <a:lnTo>
                    <a:pt x="1023" y="167"/>
                  </a:lnTo>
                  <a:lnTo>
                    <a:pt x="1017" y="152"/>
                  </a:lnTo>
                  <a:lnTo>
                    <a:pt x="1012" y="139"/>
                  </a:lnTo>
                  <a:lnTo>
                    <a:pt x="1006" y="127"/>
                  </a:lnTo>
                  <a:lnTo>
                    <a:pt x="1000" y="117"/>
                  </a:lnTo>
                  <a:lnTo>
                    <a:pt x="992" y="106"/>
                  </a:lnTo>
                  <a:lnTo>
                    <a:pt x="983" y="98"/>
                  </a:lnTo>
                  <a:lnTo>
                    <a:pt x="971" y="91"/>
                  </a:lnTo>
                  <a:lnTo>
                    <a:pt x="958" y="85"/>
                  </a:lnTo>
                  <a:lnTo>
                    <a:pt x="944" y="79"/>
                  </a:lnTo>
                  <a:lnTo>
                    <a:pt x="926" y="75"/>
                  </a:lnTo>
                  <a:lnTo>
                    <a:pt x="907" y="72"/>
                  </a:lnTo>
                  <a:lnTo>
                    <a:pt x="884" y="69"/>
                  </a:lnTo>
                  <a:lnTo>
                    <a:pt x="860" y="68"/>
                  </a:lnTo>
                  <a:lnTo>
                    <a:pt x="831" y="68"/>
                  </a:lnTo>
                  <a:lnTo>
                    <a:pt x="607" y="68"/>
                  </a:lnTo>
                  <a:lnTo>
                    <a:pt x="607" y="797"/>
                  </a:lnTo>
                  <a:lnTo>
                    <a:pt x="607" y="797"/>
                  </a:lnTo>
                  <a:lnTo>
                    <a:pt x="607" y="827"/>
                  </a:lnTo>
                  <a:lnTo>
                    <a:pt x="608" y="855"/>
                  </a:lnTo>
                  <a:lnTo>
                    <a:pt x="610" y="879"/>
                  </a:lnTo>
                  <a:lnTo>
                    <a:pt x="614" y="901"/>
                  </a:lnTo>
                  <a:lnTo>
                    <a:pt x="617" y="920"/>
                  </a:lnTo>
                  <a:lnTo>
                    <a:pt x="622" y="937"/>
                  </a:lnTo>
                  <a:lnTo>
                    <a:pt x="629" y="951"/>
                  </a:lnTo>
                  <a:lnTo>
                    <a:pt x="632" y="957"/>
                  </a:lnTo>
                  <a:lnTo>
                    <a:pt x="636" y="962"/>
                  </a:lnTo>
                  <a:lnTo>
                    <a:pt x="641" y="967"/>
                  </a:lnTo>
                  <a:lnTo>
                    <a:pt x="646" y="972"/>
                  </a:lnTo>
                  <a:lnTo>
                    <a:pt x="651" y="977"/>
                  </a:lnTo>
                  <a:lnTo>
                    <a:pt x="657" y="981"/>
                  </a:lnTo>
                  <a:lnTo>
                    <a:pt x="671" y="987"/>
                  </a:lnTo>
                  <a:lnTo>
                    <a:pt x="687" y="991"/>
                  </a:lnTo>
                  <a:lnTo>
                    <a:pt x="705" y="995"/>
                  </a:lnTo>
                  <a:lnTo>
                    <a:pt x="725" y="997"/>
                  </a:lnTo>
                  <a:lnTo>
                    <a:pt x="747" y="998"/>
                  </a:lnTo>
                  <a:lnTo>
                    <a:pt x="773" y="999"/>
                  </a:lnTo>
                  <a:lnTo>
                    <a:pt x="773" y="1035"/>
                  </a:lnTo>
                  <a:lnTo>
                    <a:pt x="304" y="1035"/>
                  </a:lnTo>
                  <a:lnTo>
                    <a:pt x="304" y="99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23" name="Freeform 21"/>
            <p:cNvSpPr>
              <a:spLocks noEditPoints="1"/>
            </p:cNvSpPr>
            <p:nvPr userDrawn="1"/>
          </p:nvSpPr>
          <p:spPr bwMode="auto">
            <a:xfrm>
              <a:off x="1811338" y="1154113"/>
              <a:ext cx="157163" cy="141288"/>
            </a:xfrm>
            <a:custGeom>
              <a:avLst/>
              <a:gdLst>
                <a:gd name="T0" fmla="*/ 0 w 1196"/>
                <a:gd name="T1" fmla="*/ 1029 h 1065"/>
                <a:gd name="T2" fmla="*/ 48 w 1196"/>
                <a:gd name="T3" fmla="*/ 1027 h 1065"/>
                <a:gd name="T4" fmla="*/ 86 w 1196"/>
                <a:gd name="T5" fmla="*/ 1022 h 1065"/>
                <a:gd name="T6" fmla="*/ 115 w 1196"/>
                <a:gd name="T7" fmla="*/ 1013 h 1065"/>
                <a:gd name="T8" fmla="*/ 137 w 1196"/>
                <a:gd name="T9" fmla="*/ 999 h 1065"/>
                <a:gd name="T10" fmla="*/ 156 w 1196"/>
                <a:gd name="T11" fmla="*/ 979 h 1065"/>
                <a:gd name="T12" fmla="*/ 172 w 1196"/>
                <a:gd name="T13" fmla="*/ 953 h 1065"/>
                <a:gd name="T14" fmla="*/ 188 w 1196"/>
                <a:gd name="T15" fmla="*/ 920 h 1065"/>
                <a:gd name="T16" fmla="*/ 586 w 1196"/>
                <a:gd name="T17" fmla="*/ 0 h 1065"/>
                <a:gd name="T18" fmla="*/ 990 w 1196"/>
                <a:gd name="T19" fmla="*/ 879 h 1065"/>
                <a:gd name="T20" fmla="*/ 1008 w 1196"/>
                <a:gd name="T21" fmla="*/ 920 h 1065"/>
                <a:gd name="T22" fmla="*/ 1025 w 1196"/>
                <a:gd name="T23" fmla="*/ 953 h 1065"/>
                <a:gd name="T24" fmla="*/ 1041 w 1196"/>
                <a:gd name="T25" fmla="*/ 979 h 1065"/>
                <a:gd name="T26" fmla="*/ 1060 w 1196"/>
                <a:gd name="T27" fmla="*/ 999 h 1065"/>
                <a:gd name="T28" fmla="*/ 1082 w 1196"/>
                <a:gd name="T29" fmla="*/ 1013 h 1065"/>
                <a:gd name="T30" fmla="*/ 1111 w 1196"/>
                <a:gd name="T31" fmla="*/ 1022 h 1065"/>
                <a:gd name="T32" fmla="*/ 1148 w 1196"/>
                <a:gd name="T33" fmla="*/ 1027 h 1065"/>
                <a:gd name="T34" fmla="*/ 1196 w 1196"/>
                <a:gd name="T35" fmla="*/ 1029 h 1065"/>
                <a:gd name="T36" fmla="*/ 717 w 1196"/>
                <a:gd name="T37" fmla="*/ 1065 h 1065"/>
                <a:gd name="T38" fmla="*/ 717 w 1196"/>
                <a:gd name="T39" fmla="*/ 1029 h 1065"/>
                <a:gd name="T40" fmla="*/ 766 w 1196"/>
                <a:gd name="T41" fmla="*/ 1027 h 1065"/>
                <a:gd name="T42" fmla="*/ 805 w 1196"/>
                <a:gd name="T43" fmla="*/ 1022 h 1065"/>
                <a:gd name="T44" fmla="*/ 834 w 1196"/>
                <a:gd name="T45" fmla="*/ 1013 h 1065"/>
                <a:gd name="T46" fmla="*/ 854 w 1196"/>
                <a:gd name="T47" fmla="*/ 998 h 1065"/>
                <a:gd name="T48" fmla="*/ 865 w 1196"/>
                <a:gd name="T49" fmla="*/ 981 h 1065"/>
                <a:gd name="T50" fmla="*/ 868 w 1196"/>
                <a:gd name="T51" fmla="*/ 958 h 1065"/>
                <a:gd name="T52" fmla="*/ 864 w 1196"/>
                <a:gd name="T53" fmla="*/ 931 h 1065"/>
                <a:gd name="T54" fmla="*/ 852 w 1196"/>
                <a:gd name="T55" fmla="*/ 897 h 1065"/>
                <a:gd name="T56" fmla="*/ 352 w 1196"/>
                <a:gd name="T57" fmla="*/ 706 h 1065"/>
                <a:gd name="T58" fmla="*/ 269 w 1196"/>
                <a:gd name="T59" fmla="*/ 897 h 1065"/>
                <a:gd name="T60" fmla="*/ 257 w 1196"/>
                <a:gd name="T61" fmla="*/ 930 h 1065"/>
                <a:gd name="T62" fmla="*/ 253 w 1196"/>
                <a:gd name="T63" fmla="*/ 957 h 1065"/>
                <a:gd name="T64" fmla="*/ 256 w 1196"/>
                <a:gd name="T65" fmla="*/ 980 h 1065"/>
                <a:gd name="T66" fmla="*/ 267 w 1196"/>
                <a:gd name="T67" fmla="*/ 998 h 1065"/>
                <a:gd name="T68" fmla="*/ 288 w 1196"/>
                <a:gd name="T69" fmla="*/ 1012 h 1065"/>
                <a:gd name="T70" fmla="*/ 316 w 1196"/>
                <a:gd name="T71" fmla="*/ 1021 h 1065"/>
                <a:gd name="T72" fmla="*/ 355 w 1196"/>
                <a:gd name="T73" fmla="*/ 1027 h 1065"/>
                <a:gd name="T74" fmla="*/ 403 w 1196"/>
                <a:gd name="T75" fmla="*/ 1029 h 1065"/>
                <a:gd name="T76" fmla="*/ 0 w 1196"/>
                <a:gd name="T77" fmla="*/ 1065 h 1065"/>
                <a:gd name="T78" fmla="*/ 740 w 1196"/>
                <a:gd name="T79" fmla="*/ 643 h 1065"/>
                <a:gd name="T80" fmla="*/ 380 w 1196"/>
                <a:gd name="T81" fmla="*/ 643 h 10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196" h="1065">
                  <a:moveTo>
                    <a:pt x="0" y="1029"/>
                  </a:moveTo>
                  <a:lnTo>
                    <a:pt x="0" y="1029"/>
                  </a:lnTo>
                  <a:lnTo>
                    <a:pt x="26" y="1028"/>
                  </a:lnTo>
                  <a:lnTo>
                    <a:pt x="48" y="1027"/>
                  </a:lnTo>
                  <a:lnTo>
                    <a:pt x="68" y="1025"/>
                  </a:lnTo>
                  <a:lnTo>
                    <a:pt x="86" y="1022"/>
                  </a:lnTo>
                  <a:lnTo>
                    <a:pt x="102" y="1018"/>
                  </a:lnTo>
                  <a:lnTo>
                    <a:pt x="115" y="1013"/>
                  </a:lnTo>
                  <a:lnTo>
                    <a:pt x="127" y="1007"/>
                  </a:lnTo>
                  <a:lnTo>
                    <a:pt x="137" y="999"/>
                  </a:lnTo>
                  <a:lnTo>
                    <a:pt x="148" y="990"/>
                  </a:lnTo>
                  <a:lnTo>
                    <a:pt x="156" y="979"/>
                  </a:lnTo>
                  <a:lnTo>
                    <a:pt x="164" y="967"/>
                  </a:lnTo>
                  <a:lnTo>
                    <a:pt x="172" y="953"/>
                  </a:lnTo>
                  <a:lnTo>
                    <a:pt x="180" y="937"/>
                  </a:lnTo>
                  <a:lnTo>
                    <a:pt x="188" y="920"/>
                  </a:lnTo>
                  <a:lnTo>
                    <a:pt x="207" y="879"/>
                  </a:lnTo>
                  <a:lnTo>
                    <a:pt x="586" y="0"/>
                  </a:lnTo>
                  <a:lnTo>
                    <a:pt x="609" y="0"/>
                  </a:lnTo>
                  <a:lnTo>
                    <a:pt x="990" y="879"/>
                  </a:lnTo>
                  <a:lnTo>
                    <a:pt x="990" y="879"/>
                  </a:lnTo>
                  <a:lnTo>
                    <a:pt x="1008" y="920"/>
                  </a:lnTo>
                  <a:lnTo>
                    <a:pt x="1017" y="937"/>
                  </a:lnTo>
                  <a:lnTo>
                    <a:pt x="1025" y="953"/>
                  </a:lnTo>
                  <a:lnTo>
                    <a:pt x="1033" y="967"/>
                  </a:lnTo>
                  <a:lnTo>
                    <a:pt x="1041" y="979"/>
                  </a:lnTo>
                  <a:lnTo>
                    <a:pt x="1049" y="990"/>
                  </a:lnTo>
                  <a:lnTo>
                    <a:pt x="1060" y="999"/>
                  </a:lnTo>
                  <a:lnTo>
                    <a:pt x="1070" y="1007"/>
                  </a:lnTo>
                  <a:lnTo>
                    <a:pt x="1082" y="1013"/>
                  </a:lnTo>
                  <a:lnTo>
                    <a:pt x="1095" y="1018"/>
                  </a:lnTo>
                  <a:lnTo>
                    <a:pt x="1111" y="1022"/>
                  </a:lnTo>
                  <a:lnTo>
                    <a:pt x="1128" y="1025"/>
                  </a:lnTo>
                  <a:lnTo>
                    <a:pt x="1148" y="1027"/>
                  </a:lnTo>
                  <a:lnTo>
                    <a:pt x="1170" y="1028"/>
                  </a:lnTo>
                  <a:lnTo>
                    <a:pt x="1196" y="1029"/>
                  </a:lnTo>
                  <a:lnTo>
                    <a:pt x="1196" y="1065"/>
                  </a:lnTo>
                  <a:lnTo>
                    <a:pt x="717" y="1065"/>
                  </a:lnTo>
                  <a:lnTo>
                    <a:pt x="717" y="1029"/>
                  </a:lnTo>
                  <a:lnTo>
                    <a:pt x="717" y="1029"/>
                  </a:lnTo>
                  <a:lnTo>
                    <a:pt x="743" y="1028"/>
                  </a:lnTo>
                  <a:lnTo>
                    <a:pt x="766" y="1027"/>
                  </a:lnTo>
                  <a:lnTo>
                    <a:pt x="787" y="1025"/>
                  </a:lnTo>
                  <a:lnTo>
                    <a:pt x="805" y="1022"/>
                  </a:lnTo>
                  <a:lnTo>
                    <a:pt x="820" y="1018"/>
                  </a:lnTo>
                  <a:lnTo>
                    <a:pt x="834" y="1013"/>
                  </a:lnTo>
                  <a:lnTo>
                    <a:pt x="845" y="1006"/>
                  </a:lnTo>
                  <a:lnTo>
                    <a:pt x="854" y="998"/>
                  </a:lnTo>
                  <a:lnTo>
                    <a:pt x="861" y="990"/>
                  </a:lnTo>
                  <a:lnTo>
                    <a:pt x="865" y="981"/>
                  </a:lnTo>
                  <a:lnTo>
                    <a:pt x="868" y="970"/>
                  </a:lnTo>
                  <a:lnTo>
                    <a:pt x="868" y="958"/>
                  </a:lnTo>
                  <a:lnTo>
                    <a:pt x="867" y="945"/>
                  </a:lnTo>
                  <a:lnTo>
                    <a:pt x="864" y="931"/>
                  </a:lnTo>
                  <a:lnTo>
                    <a:pt x="859" y="915"/>
                  </a:lnTo>
                  <a:lnTo>
                    <a:pt x="852" y="897"/>
                  </a:lnTo>
                  <a:lnTo>
                    <a:pt x="769" y="706"/>
                  </a:lnTo>
                  <a:lnTo>
                    <a:pt x="352" y="706"/>
                  </a:lnTo>
                  <a:lnTo>
                    <a:pt x="269" y="897"/>
                  </a:lnTo>
                  <a:lnTo>
                    <a:pt x="269" y="897"/>
                  </a:lnTo>
                  <a:lnTo>
                    <a:pt x="262" y="915"/>
                  </a:lnTo>
                  <a:lnTo>
                    <a:pt x="257" y="930"/>
                  </a:lnTo>
                  <a:lnTo>
                    <a:pt x="254" y="944"/>
                  </a:lnTo>
                  <a:lnTo>
                    <a:pt x="253" y="957"/>
                  </a:lnTo>
                  <a:lnTo>
                    <a:pt x="253" y="969"/>
                  </a:lnTo>
                  <a:lnTo>
                    <a:pt x="256" y="980"/>
                  </a:lnTo>
                  <a:lnTo>
                    <a:pt x="260" y="989"/>
                  </a:lnTo>
                  <a:lnTo>
                    <a:pt x="267" y="998"/>
                  </a:lnTo>
                  <a:lnTo>
                    <a:pt x="276" y="1006"/>
                  </a:lnTo>
                  <a:lnTo>
                    <a:pt x="288" y="1012"/>
                  </a:lnTo>
                  <a:lnTo>
                    <a:pt x="301" y="1017"/>
                  </a:lnTo>
                  <a:lnTo>
                    <a:pt x="316" y="1021"/>
                  </a:lnTo>
                  <a:lnTo>
                    <a:pt x="335" y="1025"/>
                  </a:lnTo>
                  <a:lnTo>
                    <a:pt x="355" y="1027"/>
                  </a:lnTo>
                  <a:lnTo>
                    <a:pt x="378" y="1028"/>
                  </a:lnTo>
                  <a:lnTo>
                    <a:pt x="403" y="1029"/>
                  </a:lnTo>
                  <a:lnTo>
                    <a:pt x="403" y="1065"/>
                  </a:lnTo>
                  <a:lnTo>
                    <a:pt x="0" y="1065"/>
                  </a:lnTo>
                  <a:lnTo>
                    <a:pt x="0" y="1029"/>
                  </a:lnTo>
                  <a:close/>
                  <a:moveTo>
                    <a:pt x="740" y="643"/>
                  </a:moveTo>
                  <a:lnTo>
                    <a:pt x="559" y="226"/>
                  </a:lnTo>
                  <a:lnTo>
                    <a:pt x="380" y="643"/>
                  </a:lnTo>
                  <a:lnTo>
                    <a:pt x="740" y="64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24" name="Freeform 22"/>
            <p:cNvSpPr>
              <a:spLocks/>
            </p:cNvSpPr>
            <p:nvPr userDrawn="1"/>
          </p:nvSpPr>
          <p:spPr bwMode="auto">
            <a:xfrm>
              <a:off x="1966913" y="1158876"/>
              <a:ext cx="142875" cy="136525"/>
            </a:xfrm>
            <a:custGeom>
              <a:avLst/>
              <a:gdLst>
                <a:gd name="T0" fmla="*/ 304 w 1077"/>
                <a:gd name="T1" fmla="*/ 999 h 1035"/>
                <a:gd name="T2" fmla="*/ 353 w 1077"/>
                <a:gd name="T3" fmla="*/ 997 h 1035"/>
                <a:gd name="T4" fmla="*/ 391 w 1077"/>
                <a:gd name="T5" fmla="*/ 991 h 1035"/>
                <a:gd name="T6" fmla="*/ 420 w 1077"/>
                <a:gd name="T7" fmla="*/ 981 h 1035"/>
                <a:gd name="T8" fmla="*/ 431 w 1077"/>
                <a:gd name="T9" fmla="*/ 972 h 1035"/>
                <a:gd name="T10" fmla="*/ 441 w 1077"/>
                <a:gd name="T11" fmla="*/ 962 h 1035"/>
                <a:gd name="T12" fmla="*/ 449 w 1077"/>
                <a:gd name="T13" fmla="*/ 951 h 1035"/>
                <a:gd name="T14" fmla="*/ 461 w 1077"/>
                <a:gd name="T15" fmla="*/ 920 h 1035"/>
                <a:gd name="T16" fmla="*/ 467 w 1077"/>
                <a:gd name="T17" fmla="*/ 879 h 1035"/>
                <a:gd name="T18" fmla="*/ 470 w 1077"/>
                <a:gd name="T19" fmla="*/ 827 h 1035"/>
                <a:gd name="T20" fmla="*/ 470 w 1077"/>
                <a:gd name="T21" fmla="*/ 68 h 1035"/>
                <a:gd name="T22" fmla="*/ 246 w 1077"/>
                <a:gd name="T23" fmla="*/ 68 h 1035"/>
                <a:gd name="T24" fmla="*/ 193 w 1077"/>
                <a:gd name="T25" fmla="*/ 69 h 1035"/>
                <a:gd name="T26" fmla="*/ 151 w 1077"/>
                <a:gd name="T27" fmla="*/ 75 h 1035"/>
                <a:gd name="T28" fmla="*/ 119 w 1077"/>
                <a:gd name="T29" fmla="*/ 85 h 1035"/>
                <a:gd name="T30" fmla="*/ 95 w 1077"/>
                <a:gd name="T31" fmla="*/ 98 h 1035"/>
                <a:gd name="T32" fmla="*/ 78 w 1077"/>
                <a:gd name="T33" fmla="*/ 117 h 1035"/>
                <a:gd name="T34" fmla="*/ 65 w 1077"/>
                <a:gd name="T35" fmla="*/ 139 h 1035"/>
                <a:gd name="T36" fmla="*/ 55 w 1077"/>
                <a:gd name="T37" fmla="*/ 167 h 1035"/>
                <a:gd name="T38" fmla="*/ 37 w 1077"/>
                <a:gd name="T39" fmla="*/ 233 h 1035"/>
                <a:gd name="T40" fmla="*/ 17 w 1077"/>
                <a:gd name="T41" fmla="*/ 0 h 1035"/>
                <a:gd name="T42" fmla="*/ 1077 w 1077"/>
                <a:gd name="T43" fmla="*/ 233 h 1035"/>
                <a:gd name="T44" fmla="*/ 1032 w 1077"/>
                <a:gd name="T45" fmla="*/ 198 h 1035"/>
                <a:gd name="T46" fmla="*/ 1024 w 1077"/>
                <a:gd name="T47" fmla="*/ 167 h 1035"/>
                <a:gd name="T48" fmla="*/ 1014 w 1077"/>
                <a:gd name="T49" fmla="*/ 139 h 1035"/>
                <a:gd name="T50" fmla="*/ 1000 w 1077"/>
                <a:gd name="T51" fmla="*/ 117 h 1035"/>
                <a:gd name="T52" fmla="*/ 983 w 1077"/>
                <a:gd name="T53" fmla="*/ 98 h 1035"/>
                <a:gd name="T54" fmla="*/ 960 w 1077"/>
                <a:gd name="T55" fmla="*/ 85 h 1035"/>
                <a:gd name="T56" fmla="*/ 927 w 1077"/>
                <a:gd name="T57" fmla="*/ 75 h 1035"/>
                <a:gd name="T58" fmla="*/ 886 w 1077"/>
                <a:gd name="T59" fmla="*/ 69 h 1035"/>
                <a:gd name="T60" fmla="*/ 833 w 1077"/>
                <a:gd name="T61" fmla="*/ 68 h 1035"/>
                <a:gd name="T62" fmla="*/ 608 w 1077"/>
                <a:gd name="T63" fmla="*/ 797 h 1035"/>
                <a:gd name="T64" fmla="*/ 609 w 1077"/>
                <a:gd name="T65" fmla="*/ 827 h 1035"/>
                <a:gd name="T66" fmla="*/ 611 w 1077"/>
                <a:gd name="T67" fmla="*/ 879 h 1035"/>
                <a:gd name="T68" fmla="*/ 618 w 1077"/>
                <a:gd name="T69" fmla="*/ 920 h 1035"/>
                <a:gd name="T70" fmla="*/ 629 w 1077"/>
                <a:gd name="T71" fmla="*/ 951 h 1035"/>
                <a:gd name="T72" fmla="*/ 637 w 1077"/>
                <a:gd name="T73" fmla="*/ 962 h 1035"/>
                <a:gd name="T74" fmla="*/ 647 w 1077"/>
                <a:gd name="T75" fmla="*/ 972 h 1035"/>
                <a:gd name="T76" fmla="*/ 658 w 1077"/>
                <a:gd name="T77" fmla="*/ 981 h 1035"/>
                <a:gd name="T78" fmla="*/ 688 w 1077"/>
                <a:gd name="T79" fmla="*/ 991 h 1035"/>
                <a:gd name="T80" fmla="*/ 725 w 1077"/>
                <a:gd name="T81" fmla="*/ 997 h 1035"/>
                <a:gd name="T82" fmla="*/ 773 w 1077"/>
                <a:gd name="T83" fmla="*/ 999 h 1035"/>
                <a:gd name="T84" fmla="*/ 304 w 1077"/>
                <a:gd name="T85" fmla="*/ 1035 h 10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77" h="1035">
                  <a:moveTo>
                    <a:pt x="304" y="999"/>
                  </a:moveTo>
                  <a:lnTo>
                    <a:pt x="304" y="999"/>
                  </a:lnTo>
                  <a:lnTo>
                    <a:pt x="330" y="998"/>
                  </a:lnTo>
                  <a:lnTo>
                    <a:pt x="353" y="997"/>
                  </a:lnTo>
                  <a:lnTo>
                    <a:pt x="373" y="995"/>
                  </a:lnTo>
                  <a:lnTo>
                    <a:pt x="391" y="991"/>
                  </a:lnTo>
                  <a:lnTo>
                    <a:pt x="406" y="987"/>
                  </a:lnTo>
                  <a:lnTo>
                    <a:pt x="420" y="981"/>
                  </a:lnTo>
                  <a:lnTo>
                    <a:pt x="426" y="977"/>
                  </a:lnTo>
                  <a:lnTo>
                    <a:pt x="431" y="972"/>
                  </a:lnTo>
                  <a:lnTo>
                    <a:pt x="436" y="967"/>
                  </a:lnTo>
                  <a:lnTo>
                    <a:pt x="441" y="962"/>
                  </a:lnTo>
                  <a:lnTo>
                    <a:pt x="445" y="957"/>
                  </a:lnTo>
                  <a:lnTo>
                    <a:pt x="449" y="951"/>
                  </a:lnTo>
                  <a:lnTo>
                    <a:pt x="455" y="937"/>
                  </a:lnTo>
                  <a:lnTo>
                    <a:pt x="461" y="920"/>
                  </a:lnTo>
                  <a:lnTo>
                    <a:pt x="465" y="901"/>
                  </a:lnTo>
                  <a:lnTo>
                    <a:pt x="467" y="879"/>
                  </a:lnTo>
                  <a:lnTo>
                    <a:pt x="469" y="855"/>
                  </a:lnTo>
                  <a:lnTo>
                    <a:pt x="470" y="827"/>
                  </a:lnTo>
                  <a:lnTo>
                    <a:pt x="470" y="797"/>
                  </a:lnTo>
                  <a:lnTo>
                    <a:pt x="470" y="68"/>
                  </a:lnTo>
                  <a:lnTo>
                    <a:pt x="246" y="68"/>
                  </a:lnTo>
                  <a:lnTo>
                    <a:pt x="246" y="68"/>
                  </a:lnTo>
                  <a:lnTo>
                    <a:pt x="217" y="68"/>
                  </a:lnTo>
                  <a:lnTo>
                    <a:pt x="193" y="69"/>
                  </a:lnTo>
                  <a:lnTo>
                    <a:pt x="170" y="72"/>
                  </a:lnTo>
                  <a:lnTo>
                    <a:pt x="151" y="75"/>
                  </a:lnTo>
                  <a:lnTo>
                    <a:pt x="134" y="79"/>
                  </a:lnTo>
                  <a:lnTo>
                    <a:pt x="119" y="85"/>
                  </a:lnTo>
                  <a:lnTo>
                    <a:pt x="107" y="91"/>
                  </a:lnTo>
                  <a:lnTo>
                    <a:pt x="95" y="98"/>
                  </a:lnTo>
                  <a:lnTo>
                    <a:pt x="86" y="106"/>
                  </a:lnTo>
                  <a:lnTo>
                    <a:pt x="78" y="117"/>
                  </a:lnTo>
                  <a:lnTo>
                    <a:pt x="71" y="127"/>
                  </a:lnTo>
                  <a:lnTo>
                    <a:pt x="65" y="139"/>
                  </a:lnTo>
                  <a:lnTo>
                    <a:pt x="60" y="152"/>
                  </a:lnTo>
                  <a:lnTo>
                    <a:pt x="55" y="167"/>
                  </a:lnTo>
                  <a:lnTo>
                    <a:pt x="45" y="198"/>
                  </a:lnTo>
                  <a:lnTo>
                    <a:pt x="37" y="233"/>
                  </a:lnTo>
                  <a:lnTo>
                    <a:pt x="0" y="233"/>
                  </a:lnTo>
                  <a:lnTo>
                    <a:pt x="17" y="0"/>
                  </a:lnTo>
                  <a:lnTo>
                    <a:pt x="1062" y="0"/>
                  </a:lnTo>
                  <a:lnTo>
                    <a:pt x="1077" y="233"/>
                  </a:lnTo>
                  <a:lnTo>
                    <a:pt x="1041" y="233"/>
                  </a:lnTo>
                  <a:lnTo>
                    <a:pt x="1032" y="198"/>
                  </a:lnTo>
                  <a:lnTo>
                    <a:pt x="1032" y="198"/>
                  </a:lnTo>
                  <a:lnTo>
                    <a:pt x="1024" y="167"/>
                  </a:lnTo>
                  <a:lnTo>
                    <a:pt x="1019" y="152"/>
                  </a:lnTo>
                  <a:lnTo>
                    <a:pt x="1014" y="139"/>
                  </a:lnTo>
                  <a:lnTo>
                    <a:pt x="1008" y="127"/>
                  </a:lnTo>
                  <a:lnTo>
                    <a:pt x="1000" y="117"/>
                  </a:lnTo>
                  <a:lnTo>
                    <a:pt x="992" y="106"/>
                  </a:lnTo>
                  <a:lnTo>
                    <a:pt x="983" y="98"/>
                  </a:lnTo>
                  <a:lnTo>
                    <a:pt x="972" y="91"/>
                  </a:lnTo>
                  <a:lnTo>
                    <a:pt x="960" y="85"/>
                  </a:lnTo>
                  <a:lnTo>
                    <a:pt x="944" y="79"/>
                  </a:lnTo>
                  <a:lnTo>
                    <a:pt x="927" y="75"/>
                  </a:lnTo>
                  <a:lnTo>
                    <a:pt x="907" y="72"/>
                  </a:lnTo>
                  <a:lnTo>
                    <a:pt x="886" y="69"/>
                  </a:lnTo>
                  <a:lnTo>
                    <a:pt x="860" y="68"/>
                  </a:lnTo>
                  <a:lnTo>
                    <a:pt x="833" y="68"/>
                  </a:lnTo>
                  <a:lnTo>
                    <a:pt x="608" y="68"/>
                  </a:lnTo>
                  <a:lnTo>
                    <a:pt x="608" y="797"/>
                  </a:lnTo>
                  <a:lnTo>
                    <a:pt x="608" y="797"/>
                  </a:lnTo>
                  <a:lnTo>
                    <a:pt x="609" y="827"/>
                  </a:lnTo>
                  <a:lnTo>
                    <a:pt x="609" y="855"/>
                  </a:lnTo>
                  <a:lnTo>
                    <a:pt x="611" y="879"/>
                  </a:lnTo>
                  <a:lnTo>
                    <a:pt x="614" y="901"/>
                  </a:lnTo>
                  <a:lnTo>
                    <a:pt x="618" y="920"/>
                  </a:lnTo>
                  <a:lnTo>
                    <a:pt x="623" y="937"/>
                  </a:lnTo>
                  <a:lnTo>
                    <a:pt x="629" y="951"/>
                  </a:lnTo>
                  <a:lnTo>
                    <a:pt x="633" y="957"/>
                  </a:lnTo>
                  <a:lnTo>
                    <a:pt x="637" y="962"/>
                  </a:lnTo>
                  <a:lnTo>
                    <a:pt x="642" y="967"/>
                  </a:lnTo>
                  <a:lnTo>
                    <a:pt x="647" y="972"/>
                  </a:lnTo>
                  <a:lnTo>
                    <a:pt x="653" y="977"/>
                  </a:lnTo>
                  <a:lnTo>
                    <a:pt x="658" y="981"/>
                  </a:lnTo>
                  <a:lnTo>
                    <a:pt x="672" y="987"/>
                  </a:lnTo>
                  <a:lnTo>
                    <a:pt x="688" y="991"/>
                  </a:lnTo>
                  <a:lnTo>
                    <a:pt x="705" y="995"/>
                  </a:lnTo>
                  <a:lnTo>
                    <a:pt x="725" y="997"/>
                  </a:lnTo>
                  <a:lnTo>
                    <a:pt x="748" y="998"/>
                  </a:lnTo>
                  <a:lnTo>
                    <a:pt x="773" y="999"/>
                  </a:lnTo>
                  <a:lnTo>
                    <a:pt x="773" y="1035"/>
                  </a:lnTo>
                  <a:lnTo>
                    <a:pt x="304" y="1035"/>
                  </a:lnTo>
                  <a:lnTo>
                    <a:pt x="304" y="99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25" name="Freeform 23"/>
            <p:cNvSpPr>
              <a:spLocks/>
            </p:cNvSpPr>
            <p:nvPr userDrawn="1"/>
          </p:nvSpPr>
          <p:spPr bwMode="auto">
            <a:xfrm>
              <a:off x="2141538" y="1154113"/>
              <a:ext cx="88900" cy="144463"/>
            </a:xfrm>
            <a:custGeom>
              <a:avLst/>
              <a:gdLst>
                <a:gd name="T0" fmla="*/ 39 w 683"/>
                <a:gd name="T1" fmla="*/ 752 h 1102"/>
                <a:gd name="T2" fmla="*/ 64 w 683"/>
                <a:gd name="T3" fmla="*/ 849 h 1102"/>
                <a:gd name="T4" fmla="*/ 104 w 683"/>
                <a:gd name="T5" fmla="*/ 921 h 1102"/>
                <a:gd name="T6" fmla="*/ 171 w 683"/>
                <a:gd name="T7" fmla="*/ 985 h 1102"/>
                <a:gd name="T8" fmla="*/ 273 w 683"/>
                <a:gd name="T9" fmla="*/ 1026 h 1102"/>
                <a:gd name="T10" fmla="*/ 377 w 683"/>
                <a:gd name="T11" fmla="*/ 1032 h 1102"/>
                <a:gd name="T12" fmla="*/ 476 w 683"/>
                <a:gd name="T13" fmla="*/ 1002 h 1102"/>
                <a:gd name="T14" fmla="*/ 544 w 683"/>
                <a:gd name="T15" fmla="*/ 937 h 1102"/>
                <a:gd name="T16" fmla="*/ 570 w 683"/>
                <a:gd name="T17" fmla="*/ 844 h 1102"/>
                <a:gd name="T18" fmla="*/ 555 w 683"/>
                <a:gd name="T19" fmla="*/ 787 h 1102"/>
                <a:gd name="T20" fmla="*/ 501 w 683"/>
                <a:gd name="T21" fmla="*/ 720 h 1102"/>
                <a:gd name="T22" fmla="*/ 413 w 683"/>
                <a:gd name="T23" fmla="*/ 659 h 1102"/>
                <a:gd name="T24" fmla="*/ 169 w 683"/>
                <a:gd name="T25" fmla="*/ 529 h 1102"/>
                <a:gd name="T26" fmla="*/ 86 w 683"/>
                <a:gd name="T27" fmla="*/ 455 h 1102"/>
                <a:gd name="T28" fmla="*/ 30 w 683"/>
                <a:gd name="T29" fmla="*/ 358 h 1102"/>
                <a:gd name="T30" fmla="*/ 14 w 683"/>
                <a:gd name="T31" fmla="*/ 265 h 1102"/>
                <a:gd name="T32" fmla="*/ 23 w 683"/>
                <a:gd name="T33" fmla="*/ 201 h 1102"/>
                <a:gd name="T34" fmla="*/ 46 w 683"/>
                <a:gd name="T35" fmla="*/ 142 h 1102"/>
                <a:gd name="T36" fmla="*/ 85 w 683"/>
                <a:gd name="T37" fmla="*/ 92 h 1102"/>
                <a:gd name="T38" fmla="*/ 136 w 683"/>
                <a:gd name="T39" fmla="*/ 52 h 1102"/>
                <a:gd name="T40" fmla="*/ 199 w 683"/>
                <a:gd name="T41" fmla="*/ 24 h 1102"/>
                <a:gd name="T42" fmla="*/ 269 w 683"/>
                <a:gd name="T43" fmla="*/ 9 h 1102"/>
                <a:gd name="T44" fmla="*/ 337 w 683"/>
                <a:gd name="T45" fmla="*/ 10 h 1102"/>
                <a:gd name="T46" fmla="*/ 411 w 683"/>
                <a:gd name="T47" fmla="*/ 25 h 1102"/>
                <a:gd name="T48" fmla="*/ 510 w 683"/>
                <a:gd name="T49" fmla="*/ 79 h 1102"/>
                <a:gd name="T50" fmla="*/ 540 w 683"/>
                <a:gd name="T51" fmla="*/ 46 h 1102"/>
                <a:gd name="T52" fmla="*/ 595 w 683"/>
                <a:gd name="T53" fmla="*/ 0 h 1102"/>
                <a:gd name="T54" fmla="*/ 552 w 683"/>
                <a:gd name="T55" fmla="*/ 326 h 1102"/>
                <a:gd name="T56" fmla="*/ 511 w 683"/>
                <a:gd name="T57" fmla="*/ 200 h 1102"/>
                <a:gd name="T58" fmla="*/ 473 w 683"/>
                <a:gd name="T59" fmla="*/ 145 h 1102"/>
                <a:gd name="T60" fmla="*/ 419 w 683"/>
                <a:gd name="T61" fmla="*/ 106 h 1102"/>
                <a:gd name="T62" fmla="*/ 348 w 683"/>
                <a:gd name="T63" fmla="*/ 82 h 1102"/>
                <a:gd name="T64" fmla="*/ 277 w 683"/>
                <a:gd name="T65" fmla="*/ 78 h 1102"/>
                <a:gd name="T66" fmla="*/ 200 w 683"/>
                <a:gd name="T67" fmla="*/ 104 h 1102"/>
                <a:gd name="T68" fmla="*/ 147 w 683"/>
                <a:gd name="T69" fmla="*/ 158 h 1102"/>
                <a:gd name="T70" fmla="*/ 128 w 683"/>
                <a:gd name="T71" fmla="*/ 231 h 1102"/>
                <a:gd name="T72" fmla="*/ 139 w 683"/>
                <a:gd name="T73" fmla="*/ 292 h 1102"/>
                <a:gd name="T74" fmla="*/ 190 w 683"/>
                <a:gd name="T75" fmla="*/ 355 h 1102"/>
                <a:gd name="T76" fmla="*/ 287 w 683"/>
                <a:gd name="T77" fmla="*/ 417 h 1102"/>
                <a:gd name="T78" fmla="*/ 548 w 683"/>
                <a:gd name="T79" fmla="*/ 556 h 1102"/>
                <a:gd name="T80" fmla="*/ 631 w 683"/>
                <a:gd name="T81" fmla="*/ 633 h 1102"/>
                <a:gd name="T82" fmla="*/ 674 w 683"/>
                <a:gd name="T83" fmla="*/ 720 h 1102"/>
                <a:gd name="T84" fmla="*/ 683 w 683"/>
                <a:gd name="T85" fmla="*/ 792 h 1102"/>
                <a:gd name="T86" fmla="*/ 673 w 683"/>
                <a:gd name="T87" fmla="*/ 874 h 1102"/>
                <a:gd name="T88" fmla="*/ 642 w 683"/>
                <a:gd name="T89" fmla="*/ 947 h 1102"/>
                <a:gd name="T90" fmla="*/ 596 w 683"/>
                <a:gd name="T91" fmla="*/ 1007 h 1102"/>
                <a:gd name="T92" fmla="*/ 536 w 683"/>
                <a:gd name="T93" fmla="*/ 1053 h 1102"/>
                <a:gd name="T94" fmla="*/ 465 w 683"/>
                <a:gd name="T95" fmla="*/ 1085 h 1102"/>
                <a:gd name="T96" fmla="*/ 387 w 683"/>
                <a:gd name="T97" fmla="*/ 1100 h 1102"/>
                <a:gd name="T98" fmla="*/ 307 w 683"/>
                <a:gd name="T99" fmla="*/ 1099 h 1102"/>
                <a:gd name="T100" fmla="*/ 208 w 683"/>
                <a:gd name="T101" fmla="*/ 1073 h 1102"/>
                <a:gd name="T102" fmla="*/ 95 w 683"/>
                <a:gd name="T103" fmla="*/ 1024 h 1102"/>
                <a:gd name="T104" fmla="*/ 62 w 683"/>
                <a:gd name="T105" fmla="*/ 1044 h 1102"/>
                <a:gd name="T106" fmla="*/ 35 w 683"/>
                <a:gd name="T107" fmla="*/ 1102 h 1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83" h="1102">
                  <a:moveTo>
                    <a:pt x="0" y="723"/>
                  </a:moveTo>
                  <a:lnTo>
                    <a:pt x="36" y="723"/>
                  </a:lnTo>
                  <a:lnTo>
                    <a:pt x="36" y="723"/>
                  </a:lnTo>
                  <a:lnTo>
                    <a:pt x="37" y="736"/>
                  </a:lnTo>
                  <a:lnTo>
                    <a:pt x="39" y="752"/>
                  </a:lnTo>
                  <a:lnTo>
                    <a:pt x="41" y="771"/>
                  </a:lnTo>
                  <a:lnTo>
                    <a:pt x="46" y="795"/>
                  </a:lnTo>
                  <a:lnTo>
                    <a:pt x="53" y="821"/>
                  </a:lnTo>
                  <a:lnTo>
                    <a:pt x="59" y="835"/>
                  </a:lnTo>
                  <a:lnTo>
                    <a:pt x="64" y="849"/>
                  </a:lnTo>
                  <a:lnTo>
                    <a:pt x="70" y="863"/>
                  </a:lnTo>
                  <a:lnTo>
                    <a:pt x="77" y="878"/>
                  </a:lnTo>
                  <a:lnTo>
                    <a:pt x="85" y="893"/>
                  </a:lnTo>
                  <a:lnTo>
                    <a:pt x="93" y="907"/>
                  </a:lnTo>
                  <a:lnTo>
                    <a:pt x="104" y="921"/>
                  </a:lnTo>
                  <a:lnTo>
                    <a:pt x="115" y="935"/>
                  </a:lnTo>
                  <a:lnTo>
                    <a:pt x="127" y="948"/>
                  </a:lnTo>
                  <a:lnTo>
                    <a:pt x="140" y="961"/>
                  </a:lnTo>
                  <a:lnTo>
                    <a:pt x="155" y="974"/>
                  </a:lnTo>
                  <a:lnTo>
                    <a:pt x="171" y="985"/>
                  </a:lnTo>
                  <a:lnTo>
                    <a:pt x="188" y="995"/>
                  </a:lnTo>
                  <a:lnTo>
                    <a:pt x="207" y="1004"/>
                  </a:lnTo>
                  <a:lnTo>
                    <a:pt x="227" y="1012"/>
                  </a:lnTo>
                  <a:lnTo>
                    <a:pt x="250" y="1020"/>
                  </a:lnTo>
                  <a:lnTo>
                    <a:pt x="273" y="1026"/>
                  </a:lnTo>
                  <a:lnTo>
                    <a:pt x="298" y="1030"/>
                  </a:lnTo>
                  <a:lnTo>
                    <a:pt x="325" y="1032"/>
                  </a:lnTo>
                  <a:lnTo>
                    <a:pt x="354" y="1033"/>
                  </a:lnTo>
                  <a:lnTo>
                    <a:pt x="354" y="1033"/>
                  </a:lnTo>
                  <a:lnTo>
                    <a:pt x="377" y="1032"/>
                  </a:lnTo>
                  <a:lnTo>
                    <a:pt x="398" y="1030"/>
                  </a:lnTo>
                  <a:lnTo>
                    <a:pt x="419" y="1025"/>
                  </a:lnTo>
                  <a:lnTo>
                    <a:pt x="439" y="1019"/>
                  </a:lnTo>
                  <a:lnTo>
                    <a:pt x="458" y="1011"/>
                  </a:lnTo>
                  <a:lnTo>
                    <a:pt x="476" y="1002"/>
                  </a:lnTo>
                  <a:lnTo>
                    <a:pt x="492" y="992"/>
                  </a:lnTo>
                  <a:lnTo>
                    <a:pt x="507" y="980"/>
                  </a:lnTo>
                  <a:lnTo>
                    <a:pt x="522" y="966"/>
                  </a:lnTo>
                  <a:lnTo>
                    <a:pt x="534" y="952"/>
                  </a:lnTo>
                  <a:lnTo>
                    <a:pt x="544" y="937"/>
                  </a:lnTo>
                  <a:lnTo>
                    <a:pt x="553" y="919"/>
                  </a:lnTo>
                  <a:lnTo>
                    <a:pt x="560" y="902"/>
                  </a:lnTo>
                  <a:lnTo>
                    <a:pt x="566" y="884"/>
                  </a:lnTo>
                  <a:lnTo>
                    <a:pt x="569" y="864"/>
                  </a:lnTo>
                  <a:lnTo>
                    <a:pt x="570" y="844"/>
                  </a:lnTo>
                  <a:lnTo>
                    <a:pt x="570" y="844"/>
                  </a:lnTo>
                  <a:lnTo>
                    <a:pt x="569" y="828"/>
                  </a:lnTo>
                  <a:lnTo>
                    <a:pt x="566" y="814"/>
                  </a:lnTo>
                  <a:lnTo>
                    <a:pt x="562" y="800"/>
                  </a:lnTo>
                  <a:lnTo>
                    <a:pt x="555" y="787"/>
                  </a:lnTo>
                  <a:lnTo>
                    <a:pt x="547" y="772"/>
                  </a:lnTo>
                  <a:lnTo>
                    <a:pt x="538" y="759"/>
                  </a:lnTo>
                  <a:lnTo>
                    <a:pt x="527" y="746"/>
                  </a:lnTo>
                  <a:lnTo>
                    <a:pt x="515" y="732"/>
                  </a:lnTo>
                  <a:lnTo>
                    <a:pt x="501" y="720"/>
                  </a:lnTo>
                  <a:lnTo>
                    <a:pt x="486" y="707"/>
                  </a:lnTo>
                  <a:lnTo>
                    <a:pt x="470" y="695"/>
                  </a:lnTo>
                  <a:lnTo>
                    <a:pt x="452" y="682"/>
                  </a:lnTo>
                  <a:lnTo>
                    <a:pt x="434" y="670"/>
                  </a:lnTo>
                  <a:lnTo>
                    <a:pt x="413" y="659"/>
                  </a:lnTo>
                  <a:lnTo>
                    <a:pt x="371" y="634"/>
                  </a:lnTo>
                  <a:lnTo>
                    <a:pt x="206" y="550"/>
                  </a:lnTo>
                  <a:lnTo>
                    <a:pt x="206" y="550"/>
                  </a:lnTo>
                  <a:lnTo>
                    <a:pt x="186" y="540"/>
                  </a:lnTo>
                  <a:lnTo>
                    <a:pt x="169" y="529"/>
                  </a:lnTo>
                  <a:lnTo>
                    <a:pt x="151" y="516"/>
                  </a:lnTo>
                  <a:lnTo>
                    <a:pt x="133" y="502"/>
                  </a:lnTo>
                  <a:lnTo>
                    <a:pt x="117" y="488"/>
                  </a:lnTo>
                  <a:lnTo>
                    <a:pt x="100" y="472"/>
                  </a:lnTo>
                  <a:lnTo>
                    <a:pt x="86" y="455"/>
                  </a:lnTo>
                  <a:lnTo>
                    <a:pt x="72" y="438"/>
                  </a:lnTo>
                  <a:lnTo>
                    <a:pt x="60" y="419"/>
                  </a:lnTo>
                  <a:lnTo>
                    <a:pt x="48" y="400"/>
                  </a:lnTo>
                  <a:lnTo>
                    <a:pt x="38" y="380"/>
                  </a:lnTo>
                  <a:lnTo>
                    <a:pt x="30" y="358"/>
                  </a:lnTo>
                  <a:lnTo>
                    <a:pt x="23" y="336"/>
                  </a:lnTo>
                  <a:lnTo>
                    <a:pt x="18" y="313"/>
                  </a:lnTo>
                  <a:lnTo>
                    <a:pt x="15" y="290"/>
                  </a:lnTo>
                  <a:lnTo>
                    <a:pt x="14" y="265"/>
                  </a:lnTo>
                  <a:lnTo>
                    <a:pt x="14" y="265"/>
                  </a:lnTo>
                  <a:lnTo>
                    <a:pt x="15" y="252"/>
                  </a:lnTo>
                  <a:lnTo>
                    <a:pt x="16" y="240"/>
                  </a:lnTo>
                  <a:lnTo>
                    <a:pt x="17" y="226"/>
                  </a:lnTo>
                  <a:lnTo>
                    <a:pt x="20" y="213"/>
                  </a:lnTo>
                  <a:lnTo>
                    <a:pt x="23" y="201"/>
                  </a:lnTo>
                  <a:lnTo>
                    <a:pt x="26" y="188"/>
                  </a:lnTo>
                  <a:lnTo>
                    <a:pt x="30" y="177"/>
                  </a:lnTo>
                  <a:lnTo>
                    <a:pt x="35" y="165"/>
                  </a:lnTo>
                  <a:lnTo>
                    <a:pt x="41" y="154"/>
                  </a:lnTo>
                  <a:lnTo>
                    <a:pt x="46" y="142"/>
                  </a:lnTo>
                  <a:lnTo>
                    <a:pt x="53" y="132"/>
                  </a:lnTo>
                  <a:lnTo>
                    <a:pt x="61" y="121"/>
                  </a:lnTo>
                  <a:lnTo>
                    <a:pt x="68" y="112"/>
                  </a:lnTo>
                  <a:lnTo>
                    <a:pt x="76" y="101"/>
                  </a:lnTo>
                  <a:lnTo>
                    <a:pt x="85" y="92"/>
                  </a:lnTo>
                  <a:lnTo>
                    <a:pt x="94" y="83"/>
                  </a:lnTo>
                  <a:lnTo>
                    <a:pt x="105" y="75"/>
                  </a:lnTo>
                  <a:lnTo>
                    <a:pt x="115" y="67"/>
                  </a:lnTo>
                  <a:lnTo>
                    <a:pt x="125" y="60"/>
                  </a:lnTo>
                  <a:lnTo>
                    <a:pt x="136" y="52"/>
                  </a:lnTo>
                  <a:lnTo>
                    <a:pt x="147" y="45"/>
                  </a:lnTo>
                  <a:lnTo>
                    <a:pt x="160" y="39"/>
                  </a:lnTo>
                  <a:lnTo>
                    <a:pt x="172" y="34"/>
                  </a:lnTo>
                  <a:lnTo>
                    <a:pt x="185" y="29"/>
                  </a:lnTo>
                  <a:lnTo>
                    <a:pt x="199" y="24"/>
                  </a:lnTo>
                  <a:lnTo>
                    <a:pt x="212" y="20"/>
                  </a:lnTo>
                  <a:lnTo>
                    <a:pt x="226" y="17"/>
                  </a:lnTo>
                  <a:lnTo>
                    <a:pt x="239" y="14"/>
                  </a:lnTo>
                  <a:lnTo>
                    <a:pt x="255" y="12"/>
                  </a:lnTo>
                  <a:lnTo>
                    <a:pt x="269" y="9"/>
                  </a:lnTo>
                  <a:lnTo>
                    <a:pt x="284" y="8"/>
                  </a:lnTo>
                  <a:lnTo>
                    <a:pt x="300" y="8"/>
                  </a:lnTo>
                  <a:lnTo>
                    <a:pt x="300" y="8"/>
                  </a:lnTo>
                  <a:lnTo>
                    <a:pt x="319" y="8"/>
                  </a:lnTo>
                  <a:lnTo>
                    <a:pt x="337" y="10"/>
                  </a:lnTo>
                  <a:lnTo>
                    <a:pt x="353" y="12"/>
                  </a:lnTo>
                  <a:lnTo>
                    <a:pt x="369" y="15"/>
                  </a:lnTo>
                  <a:lnTo>
                    <a:pt x="384" y="18"/>
                  </a:lnTo>
                  <a:lnTo>
                    <a:pt x="398" y="21"/>
                  </a:lnTo>
                  <a:lnTo>
                    <a:pt x="411" y="25"/>
                  </a:lnTo>
                  <a:lnTo>
                    <a:pt x="425" y="30"/>
                  </a:lnTo>
                  <a:lnTo>
                    <a:pt x="448" y="40"/>
                  </a:lnTo>
                  <a:lnTo>
                    <a:pt x="471" y="52"/>
                  </a:lnTo>
                  <a:lnTo>
                    <a:pt x="491" y="66"/>
                  </a:lnTo>
                  <a:lnTo>
                    <a:pt x="510" y="79"/>
                  </a:lnTo>
                  <a:lnTo>
                    <a:pt x="510" y="79"/>
                  </a:lnTo>
                  <a:lnTo>
                    <a:pt x="519" y="73"/>
                  </a:lnTo>
                  <a:lnTo>
                    <a:pt x="526" y="65"/>
                  </a:lnTo>
                  <a:lnTo>
                    <a:pt x="533" y="57"/>
                  </a:lnTo>
                  <a:lnTo>
                    <a:pt x="540" y="46"/>
                  </a:lnTo>
                  <a:lnTo>
                    <a:pt x="546" y="36"/>
                  </a:lnTo>
                  <a:lnTo>
                    <a:pt x="552" y="25"/>
                  </a:lnTo>
                  <a:lnTo>
                    <a:pt x="557" y="13"/>
                  </a:lnTo>
                  <a:lnTo>
                    <a:pt x="561" y="0"/>
                  </a:lnTo>
                  <a:lnTo>
                    <a:pt x="595" y="0"/>
                  </a:lnTo>
                  <a:lnTo>
                    <a:pt x="595" y="380"/>
                  </a:lnTo>
                  <a:lnTo>
                    <a:pt x="560" y="380"/>
                  </a:lnTo>
                  <a:lnTo>
                    <a:pt x="560" y="380"/>
                  </a:lnTo>
                  <a:lnTo>
                    <a:pt x="556" y="353"/>
                  </a:lnTo>
                  <a:lnTo>
                    <a:pt x="552" y="326"/>
                  </a:lnTo>
                  <a:lnTo>
                    <a:pt x="547" y="300"/>
                  </a:lnTo>
                  <a:lnTo>
                    <a:pt x="541" y="274"/>
                  </a:lnTo>
                  <a:lnTo>
                    <a:pt x="533" y="249"/>
                  </a:lnTo>
                  <a:lnTo>
                    <a:pt x="523" y="223"/>
                  </a:lnTo>
                  <a:lnTo>
                    <a:pt x="511" y="200"/>
                  </a:lnTo>
                  <a:lnTo>
                    <a:pt x="504" y="187"/>
                  </a:lnTo>
                  <a:lnTo>
                    <a:pt x="497" y="177"/>
                  </a:lnTo>
                  <a:lnTo>
                    <a:pt x="490" y="166"/>
                  </a:lnTo>
                  <a:lnTo>
                    <a:pt x="482" y="156"/>
                  </a:lnTo>
                  <a:lnTo>
                    <a:pt x="473" y="145"/>
                  </a:lnTo>
                  <a:lnTo>
                    <a:pt x="463" y="136"/>
                  </a:lnTo>
                  <a:lnTo>
                    <a:pt x="453" y="128"/>
                  </a:lnTo>
                  <a:lnTo>
                    <a:pt x="443" y="120"/>
                  </a:lnTo>
                  <a:lnTo>
                    <a:pt x="431" y="112"/>
                  </a:lnTo>
                  <a:lnTo>
                    <a:pt x="419" y="106"/>
                  </a:lnTo>
                  <a:lnTo>
                    <a:pt x="406" y="99"/>
                  </a:lnTo>
                  <a:lnTo>
                    <a:pt x="393" y="93"/>
                  </a:lnTo>
                  <a:lnTo>
                    <a:pt x="379" y="89"/>
                  </a:lnTo>
                  <a:lnTo>
                    <a:pt x="363" y="85"/>
                  </a:lnTo>
                  <a:lnTo>
                    <a:pt x="348" y="82"/>
                  </a:lnTo>
                  <a:lnTo>
                    <a:pt x="331" y="79"/>
                  </a:lnTo>
                  <a:lnTo>
                    <a:pt x="313" y="78"/>
                  </a:lnTo>
                  <a:lnTo>
                    <a:pt x="295" y="78"/>
                  </a:lnTo>
                  <a:lnTo>
                    <a:pt x="295" y="78"/>
                  </a:lnTo>
                  <a:lnTo>
                    <a:pt x="277" y="78"/>
                  </a:lnTo>
                  <a:lnTo>
                    <a:pt x="260" y="81"/>
                  </a:lnTo>
                  <a:lnTo>
                    <a:pt x="244" y="84"/>
                  </a:lnTo>
                  <a:lnTo>
                    <a:pt x="228" y="89"/>
                  </a:lnTo>
                  <a:lnTo>
                    <a:pt x="214" y="95"/>
                  </a:lnTo>
                  <a:lnTo>
                    <a:pt x="200" y="104"/>
                  </a:lnTo>
                  <a:lnTo>
                    <a:pt x="187" y="112"/>
                  </a:lnTo>
                  <a:lnTo>
                    <a:pt x="175" y="122"/>
                  </a:lnTo>
                  <a:lnTo>
                    <a:pt x="165" y="133"/>
                  </a:lnTo>
                  <a:lnTo>
                    <a:pt x="156" y="144"/>
                  </a:lnTo>
                  <a:lnTo>
                    <a:pt x="147" y="158"/>
                  </a:lnTo>
                  <a:lnTo>
                    <a:pt x="140" y="171"/>
                  </a:lnTo>
                  <a:lnTo>
                    <a:pt x="135" y="185"/>
                  </a:lnTo>
                  <a:lnTo>
                    <a:pt x="131" y="200"/>
                  </a:lnTo>
                  <a:lnTo>
                    <a:pt x="129" y="215"/>
                  </a:lnTo>
                  <a:lnTo>
                    <a:pt x="128" y="231"/>
                  </a:lnTo>
                  <a:lnTo>
                    <a:pt x="128" y="231"/>
                  </a:lnTo>
                  <a:lnTo>
                    <a:pt x="128" y="248"/>
                  </a:lnTo>
                  <a:lnTo>
                    <a:pt x="131" y="263"/>
                  </a:lnTo>
                  <a:lnTo>
                    <a:pt x="134" y="277"/>
                  </a:lnTo>
                  <a:lnTo>
                    <a:pt x="139" y="292"/>
                  </a:lnTo>
                  <a:lnTo>
                    <a:pt x="146" y="305"/>
                  </a:lnTo>
                  <a:lnTo>
                    <a:pt x="155" y="317"/>
                  </a:lnTo>
                  <a:lnTo>
                    <a:pt x="165" y="331"/>
                  </a:lnTo>
                  <a:lnTo>
                    <a:pt x="177" y="343"/>
                  </a:lnTo>
                  <a:lnTo>
                    <a:pt x="190" y="355"/>
                  </a:lnTo>
                  <a:lnTo>
                    <a:pt x="206" y="366"/>
                  </a:lnTo>
                  <a:lnTo>
                    <a:pt x="223" y="379"/>
                  </a:lnTo>
                  <a:lnTo>
                    <a:pt x="243" y="392"/>
                  </a:lnTo>
                  <a:lnTo>
                    <a:pt x="263" y="404"/>
                  </a:lnTo>
                  <a:lnTo>
                    <a:pt x="287" y="417"/>
                  </a:lnTo>
                  <a:lnTo>
                    <a:pt x="339" y="445"/>
                  </a:lnTo>
                  <a:lnTo>
                    <a:pt x="502" y="530"/>
                  </a:lnTo>
                  <a:lnTo>
                    <a:pt x="502" y="530"/>
                  </a:lnTo>
                  <a:lnTo>
                    <a:pt x="526" y="542"/>
                  </a:lnTo>
                  <a:lnTo>
                    <a:pt x="548" y="556"/>
                  </a:lnTo>
                  <a:lnTo>
                    <a:pt x="568" y="571"/>
                  </a:lnTo>
                  <a:lnTo>
                    <a:pt x="586" y="585"/>
                  </a:lnTo>
                  <a:lnTo>
                    <a:pt x="604" y="601"/>
                  </a:lnTo>
                  <a:lnTo>
                    <a:pt x="618" y="617"/>
                  </a:lnTo>
                  <a:lnTo>
                    <a:pt x="631" y="633"/>
                  </a:lnTo>
                  <a:lnTo>
                    <a:pt x="642" y="651"/>
                  </a:lnTo>
                  <a:lnTo>
                    <a:pt x="653" y="667"/>
                  </a:lnTo>
                  <a:lnTo>
                    <a:pt x="661" y="684"/>
                  </a:lnTo>
                  <a:lnTo>
                    <a:pt x="668" y="703"/>
                  </a:lnTo>
                  <a:lnTo>
                    <a:pt x="674" y="720"/>
                  </a:lnTo>
                  <a:lnTo>
                    <a:pt x="678" y="738"/>
                  </a:lnTo>
                  <a:lnTo>
                    <a:pt x="681" y="756"/>
                  </a:lnTo>
                  <a:lnTo>
                    <a:pt x="682" y="774"/>
                  </a:lnTo>
                  <a:lnTo>
                    <a:pt x="683" y="792"/>
                  </a:lnTo>
                  <a:lnTo>
                    <a:pt x="683" y="792"/>
                  </a:lnTo>
                  <a:lnTo>
                    <a:pt x="683" y="809"/>
                  </a:lnTo>
                  <a:lnTo>
                    <a:pt x="681" y="826"/>
                  </a:lnTo>
                  <a:lnTo>
                    <a:pt x="679" y="843"/>
                  </a:lnTo>
                  <a:lnTo>
                    <a:pt x="676" y="859"/>
                  </a:lnTo>
                  <a:lnTo>
                    <a:pt x="673" y="874"/>
                  </a:lnTo>
                  <a:lnTo>
                    <a:pt x="668" y="890"/>
                  </a:lnTo>
                  <a:lnTo>
                    <a:pt x="663" y="905"/>
                  </a:lnTo>
                  <a:lnTo>
                    <a:pt x="657" y="919"/>
                  </a:lnTo>
                  <a:lnTo>
                    <a:pt x="651" y="934"/>
                  </a:lnTo>
                  <a:lnTo>
                    <a:pt x="642" y="947"/>
                  </a:lnTo>
                  <a:lnTo>
                    <a:pt x="634" y="960"/>
                  </a:lnTo>
                  <a:lnTo>
                    <a:pt x="626" y="973"/>
                  </a:lnTo>
                  <a:lnTo>
                    <a:pt x="617" y="985"/>
                  </a:lnTo>
                  <a:lnTo>
                    <a:pt x="607" y="996"/>
                  </a:lnTo>
                  <a:lnTo>
                    <a:pt x="596" y="1007"/>
                  </a:lnTo>
                  <a:lnTo>
                    <a:pt x="585" y="1018"/>
                  </a:lnTo>
                  <a:lnTo>
                    <a:pt x="574" y="1028"/>
                  </a:lnTo>
                  <a:lnTo>
                    <a:pt x="562" y="1037"/>
                  </a:lnTo>
                  <a:lnTo>
                    <a:pt x="549" y="1045"/>
                  </a:lnTo>
                  <a:lnTo>
                    <a:pt x="536" y="1053"/>
                  </a:lnTo>
                  <a:lnTo>
                    <a:pt x="523" y="1062"/>
                  </a:lnTo>
                  <a:lnTo>
                    <a:pt x="509" y="1068"/>
                  </a:lnTo>
                  <a:lnTo>
                    <a:pt x="495" y="1075"/>
                  </a:lnTo>
                  <a:lnTo>
                    <a:pt x="480" y="1080"/>
                  </a:lnTo>
                  <a:lnTo>
                    <a:pt x="465" y="1085"/>
                  </a:lnTo>
                  <a:lnTo>
                    <a:pt x="450" y="1089"/>
                  </a:lnTo>
                  <a:lnTo>
                    <a:pt x="435" y="1093"/>
                  </a:lnTo>
                  <a:lnTo>
                    <a:pt x="419" y="1096"/>
                  </a:lnTo>
                  <a:lnTo>
                    <a:pt x="403" y="1099"/>
                  </a:lnTo>
                  <a:lnTo>
                    <a:pt x="387" y="1100"/>
                  </a:lnTo>
                  <a:lnTo>
                    <a:pt x="370" y="1101"/>
                  </a:lnTo>
                  <a:lnTo>
                    <a:pt x="354" y="1102"/>
                  </a:lnTo>
                  <a:lnTo>
                    <a:pt x="354" y="1102"/>
                  </a:lnTo>
                  <a:lnTo>
                    <a:pt x="329" y="1101"/>
                  </a:lnTo>
                  <a:lnTo>
                    <a:pt x="307" y="1099"/>
                  </a:lnTo>
                  <a:lnTo>
                    <a:pt x="286" y="1095"/>
                  </a:lnTo>
                  <a:lnTo>
                    <a:pt x="264" y="1091"/>
                  </a:lnTo>
                  <a:lnTo>
                    <a:pt x="245" y="1086"/>
                  </a:lnTo>
                  <a:lnTo>
                    <a:pt x="225" y="1080"/>
                  </a:lnTo>
                  <a:lnTo>
                    <a:pt x="208" y="1073"/>
                  </a:lnTo>
                  <a:lnTo>
                    <a:pt x="190" y="1067"/>
                  </a:lnTo>
                  <a:lnTo>
                    <a:pt x="160" y="1052"/>
                  </a:lnTo>
                  <a:lnTo>
                    <a:pt x="131" y="1039"/>
                  </a:lnTo>
                  <a:lnTo>
                    <a:pt x="107" y="1028"/>
                  </a:lnTo>
                  <a:lnTo>
                    <a:pt x="95" y="1024"/>
                  </a:lnTo>
                  <a:lnTo>
                    <a:pt x="85" y="1021"/>
                  </a:lnTo>
                  <a:lnTo>
                    <a:pt x="85" y="1021"/>
                  </a:lnTo>
                  <a:lnTo>
                    <a:pt x="77" y="1028"/>
                  </a:lnTo>
                  <a:lnTo>
                    <a:pt x="70" y="1036"/>
                  </a:lnTo>
                  <a:lnTo>
                    <a:pt x="62" y="1044"/>
                  </a:lnTo>
                  <a:lnTo>
                    <a:pt x="55" y="1053"/>
                  </a:lnTo>
                  <a:lnTo>
                    <a:pt x="49" y="1065"/>
                  </a:lnTo>
                  <a:lnTo>
                    <a:pt x="43" y="1076"/>
                  </a:lnTo>
                  <a:lnTo>
                    <a:pt x="38" y="1088"/>
                  </a:lnTo>
                  <a:lnTo>
                    <a:pt x="35" y="1102"/>
                  </a:lnTo>
                  <a:lnTo>
                    <a:pt x="0" y="1102"/>
                  </a:lnTo>
                  <a:lnTo>
                    <a:pt x="0" y="7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26" name="Freeform 24"/>
            <p:cNvSpPr>
              <a:spLocks noEditPoints="1"/>
            </p:cNvSpPr>
            <p:nvPr userDrawn="1"/>
          </p:nvSpPr>
          <p:spPr bwMode="auto">
            <a:xfrm>
              <a:off x="2270126" y="1158876"/>
              <a:ext cx="133350" cy="136525"/>
            </a:xfrm>
            <a:custGeom>
              <a:avLst/>
              <a:gdLst>
                <a:gd name="T0" fmla="*/ 49 w 1009"/>
                <a:gd name="T1" fmla="*/ 997 h 1035"/>
                <a:gd name="T2" fmla="*/ 115 w 1009"/>
                <a:gd name="T3" fmla="*/ 981 h 1035"/>
                <a:gd name="T4" fmla="*/ 136 w 1009"/>
                <a:gd name="T5" fmla="*/ 962 h 1035"/>
                <a:gd name="T6" fmla="*/ 155 w 1009"/>
                <a:gd name="T7" fmla="*/ 920 h 1035"/>
                <a:gd name="T8" fmla="*/ 163 w 1009"/>
                <a:gd name="T9" fmla="*/ 827 h 1035"/>
                <a:gd name="T10" fmla="*/ 163 w 1009"/>
                <a:gd name="T11" fmla="*/ 206 h 1035"/>
                <a:gd name="T12" fmla="*/ 155 w 1009"/>
                <a:gd name="T13" fmla="*/ 114 h 1035"/>
                <a:gd name="T14" fmla="*/ 136 w 1009"/>
                <a:gd name="T15" fmla="*/ 72 h 1035"/>
                <a:gd name="T16" fmla="*/ 115 w 1009"/>
                <a:gd name="T17" fmla="*/ 54 h 1035"/>
                <a:gd name="T18" fmla="*/ 49 w 1009"/>
                <a:gd name="T19" fmla="*/ 38 h 1035"/>
                <a:gd name="T20" fmla="*/ 456 w 1009"/>
                <a:gd name="T21" fmla="*/ 0 h 1035"/>
                <a:gd name="T22" fmla="*/ 520 w 1009"/>
                <a:gd name="T23" fmla="*/ 3 h 1035"/>
                <a:gd name="T24" fmla="*/ 597 w 1009"/>
                <a:gd name="T25" fmla="*/ 17 h 1035"/>
                <a:gd name="T26" fmla="*/ 663 w 1009"/>
                <a:gd name="T27" fmla="*/ 42 h 1035"/>
                <a:gd name="T28" fmla="*/ 718 w 1009"/>
                <a:gd name="T29" fmla="*/ 76 h 1035"/>
                <a:gd name="T30" fmla="*/ 763 w 1009"/>
                <a:gd name="T31" fmla="*/ 118 h 1035"/>
                <a:gd name="T32" fmla="*/ 796 w 1009"/>
                <a:gd name="T33" fmla="*/ 166 h 1035"/>
                <a:gd name="T34" fmla="*/ 817 w 1009"/>
                <a:gd name="T35" fmla="*/ 219 h 1035"/>
                <a:gd name="T36" fmla="*/ 826 w 1009"/>
                <a:gd name="T37" fmla="*/ 276 h 1035"/>
                <a:gd name="T38" fmla="*/ 825 w 1009"/>
                <a:gd name="T39" fmla="*/ 319 h 1035"/>
                <a:gd name="T40" fmla="*/ 815 w 1009"/>
                <a:gd name="T41" fmla="*/ 372 h 1035"/>
                <a:gd name="T42" fmla="*/ 794 w 1009"/>
                <a:gd name="T43" fmla="*/ 421 h 1035"/>
                <a:gd name="T44" fmla="*/ 764 w 1009"/>
                <a:gd name="T45" fmla="*/ 465 h 1035"/>
                <a:gd name="T46" fmla="*/ 726 w 1009"/>
                <a:gd name="T47" fmla="*/ 503 h 1035"/>
                <a:gd name="T48" fmla="*/ 677 w 1009"/>
                <a:gd name="T49" fmla="*/ 535 h 1035"/>
                <a:gd name="T50" fmla="*/ 620 w 1009"/>
                <a:gd name="T51" fmla="*/ 559 h 1035"/>
                <a:gd name="T52" fmla="*/ 555 w 1009"/>
                <a:gd name="T53" fmla="*/ 576 h 1035"/>
                <a:gd name="T54" fmla="*/ 689 w 1009"/>
                <a:gd name="T55" fmla="*/ 779 h 1035"/>
                <a:gd name="T56" fmla="*/ 767 w 1009"/>
                <a:gd name="T57" fmla="*/ 863 h 1035"/>
                <a:gd name="T58" fmla="*/ 848 w 1009"/>
                <a:gd name="T59" fmla="*/ 929 h 1035"/>
                <a:gd name="T60" fmla="*/ 930 w 1009"/>
                <a:gd name="T61" fmla="*/ 977 h 1035"/>
                <a:gd name="T62" fmla="*/ 1009 w 1009"/>
                <a:gd name="T63" fmla="*/ 999 h 1035"/>
                <a:gd name="T64" fmla="*/ 302 w 1009"/>
                <a:gd name="T65" fmla="*/ 581 h 1035"/>
                <a:gd name="T66" fmla="*/ 303 w 1009"/>
                <a:gd name="T67" fmla="*/ 855 h 1035"/>
                <a:gd name="T68" fmla="*/ 316 w 1009"/>
                <a:gd name="T69" fmla="*/ 937 h 1035"/>
                <a:gd name="T70" fmla="*/ 335 w 1009"/>
                <a:gd name="T71" fmla="*/ 967 h 1035"/>
                <a:gd name="T72" fmla="*/ 365 w 1009"/>
                <a:gd name="T73" fmla="*/ 987 h 1035"/>
                <a:gd name="T74" fmla="*/ 440 w 1009"/>
                <a:gd name="T75" fmla="*/ 998 h 1035"/>
                <a:gd name="T76" fmla="*/ 0 w 1009"/>
                <a:gd name="T77" fmla="*/ 999 h 1035"/>
                <a:gd name="T78" fmla="*/ 494 w 1009"/>
                <a:gd name="T79" fmla="*/ 516 h 1035"/>
                <a:gd name="T80" fmla="*/ 541 w 1009"/>
                <a:gd name="T81" fmla="*/ 505 h 1035"/>
                <a:gd name="T82" fmla="*/ 580 w 1009"/>
                <a:gd name="T83" fmla="*/ 486 h 1035"/>
                <a:gd name="T84" fmla="*/ 633 w 1009"/>
                <a:gd name="T85" fmla="*/ 437 h 1035"/>
                <a:gd name="T86" fmla="*/ 665 w 1009"/>
                <a:gd name="T87" fmla="*/ 359 h 1035"/>
                <a:gd name="T88" fmla="*/ 672 w 1009"/>
                <a:gd name="T89" fmla="*/ 291 h 1035"/>
                <a:gd name="T90" fmla="*/ 660 w 1009"/>
                <a:gd name="T91" fmla="*/ 204 h 1035"/>
                <a:gd name="T92" fmla="*/ 619 w 1009"/>
                <a:gd name="T93" fmla="*/ 131 h 1035"/>
                <a:gd name="T94" fmla="*/ 571 w 1009"/>
                <a:gd name="T95" fmla="*/ 91 h 1035"/>
                <a:gd name="T96" fmla="*/ 529 w 1009"/>
                <a:gd name="T97" fmla="*/ 74 h 1035"/>
                <a:gd name="T98" fmla="*/ 481 w 1009"/>
                <a:gd name="T99" fmla="*/ 65 h 1035"/>
                <a:gd name="T100" fmla="*/ 302 w 1009"/>
                <a:gd name="T101" fmla="*/ 519 h 10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009" h="1035">
                  <a:moveTo>
                    <a:pt x="0" y="999"/>
                  </a:moveTo>
                  <a:lnTo>
                    <a:pt x="0" y="999"/>
                  </a:lnTo>
                  <a:lnTo>
                    <a:pt x="25" y="998"/>
                  </a:lnTo>
                  <a:lnTo>
                    <a:pt x="49" y="997"/>
                  </a:lnTo>
                  <a:lnTo>
                    <a:pt x="68" y="995"/>
                  </a:lnTo>
                  <a:lnTo>
                    <a:pt x="87" y="991"/>
                  </a:lnTo>
                  <a:lnTo>
                    <a:pt x="102" y="987"/>
                  </a:lnTo>
                  <a:lnTo>
                    <a:pt x="115" y="981"/>
                  </a:lnTo>
                  <a:lnTo>
                    <a:pt x="120" y="977"/>
                  </a:lnTo>
                  <a:lnTo>
                    <a:pt x="126" y="972"/>
                  </a:lnTo>
                  <a:lnTo>
                    <a:pt x="132" y="967"/>
                  </a:lnTo>
                  <a:lnTo>
                    <a:pt x="136" y="962"/>
                  </a:lnTo>
                  <a:lnTo>
                    <a:pt x="140" y="957"/>
                  </a:lnTo>
                  <a:lnTo>
                    <a:pt x="144" y="951"/>
                  </a:lnTo>
                  <a:lnTo>
                    <a:pt x="150" y="937"/>
                  </a:lnTo>
                  <a:lnTo>
                    <a:pt x="155" y="920"/>
                  </a:lnTo>
                  <a:lnTo>
                    <a:pt x="158" y="901"/>
                  </a:lnTo>
                  <a:lnTo>
                    <a:pt x="161" y="879"/>
                  </a:lnTo>
                  <a:lnTo>
                    <a:pt x="163" y="855"/>
                  </a:lnTo>
                  <a:lnTo>
                    <a:pt x="163" y="827"/>
                  </a:lnTo>
                  <a:lnTo>
                    <a:pt x="164" y="797"/>
                  </a:lnTo>
                  <a:lnTo>
                    <a:pt x="164" y="236"/>
                  </a:lnTo>
                  <a:lnTo>
                    <a:pt x="164" y="236"/>
                  </a:lnTo>
                  <a:lnTo>
                    <a:pt x="163" y="206"/>
                  </a:lnTo>
                  <a:lnTo>
                    <a:pt x="163" y="178"/>
                  </a:lnTo>
                  <a:lnTo>
                    <a:pt x="161" y="153"/>
                  </a:lnTo>
                  <a:lnTo>
                    <a:pt x="158" y="132"/>
                  </a:lnTo>
                  <a:lnTo>
                    <a:pt x="155" y="114"/>
                  </a:lnTo>
                  <a:lnTo>
                    <a:pt x="150" y="97"/>
                  </a:lnTo>
                  <a:lnTo>
                    <a:pt x="144" y="83"/>
                  </a:lnTo>
                  <a:lnTo>
                    <a:pt x="140" y="77"/>
                  </a:lnTo>
                  <a:lnTo>
                    <a:pt x="136" y="72"/>
                  </a:lnTo>
                  <a:lnTo>
                    <a:pt x="132" y="67"/>
                  </a:lnTo>
                  <a:lnTo>
                    <a:pt x="126" y="61"/>
                  </a:lnTo>
                  <a:lnTo>
                    <a:pt x="120" y="57"/>
                  </a:lnTo>
                  <a:lnTo>
                    <a:pt x="115" y="54"/>
                  </a:lnTo>
                  <a:lnTo>
                    <a:pt x="102" y="48"/>
                  </a:lnTo>
                  <a:lnTo>
                    <a:pt x="87" y="43"/>
                  </a:lnTo>
                  <a:lnTo>
                    <a:pt x="68" y="40"/>
                  </a:lnTo>
                  <a:lnTo>
                    <a:pt x="49" y="38"/>
                  </a:lnTo>
                  <a:lnTo>
                    <a:pt x="25" y="37"/>
                  </a:lnTo>
                  <a:lnTo>
                    <a:pt x="0" y="36"/>
                  </a:lnTo>
                  <a:lnTo>
                    <a:pt x="0" y="0"/>
                  </a:lnTo>
                  <a:lnTo>
                    <a:pt x="456" y="0"/>
                  </a:lnTo>
                  <a:lnTo>
                    <a:pt x="456" y="0"/>
                  </a:lnTo>
                  <a:lnTo>
                    <a:pt x="478" y="0"/>
                  </a:lnTo>
                  <a:lnTo>
                    <a:pt x="500" y="1"/>
                  </a:lnTo>
                  <a:lnTo>
                    <a:pt x="520" y="3"/>
                  </a:lnTo>
                  <a:lnTo>
                    <a:pt x="541" y="6"/>
                  </a:lnTo>
                  <a:lnTo>
                    <a:pt x="560" y="9"/>
                  </a:lnTo>
                  <a:lnTo>
                    <a:pt x="578" y="13"/>
                  </a:lnTo>
                  <a:lnTo>
                    <a:pt x="597" y="17"/>
                  </a:lnTo>
                  <a:lnTo>
                    <a:pt x="614" y="23"/>
                  </a:lnTo>
                  <a:lnTo>
                    <a:pt x="632" y="29"/>
                  </a:lnTo>
                  <a:lnTo>
                    <a:pt x="648" y="35"/>
                  </a:lnTo>
                  <a:lnTo>
                    <a:pt x="663" y="42"/>
                  </a:lnTo>
                  <a:lnTo>
                    <a:pt x="679" y="50"/>
                  </a:lnTo>
                  <a:lnTo>
                    <a:pt x="693" y="58"/>
                  </a:lnTo>
                  <a:lnTo>
                    <a:pt x="706" y="67"/>
                  </a:lnTo>
                  <a:lnTo>
                    <a:pt x="718" y="76"/>
                  </a:lnTo>
                  <a:lnTo>
                    <a:pt x="731" y="85"/>
                  </a:lnTo>
                  <a:lnTo>
                    <a:pt x="742" y="95"/>
                  </a:lnTo>
                  <a:lnTo>
                    <a:pt x="753" y="106"/>
                  </a:lnTo>
                  <a:lnTo>
                    <a:pt x="763" y="118"/>
                  </a:lnTo>
                  <a:lnTo>
                    <a:pt x="773" y="129"/>
                  </a:lnTo>
                  <a:lnTo>
                    <a:pt x="781" y="140"/>
                  </a:lnTo>
                  <a:lnTo>
                    <a:pt x="789" y="152"/>
                  </a:lnTo>
                  <a:lnTo>
                    <a:pt x="796" y="166"/>
                  </a:lnTo>
                  <a:lnTo>
                    <a:pt x="802" y="178"/>
                  </a:lnTo>
                  <a:lnTo>
                    <a:pt x="807" y="191"/>
                  </a:lnTo>
                  <a:lnTo>
                    <a:pt x="813" y="205"/>
                  </a:lnTo>
                  <a:lnTo>
                    <a:pt x="817" y="219"/>
                  </a:lnTo>
                  <a:lnTo>
                    <a:pt x="821" y="233"/>
                  </a:lnTo>
                  <a:lnTo>
                    <a:pt x="823" y="248"/>
                  </a:lnTo>
                  <a:lnTo>
                    <a:pt x="825" y="262"/>
                  </a:lnTo>
                  <a:lnTo>
                    <a:pt x="826" y="276"/>
                  </a:lnTo>
                  <a:lnTo>
                    <a:pt x="827" y="291"/>
                  </a:lnTo>
                  <a:lnTo>
                    <a:pt x="827" y="291"/>
                  </a:lnTo>
                  <a:lnTo>
                    <a:pt x="826" y="306"/>
                  </a:lnTo>
                  <a:lnTo>
                    <a:pt x="825" y="319"/>
                  </a:lnTo>
                  <a:lnTo>
                    <a:pt x="824" y="332"/>
                  </a:lnTo>
                  <a:lnTo>
                    <a:pt x="822" y="346"/>
                  </a:lnTo>
                  <a:lnTo>
                    <a:pt x="819" y="359"/>
                  </a:lnTo>
                  <a:lnTo>
                    <a:pt x="815" y="372"/>
                  </a:lnTo>
                  <a:lnTo>
                    <a:pt x="810" y="385"/>
                  </a:lnTo>
                  <a:lnTo>
                    <a:pt x="805" y="397"/>
                  </a:lnTo>
                  <a:lnTo>
                    <a:pt x="800" y="409"/>
                  </a:lnTo>
                  <a:lnTo>
                    <a:pt x="794" y="421"/>
                  </a:lnTo>
                  <a:lnTo>
                    <a:pt x="788" y="433"/>
                  </a:lnTo>
                  <a:lnTo>
                    <a:pt x="781" y="444"/>
                  </a:lnTo>
                  <a:lnTo>
                    <a:pt x="773" y="454"/>
                  </a:lnTo>
                  <a:lnTo>
                    <a:pt x="764" y="465"/>
                  </a:lnTo>
                  <a:lnTo>
                    <a:pt x="755" y="475"/>
                  </a:lnTo>
                  <a:lnTo>
                    <a:pt x="746" y="485"/>
                  </a:lnTo>
                  <a:lnTo>
                    <a:pt x="736" y="494"/>
                  </a:lnTo>
                  <a:lnTo>
                    <a:pt x="726" y="503"/>
                  </a:lnTo>
                  <a:lnTo>
                    <a:pt x="714" y="511"/>
                  </a:lnTo>
                  <a:lnTo>
                    <a:pt x="702" y="519"/>
                  </a:lnTo>
                  <a:lnTo>
                    <a:pt x="690" y="528"/>
                  </a:lnTo>
                  <a:lnTo>
                    <a:pt x="677" y="535"/>
                  </a:lnTo>
                  <a:lnTo>
                    <a:pt x="663" y="542"/>
                  </a:lnTo>
                  <a:lnTo>
                    <a:pt x="650" y="548"/>
                  </a:lnTo>
                  <a:lnTo>
                    <a:pt x="635" y="554"/>
                  </a:lnTo>
                  <a:lnTo>
                    <a:pt x="620" y="559"/>
                  </a:lnTo>
                  <a:lnTo>
                    <a:pt x="605" y="564"/>
                  </a:lnTo>
                  <a:lnTo>
                    <a:pt x="589" y="569"/>
                  </a:lnTo>
                  <a:lnTo>
                    <a:pt x="572" y="573"/>
                  </a:lnTo>
                  <a:lnTo>
                    <a:pt x="555" y="576"/>
                  </a:lnTo>
                  <a:lnTo>
                    <a:pt x="537" y="579"/>
                  </a:lnTo>
                  <a:lnTo>
                    <a:pt x="519" y="581"/>
                  </a:lnTo>
                  <a:lnTo>
                    <a:pt x="689" y="779"/>
                  </a:lnTo>
                  <a:lnTo>
                    <a:pt x="689" y="779"/>
                  </a:lnTo>
                  <a:lnTo>
                    <a:pt x="707" y="802"/>
                  </a:lnTo>
                  <a:lnTo>
                    <a:pt x="728" y="823"/>
                  </a:lnTo>
                  <a:lnTo>
                    <a:pt x="747" y="844"/>
                  </a:lnTo>
                  <a:lnTo>
                    <a:pt x="767" y="863"/>
                  </a:lnTo>
                  <a:lnTo>
                    <a:pt x="787" y="881"/>
                  </a:lnTo>
                  <a:lnTo>
                    <a:pt x="807" y="899"/>
                  </a:lnTo>
                  <a:lnTo>
                    <a:pt x="828" y="915"/>
                  </a:lnTo>
                  <a:lnTo>
                    <a:pt x="848" y="929"/>
                  </a:lnTo>
                  <a:lnTo>
                    <a:pt x="869" y="944"/>
                  </a:lnTo>
                  <a:lnTo>
                    <a:pt x="889" y="956"/>
                  </a:lnTo>
                  <a:lnTo>
                    <a:pt x="910" y="966"/>
                  </a:lnTo>
                  <a:lnTo>
                    <a:pt x="930" y="977"/>
                  </a:lnTo>
                  <a:lnTo>
                    <a:pt x="950" y="985"/>
                  </a:lnTo>
                  <a:lnTo>
                    <a:pt x="970" y="991"/>
                  </a:lnTo>
                  <a:lnTo>
                    <a:pt x="989" y="996"/>
                  </a:lnTo>
                  <a:lnTo>
                    <a:pt x="1009" y="999"/>
                  </a:lnTo>
                  <a:lnTo>
                    <a:pt x="1009" y="1035"/>
                  </a:lnTo>
                  <a:lnTo>
                    <a:pt x="725" y="1035"/>
                  </a:lnTo>
                  <a:lnTo>
                    <a:pt x="383" y="581"/>
                  </a:lnTo>
                  <a:lnTo>
                    <a:pt x="302" y="581"/>
                  </a:lnTo>
                  <a:lnTo>
                    <a:pt x="302" y="797"/>
                  </a:lnTo>
                  <a:lnTo>
                    <a:pt x="302" y="797"/>
                  </a:lnTo>
                  <a:lnTo>
                    <a:pt x="302" y="827"/>
                  </a:lnTo>
                  <a:lnTo>
                    <a:pt x="303" y="855"/>
                  </a:lnTo>
                  <a:lnTo>
                    <a:pt x="304" y="879"/>
                  </a:lnTo>
                  <a:lnTo>
                    <a:pt x="307" y="901"/>
                  </a:lnTo>
                  <a:lnTo>
                    <a:pt x="312" y="920"/>
                  </a:lnTo>
                  <a:lnTo>
                    <a:pt x="316" y="937"/>
                  </a:lnTo>
                  <a:lnTo>
                    <a:pt x="323" y="951"/>
                  </a:lnTo>
                  <a:lnTo>
                    <a:pt x="326" y="957"/>
                  </a:lnTo>
                  <a:lnTo>
                    <a:pt x="330" y="962"/>
                  </a:lnTo>
                  <a:lnTo>
                    <a:pt x="335" y="967"/>
                  </a:lnTo>
                  <a:lnTo>
                    <a:pt x="340" y="972"/>
                  </a:lnTo>
                  <a:lnTo>
                    <a:pt x="345" y="977"/>
                  </a:lnTo>
                  <a:lnTo>
                    <a:pt x="351" y="981"/>
                  </a:lnTo>
                  <a:lnTo>
                    <a:pt x="365" y="987"/>
                  </a:lnTo>
                  <a:lnTo>
                    <a:pt x="380" y="991"/>
                  </a:lnTo>
                  <a:lnTo>
                    <a:pt x="397" y="995"/>
                  </a:lnTo>
                  <a:lnTo>
                    <a:pt x="418" y="997"/>
                  </a:lnTo>
                  <a:lnTo>
                    <a:pt x="440" y="998"/>
                  </a:lnTo>
                  <a:lnTo>
                    <a:pt x="466" y="999"/>
                  </a:lnTo>
                  <a:lnTo>
                    <a:pt x="466" y="1035"/>
                  </a:lnTo>
                  <a:lnTo>
                    <a:pt x="0" y="1035"/>
                  </a:lnTo>
                  <a:lnTo>
                    <a:pt x="0" y="999"/>
                  </a:lnTo>
                  <a:close/>
                  <a:moveTo>
                    <a:pt x="454" y="519"/>
                  </a:moveTo>
                  <a:lnTo>
                    <a:pt x="454" y="519"/>
                  </a:lnTo>
                  <a:lnTo>
                    <a:pt x="481" y="517"/>
                  </a:lnTo>
                  <a:lnTo>
                    <a:pt x="494" y="516"/>
                  </a:lnTo>
                  <a:lnTo>
                    <a:pt x="507" y="514"/>
                  </a:lnTo>
                  <a:lnTo>
                    <a:pt x="518" y="512"/>
                  </a:lnTo>
                  <a:lnTo>
                    <a:pt x="529" y="509"/>
                  </a:lnTo>
                  <a:lnTo>
                    <a:pt x="541" y="505"/>
                  </a:lnTo>
                  <a:lnTo>
                    <a:pt x="552" y="501"/>
                  </a:lnTo>
                  <a:lnTo>
                    <a:pt x="561" y="497"/>
                  </a:lnTo>
                  <a:lnTo>
                    <a:pt x="571" y="492"/>
                  </a:lnTo>
                  <a:lnTo>
                    <a:pt x="580" y="486"/>
                  </a:lnTo>
                  <a:lnTo>
                    <a:pt x="589" y="481"/>
                  </a:lnTo>
                  <a:lnTo>
                    <a:pt x="605" y="467"/>
                  </a:lnTo>
                  <a:lnTo>
                    <a:pt x="619" y="452"/>
                  </a:lnTo>
                  <a:lnTo>
                    <a:pt x="633" y="437"/>
                  </a:lnTo>
                  <a:lnTo>
                    <a:pt x="643" y="418"/>
                  </a:lnTo>
                  <a:lnTo>
                    <a:pt x="652" y="400"/>
                  </a:lnTo>
                  <a:lnTo>
                    <a:pt x="660" y="380"/>
                  </a:lnTo>
                  <a:lnTo>
                    <a:pt x="665" y="359"/>
                  </a:lnTo>
                  <a:lnTo>
                    <a:pt x="669" y="338"/>
                  </a:lnTo>
                  <a:lnTo>
                    <a:pt x="672" y="315"/>
                  </a:lnTo>
                  <a:lnTo>
                    <a:pt x="672" y="291"/>
                  </a:lnTo>
                  <a:lnTo>
                    <a:pt x="672" y="291"/>
                  </a:lnTo>
                  <a:lnTo>
                    <a:pt x="672" y="268"/>
                  </a:lnTo>
                  <a:lnTo>
                    <a:pt x="669" y="245"/>
                  </a:lnTo>
                  <a:lnTo>
                    <a:pt x="665" y="224"/>
                  </a:lnTo>
                  <a:lnTo>
                    <a:pt x="660" y="204"/>
                  </a:lnTo>
                  <a:lnTo>
                    <a:pt x="652" y="183"/>
                  </a:lnTo>
                  <a:lnTo>
                    <a:pt x="643" y="165"/>
                  </a:lnTo>
                  <a:lnTo>
                    <a:pt x="633" y="147"/>
                  </a:lnTo>
                  <a:lnTo>
                    <a:pt x="619" y="131"/>
                  </a:lnTo>
                  <a:lnTo>
                    <a:pt x="605" y="117"/>
                  </a:lnTo>
                  <a:lnTo>
                    <a:pt x="589" y="103"/>
                  </a:lnTo>
                  <a:lnTo>
                    <a:pt x="580" y="97"/>
                  </a:lnTo>
                  <a:lnTo>
                    <a:pt x="571" y="91"/>
                  </a:lnTo>
                  <a:lnTo>
                    <a:pt x="561" y="86"/>
                  </a:lnTo>
                  <a:lnTo>
                    <a:pt x="552" y="82"/>
                  </a:lnTo>
                  <a:lnTo>
                    <a:pt x="541" y="78"/>
                  </a:lnTo>
                  <a:lnTo>
                    <a:pt x="529" y="74"/>
                  </a:lnTo>
                  <a:lnTo>
                    <a:pt x="518" y="71"/>
                  </a:lnTo>
                  <a:lnTo>
                    <a:pt x="507" y="69"/>
                  </a:lnTo>
                  <a:lnTo>
                    <a:pt x="494" y="67"/>
                  </a:lnTo>
                  <a:lnTo>
                    <a:pt x="481" y="65"/>
                  </a:lnTo>
                  <a:lnTo>
                    <a:pt x="468" y="63"/>
                  </a:lnTo>
                  <a:lnTo>
                    <a:pt x="454" y="63"/>
                  </a:lnTo>
                  <a:lnTo>
                    <a:pt x="302" y="63"/>
                  </a:lnTo>
                  <a:lnTo>
                    <a:pt x="302" y="519"/>
                  </a:lnTo>
                  <a:lnTo>
                    <a:pt x="454" y="5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27" name="Freeform 25"/>
            <p:cNvSpPr>
              <a:spLocks noEditPoints="1"/>
            </p:cNvSpPr>
            <p:nvPr userDrawn="1"/>
          </p:nvSpPr>
          <p:spPr bwMode="auto">
            <a:xfrm>
              <a:off x="2411413" y="1103313"/>
              <a:ext cx="157163" cy="192088"/>
            </a:xfrm>
            <a:custGeom>
              <a:avLst/>
              <a:gdLst>
                <a:gd name="T0" fmla="*/ 48 w 1195"/>
                <a:gd name="T1" fmla="*/ 1411 h 1449"/>
                <a:gd name="T2" fmla="*/ 115 w 1195"/>
                <a:gd name="T3" fmla="*/ 1397 h 1449"/>
                <a:gd name="T4" fmla="*/ 157 w 1195"/>
                <a:gd name="T5" fmla="*/ 1363 h 1449"/>
                <a:gd name="T6" fmla="*/ 188 w 1195"/>
                <a:gd name="T7" fmla="*/ 1304 h 1449"/>
                <a:gd name="T8" fmla="*/ 990 w 1195"/>
                <a:gd name="T9" fmla="*/ 1263 h 1449"/>
                <a:gd name="T10" fmla="*/ 1025 w 1195"/>
                <a:gd name="T11" fmla="*/ 1337 h 1449"/>
                <a:gd name="T12" fmla="*/ 1059 w 1195"/>
                <a:gd name="T13" fmla="*/ 1383 h 1449"/>
                <a:gd name="T14" fmla="*/ 1111 w 1195"/>
                <a:gd name="T15" fmla="*/ 1406 h 1449"/>
                <a:gd name="T16" fmla="*/ 1195 w 1195"/>
                <a:gd name="T17" fmla="*/ 1413 h 1449"/>
                <a:gd name="T18" fmla="*/ 718 w 1195"/>
                <a:gd name="T19" fmla="*/ 1413 h 1449"/>
                <a:gd name="T20" fmla="*/ 805 w 1195"/>
                <a:gd name="T21" fmla="*/ 1406 h 1449"/>
                <a:gd name="T22" fmla="*/ 854 w 1195"/>
                <a:gd name="T23" fmla="*/ 1382 h 1449"/>
                <a:gd name="T24" fmla="*/ 868 w 1195"/>
                <a:gd name="T25" fmla="*/ 1342 h 1449"/>
                <a:gd name="T26" fmla="*/ 852 w 1195"/>
                <a:gd name="T27" fmla="*/ 1281 h 1449"/>
                <a:gd name="T28" fmla="*/ 269 w 1195"/>
                <a:gd name="T29" fmla="*/ 1281 h 1449"/>
                <a:gd name="T30" fmla="*/ 253 w 1195"/>
                <a:gd name="T31" fmla="*/ 1341 h 1449"/>
                <a:gd name="T32" fmla="*/ 267 w 1195"/>
                <a:gd name="T33" fmla="*/ 1382 h 1449"/>
                <a:gd name="T34" fmla="*/ 316 w 1195"/>
                <a:gd name="T35" fmla="*/ 1405 h 1449"/>
                <a:gd name="T36" fmla="*/ 404 w 1195"/>
                <a:gd name="T37" fmla="*/ 1413 h 1449"/>
                <a:gd name="T38" fmla="*/ 740 w 1195"/>
                <a:gd name="T39" fmla="*/ 1027 h 1449"/>
                <a:gd name="T40" fmla="*/ 450 w 1195"/>
                <a:gd name="T41" fmla="*/ 141 h 1449"/>
                <a:gd name="T42" fmla="*/ 456 w 1195"/>
                <a:gd name="T43" fmla="*/ 99 h 1449"/>
                <a:gd name="T44" fmla="*/ 482 w 1195"/>
                <a:gd name="T45" fmla="*/ 51 h 1449"/>
                <a:gd name="T46" fmla="*/ 524 w 1195"/>
                <a:gd name="T47" fmla="*/ 17 h 1449"/>
                <a:gd name="T48" fmla="*/ 577 w 1195"/>
                <a:gd name="T49" fmla="*/ 1 h 1449"/>
                <a:gd name="T50" fmla="*/ 621 w 1195"/>
                <a:gd name="T51" fmla="*/ 3 h 1449"/>
                <a:gd name="T52" fmla="*/ 672 w 1195"/>
                <a:gd name="T53" fmla="*/ 25 h 1449"/>
                <a:gd name="T54" fmla="*/ 711 w 1195"/>
                <a:gd name="T55" fmla="*/ 62 h 1449"/>
                <a:gd name="T56" fmla="*/ 732 w 1195"/>
                <a:gd name="T57" fmla="*/ 112 h 1449"/>
                <a:gd name="T58" fmla="*/ 734 w 1195"/>
                <a:gd name="T59" fmla="*/ 156 h 1449"/>
                <a:gd name="T60" fmla="*/ 718 w 1195"/>
                <a:gd name="T61" fmla="*/ 210 h 1449"/>
                <a:gd name="T62" fmla="*/ 683 w 1195"/>
                <a:gd name="T63" fmla="*/ 252 h 1449"/>
                <a:gd name="T64" fmla="*/ 634 w 1195"/>
                <a:gd name="T65" fmla="*/ 278 h 1449"/>
                <a:gd name="T66" fmla="*/ 591 w 1195"/>
                <a:gd name="T67" fmla="*/ 284 h 1449"/>
                <a:gd name="T68" fmla="*/ 536 w 1195"/>
                <a:gd name="T69" fmla="*/ 273 h 1449"/>
                <a:gd name="T70" fmla="*/ 491 w 1195"/>
                <a:gd name="T71" fmla="*/ 242 h 1449"/>
                <a:gd name="T72" fmla="*/ 461 w 1195"/>
                <a:gd name="T73" fmla="*/ 197 h 1449"/>
                <a:gd name="T74" fmla="*/ 450 w 1195"/>
                <a:gd name="T75" fmla="*/ 141 h 1449"/>
                <a:gd name="T76" fmla="*/ 671 w 1195"/>
                <a:gd name="T77" fmla="*/ 133 h 1449"/>
                <a:gd name="T78" fmla="*/ 662 w 1195"/>
                <a:gd name="T79" fmla="*/ 104 h 1449"/>
                <a:gd name="T80" fmla="*/ 642 w 1195"/>
                <a:gd name="T81" fmla="*/ 82 h 1449"/>
                <a:gd name="T82" fmla="*/ 615 w 1195"/>
                <a:gd name="T83" fmla="*/ 67 h 1449"/>
                <a:gd name="T84" fmla="*/ 591 w 1195"/>
                <a:gd name="T85" fmla="*/ 63 h 1449"/>
                <a:gd name="T86" fmla="*/ 562 w 1195"/>
                <a:gd name="T87" fmla="*/ 70 h 1449"/>
                <a:gd name="T88" fmla="*/ 536 w 1195"/>
                <a:gd name="T89" fmla="*/ 86 h 1449"/>
                <a:gd name="T90" fmla="*/ 519 w 1195"/>
                <a:gd name="T91" fmla="*/ 111 h 1449"/>
                <a:gd name="T92" fmla="*/ 512 w 1195"/>
                <a:gd name="T93" fmla="*/ 141 h 1449"/>
                <a:gd name="T94" fmla="*/ 516 w 1195"/>
                <a:gd name="T95" fmla="*/ 165 h 1449"/>
                <a:gd name="T96" fmla="*/ 531 w 1195"/>
                <a:gd name="T97" fmla="*/ 191 h 1449"/>
                <a:gd name="T98" fmla="*/ 554 w 1195"/>
                <a:gd name="T99" fmla="*/ 211 h 1449"/>
                <a:gd name="T100" fmla="*/ 584 w 1195"/>
                <a:gd name="T101" fmla="*/ 220 h 1449"/>
                <a:gd name="T102" fmla="*/ 608 w 1195"/>
                <a:gd name="T103" fmla="*/ 219 h 1449"/>
                <a:gd name="T104" fmla="*/ 636 w 1195"/>
                <a:gd name="T105" fmla="*/ 207 h 1449"/>
                <a:gd name="T106" fmla="*/ 658 w 1195"/>
                <a:gd name="T107" fmla="*/ 185 h 1449"/>
                <a:gd name="T108" fmla="*/ 669 w 1195"/>
                <a:gd name="T109" fmla="*/ 157 h 1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195" h="1449">
                  <a:moveTo>
                    <a:pt x="0" y="1413"/>
                  </a:moveTo>
                  <a:lnTo>
                    <a:pt x="0" y="1413"/>
                  </a:lnTo>
                  <a:lnTo>
                    <a:pt x="26" y="1412"/>
                  </a:lnTo>
                  <a:lnTo>
                    <a:pt x="48" y="1411"/>
                  </a:lnTo>
                  <a:lnTo>
                    <a:pt x="69" y="1409"/>
                  </a:lnTo>
                  <a:lnTo>
                    <a:pt x="86" y="1406"/>
                  </a:lnTo>
                  <a:lnTo>
                    <a:pt x="101" y="1402"/>
                  </a:lnTo>
                  <a:lnTo>
                    <a:pt x="115" y="1397"/>
                  </a:lnTo>
                  <a:lnTo>
                    <a:pt x="127" y="1391"/>
                  </a:lnTo>
                  <a:lnTo>
                    <a:pt x="138" y="1383"/>
                  </a:lnTo>
                  <a:lnTo>
                    <a:pt x="147" y="1374"/>
                  </a:lnTo>
                  <a:lnTo>
                    <a:pt x="157" y="1363"/>
                  </a:lnTo>
                  <a:lnTo>
                    <a:pt x="165" y="1351"/>
                  </a:lnTo>
                  <a:lnTo>
                    <a:pt x="172" y="1337"/>
                  </a:lnTo>
                  <a:lnTo>
                    <a:pt x="180" y="1321"/>
                  </a:lnTo>
                  <a:lnTo>
                    <a:pt x="188" y="1304"/>
                  </a:lnTo>
                  <a:lnTo>
                    <a:pt x="207" y="1263"/>
                  </a:lnTo>
                  <a:lnTo>
                    <a:pt x="586" y="384"/>
                  </a:lnTo>
                  <a:lnTo>
                    <a:pt x="609" y="384"/>
                  </a:lnTo>
                  <a:lnTo>
                    <a:pt x="990" y="1263"/>
                  </a:lnTo>
                  <a:lnTo>
                    <a:pt x="990" y="1263"/>
                  </a:lnTo>
                  <a:lnTo>
                    <a:pt x="1008" y="1304"/>
                  </a:lnTo>
                  <a:lnTo>
                    <a:pt x="1017" y="1321"/>
                  </a:lnTo>
                  <a:lnTo>
                    <a:pt x="1025" y="1337"/>
                  </a:lnTo>
                  <a:lnTo>
                    <a:pt x="1033" y="1351"/>
                  </a:lnTo>
                  <a:lnTo>
                    <a:pt x="1041" y="1363"/>
                  </a:lnTo>
                  <a:lnTo>
                    <a:pt x="1049" y="1374"/>
                  </a:lnTo>
                  <a:lnTo>
                    <a:pt x="1059" y="1383"/>
                  </a:lnTo>
                  <a:lnTo>
                    <a:pt x="1070" y="1391"/>
                  </a:lnTo>
                  <a:lnTo>
                    <a:pt x="1082" y="1397"/>
                  </a:lnTo>
                  <a:lnTo>
                    <a:pt x="1095" y="1402"/>
                  </a:lnTo>
                  <a:lnTo>
                    <a:pt x="1111" y="1406"/>
                  </a:lnTo>
                  <a:lnTo>
                    <a:pt x="1128" y="1409"/>
                  </a:lnTo>
                  <a:lnTo>
                    <a:pt x="1147" y="1411"/>
                  </a:lnTo>
                  <a:lnTo>
                    <a:pt x="1170" y="1412"/>
                  </a:lnTo>
                  <a:lnTo>
                    <a:pt x="1195" y="1413"/>
                  </a:lnTo>
                  <a:lnTo>
                    <a:pt x="1195" y="1449"/>
                  </a:lnTo>
                  <a:lnTo>
                    <a:pt x="718" y="1449"/>
                  </a:lnTo>
                  <a:lnTo>
                    <a:pt x="718" y="1413"/>
                  </a:lnTo>
                  <a:lnTo>
                    <a:pt x="718" y="1413"/>
                  </a:lnTo>
                  <a:lnTo>
                    <a:pt x="744" y="1412"/>
                  </a:lnTo>
                  <a:lnTo>
                    <a:pt x="766" y="1411"/>
                  </a:lnTo>
                  <a:lnTo>
                    <a:pt x="786" y="1409"/>
                  </a:lnTo>
                  <a:lnTo>
                    <a:pt x="805" y="1406"/>
                  </a:lnTo>
                  <a:lnTo>
                    <a:pt x="820" y="1402"/>
                  </a:lnTo>
                  <a:lnTo>
                    <a:pt x="834" y="1397"/>
                  </a:lnTo>
                  <a:lnTo>
                    <a:pt x="845" y="1390"/>
                  </a:lnTo>
                  <a:lnTo>
                    <a:pt x="854" y="1382"/>
                  </a:lnTo>
                  <a:lnTo>
                    <a:pt x="861" y="1374"/>
                  </a:lnTo>
                  <a:lnTo>
                    <a:pt x="865" y="1365"/>
                  </a:lnTo>
                  <a:lnTo>
                    <a:pt x="868" y="1354"/>
                  </a:lnTo>
                  <a:lnTo>
                    <a:pt x="868" y="1342"/>
                  </a:lnTo>
                  <a:lnTo>
                    <a:pt x="867" y="1329"/>
                  </a:lnTo>
                  <a:lnTo>
                    <a:pt x="864" y="1315"/>
                  </a:lnTo>
                  <a:lnTo>
                    <a:pt x="859" y="1299"/>
                  </a:lnTo>
                  <a:lnTo>
                    <a:pt x="852" y="1281"/>
                  </a:lnTo>
                  <a:lnTo>
                    <a:pt x="769" y="1090"/>
                  </a:lnTo>
                  <a:lnTo>
                    <a:pt x="352" y="1090"/>
                  </a:lnTo>
                  <a:lnTo>
                    <a:pt x="269" y="1281"/>
                  </a:lnTo>
                  <a:lnTo>
                    <a:pt x="269" y="1281"/>
                  </a:lnTo>
                  <a:lnTo>
                    <a:pt x="262" y="1299"/>
                  </a:lnTo>
                  <a:lnTo>
                    <a:pt x="257" y="1314"/>
                  </a:lnTo>
                  <a:lnTo>
                    <a:pt x="254" y="1328"/>
                  </a:lnTo>
                  <a:lnTo>
                    <a:pt x="253" y="1341"/>
                  </a:lnTo>
                  <a:lnTo>
                    <a:pt x="253" y="1353"/>
                  </a:lnTo>
                  <a:lnTo>
                    <a:pt x="256" y="1364"/>
                  </a:lnTo>
                  <a:lnTo>
                    <a:pt x="260" y="1373"/>
                  </a:lnTo>
                  <a:lnTo>
                    <a:pt x="267" y="1382"/>
                  </a:lnTo>
                  <a:lnTo>
                    <a:pt x="276" y="1390"/>
                  </a:lnTo>
                  <a:lnTo>
                    <a:pt x="287" y="1396"/>
                  </a:lnTo>
                  <a:lnTo>
                    <a:pt x="301" y="1401"/>
                  </a:lnTo>
                  <a:lnTo>
                    <a:pt x="316" y="1405"/>
                  </a:lnTo>
                  <a:lnTo>
                    <a:pt x="335" y="1409"/>
                  </a:lnTo>
                  <a:lnTo>
                    <a:pt x="355" y="1411"/>
                  </a:lnTo>
                  <a:lnTo>
                    <a:pt x="378" y="1412"/>
                  </a:lnTo>
                  <a:lnTo>
                    <a:pt x="404" y="1413"/>
                  </a:lnTo>
                  <a:lnTo>
                    <a:pt x="404" y="1449"/>
                  </a:lnTo>
                  <a:lnTo>
                    <a:pt x="0" y="1449"/>
                  </a:lnTo>
                  <a:lnTo>
                    <a:pt x="0" y="1413"/>
                  </a:lnTo>
                  <a:close/>
                  <a:moveTo>
                    <a:pt x="740" y="1027"/>
                  </a:moveTo>
                  <a:lnTo>
                    <a:pt x="558" y="610"/>
                  </a:lnTo>
                  <a:lnTo>
                    <a:pt x="380" y="1027"/>
                  </a:lnTo>
                  <a:lnTo>
                    <a:pt x="740" y="1027"/>
                  </a:lnTo>
                  <a:close/>
                  <a:moveTo>
                    <a:pt x="450" y="141"/>
                  </a:moveTo>
                  <a:lnTo>
                    <a:pt x="450" y="141"/>
                  </a:lnTo>
                  <a:lnTo>
                    <a:pt x="451" y="127"/>
                  </a:lnTo>
                  <a:lnTo>
                    <a:pt x="453" y="112"/>
                  </a:lnTo>
                  <a:lnTo>
                    <a:pt x="456" y="99"/>
                  </a:lnTo>
                  <a:lnTo>
                    <a:pt x="461" y="87"/>
                  </a:lnTo>
                  <a:lnTo>
                    <a:pt x="467" y="74"/>
                  </a:lnTo>
                  <a:lnTo>
                    <a:pt x="474" y="62"/>
                  </a:lnTo>
                  <a:lnTo>
                    <a:pt x="482" y="51"/>
                  </a:lnTo>
                  <a:lnTo>
                    <a:pt x="491" y="42"/>
                  </a:lnTo>
                  <a:lnTo>
                    <a:pt x="501" y="33"/>
                  </a:lnTo>
                  <a:lnTo>
                    <a:pt x="512" y="25"/>
                  </a:lnTo>
                  <a:lnTo>
                    <a:pt x="524" y="17"/>
                  </a:lnTo>
                  <a:lnTo>
                    <a:pt x="536" y="11"/>
                  </a:lnTo>
                  <a:lnTo>
                    <a:pt x="549" y="6"/>
                  </a:lnTo>
                  <a:lnTo>
                    <a:pt x="563" y="3"/>
                  </a:lnTo>
                  <a:lnTo>
                    <a:pt x="577" y="1"/>
                  </a:lnTo>
                  <a:lnTo>
                    <a:pt x="591" y="0"/>
                  </a:lnTo>
                  <a:lnTo>
                    <a:pt x="591" y="0"/>
                  </a:lnTo>
                  <a:lnTo>
                    <a:pt x="607" y="1"/>
                  </a:lnTo>
                  <a:lnTo>
                    <a:pt x="621" y="3"/>
                  </a:lnTo>
                  <a:lnTo>
                    <a:pt x="634" y="6"/>
                  </a:lnTo>
                  <a:lnTo>
                    <a:pt x="647" y="11"/>
                  </a:lnTo>
                  <a:lnTo>
                    <a:pt x="660" y="17"/>
                  </a:lnTo>
                  <a:lnTo>
                    <a:pt x="672" y="25"/>
                  </a:lnTo>
                  <a:lnTo>
                    <a:pt x="683" y="33"/>
                  </a:lnTo>
                  <a:lnTo>
                    <a:pt x="693" y="42"/>
                  </a:lnTo>
                  <a:lnTo>
                    <a:pt x="703" y="51"/>
                  </a:lnTo>
                  <a:lnTo>
                    <a:pt x="711" y="62"/>
                  </a:lnTo>
                  <a:lnTo>
                    <a:pt x="718" y="74"/>
                  </a:lnTo>
                  <a:lnTo>
                    <a:pt x="724" y="87"/>
                  </a:lnTo>
                  <a:lnTo>
                    <a:pt x="728" y="99"/>
                  </a:lnTo>
                  <a:lnTo>
                    <a:pt x="732" y="112"/>
                  </a:lnTo>
                  <a:lnTo>
                    <a:pt x="734" y="127"/>
                  </a:lnTo>
                  <a:lnTo>
                    <a:pt x="735" y="141"/>
                  </a:lnTo>
                  <a:lnTo>
                    <a:pt x="735" y="141"/>
                  </a:lnTo>
                  <a:lnTo>
                    <a:pt x="734" y="156"/>
                  </a:lnTo>
                  <a:lnTo>
                    <a:pt x="732" y="170"/>
                  </a:lnTo>
                  <a:lnTo>
                    <a:pt x="728" y="184"/>
                  </a:lnTo>
                  <a:lnTo>
                    <a:pt x="724" y="197"/>
                  </a:lnTo>
                  <a:lnTo>
                    <a:pt x="718" y="210"/>
                  </a:lnTo>
                  <a:lnTo>
                    <a:pt x="711" y="222"/>
                  </a:lnTo>
                  <a:lnTo>
                    <a:pt x="703" y="232"/>
                  </a:lnTo>
                  <a:lnTo>
                    <a:pt x="693" y="242"/>
                  </a:lnTo>
                  <a:lnTo>
                    <a:pt x="683" y="252"/>
                  </a:lnTo>
                  <a:lnTo>
                    <a:pt x="672" y="260"/>
                  </a:lnTo>
                  <a:lnTo>
                    <a:pt x="660" y="267"/>
                  </a:lnTo>
                  <a:lnTo>
                    <a:pt x="647" y="273"/>
                  </a:lnTo>
                  <a:lnTo>
                    <a:pt x="634" y="278"/>
                  </a:lnTo>
                  <a:lnTo>
                    <a:pt x="621" y="281"/>
                  </a:lnTo>
                  <a:lnTo>
                    <a:pt x="607" y="284"/>
                  </a:lnTo>
                  <a:lnTo>
                    <a:pt x="591" y="284"/>
                  </a:lnTo>
                  <a:lnTo>
                    <a:pt x="591" y="284"/>
                  </a:lnTo>
                  <a:lnTo>
                    <a:pt x="577" y="284"/>
                  </a:lnTo>
                  <a:lnTo>
                    <a:pt x="563" y="281"/>
                  </a:lnTo>
                  <a:lnTo>
                    <a:pt x="549" y="278"/>
                  </a:lnTo>
                  <a:lnTo>
                    <a:pt x="536" y="273"/>
                  </a:lnTo>
                  <a:lnTo>
                    <a:pt x="524" y="267"/>
                  </a:lnTo>
                  <a:lnTo>
                    <a:pt x="512" y="260"/>
                  </a:lnTo>
                  <a:lnTo>
                    <a:pt x="501" y="252"/>
                  </a:lnTo>
                  <a:lnTo>
                    <a:pt x="491" y="242"/>
                  </a:lnTo>
                  <a:lnTo>
                    <a:pt x="482" y="232"/>
                  </a:lnTo>
                  <a:lnTo>
                    <a:pt x="474" y="222"/>
                  </a:lnTo>
                  <a:lnTo>
                    <a:pt x="467" y="210"/>
                  </a:lnTo>
                  <a:lnTo>
                    <a:pt x="461" y="197"/>
                  </a:lnTo>
                  <a:lnTo>
                    <a:pt x="456" y="184"/>
                  </a:lnTo>
                  <a:lnTo>
                    <a:pt x="453" y="170"/>
                  </a:lnTo>
                  <a:lnTo>
                    <a:pt x="451" y="156"/>
                  </a:lnTo>
                  <a:lnTo>
                    <a:pt x="450" y="141"/>
                  </a:lnTo>
                  <a:lnTo>
                    <a:pt x="450" y="141"/>
                  </a:lnTo>
                  <a:close/>
                  <a:moveTo>
                    <a:pt x="671" y="141"/>
                  </a:moveTo>
                  <a:lnTo>
                    <a:pt x="671" y="141"/>
                  </a:lnTo>
                  <a:lnTo>
                    <a:pt x="671" y="133"/>
                  </a:lnTo>
                  <a:lnTo>
                    <a:pt x="669" y="126"/>
                  </a:lnTo>
                  <a:lnTo>
                    <a:pt x="668" y="119"/>
                  </a:lnTo>
                  <a:lnTo>
                    <a:pt x="665" y="111"/>
                  </a:lnTo>
                  <a:lnTo>
                    <a:pt x="662" y="104"/>
                  </a:lnTo>
                  <a:lnTo>
                    <a:pt x="658" y="98"/>
                  </a:lnTo>
                  <a:lnTo>
                    <a:pt x="653" y="92"/>
                  </a:lnTo>
                  <a:lnTo>
                    <a:pt x="647" y="86"/>
                  </a:lnTo>
                  <a:lnTo>
                    <a:pt x="642" y="82"/>
                  </a:lnTo>
                  <a:lnTo>
                    <a:pt x="636" y="77"/>
                  </a:lnTo>
                  <a:lnTo>
                    <a:pt x="629" y="73"/>
                  </a:lnTo>
                  <a:lnTo>
                    <a:pt x="622" y="70"/>
                  </a:lnTo>
                  <a:lnTo>
                    <a:pt x="615" y="67"/>
                  </a:lnTo>
                  <a:lnTo>
                    <a:pt x="608" y="65"/>
                  </a:lnTo>
                  <a:lnTo>
                    <a:pt x="599" y="64"/>
                  </a:lnTo>
                  <a:lnTo>
                    <a:pt x="591" y="63"/>
                  </a:lnTo>
                  <a:lnTo>
                    <a:pt x="591" y="63"/>
                  </a:lnTo>
                  <a:lnTo>
                    <a:pt x="584" y="64"/>
                  </a:lnTo>
                  <a:lnTo>
                    <a:pt x="576" y="65"/>
                  </a:lnTo>
                  <a:lnTo>
                    <a:pt x="569" y="67"/>
                  </a:lnTo>
                  <a:lnTo>
                    <a:pt x="562" y="70"/>
                  </a:lnTo>
                  <a:lnTo>
                    <a:pt x="554" y="73"/>
                  </a:lnTo>
                  <a:lnTo>
                    <a:pt x="547" y="77"/>
                  </a:lnTo>
                  <a:lnTo>
                    <a:pt x="541" y="82"/>
                  </a:lnTo>
                  <a:lnTo>
                    <a:pt x="536" y="86"/>
                  </a:lnTo>
                  <a:lnTo>
                    <a:pt x="531" y="92"/>
                  </a:lnTo>
                  <a:lnTo>
                    <a:pt x="526" y="98"/>
                  </a:lnTo>
                  <a:lnTo>
                    <a:pt x="522" y="104"/>
                  </a:lnTo>
                  <a:lnTo>
                    <a:pt x="519" y="111"/>
                  </a:lnTo>
                  <a:lnTo>
                    <a:pt x="516" y="119"/>
                  </a:lnTo>
                  <a:lnTo>
                    <a:pt x="513" y="126"/>
                  </a:lnTo>
                  <a:lnTo>
                    <a:pt x="512" y="133"/>
                  </a:lnTo>
                  <a:lnTo>
                    <a:pt x="512" y="141"/>
                  </a:lnTo>
                  <a:lnTo>
                    <a:pt x="512" y="141"/>
                  </a:lnTo>
                  <a:lnTo>
                    <a:pt x="512" y="149"/>
                  </a:lnTo>
                  <a:lnTo>
                    <a:pt x="513" y="157"/>
                  </a:lnTo>
                  <a:lnTo>
                    <a:pt x="516" y="165"/>
                  </a:lnTo>
                  <a:lnTo>
                    <a:pt x="519" y="172"/>
                  </a:lnTo>
                  <a:lnTo>
                    <a:pt x="522" y="179"/>
                  </a:lnTo>
                  <a:lnTo>
                    <a:pt x="526" y="185"/>
                  </a:lnTo>
                  <a:lnTo>
                    <a:pt x="531" y="191"/>
                  </a:lnTo>
                  <a:lnTo>
                    <a:pt x="536" y="197"/>
                  </a:lnTo>
                  <a:lnTo>
                    <a:pt x="541" y="202"/>
                  </a:lnTo>
                  <a:lnTo>
                    <a:pt x="547" y="207"/>
                  </a:lnTo>
                  <a:lnTo>
                    <a:pt x="554" y="211"/>
                  </a:lnTo>
                  <a:lnTo>
                    <a:pt x="562" y="215"/>
                  </a:lnTo>
                  <a:lnTo>
                    <a:pt x="569" y="217"/>
                  </a:lnTo>
                  <a:lnTo>
                    <a:pt x="576" y="219"/>
                  </a:lnTo>
                  <a:lnTo>
                    <a:pt x="584" y="220"/>
                  </a:lnTo>
                  <a:lnTo>
                    <a:pt x="591" y="221"/>
                  </a:lnTo>
                  <a:lnTo>
                    <a:pt x="591" y="221"/>
                  </a:lnTo>
                  <a:lnTo>
                    <a:pt x="599" y="220"/>
                  </a:lnTo>
                  <a:lnTo>
                    <a:pt x="608" y="219"/>
                  </a:lnTo>
                  <a:lnTo>
                    <a:pt x="615" y="217"/>
                  </a:lnTo>
                  <a:lnTo>
                    <a:pt x="622" y="215"/>
                  </a:lnTo>
                  <a:lnTo>
                    <a:pt x="629" y="211"/>
                  </a:lnTo>
                  <a:lnTo>
                    <a:pt x="636" y="207"/>
                  </a:lnTo>
                  <a:lnTo>
                    <a:pt x="642" y="202"/>
                  </a:lnTo>
                  <a:lnTo>
                    <a:pt x="647" y="197"/>
                  </a:lnTo>
                  <a:lnTo>
                    <a:pt x="653" y="191"/>
                  </a:lnTo>
                  <a:lnTo>
                    <a:pt x="658" y="185"/>
                  </a:lnTo>
                  <a:lnTo>
                    <a:pt x="662" y="179"/>
                  </a:lnTo>
                  <a:lnTo>
                    <a:pt x="665" y="172"/>
                  </a:lnTo>
                  <a:lnTo>
                    <a:pt x="668" y="165"/>
                  </a:lnTo>
                  <a:lnTo>
                    <a:pt x="669" y="157"/>
                  </a:lnTo>
                  <a:lnTo>
                    <a:pt x="671" y="149"/>
                  </a:lnTo>
                  <a:lnTo>
                    <a:pt x="671" y="141"/>
                  </a:lnTo>
                  <a:lnTo>
                    <a:pt x="671" y="1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28" name="Freeform 26"/>
            <p:cNvSpPr>
              <a:spLocks noEditPoints="1"/>
            </p:cNvSpPr>
            <p:nvPr userDrawn="1"/>
          </p:nvSpPr>
          <p:spPr bwMode="auto">
            <a:xfrm>
              <a:off x="2586038" y="1158876"/>
              <a:ext cx="138113" cy="136525"/>
            </a:xfrm>
            <a:custGeom>
              <a:avLst/>
              <a:gdLst>
                <a:gd name="T0" fmla="*/ 48 w 1043"/>
                <a:gd name="T1" fmla="*/ 997 h 1035"/>
                <a:gd name="T2" fmla="*/ 115 w 1043"/>
                <a:gd name="T3" fmla="*/ 981 h 1035"/>
                <a:gd name="T4" fmla="*/ 135 w 1043"/>
                <a:gd name="T5" fmla="*/ 962 h 1035"/>
                <a:gd name="T6" fmla="*/ 155 w 1043"/>
                <a:gd name="T7" fmla="*/ 920 h 1035"/>
                <a:gd name="T8" fmla="*/ 164 w 1043"/>
                <a:gd name="T9" fmla="*/ 827 h 1035"/>
                <a:gd name="T10" fmla="*/ 164 w 1043"/>
                <a:gd name="T11" fmla="*/ 206 h 1035"/>
                <a:gd name="T12" fmla="*/ 155 w 1043"/>
                <a:gd name="T13" fmla="*/ 114 h 1035"/>
                <a:gd name="T14" fmla="*/ 135 w 1043"/>
                <a:gd name="T15" fmla="*/ 72 h 1035"/>
                <a:gd name="T16" fmla="*/ 115 w 1043"/>
                <a:gd name="T17" fmla="*/ 54 h 1035"/>
                <a:gd name="T18" fmla="*/ 48 w 1043"/>
                <a:gd name="T19" fmla="*/ 38 h 1035"/>
                <a:gd name="T20" fmla="*/ 468 w 1043"/>
                <a:gd name="T21" fmla="*/ 0 h 1035"/>
                <a:gd name="T22" fmla="*/ 574 w 1043"/>
                <a:gd name="T23" fmla="*/ 6 h 1035"/>
                <a:gd name="T24" fmla="*/ 699 w 1043"/>
                <a:gd name="T25" fmla="*/ 32 h 1035"/>
                <a:gd name="T26" fmla="*/ 803 w 1043"/>
                <a:gd name="T27" fmla="*/ 75 h 1035"/>
                <a:gd name="T28" fmla="*/ 888 w 1043"/>
                <a:gd name="T29" fmla="*/ 135 h 1035"/>
                <a:gd name="T30" fmla="*/ 953 w 1043"/>
                <a:gd name="T31" fmla="*/ 209 h 1035"/>
                <a:gd name="T32" fmla="*/ 1001 w 1043"/>
                <a:gd name="T33" fmla="*/ 294 h 1035"/>
                <a:gd name="T34" fmla="*/ 1031 w 1043"/>
                <a:gd name="T35" fmla="*/ 389 h 1035"/>
                <a:gd name="T36" fmla="*/ 1043 w 1043"/>
                <a:gd name="T37" fmla="*/ 491 h 1035"/>
                <a:gd name="T38" fmla="*/ 1041 w 1043"/>
                <a:gd name="T39" fmla="*/ 570 h 1035"/>
                <a:gd name="T40" fmla="*/ 1025 w 1043"/>
                <a:gd name="T41" fmla="*/ 671 h 1035"/>
                <a:gd name="T42" fmla="*/ 991 w 1043"/>
                <a:gd name="T43" fmla="*/ 764 h 1035"/>
                <a:gd name="T44" fmla="*/ 939 w 1043"/>
                <a:gd name="T45" fmla="*/ 846 h 1035"/>
                <a:gd name="T46" fmla="*/ 868 w 1043"/>
                <a:gd name="T47" fmla="*/ 916 h 1035"/>
                <a:gd name="T48" fmla="*/ 779 w 1043"/>
                <a:gd name="T49" fmla="*/ 972 h 1035"/>
                <a:gd name="T50" fmla="*/ 670 w 1043"/>
                <a:gd name="T51" fmla="*/ 1011 h 1035"/>
                <a:gd name="T52" fmla="*/ 540 w 1043"/>
                <a:gd name="T53" fmla="*/ 1032 h 1035"/>
                <a:gd name="T54" fmla="*/ 0 w 1043"/>
                <a:gd name="T55" fmla="*/ 999 h 1035"/>
                <a:gd name="T56" fmla="*/ 529 w 1043"/>
                <a:gd name="T57" fmla="*/ 968 h 1035"/>
                <a:gd name="T58" fmla="*/ 631 w 1043"/>
                <a:gd name="T59" fmla="*/ 947 h 1035"/>
                <a:gd name="T60" fmla="*/ 713 w 1043"/>
                <a:gd name="T61" fmla="*/ 906 h 1035"/>
                <a:gd name="T62" fmla="*/ 775 w 1043"/>
                <a:gd name="T63" fmla="*/ 852 h 1035"/>
                <a:gd name="T64" fmla="*/ 820 w 1043"/>
                <a:gd name="T65" fmla="*/ 785 h 1035"/>
                <a:gd name="T66" fmla="*/ 851 w 1043"/>
                <a:gd name="T67" fmla="*/ 712 h 1035"/>
                <a:gd name="T68" fmla="*/ 869 w 1043"/>
                <a:gd name="T69" fmla="*/ 634 h 1035"/>
                <a:gd name="T70" fmla="*/ 878 w 1043"/>
                <a:gd name="T71" fmla="*/ 517 h 1035"/>
                <a:gd name="T72" fmla="*/ 865 w 1043"/>
                <a:gd name="T73" fmla="*/ 380 h 1035"/>
                <a:gd name="T74" fmla="*/ 845 w 1043"/>
                <a:gd name="T75" fmla="*/ 304 h 1035"/>
                <a:gd name="T76" fmla="*/ 810 w 1043"/>
                <a:gd name="T77" fmla="*/ 231 h 1035"/>
                <a:gd name="T78" fmla="*/ 761 w 1043"/>
                <a:gd name="T79" fmla="*/ 168 h 1035"/>
                <a:gd name="T80" fmla="*/ 695 w 1043"/>
                <a:gd name="T81" fmla="*/ 117 h 1035"/>
                <a:gd name="T82" fmla="*/ 608 w 1043"/>
                <a:gd name="T83" fmla="*/ 81 h 1035"/>
                <a:gd name="T84" fmla="*/ 500 w 1043"/>
                <a:gd name="T85" fmla="*/ 65 h 1035"/>
                <a:gd name="T86" fmla="*/ 302 w 1043"/>
                <a:gd name="T87" fmla="*/ 771 h 1035"/>
                <a:gd name="T88" fmla="*/ 307 w 1043"/>
                <a:gd name="T89" fmla="*/ 875 h 1035"/>
                <a:gd name="T90" fmla="*/ 324 w 1043"/>
                <a:gd name="T91" fmla="*/ 931 h 1035"/>
                <a:gd name="T92" fmla="*/ 344 w 1043"/>
                <a:gd name="T93" fmla="*/ 950 h 1035"/>
                <a:gd name="T94" fmla="*/ 395 w 1043"/>
                <a:gd name="T95" fmla="*/ 967 h 1035"/>
                <a:gd name="T96" fmla="*/ 469 w 1043"/>
                <a:gd name="T97" fmla="*/ 971 h 10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043" h="1035">
                  <a:moveTo>
                    <a:pt x="0" y="999"/>
                  </a:moveTo>
                  <a:lnTo>
                    <a:pt x="0" y="999"/>
                  </a:lnTo>
                  <a:lnTo>
                    <a:pt x="25" y="998"/>
                  </a:lnTo>
                  <a:lnTo>
                    <a:pt x="48" y="997"/>
                  </a:lnTo>
                  <a:lnTo>
                    <a:pt x="68" y="995"/>
                  </a:lnTo>
                  <a:lnTo>
                    <a:pt x="86" y="991"/>
                  </a:lnTo>
                  <a:lnTo>
                    <a:pt x="102" y="987"/>
                  </a:lnTo>
                  <a:lnTo>
                    <a:pt x="115" y="981"/>
                  </a:lnTo>
                  <a:lnTo>
                    <a:pt x="121" y="977"/>
                  </a:lnTo>
                  <a:lnTo>
                    <a:pt x="126" y="972"/>
                  </a:lnTo>
                  <a:lnTo>
                    <a:pt x="131" y="967"/>
                  </a:lnTo>
                  <a:lnTo>
                    <a:pt x="135" y="962"/>
                  </a:lnTo>
                  <a:lnTo>
                    <a:pt x="139" y="957"/>
                  </a:lnTo>
                  <a:lnTo>
                    <a:pt x="143" y="951"/>
                  </a:lnTo>
                  <a:lnTo>
                    <a:pt x="150" y="937"/>
                  </a:lnTo>
                  <a:lnTo>
                    <a:pt x="155" y="920"/>
                  </a:lnTo>
                  <a:lnTo>
                    <a:pt x="158" y="901"/>
                  </a:lnTo>
                  <a:lnTo>
                    <a:pt x="161" y="879"/>
                  </a:lnTo>
                  <a:lnTo>
                    <a:pt x="163" y="855"/>
                  </a:lnTo>
                  <a:lnTo>
                    <a:pt x="164" y="827"/>
                  </a:lnTo>
                  <a:lnTo>
                    <a:pt x="164" y="797"/>
                  </a:lnTo>
                  <a:lnTo>
                    <a:pt x="164" y="236"/>
                  </a:lnTo>
                  <a:lnTo>
                    <a:pt x="164" y="236"/>
                  </a:lnTo>
                  <a:lnTo>
                    <a:pt x="164" y="206"/>
                  </a:lnTo>
                  <a:lnTo>
                    <a:pt x="163" y="178"/>
                  </a:lnTo>
                  <a:lnTo>
                    <a:pt x="161" y="153"/>
                  </a:lnTo>
                  <a:lnTo>
                    <a:pt x="158" y="132"/>
                  </a:lnTo>
                  <a:lnTo>
                    <a:pt x="155" y="114"/>
                  </a:lnTo>
                  <a:lnTo>
                    <a:pt x="150" y="97"/>
                  </a:lnTo>
                  <a:lnTo>
                    <a:pt x="143" y="83"/>
                  </a:lnTo>
                  <a:lnTo>
                    <a:pt x="139" y="77"/>
                  </a:lnTo>
                  <a:lnTo>
                    <a:pt x="135" y="72"/>
                  </a:lnTo>
                  <a:lnTo>
                    <a:pt x="131" y="67"/>
                  </a:lnTo>
                  <a:lnTo>
                    <a:pt x="126" y="61"/>
                  </a:lnTo>
                  <a:lnTo>
                    <a:pt x="121" y="57"/>
                  </a:lnTo>
                  <a:lnTo>
                    <a:pt x="115" y="54"/>
                  </a:lnTo>
                  <a:lnTo>
                    <a:pt x="102" y="48"/>
                  </a:lnTo>
                  <a:lnTo>
                    <a:pt x="86" y="43"/>
                  </a:lnTo>
                  <a:lnTo>
                    <a:pt x="68" y="40"/>
                  </a:lnTo>
                  <a:lnTo>
                    <a:pt x="48" y="38"/>
                  </a:lnTo>
                  <a:lnTo>
                    <a:pt x="25" y="37"/>
                  </a:lnTo>
                  <a:lnTo>
                    <a:pt x="0" y="36"/>
                  </a:lnTo>
                  <a:lnTo>
                    <a:pt x="0" y="0"/>
                  </a:lnTo>
                  <a:lnTo>
                    <a:pt x="468" y="0"/>
                  </a:lnTo>
                  <a:lnTo>
                    <a:pt x="468" y="0"/>
                  </a:lnTo>
                  <a:lnTo>
                    <a:pt x="504" y="0"/>
                  </a:lnTo>
                  <a:lnTo>
                    <a:pt x="540" y="2"/>
                  </a:lnTo>
                  <a:lnTo>
                    <a:pt x="574" y="6"/>
                  </a:lnTo>
                  <a:lnTo>
                    <a:pt x="608" y="10"/>
                  </a:lnTo>
                  <a:lnTo>
                    <a:pt x="639" y="16"/>
                  </a:lnTo>
                  <a:lnTo>
                    <a:pt x="670" y="24"/>
                  </a:lnTo>
                  <a:lnTo>
                    <a:pt x="699" y="32"/>
                  </a:lnTo>
                  <a:lnTo>
                    <a:pt x="727" y="41"/>
                  </a:lnTo>
                  <a:lnTo>
                    <a:pt x="754" y="51"/>
                  </a:lnTo>
                  <a:lnTo>
                    <a:pt x="779" y="62"/>
                  </a:lnTo>
                  <a:lnTo>
                    <a:pt x="803" y="75"/>
                  </a:lnTo>
                  <a:lnTo>
                    <a:pt x="827" y="88"/>
                  </a:lnTo>
                  <a:lnTo>
                    <a:pt x="848" y="103"/>
                  </a:lnTo>
                  <a:lnTo>
                    <a:pt x="868" y="119"/>
                  </a:lnTo>
                  <a:lnTo>
                    <a:pt x="888" y="135"/>
                  </a:lnTo>
                  <a:lnTo>
                    <a:pt x="906" y="151"/>
                  </a:lnTo>
                  <a:lnTo>
                    <a:pt x="924" y="170"/>
                  </a:lnTo>
                  <a:lnTo>
                    <a:pt x="939" y="188"/>
                  </a:lnTo>
                  <a:lnTo>
                    <a:pt x="953" y="209"/>
                  </a:lnTo>
                  <a:lnTo>
                    <a:pt x="968" y="228"/>
                  </a:lnTo>
                  <a:lnTo>
                    <a:pt x="980" y="250"/>
                  </a:lnTo>
                  <a:lnTo>
                    <a:pt x="991" y="271"/>
                  </a:lnTo>
                  <a:lnTo>
                    <a:pt x="1001" y="294"/>
                  </a:lnTo>
                  <a:lnTo>
                    <a:pt x="1010" y="316"/>
                  </a:lnTo>
                  <a:lnTo>
                    <a:pt x="1018" y="340"/>
                  </a:lnTo>
                  <a:lnTo>
                    <a:pt x="1025" y="364"/>
                  </a:lnTo>
                  <a:lnTo>
                    <a:pt x="1031" y="389"/>
                  </a:lnTo>
                  <a:lnTo>
                    <a:pt x="1035" y="413"/>
                  </a:lnTo>
                  <a:lnTo>
                    <a:pt x="1039" y="439"/>
                  </a:lnTo>
                  <a:lnTo>
                    <a:pt x="1041" y="464"/>
                  </a:lnTo>
                  <a:lnTo>
                    <a:pt x="1043" y="491"/>
                  </a:lnTo>
                  <a:lnTo>
                    <a:pt x="1043" y="517"/>
                  </a:lnTo>
                  <a:lnTo>
                    <a:pt x="1043" y="517"/>
                  </a:lnTo>
                  <a:lnTo>
                    <a:pt x="1043" y="544"/>
                  </a:lnTo>
                  <a:lnTo>
                    <a:pt x="1041" y="570"/>
                  </a:lnTo>
                  <a:lnTo>
                    <a:pt x="1039" y="596"/>
                  </a:lnTo>
                  <a:lnTo>
                    <a:pt x="1035" y="622"/>
                  </a:lnTo>
                  <a:lnTo>
                    <a:pt x="1031" y="646"/>
                  </a:lnTo>
                  <a:lnTo>
                    <a:pt x="1025" y="671"/>
                  </a:lnTo>
                  <a:lnTo>
                    <a:pt x="1018" y="694"/>
                  </a:lnTo>
                  <a:lnTo>
                    <a:pt x="1010" y="718"/>
                  </a:lnTo>
                  <a:lnTo>
                    <a:pt x="1001" y="741"/>
                  </a:lnTo>
                  <a:lnTo>
                    <a:pt x="991" y="764"/>
                  </a:lnTo>
                  <a:lnTo>
                    <a:pt x="980" y="785"/>
                  </a:lnTo>
                  <a:lnTo>
                    <a:pt x="968" y="806"/>
                  </a:lnTo>
                  <a:lnTo>
                    <a:pt x="953" y="826"/>
                  </a:lnTo>
                  <a:lnTo>
                    <a:pt x="939" y="846"/>
                  </a:lnTo>
                  <a:lnTo>
                    <a:pt x="924" y="865"/>
                  </a:lnTo>
                  <a:lnTo>
                    <a:pt x="906" y="882"/>
                  </a:lnTo>
                  <a:lnTo>
                    <a:pt x="888" y="900"/>
                  </a:lnTo>
                  <a:lnTo>
                    <a:pt x="868" y="916"/>
                  </a:lnTo>
                  <a:lnTo>
                    <a:pt x="848" y="932"/>
                  </a:lnTo>
                  <a:lnTo>
                    <a:pt x="827" y="946"/>
                  </a:lnTo>
                  <a:lnTo>
                    <a:pt x="803" y="959"/>
                  </a:lnTo>
                  <a:lnTo>
                    <a:pt x="779" y="972"/>
                  </a:lnTo>
                  <a:lnTo>
                    <a:pt x="754" y="984"/>
                  </a:lnTo>
                  <a:lnTo>
                    <a:pt x="727" y="994"/>
                  </a:lnTo>
                  <a:lnTo>
                    <a:pt x="699" y="1003"/>
                  </a:lnTo>
                  <a:lnTo>
                    <a:pt x="670" y="1011"/>
                  </a:lnTo>
                  <a:lnTo>
                    <a:pt x="639" y="1018"/>
                  </a:lnTo>
                  <a:lnTo>
                    <a:pt x="608" y="1025"/>
                  </a:lnTo>
                  <a:lnTo>
                    <a:pt x="574" y="1029"/>
                  </a:lnTo>
                  <a:lnTo>
                    <a:pt x="540" y="1032"/>
                  </a:lnTo>
                  <a:lnTo>
                    <a:pt x="504" y="1034"/>
                  </a:lnTo>
                  <a:lnTo>
                    <a:pt x="468" y="1035"/>
                  </a:lnTo>
                  <a:lnTo>
                    <a:pt x="0" y="1035"/>
                  </a:lnTo>
                  <a:lnTo>
                    <a:pt x="0" y="999"/>
                  </a:lnTo>
                  <a:close/>
                  <a:moveTo>
                    <a:pt x="469" y="971"/>
                  </a:moveTo>
                  <a:lnTo>
                    <a:pt x="469" y="971"/>
                  </a:lnTo>
                  <a:lnTo>
                    <a:pt x="500" y="970"/>
                  </a:lnTo>
                  <a:lnTo>
                    <a:pt x="529" y="968"/>
                  </a:lnTo>
                  <a:lnTo>
                    <a:pt x="557" y="964"/>
                  </a:lnTo>
                  <a:lnTo>
                    <a:pt x="583" y="960"/>
                  </a:lnTo>
                  <a:lnTo>
                    <a:pt x="608" y="954"/>
                  </a:lnTo>
                  <a:lnTo>
                    <a:pt x="631" y="947"/>
                  </a:lnTo>
                  <a:lnTo>
                    <a:pt x="654" y="938"/>
                  </a:lnTo>
                  <a:lnTo>
                    <a:pt x="675" y="928"/>
                  </a:lnTo>
                  <a:lnTo>
                    <a:pt x="695" y="918"/>
                  </a:lnTo>
                  <a:lnTo>
                    <a:pt x="713" y="906"/>
                  </a:lnTo>
                  <a:lnTo>
                    <a:pt x="730" y="894"/>
                  </a:lnTo>
                  <a:lnTo>
                    <a:pt x="747" y="880"/>
                  </a:lnTo>
                  <a:lnTo>
                    <a:pt x="761" y="866"/>
                  </a:lnTo>
                  <a:lnTo>
                    <a:pt x="775" y="852"/>
                  </a:lnTo>
                  <a:lnTo>
                    <a:pt x="788" y="836"/>
                  </a:lnTo>
                  <a:lnTo>
                    <a:pt x="800" y="820"/>
                  </a:lnTo>
                  <a:lnTo>
                    <a:pt x="810" y="803"/>
                  </a:lnTo>
                  <a:lnTo>
                    <a:pt x="820" y="785"/>
                  </a:lnTo>
                  <a:lnTo>
                    <a:pt x="830" y="768"/>
                  </a:lnTo>
                  <a:lnTo>
                    <a:pt x="838" y="750"/>
                  </a:lnTo>
                  <a:lnTo>
                    <a:pt x="845" y="731"/>
                  </a:lnTo>
                  <a:lnTo>
                    <a:pt x="851" y="712"/>
                  </a:lnTo>
                  <a:lnTo>
                    <a:pt x="856" y="692"/>
                  </a:lnTo>
                  <a:lnTo>
                    <a:pt x="861" y="673"/>
                  </a:lnTo>
                  <a:lnTo>
                    <a:pt x="865" y="653"/>
                  </a:lnTo>
                  <a:lnTo>
                    <a:pt x="869" y="634"/>
                  </a:lnTo>
                  <a:lnTo>
                    <a:pt x="875" y="595"/>
                  </a:lnTo>
                  <a:lnTo>
                    <a:pt x="877" y="555"/>
                  </a:lnTo>
                  <a:lnTo>
                    <a:pt x="878" y="517"/>
                  </a:lnTo>
                  <a:lnTo>
                    <a:pt x="878" y="517"/>
                  </a:lnTo>
                  <a:lnTo>
                    <a:pt x="877" y="479"/>
                  </a:lnTo>
                  <a:lnTo>
                    <a:pt x="875" y="440"/>
                  </a:lnTo>
                  <a:lnTo>
                    <a:pt x="869" y="401"/>
                  </a:lnTo>
                  <a:lnTo>
                    <a:pt x="865" y="380"/>
                  </a:lnTo>
                  <a:lnTo>
                    <a:pt x="861" y="361"/>
                  </a:lnTo>
                  <a:lnTo>
                    <a:pt x="856" y="342"/>
                  </a:lnTo>
                  <a:lnTo>
                    <a:pt x="851" y="323"/>
                  </a:lnTo>
                  <a:lnTo>
                    <a:pt x="845" y="304"/>
                  </a:lnTo>
                  <a:lnTo>
                    <a:pt x="838" y="285"/>
                  </a:lnTo>
                  <a:lnTo>
                    <a:pt x="830" y="267"/>
                  </a:lnTo>
                  <a:lnTo>
                    <a:pt x="820" y="249"/>
                  </a:lnTo>
                  <a:lnTo>
                    <a:pt x="810" y="231"/>
                  </a:lnTo>
                  <a:lnTo>
                    <a:pt x="800" y="215"/>
                  </a:lnTo>
                  <a:lnTo>
                    <a:pt x="788" y="198"/>
                  </a:lnTo>
                  <a:lnTo>
                    <a:pt x="775" y="183"/>
                  </a:lnTo>
                  <a:lnTo>
                    <a:pt x="761" y="168"/>
                  </a:lnTo>
                  <a:lnTo>
                    <a:pt x="747" y="154"/>
                  </a:lnTo>
                  <a:lnTo>
                    <a:pt x="730" y="140"/>
                  </a:lnTo>
                  <a:lnTo>
                    <a:pt x="713" y="128"/>
                  </a:lnTo>
                  <a:lnTo>
                    <a:pt x="695" y="117"/>
                  </a:lnTo>
                  <a:lnTo>
                    <a:pt x="675" y="106"/>
                  </a:lnTo>
                  <a:lnTo>
                    <a:pt x="654" y="96"/>
                  </a:lnTo>
                  <a:lnTo>
                    <a:pt x="631" y="88"/>
                  </a:lnTo>
                  <a:lnTo>
                    <a:pt x="608" y="81"/>
                  </a:lnTo>
                  <a:lnTo>
                    <a:pt x="583" y="75"/>
                  </a:lnTo>
                  <a:lnTo>
                    <a:pt x="557" y="70"/>
                  </a:lnTo>
                  <a:lnTo>
                    <a:pt x="529" y="67"/>
                  </a:lnTo>
                  <a:lnTo>
                    <a:pt x="500" y="65"/>
                  </a:lnTo>
                  <a:lnTo>
                    <a:pt x="469" y="63"/>
                  </a:lnTo>
                  <a:lnTo>
                    <a:pt x="302" y="63"/>
                  </a:lnTo>
                  <a:lnTo>
                    <a:pt x="302" y="771"/>
                  </a:lnTo>
                  <a:lnTo>
                    <a:pt x="302" y="771"/>
                  </a:lnTo>
                  <a:lnTo>
                    <a:pt x="302" y="802"/>
                  </a:lnTo>
                  <a:lnTo>
                    <a:pt x="303" y="829"/>
                  </a:lnTo>
                  <a:lnTo>
                    <a:pt x="304" y="854"/>
                  </a:lnTo>
                  <a:lnTo>
                    <a:pt x="307" y="875"/>
                  </a:lnTo>
                  <a:lnTo>
                    <a:pt x="310" y="894"/>
                  </a:lnTo>
                  <a:lnTo>
                    <a:pt x="315" y="910"/>
                  </a:lnTo>
                  <a:lnTo>
                    <a:pt x="321" y="924"/>
                  </a:lnTo>
                  <a:lnTo>
                    <a:pt x="324" y="931"/>
                  </a:lnTo>
                  <a:lnTo>
                    <a:pt x="329" y="936"/>
                  </a:lnTo>
                  <a:lnTo>
                    <a:pt x="334" y="941"/>
                  </a:lnTo>
                  <a:lnTo>
                    <a:pt x="338" y="946"/>
                  </a:lnTo>
                  <a:lnTo>
                    <a:pt x="344" y="950"/>
                  </a:lnTo>
                  <a:lnTo>
                    <a:pt x="349" y="953"/>
                  </a:lnTo>
                  <a:lnTo>
                    <a:pt x="362" y="959"/>
                  </a:lnTo>
                  <a:lnTo>
                    <a:pt x="378" y="964"/>
                  </a:lnTo>
                  <a:lnTo>
                    <a:pt x="395" y="967"/>
                  </a:lnTo>
                  <a:lnTo>
                    <a:pt x="414" y="969"/>
                  </a:lnTo>
                  <a:lnTo>
                    <a:pt x="437" y="970"/>
                  </a:lnTo>
                  <a:lnTo>
                    <a:pt x="463" y="971"/>
                  </a:lnTo>
                  <a:lnTo>
                    <a:pt x="469" y="97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29" name="Freeform 27"/>
            <p:cNvSpPr>
              <a:spLocks/>
            </p:cNvSpPr>
            <p:nvPr userDrawn="1"/>
          </p:nvSpPr>
          <p:spPr bwMode="auto">
            <a:xfrm>
              <a:off x="2760663" y="1158876"/>
              <a:ext cx="112713" cy="136525"/>
            </a:xfrm>
            <a:custGeom>
              <a:avLst/>
              <a:gdLst>
                <a:gd name="T0" fmla="*/ 26 w 859"/>
                <a:gd name="T1" fmla="*/ 998 h 1035"/>
                <a:gd name="T2" fmla="*/ 86 w 859"/>
                <a:gd name="T3" fmla="*/ 991 h 1035"/>
                <a:gd name="T4" fmla="*/ 121 w 859"/>
                <a:gd name="T5" fmla="*/ 977 h 1035"/>
                <a:gd name="T6" fmla="*/ 135 w 859"/>
                <a:gd name="T7" fmla="*/ 962 h 1035"/>
                <a:gd name="T8" fmla="*/ 150 w 859"/>
                <a:gd name="T9" fmla="*/ 937 h 1035"/>
                <a:gd name="T10" fmla="*/ 161 w 859"/>
                <a:gd name="T11" fmla="*/ 879 h 1035"/>
                <a:gd name="T12" fmla="*/ 164 w 859"/>
                <a:gd name="T13" fmla="*/ 797 h 1035"/>
                <a:gd name="T14" fmla="*/ 164 w 859"/>
                <a:gd name="T15" fmla="*/ 206 h 1035"/>
                <a:gd name="T16" fmla="*/ 159 w 859"/>
                <a:gd name="T17" fmla="*/ 132 h 1035"/>
                <a:gd name="T18" fmla="*/ 143 w 859"/>
                <a:gd name="T19" fmla="*/ 83 h 1035"/>
                <a:gd name="T20" fmla="*/ 131 w 859"/>
                <a:gd name="T21" fmla="*/ 67 h 1035"/>
                <a:gd name="T22" fmla="*/ 115 w 859"/>
                <a:gd name="T23" fmla="*/ 54 h 1035"/>
                <a:gd name="T24" fmla="*/ 69 w 859"/>
                <a:gd name="T25" fmla="*/ 40 h 1035"/>
                <a:gd name="T26" fmla="*/ 0 w 859"/>
                <a:gd name="T27" fmla="*/ 36 h 1035"/>
                <a:gd name="T28" fmla="*/ 802 w 859"/>
                <a:gd name="T29" fmla="*/ 227 h 1035"/>
                <a:gd name="T30" fmla="*/ 757 w 859"/>
                <a:gd name="T31" fmla="*/ 193 h 1035"/>
                <a:gd name="T32" fmla="*/ 739 w 859"/>
                <a:gd name="T33" fmla="*/ 135 h 1035"/>
                <a:gd name="T34" fmla="*/ 717 w 859"/>
                <a:gd name="T35" fmla="*/ 103 h 1035"/>
                <a:gd name="T36" fmla="*/ 684 w 859"/>
                <a:gd name="T37" fmla="*/ 81 h 1035"/>
                <a:gd name="T38" fmla="*/ 632 w 859"/>
                <a:gd name="T39" fmla="*/ 68 h 1035"/>
                <a:gd name="T40" fmla="*/ 558 w 859"/>
                <a:gd name="T41" fmla="*/ 63 h 1035"/>
                <a:gd name="T42" fmla="*/ 388 w 859"/>
                <a:gd name="T43" fmla="*/ 455 h 1035"/>
                <a:gd name="T44" fmla="*/ 446 w 859"/>
                <a:gd name="T45" fmla="*/ 454 h 1035"/>
                <a:gd name="T46" fmla="*/ 512 w 859"/>
                <a:gd name="T47" fmla="*/ 446 h 1035"/>
                <a:gd name="T48" fmla="*/ 547 w 859"/>
                <a:gd name="T49" fmla="*/ 431 h 1035"/>
                <a:gd name="T50" fmla="*/ 563 w 859"/>
                <a:gd name="T51" fmla="*/ 417 h 1035"/>
                <a:gd name="T52" fmla="*/ 577 w 859"/>
                <a:gd name="T53" fmla="*/ 393 h 1035"/>
                <a:gd name="T54" fmla="*/ 587 w 859"/>
                <a:gd name="T55" fmla="*/ 339 h 1035"/>
                <a:gd name="T56" fmla="*/ 625 w 859"/>
                <a:gd name="T57" fmla="*/ 289 h 1035"/>
                <a:gd name="T58" fmla="*/ 588 w 859"/>
                <a:gd name="T59" fmla="*/ 685 h 1035"/>
                <a:gd name="T60" fmla="*/ 585 w 859"/>
                <a:gd name="T61" fmla="*/ 616 h 1035"/>
                <a:gd name="T62" fmla="*/ 571 w 859"/>
                <a:gd name="T63" fmla="*/ 569 h 1035"/>
                <a:gd name="T64" fmla="*/ 559 w 859"/>
                <a:gd name="T65" fmla="*/ 552 h 1035"/>
                <a:gd name="T66" fmla="*/ 541 w 859"/>
                <a:gd name="T67" fmla="*/ 540 h 1035"/>
                <a:gd name="T68" fmla="*/ 492 w 859"/>
                <a:gd name="T69" fmla="*/ 525 h 1035"/>
                <a:gd name="T70" fmla="*/ 419 w 859"/>
                <a:gd name="T71" fmla="*/ 519 h 1035"/>
                <a:gd name="T72" fmla="*/ 302 w 859"/>
                <a:gd name="T73" fmla="*/ 771 h 1035"/>
                <a:gd name="T74" fmla="*/ 303 w 859"/>
                <a:gd name="T75" fmla="*/ 829 h 1035"/>
                <a:gd name="T76" fmla="*/ 311 w 859"/>
                <a:gd name="T77" fmla="*/ 894 h 1035"/>
                <a:gd name="T78" fmla="*/ 326 w 859"/>
                <a:gd name="T79" fmla="*/ 931 h 1035"/>
                <a:gd name="T80" fmla="*/ 340 w 859"/>
                <a:gd name="T81" fmla="*/ 946 h 1035"/>
                <a:gd name="T82" fmla="*/ 364 w 859"/>
                <a:gd name="T83" fmla="*/ 959 h 1035"/>
                <a:gd name="T84" fmla="*/ 417 w 859"/>
                <a:gd name="T85" fmla="*/ 969 h 1035"/>
                <a:gd name="T86" fmla="*/ 614 w 859"/>
                <a:gd name="T87" fmla="*/ 971 h 1035"/>
                <a:gd name="T88" fmla="*/ 668 w 859"/>
                <a:gd name="T89" fmla="*/ 969 h 1035"/>
                <a:gd name="T90" fmla="*/ 726 w 859"/>
                <a:gd name="T91" fmla="*/ 959 h 1035"/>
                <a:gd name="T92" fmla="*/ 765 w 859"/>
                <a:gd name="T93" fmla="*/ 940 h 1035"/>
                <a:gd name="T94" fmla="*/ 790 w 859"/>
                <a:gd name="T95" fmla="*/ 911 h 1035"/>
                <a:gd name="T96" fmla="*/ 806 w 859"/>
                <a:gd name="T97" fmla="*/ 872 h 1035"/>
                <a:gd name="T98" fmla="*/ 859 w 859"/>
                <a:gd name="T99" fmla="*/ 806 h 1035"/>
                <a:gd name="T100" fmla="*/ 0 w 859"/>
                <a:gd name="T101" fmla="*/ 999 h 10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59" h="1035">
                  <a:moveTo>
                    <a:pt x="0" y="999"/>
                  </a:moveTo>
                  <a:lnTo>
                    <a:pt x="0" y="999"/>
                  </a:lnTo>
                  <a:lnTo>
                    <a:pt x="26" y="998"/>
                  </a:lnTo>
                  <a:lnTo>
                    <a:pt x="48" y="997"/>
                  </a:lnTo>
                  <a:lnTo>
                    <a:pt x="69" y="995"/>
                  </a:lnTo>
                  <a:lnTo>
                    <a:pt x="86" y="991"/>
                  </a:lnTo>
                  <a:lnTo>
                    <a:pt x="102" y="987"/>
                  </a:lnTo>
                  <a:lnTo>
                    <a:pt x="115" y="981"/>
                  </a:lnTo>
                  <a:lnTo>
                    <a:pt x="121" y="977"/>
                  </a:lnTo>
                  <a:lnTo>
                    <a:pt x="126" y="972"/>
                  </a:lnTo>
                  <a:lnTo>
                    <a:pt x="131" y="967"/>
                  </a:lnTo>
                  <a:lnTo>
                    <a:pt x="135" y="962"/>
                  </a:lnTo>
                  <a:lnTo>
                    <a:pt x="140" y="957"/>
                  </a:lnTo>
                  <a:lnTo>
                    <a:pt x="143" y="951"/>
                  </a:lnTo>
                  <a:lnTo>
                    <a:pt x="150" y="937"/>
                  </a:lnTo>
                  <a:lnTo>
                    <a:pt x="155" y="920"/>
                  </a:lnTo>
                  <a:lnTo>
                    <a:pt x="159" y="901"/>
                  </a:lnTo>
                  <a:lnTo>
                    <a:pt x="161" y="879"/>
                  </a:lnTo>
                  <a:lnTo>
                    <a:pt x="163" y="855"/>
                  </a:lnTo>
                  <a:lnTo>
                    <a:pt x="164" y="827"/>
                  </a:lnTo>
                  <a:lnTo>
                    <a:pt x="164" y="797"/>
                  </a:lnTo>
                  <a:lnTo>
                    <a:pt x="164" y="236"/>
                  </a:lnTo>
                  <a:lnTo>
                    <a:pt x="164" y="236"/>
                  </a:lnTo>
                  <a:lnTo>
                    <a:pt x="164" y="206"/>
                  </a:lnTo>
                  <a:lnTo>
                    <a:pt x="163" y="178"/>
                  </a:lnTo>
                  <a:lnTo>
                    <a:pt x="161" y="153"/>
                  </a:lnTo>
                  <a:lnTo>
                    <a:pt x="159" y="132"/>
                  </a:lnTo>
                  <a:lnTo>
                    <a:pt x="155" y="114"/>
                  </a:lnTo>
                  <a:lnTo>
                    <a:pt x="150" y="97"/>
                  </a:lnTo>
                  <a:lnTo>
                    <a:pt x="143" y="83"/>
                  </a:lnTo>
                  <a:lnTo>
                    <a:pt x="140" y="77"/>
                  </a:lnTo>
                  <a:lnTo>
                    <a:pt x="135" y="72"/>
                  </a:lnTo>
                  <a:lnTo>
                    <a:pt x="131" y="67"/>
                  </a:lnTo>
                  <a:lnTo>
                    <a:pt x="126" y="61"/>
                  </a:lnTo>
                  <a:lnTo>
                    <a:pt x="121" y="57"/>
                  </a:lnTo>
                  <a:lnTo>
                    <a:pt x="115" y="54"/>
                  </a:lnTo>
                  <a:lnTo>
                    <a:pt x="102" y="48"/>
                  </a:lnTo>
                  <a:lnTo>
                    <a:pt x="86" y="43"/>
                  </a:lnTo>
                  <a:lnTo>
                    <a:pt x="69" y="40"/>
                  </a:lnTo>
                  <a:lnTo>
                    <a:pt x="48" y="38"/>
                  </a:lnTo>
                  <a:lnTo>
                    <a:pt x="26" y="37"/>
                  </a:lnTo>
                  <a:lnTo>
                    <a:pt x="0" y="36"/>
                  </a:lnTo>
                  <a:lnTo>
                    <a:pt x="0" y="0"/>
                  </a:lnTo>
                  <a:lnTo>
                    <a:pt x="787" y="0"/>
                  </a:lnTo>
                  <a:lnTo>
                    <a:pt x="802" y="227"/>
                  </a:lnTo>
                  <a:lnTo>
                    <a:pt x="766" y="227"/>
                  </a:lnTo>
                  <a:lnTo>
                    <a:pt x="757" y="193"/>
                  </a:lnTo>
                  <a:lnTo>
                    <a:pt x="757" y="193"/>
                  </a:lnTo>
                  <a:lnTo>
                    <a:pt x="749" y="162"/>
                  </a:lnTo>
                  <a:lnTo>
                    <a:pt x="744" y="147"/>
                  </a:lnTo>
                  <a:lnTo>
                    <a:pt x="739" y="135"/>
                  </a:lnTo>
                  <a:lnTo>
                    <a:pt x="732" y="123"/>
                  </a:lnTo>
                  <a:lnTo>
                    <a:pt x="725" y="113"/>
                  </a:lnTo>
                  <a:lnTo>
                    <a:pt x="717" y="103"/>
                  </a:lnTo>
                  <a:lnTo>
                    <a:pt x="708" y="95"/>
                  </a:lnTo>
                  <a:lnTo>
                    <a:pt x="697" y="87"/>
                  </a:lnTo>
                  <a:lnTo>
                    <a:pt x="684" y="81"/>
                  </a:lnTo>
                  <a:lnTo>
                    <a:pt x="669" y="76"/>
                  </a:lnTo>
                  <a:lnTo>
                    <a:pt x="653" y="72"/>
                  </a:lnTo>
                  <a:lnTo>
                    <a:pt x="632" y="68"/>
                  </a:lnTo>
                  <a:lnTo>
                    <a:pt x="611" y="66"/>
                  </a:lnTo>
                  <a:lnTo>
                    <a:pt x="585" y="65"/>
                  </a:lnTo>
                  <a:lnTo>
                    <a:pt x="558" y="63"/>
                  </a:lnTo>
                  <a:lnTo>
                    <a:pt x="302" y="63"/>
                  </a:lnTo>
                  <a:lnTo>
                    <a:pt x="302" y="455"/>
                  </a:lnTo>
                  <a:lnTo>
                    <a:pt x="388" y="455"/>
                  </a:lnTo>
                  <a:lnTo>
                    <a:pt x="388" y="455"/>
                  </a:lnTo>
                  <a:lnTo>
                    <a:pt x="419" y="455"/>
                  </a:lnTo>
                  <a:lnTo>
                    <a:pt x="446" y="454"/>
                  </a:lnTo>
                  <a:lnTo>
                    <a:pt x="471" y="452"/>
                  </a:lnTo>
                  <a:lnTo>
                    <a:pt x="492" y="450"/>
                  </a:lnTo>
                  <a:lnTo>
                    <a:pt x="512" y="446"/>
                  </a:lnTo>
                  <a:lnTo>
                    <a:pt x="527" y="441"/>
                  </a:lnTo>
                  <a:lnTo>
                    <a:pt x="541" y="435"/>
                  </a:lnTo>
                  <a:lnTo>
                    <a:pt x="547" y="431"/>
                  </a:lnTo>
                  <a:lnTo>
                    <a:pt x="553" y="426"/>
                  </a:lnTo>
                  <a:lnTo>
                    <a:pt x="559" y="422"/>
                  </a:lnTo>
                  <a:lnTo>
                    <a:pt x="563" y="417"/>
                  </a:lnTo>
                  <a:lnTo>
                    <a:pt x="567" y="412"/>
                  </a:lnTo>
                  <a:lnTo>
                    <a:pt x="571" y="406"/>
                  </a:lnTo>
                  <a:lnTo>
                    <a:pt x="577" y="393"/>
                  </a:lnTo>
                  <a:lnTo>
                    <a:pt x="581" y="376"/>
                  </a:lnTo>
                  <a:lnTo>
                    <a:pt x="585" y="359"/>
                  </a:lnTo>
                  <a:lnTo>
                    <a:pt x="587" y="339"/>
                  </a:lnTo>
                  <a:lnTo>
                    <a:pt x="588" y="315"/>
                  </a:lnTo>
                  <a:lnTo>
                    <a:pt x="588" y="289"/>
                  </a:lnTo>
                  <a:lnTo>
                    <a:pt x="625" y="289"/>
                  </a:lnTo>
                  <a:lnTo>
                    <a:pt x="625" y="685"/>
                  </a:lnTo>
                  <a:lnTo>
                    <a:pt x="588" y="685"/>
                  </a:lnTo>
                  <a:lnTo>
                    <a:pt x="588" y="685"/>
                  </a:lnTo>
                  <a:lnTo>
                    <a:pt x="588" y="659"/>
                  </a:lnTo>
                  <a:lnTo>
                    <a:pt x="587" y="636"/>
                  </a:lnTo>
                  <a:lnTo>
                    <a:pt x="585" y="616"/>
                  </a:lnTo>
                  <a:lnTo>
                    <a:pt x="581" y="597"/>
                  </a:lnTo>
                  <a:lnTo>
                    <a:pt x="577" y="582"/>
                  </a:lnTo>
                  <a:lnTo>
                    <a:pt x="571" y="569"/>
                  </a:lnTo>
                  <a:lnTo>
                    <a:pt x="567" y="562"/>
                  </a:lnTo>
                  <a:lnTo>
                    <a:pt x="563" y="557"/>
                  </a:lnTo>
                  <a:lnTo>
                    <a:pt x="559" y="552"/>
                  </a:lnTo>
                  <a:lnTo>
                    <a:pt x="553" y="547"/>
                  </a:lnTo>
                  <a:lnTo>
                    <a:pt x="547" y="543"/>
                  </a:lnTo>
                  <a:lnTo>
                    <a:pt x="541" y="540"/>
                  </a:lnTo>
                  <a:lnTo>
                    <a:pt x="527" y="533"/>
                  </a:lnTo>
                  <a:lnTo>
                    <a:pt x="512" y="529"/>
                  </a:lnTo>
                  <a:lnTo>
                    <a:pt x="492" y="525"/>
                  </a:lnTo>
                  <a:lnTo>
                    <a:pt x="471" y="522"/>
                  </a:lnTo>
                  <a:lnTo>
                    <a:pt x="446" y="521"/>
                  </a:lnTo>
                  <a:lnTo>
                    <a:pt x="419" y="519"/>
                  </a:lnTo>
                  <a:lnTo>
                    <a:pt x="388" y="519"/>
                  </a:lnTo>
                  <a:lnTo>
                    <a:pt x="302" y="519"/>
                  </a:lnTo>
                  <a:lnTo>
                    <a:pt x="302" y="771"/>
                  </a:lnTo>
                  <a:lnTo>
                    <a:pt x="302" y="771"/>
                  </a:lnTo>
                  <a:lnTo>
                    <a:pt x="302" y="802"/>
                  </a:lnTo>
                  <a:lnTo>
                    <a:pt x="303" y="829"/>
                  </a:lnTo>
                  <a:lnTo>
                    <a:pt x="305" y="854"/>
                  </a:lnTo>
                  <a:lnTo>
                    <a:pt x="307" y="875"/>
                  </a:lnTo>
                  <a:lnTo>
                    <a:pt x="311" y="894"/>
                  </a:lnTo>
                  <a:lnTo>
                    <a:pt x="316" y="910"/>
                  </a:lnTo>
                  <a:lnTo>
                    <a:pt x="322" y="924"/>
                  </a:lnTo>
                  <a:lnTo>
                    <a:pt x="326" y="931"/>
                  </a:lnTo>
                  <a:lnTo>
                    <a:pt x="331" y="936"/>
                  </a:lnTo>
                  <a:lnTo>
                    <a:pt x="335" y="941"/>
                  </a:lnTo>
                  <a:lnTo>
                    <a:pt x="340" y="946"/>
                  </a:lnTo>
                  <a:lnTo>
                    <a:pt x="345" y="950"/>
                  </a:lnTo>
                  <a:lnTo>
                    <a:pt x="351" y="953"/>
                  </a:lnTo>
                  <a:lnTo>
                    <a:pt x="364" y="959"/>
                  </a:lnTo>
                  <a:lnTo>
                    <a:pt x="380" y="964"/>
                  </a:lnTo>
                  <a:lnTo>
                    <a:pt x="398" y="967"/>
                  </a:lnTo>
                  <a:lnTo>
                    <a:pt x="417" y="969"/>
                  </a:lnTo>
                  <a:lnTo>
                    <a:pt x="440" y="970"/>
                  </a:lnTo>
                  <a:lnTo>
                    <a:pt x="466" y="971"/>
                  </a:lnTo>
                  <a:lnTo>
                    <a:pt x="614" y="971"/>
                  </a:lnTo>
                  <a:lnTo>
                    <a:pt x="614" y="971"/>
                  </a:lnTo>
                  <a:lnTo>
                    <a:pt x="642" y="970"/>
                  </a:lnTo>
                  <a:lnTo>
                    <a:pt x="668" y="969"/>
                  </a:lnTo>
                  <a:lnTo>
                    <a:pt x="689" y="966"/>
                  </a:lnTo>
                  <a:lnTo>
                    <a:pt x="709" y="963"/>
                  </a:lnTo>
                  <a:lnTo>
                    <a:pt x="726" y="959"/>
                  </a:lnTo>
                  <a:lnTo>
                    <a:pt x="742" y="954"/>
                  </a:lnTo>
                  <a:lnTo>
                    <a:pt x="754" y="947"/>
                  </a:lnTo>
                  <a:lnTo>
                    <a:pt x="765" y="940"/>
                  </a:lnTo>
                  <a:lnTo>
                    <a:pt x="775" y="932"/>
                  </a:lnTo>
                  <a:lnTo>
                    <a:pt x="784" y="921"/>
                  </a:lnTo>
                  <a:lnTo>
                    <a:pt x="790" y="911"/>
                  </a:lnTo>
                  <a:lnTo>
                    <a:pt x="796" y="899"/>
                  </a:lnTo>
                  <a:lnTo>
                    <a:pt x="801" y="886"/>
                  </a:lnTo>
                  <a:lnTo>
                    <a:pt x="806" y="872"/>
                  </a:lnTo>
                  <a:lnTo>
                    <a:pt x="814" y="840"/>
                  </a:lnTo>
                  <a:lnTo>
                    <a:pt x="823" y="806"/>
                  </a:lnTo>
                  <a:lnTo>
                    <a:pt x="859" y="806"/>
                  </a:lnTo>
                  <a:lnTo>
                    <a:pt x="846" y="1035"/>
                  </a:lnTo>
                  <a:lnTo>
                    <a:pt x="0" y="1035"/>
                  </a:lnTo>
                  <a:lnTo>
                    <a:pt x="0" y="99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30" name="Freeform 28"/>
            <p:cNvSpPr>
              <a:spLocks/>
            </p:cNvSpPr>
            <p:nvPr userDrawn="1"/>
          </p:nvSpPr>
          <p:spPr bwMode="auto">
            <a:xfrm>
              <a:off x="2903538" y="1158876"/>
              <a:ext cx="142875" cy="136525"/>
            </a:xfrm>
            <a:custGeom>
              <a:avLst/>
              <a:gdLst>
                <a:gd name="T0" fmla="*/ 304 w 1077"/>
                <a:gd name="T1" fmla="*/ 999 h 1035"/>
                <a:gd name="T2" fmla="*/ 352 w 1077"/>
                <a:gd name="T3" fmla="*/ 997 h 1035"/>
                <a:gd name="T4" fmla="*/ 391 w 1077"/>
                <a:gd name="T5" fmla="*/ 991 h 1035"/>
                <a:gd name="T6" fmla="*/ 419 w 1077"/>
                <a:gd name="T7" fmla="*/ 981 h 1035"/>
                <a:gd name="T8" fmla="*/ 431 w 1077"/>
                <a:gd name="T9" fmla="*/ 972 h 1035"/>
                <a:gd name="T10" fmla="*/ 441 w 1077"/>
                <a:gd name="T11" fmla="*/ 962 h 1035"/>
                <a:gd name="T12" fmla="*/ 449 w 1077"/>
                <a:gd name="T13" fmla="*/ 951 h 1035"/>
                <a:gd name="T14" fmla="*/ 460 w 1077"/>
                <a:gd name="T15" fmla="*/ 920 h 1035"/>
                <a:gd name="T16" fmla="*/ 466 w 1077"/>
                <a:gd name="T17" fmla="*/ 879 h 1035"/>
                <a:gd name="T18" fmla="*/ 469 w 1077"/>
                <a:gd name="T19" fmla="*/ 827 h 1035"/>
                <a:gd name="T20" fmla="*/ 469 w 1077"/>
                <a:gd name="T21" fmla="*/ 68 h 1035"/>
                <a:gd name="T22" fmla="*/ 246 w 1077"/>
                <a:gd name="T23" fmla="*/ 68 h 1035"/>
                <a:gd name="T24" fmla="*/ 192 w 1077"/>
                <a:gd name="T25" fmla="*/ 69 h 1035"/>
                <a:gd name="T26" fmla="*/ 150 w 1077"/>
                <a:gd name="T27" fmla="*/ 75 h 1035"/>
                <a:gd name="T28" fmla="*/ 119 w 1077"/>
                <a:gd name="T29" fmla="*/ 85 h 1035"/>
                <a:gd name="T30" fmla="*/ 95 w 1077"/>
                <a:gd name="T31" fmla="*/ 98 h 1035"/>
                <a:gd name="T32" fmla="*/ 78 w 1077"/>
                <a:gd name="T33" fmla="*/ 117 h 1035"/>
                <a:gd name="T34" fmla="*/ 65 w 1077"/>
                <a:gd name="T35" fmla="*/ 139 h 1035"/>
                <a:gd name="T36" fmla="*/ 54 w 1077"/>
                <a:gd name="T37" fmla="*/ 167 h 1035"/>
                <a:gd name="T38" fmla="*/ 37 w 1077"/>
                <a:gd name="T39" fmla="*/ 233 h 1035"/>
                <a:gd name="T40" fmla="*/ 15 w 1077"/>
                <a:gd name="T41" fmla="*/ 0 h 1035"/>
                <a:gd name="T42" fmla="*/ 1077 w 1077"/>
                <a:gd name="T43" fmla="*/ 233 h 1035"/>
                <a:gd name="T44" fmla="*/ 1032 w 1077"/>
                <a:gd name="T45" fmla="*/ 198 h 1035"/>
                <a:gd name="T46" fmla="*/ 1023 w 1077"/>
                <a:gd name="T47" fmla="*/ 167 h 1035"/>
                <a:gd name="T48" fmla="*/ 1013 w 1077"/>
                <a:gd name="T49" fmla="*/ 139 h 1035"/>
                <a:gd name="T50" fmla="*/ 1000 w 1077"/>
                <a:gd name="T51" fmla="*/ 117 h 1035"/>
                <a:gd name="T52" fmla="*/ 983 w 1077"/>
                <a:gd name="T53" fmla="*/ 98 h 1035"/>
                <a:gd name="T54" fmla="*/ 958 w 1077"/>
                <a:gd name="T55" fmla="*/ 85 h 1035"/>
                <a:gd name="T56" fmla="*/ 927 w 1077"/>
                <a:gd name="T57" fmla="*/ 75 h 1035"/>
                <a:gd name="T58" fmla="*/ 886 w 1077"/>
                <a:gd name="T59" fmla="*/ 69 h 1035"/>
                <a:gd name="T60" fmla="*/ 832 w 1077"/>
                <a:gd name="T61" fmla="*/ 68 h 1035"/>
                <a:gd name="T62" fmla="*/ 608 w 1077"/>
                <a:gd name="T63" fmla="*/ 797 h 1035"/>
                <a:gd name="T64" fmla="*/ 608 w 1077"/>
                <a:gd name="T65" fmla="*/ 827 h 1035"/>
                <a:gd name="T66" fmla="*/ 611 w 1077"/>
                <a:gd name="T67" fmla="*/ 879 h 1035"/>
                <a:gd name="T68" fmla="*/ 618 w 1077"/>
                <a:gd name="T69" fmla="*/ 920 h 1035"/>
                <a:gd name="T70" fmla="*/ 629 w 1077"/>
                <a:gd name="T71" fmla="*/ 951 h 1035"/>
                <a:gd name="T72" fmla="*/ 637 w 1077"/>
                <a:gd name="T73" fmla="*/ 962 h 1035"/>
                <a:gd name="T74" fmla="*/ 646 w 1077"/>
                <a:gd name="T75" fmla="*/ 972 h 1035"/>
                <a:gd name="T76" fmla="*/ 658 w 1077"/>
                <a:gd name="T77" fmla="*/ 981 h 1035"/>
                <a:gd name="T78" fmla="*/ 687 w 1077"/>
                <a:gd name="T79" fmla="*/ 991 h 1035"/>
                <a:gd name="T80" fmla="*/ 725 w 1077"/>
                <a:gd name="T81" fmla="*/ 997 h 1035"/>
                <a:gd name="T82" fmla="*/ 773 w 1077"/>
                <a:gd name="T83" fmla="*/ 999 h 1035"/>
                <a:gd name="T84" fmla="*/ 304 w 1077"/>
                <a:gd name="T85" fmla="*/ 1035 h 10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77" h="1035">
                  <a:moveTo>
                    <a:pt x="304" y="999"/>
                  </a:moveTo>
                  <a:lnTo>
                    <a:pt x="304" y="999"/>
                  </a:lnTo>
                  <a:lnTo>
                    <a:pt x="329" y="998"/>
                  </a:lnTo>
                  <a:lnTo>
                    <a:pt x="352" y="997"/>
                  </a:lnTo>
                  <a:lnTo>
                    <a:pt x="372" y="995"/>
                  </a:lnTo>
                  <a:lnTo>
                    <a:pt x="391" y="991"/>
                  </a:lnTo>
                  <a:lnTo>
                    <a:pt x="406" y="987"/>
                  </a:lnTo>
                  <a:lnTo>
                    <a:pt x="419" y="981"/>
                  </a:lnTo>
                  <a:lnTo>
                    <a:pt x="426" y="977"/>
                  </a:lnTo>
                  <a:lnTo>
                    <a:pt x="431" y="972"/>
                  </a:lnTo>
                  <a:lnTo>
                    <a:pt x="436" y="967"/>
                  </a:lnTo>
                  <a:lnTo>
                    <a:pt x="441" y="962"/>
                  </a:lnTo>
                  <a:lnTo>
                    <a:pt x="445" y="957"/>
                  </a:lnTo>
                  <a:lnTo>
                    <a:pt x="449" y="951"/>
                  </a:lnTo>
                  <a:lnTo>
                    <a:pt x="455" y="937"/>
                  </a:lnTo>
                  <a:lnTo>
                    <a:pt x="460" y="920"/>
                  </a:lnTo>
                  <a:lnTo>
                    <a:pt x="464" y="901"/>
                  </a:lnTo>
                  <a:lnTo>
                    <a:pt x="466" y="879"/>
                  </a:lnTo>
                  <a:lnTo>
                    <a:pt x="468" y="855"/>
                  </a:lnTo>
                  <a:lnTo>
                    <a:pt x="469" y="827"/>
                  </a:lnTo>
                  <a:lnTo>
                    <a:pt x="469" y="797"/>
                  </a:lnTo>
                  <a:lnTo>
                    <a:pt x="469" y="68"/>
                  </a:lnTo>
                  <a:lnTo>
                    <a:pt x="246" y="68"/>
                  </a:lnTo>
                  <a:lnTo>
                    <a:pt x="246" y="68"/>
                  </a:lnTo>
                  <a:lnTo>
                    <a:pt x="217" y="68"/>
                  </a:lnTo>
                  <a:lnTo>
                    <a:pt x="192" y="69"/>
                  </a:lnTo>
                  <a:lnTo>
                    <a:pt x="170" y="72"/>
                  </a:lnTo>
                  <a:lnTo>
                    <a:pt x="150" y="75"/>
                  </a:lnTo>
                  <a:lnTo>
                    <a:pt x="133" y="79"/>
                  </a:lnTo>
                  <a:lnTo>
                    <a:pt x="119" y="85"/>
                  </a:lnTo>
                  <a:lnTo>
                    <a:pt x="105" y="91"/>
                  </a:lnTo>
                  <a:lnTo>
                    <a:pt x="95" y="98"/>
                  </a:lnTo>
                  <a:lnTo>
                    <a:pt x="85" y="106"/>
                  </a:lnTo>
                  <a:lnTo>
                    <a:pt x="78" y="117"/>
                  </a:lnTo>
                  <a:lnTo>
                    <a:pt x="71" y="127"/>
                  </a:lnTo>
                  <a:lnTo>
                    <a:pt x="65" y="139"/>
                  </a:lnTo>
                  <a:lnTo>
                    <a:pt x="59" y="152"/>
                  </a:lnTo>
                  <a:lnTo>
                    <a:pt x="54" y="167"/>
                  </a:lnTo>
                  <a:lnTo>
                    <a:pt x="45" y="198"/>
                  </a:lnTo>
                  <a:lnTo>
                    <a:pt x="37" y="233"/>
                  </a:lnTo>
                  <a:lnTo>
                    <a:pt x="0" y="233"/>
                  </a:lnTo>
                  <a:lnTo>
                    <a:pt x="15" y="0"/>
                  </a:lnTo>
                  <a:lnTo>
                    <a:pt x="1062" y="0"/>
                  </a:lnTo>
                  <a:lnTo>
                    <a:pt x="1077" y="233"/>
                  </a:lnTo>
                  <a:lnTo>
                    <a:pt x="1041" y="233"/>
                  </a:lnTo>
                  <a:lnTo>
                    <a:pt x="1032" y="198"/>
                  </a:lnTo>
                  <a:lnTo>
                    <a:pt x="1032" y="198"/>
                  </a:lnTo>
                  <a:lnTo>
                    <a:pt x="1023" y="167"/>
                  </a:lnTo>
                  <a:lnTo>
                    <a:pt x="1019" y="152"/>
                  </a:lnTo>
                  <a:lnTo>
                    <a:pt x="1013" y="139"/>
                  </a:lnTo>
                  <a:lnTo>
                    <a:pt x="1007" y="127"/>
                  </a:lnTo>
                  <a:lnTo>
                    <a:pt x="1000" y="117"/>
                  </a:lnTo>
                  <a:lnTo>
                    <a:pt x="992" y="106"/>
                  </a:lnTo>
                  <a:lnTo>
                    <a:pt x="983" y="98"/>
                  </a:lnTo>
                  <a:lnTo>
                    <a:pt x="972" y="91"/>
                  </a:lnTo>
                  <a:lnTo>
                    <a:pt x="958" y="85"/>
                  </a:lnTo>
                  <a:lnTo>
                    <a:pt x="944" y="79"/>
                  </a:lnTo>
                  <a:lnTo>
                    <a:pt x="927" y="75"/>
                  </a:lnTo>
                  <a:lnTo>
                    <a:pt x="907" y="72"/>
                  </a:lnTo>
                  <a:lnTo>
                    <a:pt x="886" y="69"/>
                  </a:lnTo>
                  <a:lnTo>
                    <a:pt x="860" y="68"/>
                  </a:lnTo>
                  <a:lnTo>
                    <a:pt x="832" y="68"/>
                  </a:lnTo>
                  <a:lnTo>
                    <a:pt x="608" y="68"/>
                  </a:lnTo>
                  <a:lnTo>
                    <a:pt x="608" y="797"/>
                  </a:lnTo>
                  <a:lnTo>
                    <a:pt x="608" y="797"/>
                  </a:lnTo>
                  <a:lnTo>
                    <a:pt x="608" y="827"/>
                  </a:lnTo>
                  <a:lnTo>
                    <a:pt x="609" y="855"/>
                  </a:lnTo>
                  <a:lnTo>
                    <a:pt x="611" y="879"/>
                  </a:lnTo>
                  <a:lnTo>
                    <a:pt x="614" y="901"/>
                  </a:lnTo>
                  <a:lnTo>
                    <a:pt x="618" y="920"/>
                  </a:lnTo>
                  <a:lnTo>
                    <a:pt x="622" y="937"/>
                  </a:lnTo>
                  <a:lnTo>
                    <a:pt x="629" y="951"/>
                  </a:lnTo>
                  <a:lnTo>
                    <a:pt x="633" y="957"/>
                  </a:lnTo>
                  <a:lnTo>
                    <a:pt x="637" y="962"/>
                  </a:lnTo>
                  <a:lnTo>
                    <a:pt x="641" y="967"/>
                  </a:lnTo>
                  <a:lnTo>
                    <a:pt x="646" y="972"/>
                  </a:lnTo>
                  <a:lnTo>
                    <a:pt x="651" y="977"/>
                  </a:lnTo>
                  <a:lnTo>
                    <a:pt x="658" y="981"/>
                  </a:lnTo>
                  <a:lnTo>
                    <a:pt x="672" y="987"/>
                  </a:lnTo>
                  <a:lnTo>
                    <a:pt x="687" y="991"/>
                  </a:lnTo>
                  <a:lnTo>
                    <a:pt x="705" y="995"/>
                  </a:lnTo>
                  <a:lnTo>
                    <a:pt x="725" y="997"/>
                  </a:lnTo>
                  <a:lnTo>
                    <a:pt x="748" y="998"/>
                  </a:lnTo>
                  <a:lnTo>
                    <a:pt x="773" y="999"/>
                  </a:lnTo>
                  <a:lnTo>
                    <a:pt x="773" y="1035"/>
                  </a:lnTo>
                  <a:lnTo>
                    <a:pt x="304" y="1035"/>
                  </a:lnTo>
                  <a:lnTo>
                    <a:pt x="304" y="99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31" name="Freeform 29"/>
            <p:cNvSpPr>
              <a:spLocks noEditPoints="1"/>
            </p:cNvSpPr>
            <p:nvPr userDrawn="1"/>
          </p:nvSpPr>
          <p:spPr bwMode="auto">
            <a:xfrm>
              <a:off x="703263" y="627063"/>
              <a:ext cx="657225" cy="898525"/>
            </a:xfrm>
            <a:custGeom>
              <a:avLst/>
              <a:gdLst>
                <a:gd name="T0" fmla="*/ 3944 w 4973"/>
                <a:gd name="T1" fmla="*/ 6352 h 6792"/>
                <a:gd name="T2" fmla="*/ 1694 w 4973"/>
                <a:gd name="T3" fmla="*/ 6143 h 6792"/>
                <a:gd name="T4" fmla="*/ 2984 w 4973"/>
                <a:gd name="T5" fmla="*/ 3784 h 6792"/>
                <a:gd name="T6" fmla="*/ 2316 w 4973"/>
                <a:gd name="T7" fmla="*/ 4454 h 6792"/>
                <a:gd name="T8" fmla="*/ 1155 w 4973"/>
                <a:gd name="T9" fmla="*/ 4705 h 6792"/>
                <a:gd name="T10" fmla="*/ 1077 w 4973"/>
                <a:gd name="T11" fmla="*/ 4988 h 6792"/>
                <a:gd name="T12" fmla="*/ 910 w 4973"/>
                <a:gd name="T13" fmla="*/ 5245 h 6792"/>
                <a:gd name="T14" fmla="*/ 961 w 4973"/>
                <a:gd name="T15" fmla="*/ 5618 h 6792"/>
                <a:gd name="T16" fmla="*/ 1600 w 4973"/>
                <a:gd name="T17" fmla="*/ 5369 h 6792"/>
                <a:gd name="T18" fmla="*/ 1886 w 4973"/>
                <a:gd name="T19" fmla="*/ 5421 h 6792"/>
                <a:gd name="T20" fmla="*/ 2617 w 4973"/>
                <a:gd name="T21" fmla="*/ 5123 h 6792"/>
                <a:gd name="T22" fmla="*/ 2857 w 4973"/>
                <a:gd name="T23" fmla="*/ 4678 h 6792"/>
                <a:gd name="T24" fmla="*/ 489 w 4973"/>
                <a:gd name="T25" fmla="*/ 5877 h 6792"/>
                <a:gd name="T26" fmla="*/ 1233 w 4973"/>
                <a:gd name="T27" fmla="*/ 6668 h 6792"/>
                <a:gd name="T28" fmla="*/ 1527 w 4973"/>
                <a:gd name="T29" fmla="*/ 5749 h 6792"/>
                <a:gd name="T30" fmla="*/ 927 w 4973"/>
                <a:gd name="T31" fmla="*/ 5758 h 6792"/>
                <a:gd name="T32" fmla="*/ 429 w 4973"/>
                <a:gd name="T33" fmla="*/ 621 h 6792"/>
                <a:gd name="T34" fmla="*/ 914 w 4973"/>
                <a:gd name="T35" fmla="*/ 547 h 6792"/>
                <a:gd name="T36" fmla="*/ 829 w 4973"/>
                <a:gd name="T37" fmla="*/ 957 h 6792"/>
                <a:gd name="T38" fmla="*/ 1232 w 4973"/>
                <a:gd name="T39" fmla="*/ 762 h 6792"/>
                <a:gd name="T40" fmla="*/ 780 w 4973"/>
                <a:gd name="T41" fmla="*/ 1976 h 6792"/>
                <a:gd name="T42" fmla="*/ 1297 w 4973"/>
                <a:gd name="T43" fmla="*/ 319 h 6792"/>
                <a:gd name="T44" fmla="*/ 1481 w 4973"/>
                <a:gd name="T45" fmla="*/ 731 h 6792"/>
                <a:gd name="T46" fmla="*/ 3458 w 4973"/>
                <a:gd name="T47" fmla="*/ 480 h 6792"/>
                <a:gd name="T48" fmla="*/ 3084 w 4973"/>
                <a:gd name="T49" fmla="*/ 643 h 6792"/>
                <a:gd name="T50" fmla="*/ 2947 w 4973"/>
                <a:gd name="T51" fmla="*/ 214 h 6792"/>
                <a:gd name="T52" fmla="*/ 2541 w 4973"/>
                <a:gd name="T53" fmla="*/ 417 h 6792"/>
                <a:gd name="T54" fmla="*/ 2413 w 4973"/>
                <a:gd name="T55" fmla="*/ 28 h 6792"/>
                <a:gd name="T56" fmla="*/ 3900 w 4973"/>
                <a:gd name="T57" fmla="*/ 1991 h 6792"/>
                <a:gd name="T58" fmla="*/ 4172 w 4973"/>
                <a:gd name="T59" fmla="*/ 1335 h 6792"/>
                <a:gd name="T60" fmla="*/ 3970 w 4973"/>
                <a:gd name="T61" fmla="*/ 3382 h 6792"/>
                <a:gd name="T62" fmla="*/ 4830 w 4973"/>
                <a:gd name="T63" fmla="*/ 2682 h 6792"/>
                <a:gd name="T64" fmla="*/ 4551 w 4973"/>
                <a:gd name="T65" fmla="*/ 1246 h 6792"/>
                <a:gd name="T66" fmla="*/ 3641 w 4973"/>
                <a:gd name="T67" fmla="*/ 1994 h 6792"/>
                <a:gd name="T68" fmla="*/ 3910 w 4973"/>
                <a:gd name="T69" fmla="*/ 2958 h 6792"/>
                <a:gd name="T70" fmla="*/ 4286 w 4973"/>
                <a:gd name="T71" fmla="*/ 2402 h 6792"/>
                <a:gd name="T72" fmla="*/ 3965 w 4973"/>
                <a:gd name="T73" fmla="*/ 3379 h 6792"/>
                <a:gd name="T74" fmla="*/ 3169 w 4973"/>
                <a:gd name="T75" fmla="*/ 2142 h 6792"/>
                <a:gd name="T76" fmla="*/ 3399 w 4973"/>
                <a:gd name="T77" fmla="*/ 1285 h 6792"/>
                <a:gd name="T78" fmla="*/ 2604 w 4973"/>
                <a:gd name="T79" fmla="*/ 769 h 6792"/>
                <a:gd name="T80" fmla="*/ 2052 w 4973"/>
                <a:gd name="T81" fmla="*/ 1359 h 6792"/>
                <a:gd name="T82" fmla="*/ 1664 w 4973"/>
                <a:gd name="T83" fmla="*/ 1597 h 6792"/>
                <a:gd name="T84" fmla="*/ 2105 w 4973"/>
                <a:gd name="T85" fmla="*/ 1550 h 6792"/>
                <a:gd name="T86" fmla="*/ 1945 w 4973"/>
                <a:gd name="T87" fmla="*/ 1849 h 6792"/>
                <a:gd name="T88" fmla="*/ 1151 w 4973"/>
                <a:gd name="T89" fmla="*/ 2851 h 6792"/>
                <a:gd name="T90" fmla="*/ 331 w 4973"/>
                <a:gd name="T91" fmla="*/ 2774 h 6792"/>
                <a:gd name="T92" fmla="*/ 150 w 4973"/>
                <a:gd name="T93" fmla="*/ 2974 h 6792"/>
                <a:gd name="T94" fmla="*/ 554 w 4973"/>
                <a:gd name="T95" fmla="*/ 3191 h 6792"/>
                <a:gd name="T96" fmla="*/ 489 w 4973"/>
                <a:gd name="T97" fmla="*/ 3468 h 6792"/>
                <a:gd name="T98" fmla="*/ 935 w 4973"/>
                <a:gd name="T99" fmla="*/ 3451 h 6792"/>
                <a:gd name="T100" fmla="*/ 1725 w 4973"/>
                <a:gd name="T101" fmla="*/ 2972 h 6792"/>
                <a:gd name="T102" fmla="*/ 3397 w 4973"/>
                <a:gd name="T103" fmla="*/ 3673 h 6792"/>
                <a:gd name="T104" fmla="*/ 3711 w 4973"/>
                <a:gd name="T105" fmla="*/ 4812 h 6792"/>
                <a:gd name="T106" fmla="*/ 4356 w 4973"/>
                <a:gd name="T107" fmla="*/ 5526 h 6792"/>
                <a:gd name="T108" fmla="*/ 3835 w 4973"/>
                <a:gd name="T109" fmla="*/ 5815 h 6792"/>
                <a:gd name="T110" fmla="*/ 3750 w 4973"/>
                <a:gd name="T111" fmla="*/ 6147 h 6792"/>
                <a:gd name="T112" fmla="*/ 4262 w 4973"/>
                <a:gd name="T113" fmla="*/ 6036 h 6792"/>
                <a:gd name="T114" fmla="*/ 4324 w 4973"/>
                <a:gd name="T115" fmla="*/ 6374 h 6792"/>
                <a:gd name="T116" fmla="*/ 4692 w 4973"/>
                <a:gd name="T117" fmla="*/ 6210 h 6792"/>
                <a:gd name="T118" fmla="*/ 4659 w 4973"/>
                <a:gd name="T119" fmla="*/ 5487 h 6792"/>
                <a:gd name="T120" fmla="*/ 4786 w 4973"/>
                <a:gd name="T121" fmla="*/ 4785 h 6792"/>
                <a:gd name="T122" fmla="*/ 4362 w 4973"/>
                <a:gd name="T123" fmla="*/ 4115 h 6792"/>
                <a:gd name="T124" fmla="*/ 4803 w 4973"/>
                <a:gd name="T125" fmla="*/ 3237 h 67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973" h="6792">
                  <a:moveTo>
                    <a:pt x="1358" y="6333"/>
                  </a:moveTo>
                  <a:lnTo>
                    <a:pt x="1358" y="6333"/>
                  </a:lnTo>
                  <a:lnTo>
                    <a:pt x="1445" y="6392"/>
                  </a:lnTo>
                  <a:lnTo>
                    <a:pt x="1485" y="6418"/>
                  </a:lnTo>
                  <a:lnTo>
                    <a:pt x="1524" y="6443"/>
                  </a:lnTo>
                  <a:lnTo>
                    <a:pt x="1561" y="6466"/>
                  </a:lnTo>
                  <a:lnTo>
                    <a:pt x="1599" y="6487"/>
                  </a:lnTo>
                  <a:lnTo>
                    <a:pt x="1638" y="6509"/>
                  </a:lnTo>
                  <a:lnTo>
                    <a:pt x="1677" y="6528"/>
                  </a:lnTo>
                  <a:lnTo>
                    <a:pt x="1677" y="6528"/>
                  </a:lnTo>
                  <a:lnTo>
                    <a:pt x="1730" y="6553"/>
                  </a:lnTo>
                  <a:lnTo>
                    <a:pt x="1788" y="6578"/>
                  </a:lnTo>
                  <a:lnTo>
                    <a:pt x="1853" y="6605"/>
                  </a:lnTo>
                  <a:lnTo>
                    <a:pt x="1923" y="6630"/>
                  </a:lnTo>
                  <a:lnTo>
                    <a:pt x="1961" y="6644"/>
                  </a:lnTo>
                  <a:lnTo>
                    <a:pt x="2000" y="6656"/>
                  </a:lnTo>
                  <a:lnTo>
                    <a:pt x="2040" y="6669"/>
                  </a:lnTo>
                  <a:lnTo>
                    <a:pt x="2082" y="6682"/>
                  </a:lnTo>
                  <a:lnTo>
                    <a:pt x="2125" y="6693"/>
                  </a:lnTo>
                  <a:lnTo>
                    <a:pt x="2169" y="6704"/>
                  </a:lnTo>
                  <a:lnTo>
                    <a:pt x="2215" y="6715"/>
                  </a:lnTo>
                  <a:lnTo>
                    <a:pt x="2261" y="6726"/>
                  </a:lnTo>
                  <a:lnTo>
                    <a:pt x="2310" y="6736"/>
                  </a:lnTo>
                  <a:lnTo>
                    <a:pt x="2359" y="6745"/>
                  </a:lnTo>
                  <a:lnTo>
                    <a:pt x="2410" y="6754"/>
                  </a:lnTo>
                  <a:lnTo>
                    <a:pt x="2462" y="6762"/>
                  </a:lnTo>
                  <a:lnTo>
                    <a:pt x="2515" y="6768"/>
                  </a:lnTo>
                  <a:lnTo>
                    <a:pt x="2570" y="6776"/>
                  </a:lnTo>
                  <a:lnTo>
                    <a:pt x="2625" y="6781"/>
                  </a:lnTo>
                  <a:lnTo>
                    <a:pt x="2682" y="6785"/>
                  </a:lnTo>
                  <a:lnTo>
                    <a:pt x="2740" y="6788"/>
                  </a:lnTo>
                  <a:lnTo>
                    <a:pt x="2800" y="6790"/>
                  </a:lnTo>
                  <a:lnTo>
                    <a:pt x="2860" y="6792"/>
                  </a:lnTo>
                  <a:lnTo>
                    <a:pt x="2921" y="6791"/>
                  </a:lnTo>
                  <a:lnTo>
                    <a:pt x="2984" y="6790"/>
                  </a:lnTo>
                  <a:lnTo>
                    <a:pt x="3047" y="6787"/>
                  </a:lnTo>
                  <a:lnTo>
                    <a:pt x="3112" y="6783"/>
                  </a:lnTo>
                  <a:lnTo>
                    <a:pt x="3177" y="6778"/>
                  </a:lnTo>
                  <a:lnTo>
                    <a:pt x="3177" y="6778"/>
                  </a:lnTo>
                  <a:lnTo>
                    <a:pt x="3239" y="6772"/>
                  </a:lnTo>
                  <a:lnTo>
                    <a:pt x="3299" y="6763"/>
                  </a:lnTo>
                  <a:lnTo>
                    <a:pt x="3357" y="6755"/>
                  </a:lnTo>
                  <a:lnTo>
                    <a:pt x="3412" y="6746"/>
                  </a:lnTo>
                  <a:lnTo>
                    <a:pt x="3466" y="6737"/>
                  </a:lnTo>
                  <a:lnTo>
                    <a:pt x="3517" y="6727"/>
                  </a:lnTo>
                  <a:lnTo>
                    <a:pt x="3567" y="6715"/>
                  </a:lnTo>
                  <a:lnTo>
                    <a:pt x="3615" y="6704"/>
                  </a:lnTo>
                  <a:lnTo>
                    <a:pt x="3660" y="6692"/>
                  </a:lnTo>
                  <a:lnTo>
                    <a:pt x="3704" y="6680"/>
                  </a:lnTo>
                  <a:lnTo>
                    <a:pt x="3745" y="6667"/>
                  </a:lnTo>
                  <a:lnTo>
                    <a:pt x="3784" y="6654"/>
                  </a:lnTo>
                  <a:lnTo>
                    <a:pt x="3822" y="6642"/>
                  </a:lnTo>
                  <a:lnTo>
                    <a:pt x="3858" y="6628"/>
                  </a:lnTo>
                  <a:lnTo>
                    <a:pt x="3891" y="6615"/>
                  </a:lnTo>
                  <a:lnTo>
                    <a:pt x="3922" y="6603"/>
                  </a:lnTo>
                  <a:lnTo>
                    <a:pt x="3980" y="6577"/>
                  </a:lnTo>
                  <a:lnTo>
                    <a:pt x="4030" y="6554"/>
                  </a:lnTo>
                  <a:lnTo>
                    <a:pt x="4071" y="6532"/>
                  </a:lnTo>
                  <a:lnTo>
                    <a:pt x="4105" y="6514"/>
                  </a:lnTo>
                  <a:lnTo>
                    <a:pt x="4131" y="6498"/>
                  </a:lnTo>
                  <a:lnTo>
                    <a:pt x="4150" y="6485"/>
                  </a:lnTo>
                  <a:lnTo>
                    <a:pt x="4165" y="6475"/>
                  </a:lnTo>
                  <a:lnTo>
                    <a:pt x="4165" y="6475"/>
                  </a:lnTo>
                  <a:lnTo>
                    <a:pt x="4144" y="6468"/>
                  </a:lnTo>
                  <a:lnTo>
                    <a:pt x="4124" y="6459"/>
                  </a:lnTo>
                  <a:lnTo>
                    <a:pt x="4103" y="6451"/>
                  </a:lnTo>
                  <a:lnTo>
                    <a:pt x="4084" y="6440"/>
                  </a:lnTo>
                  <a:lnTo>
                    <a:pt x="4064" y="6431"/>
                  </a:lnTo>
                  <a:lnTo>
                    <a:pt x="4046" y="6421"/>
                  </a:lnTo>
                  <a:lnTo>
                    <a:pt x="4009" y="6398"/>
                  </a:lnTo>
                  <a:lnTo>
                    <a:pt x="3976" y="6376"/>
                  </a:lnTo>
                  <a:lnTo>
                    <a:pt x="3944" y="6352"/>
                  </a:lnTo>
                  <a:lnTo>
                    <a:pt x="3914" y="6329"/>
                  </a:lnTo>
                  <a:lnTo>
                    <a:pt x="3887" y="6305"/>
                  </a:lnTo>
                  <a:lnTo>
                    <a:pt x="3887" y="6305"/>
                  </a:lnTo>
                  <a:lnTo>
                    <a:pt x="3882" y="6315"/>
                  </a:lnTo>
                  <a:lnTo>
                    <a:pt x="3879" y="6328"/>
                  </a:lnTo>
                  <a:lnTo>
                    <a:pt x="3876" y="6343"/>
                  </a:lnTo>
                  <a:lnTo>
                    <a:pt x="3873" y="6361"/>
                  </a:lnTo>
                  <a:lnTo>
                    <a:pt x="3873" y="6361"/>
                  </a:lnTo>
                  <a:lnTo>
                    <a:pt x="3865" y="6430"/>
                  </a:lnTo>
                  <a:lnTo>
                    <a:pt x="3861" y="6463"/>
                  </a:lnTo>
                  <a:lnTo>
                    <a:pt x="3861" y="6463"/>
                  </a:lnTo>
                  <a:lnTo>
                    <a:pt x="3857" y="6462"/>
                  </a:lnTo>
                  <a:lnTo>
                    <a:pt x="3847" y="6459"/>
                  </a:lnTo>
                  <a:lnTo>
                    <a:pt x="3828" y="6452"/>
                  </a:lnTo>
                  <a:lnTo>
                    <a:pt x="3801" y="6440"/>
                  </a:lnTo>
                  <a:lnTo>
                    <a:pt x="3801" y="6440"/>
                  </a:lnTo>
                  <a:lnTo>
                    <a:pt x="3791" y="6436"/>
                  </a:lnTo>
                  <a:lnTo>
                    <a:pt x="3781" y="6430"/>
                  </a:lnTo>
                  <a:lnTo>
                    <a:pt x="3771" y="6423"/>
                  </a:lnTo>
                  <a:lnTo>
                    <a:pt x="3761" y="6415"/>
                  </a:lnTo>
                  <a:lnTo>
                    <a:pt x="3750" y="6406"/>
                  </a:lnTo>
                  <a:lnTo>
                    <a:pt x="3739" y="6396"/>
                  </a:lnTo>
                  <a:lnTo>
                    <a:pt x="3729" y="6385"/>
                  </a:lnTo>
                  <a:lnTo>
                    <a:pt x="3719" y="6373"/>
                  </a:lnTo>
                  <a:lnTo>
                    <a:pt x="3709" y="6361"/>
                  </a:lnTo>
                  <a:lnTo>
                    <a:pt x="3700" y="6346"/>
                  </a:lnTo>
                  <a:lnTo>
                    <a:pt x="3692" y="6332"/>
                  </a:lnTo>
                  <a:lnTo>
                    <a:pt x="3684" y="6317"/>
                  </a:lnTo>
                  <a:lnTo>
                    <a:pt x="3678" y="6300"/>
                  </a:lnTo>
                  <a:lnTo>
                    <a:pt x="3674" y="6284"/>
                  </a:lnTo>
                  <a:lnTo>
                    <a:pt x="3670" y="6265"/>
                  </a:lnTo>
                  <a:lnTo>
                    <a:pt x="3668" y="6248"/>
                  </a:lnTo>
                  <a:lnTo>
                    <a:pt x="3668" y="6248"/>
                  </a:lnTo>
                  <a:lnTo>
                    <a:pt x="3667" y="6223"/>
                  </a:lnTo>
                  <a:lnTo>
                    <a:pt x="3667" y="6223"/>
                  </a:lnTo>
                  <a:lnTo>
                    <a:pt x="3610" y="6244"/>
                  </a:lnTo>
                  <a:lnTo>
                    <a:pt x="3544" y="6267"/>
                  </a:lnTo>
                  <a:lnTo>
                    <a:pt x="3507" y="6280"/>
                  </a:lnTo>
                  <a:lnTo>
                    <a:pt x="3468" y="6292"/>
                  </a:lnTo>
                  <a:lnTo>
                    <a:pt x="3427" y="6303"/>
                  </a:lnTo>
                  <a:lnTo>
                    <a:pt x="3386" y="6315"/>
                  </a:lnTo>
                  <a:lnTo>
                    <a:pt x="3342" y="6326"/>
                  </a:lnTo>
                  <a:lnTo>
                    <a:pt x="3296" y="6335"/>
                  </a:lnTo>
                  <a:lnTo>
                    <a:pt x="3250" y="6344"/>
                  </a:lnTo>
                  <a:lnTo>
                    <a:pt x="3201" y="6352"/>
                  </a:lnTo>
                  <a:lnTo>
                    <a:pt x="3153" y="6360"/>
                  </a:lnTo>
                  <a:lnTo>
                    <a:pt x="3104" y="6365"/>
                  </a:lnTo>
                  <a:lnTo>
                    <a:pt x="3055" y="6368"/>
                  </a:lnTo>
                  <a:lnTo>
                    <a:pt x="3005" y="6370"/>
                  </a:lnTo>
                  <a:lnTo>
                    <a:pt x="3005" y="6370"/>
                  </a:lnTo>
                  <a:lnTo>
                    <a:pt x="2916" y="6371"/>
                  </a:lnTo>
                  <a:lnTo>
                    <a:pt x="2828" y="6370"/>
                  </a:lnTo>
                  <a:lnTo>
                    <a:pt x="2740" y="6366"/>
                  </a:lnTo>
                  <a:lnTo>
                    <a:pt x="2651" y="6361"/>
                  </a:lnTo>
                  <a:lnTo>
                    <a:pt x="2563" y="6353"/>
                  </a:lnTo>
                  <a:lnTo>
                    <a:pt x="2476" y="6343"/>
                  </a:lnTo>
                  <a:lnTo>
                    <a:pt x="2388" y="6331"/>
                  </a:lnTo>
                  <a:lnTo>
                    <a:pt x="2301" y="6317"/>
                  </a:lnTo>
                  <a:lnTo>
                    <a:pt x="2257" y="6308"/>
                  </a:lnTo>
                  <a:lnTo>
                    <a:pt x="2213" y="6300"/>
                  </a:lnTo>
                  <a:lnTo>
                    <a:pt x="2170" y="6290"/>
                  </a:lnTo>
                  <a:lnTo>
                    <a:pt x="2126" y="6280"/>
                  </a:lnTo>
                  <a:lnTo>
                    <a:pt x="2083" y="6270"/>
                  </a:lnTo>
                  <a:lnTo>
                    <a:pt x="2039" y="6258"/>
                  </a:lnTo>
                  <a:lnTo>
                    <a:pt x="1996" y="6246"/>
                  </a:lnTo>
                  <a:lnTo>
                    <a:pt x="1952" y="6234"/>
                  </a:lnTo>
                  <a:lnTo>
                    <a:pt x="1909" y="6220"/>
                  </a:lnTo>
                  <a:lnTo>
                    <a:pt x="1866" y="6206"/>
                  </a:lnTo>
                  <a:lnTo>
                    <a:pt x="1823" y="6192"/>
                  </a:lnTo>
                  <a:lnTo>
                    <a:pt x="1780" y="6176"/>
                  </a:lnTo>
                  <a:lnTo>
                    <a:pt x="1737" y="6160"/>
                  </a:lnTo>
                  <a:lnTo>
                    <a:pt x="1694" y="6143"/>
                  </a:lnTo>
                  <a:lnTo>
                    <a:pt x="1652" y="6125"/>
                  </a:lnTo>
                  <a:lnTo>
                    <a:pt x="1609" y="6107"/>
                  </a:lnTo>
                  <a:lnTo>
                    <a:pt x="1609" y="6107"/>
                  </a:lnTo>
                  <a:lnTo>
                    <a:pt x="1523" y="6068"/>
                  </a:lnTo>
                  <a:lnTo>
                    <a:pt x="1480" y="6049"/>
                  </a:lnTo>
                  <a:lnTo>
                    <a:pt x="1480" y="6049"/>
                  </a:lnTo>
                  <a:lnTo>
                    <a:pt x="1479" y="6052"/>
                  </a:lnTo>
                  <a:lnTo>
                    <a:pt x="1477" y="6061"/>
                  </a:lnTo>
                  <a:lnTo>
                    <a:pt x="1477" y="6068"/>
                  </a:lnTo>
                  <a:lnTo>
                    <a:pt x="1477" y="6077"/>
                  </a:lnTo>
                  <a:lnTo>
                    <a:pt x="1477" y="6088"/>
                  </a:lnTo>
                  <a:lnTo>
                    <a:pt x="1479" y="6100"/>
                  </a:lnTo>
                  <a:lnTo>
                    <a:pt x="1483" y="6113"/>
                  </a:lnTo>
                  <a:lnTo>
                    <a:pt x="1487" y="6128"/>
                  </a:lnTo>
                  <a:lnTo>
                    <a:pt x="1494" y="6145"/>
                  </a:lnTo>
                  <a:lnTo>
                    <a:pt x="1503" y="6163"/>
                  </a:lnTo>
                  <a:lnTo>
                    <a:pt x="1514" y="6184"/>
                  </a:lnTo>
                  <a:lnTo>
                    <a:pt x="1529" y="6205"/>
                  </a:lnTo>
                  <a:lnTo>
                    <a:pt x="1545" y="6229"/>
                  </a:lnTo>
                  <a:lnTo>
                    <a:pt x="1565" y="6253"/>
                  </a:lnTo>
                  <a:lnTo>
                    <a:pt x="1565" y="6253"/>
                  </a:lnTo>
                  <a:lnTo>
                    <a:pt x="1547" y="6250"/>
                  </a:lnTo>
                  <a:lnTo>
                    <a:pt x="1528" y="6248"/>
                  </a:lnTo>
                  <a:lnTo>
                    <a:pt x="1509" y="6248"/>
                  </a:lnTo>
                  <a:lnTo>
                    <a:pt x="1490" y="6248"/>
                  </a:lnTo>
                  <a:lnTo>
                    <a:pt x="1472" y="6250"/>
                  </a:lnTo>
                  <a:lnTo>
                    <a:pt x="1456" y="6253"/>
                  </a:lnTo>
                  <a:lnTo>
                    <a:pt x="1441" y="6258"/>
                  </a:lnTo>
                  <a:lnTo>
                    <a:pt x="1427" y="6264"/>
                  </a:lnTo>
                  <a:lnTo>
                    <a:pt x="1427" y="6264"/>
                  </a:lnTo>
                  <a:lnTo>
                    <a:pt x="1413" y="6273"/>
                  </a:lnTo>
                  <a:lnTo>
                    <a:pt x="1400" y="6283"/>
                  </a:lnTo>
                  <a:lnTo>
                    <a:pt x="1390" y="6293"/>
                  </a:lnTo>
                  <a:lnTo>
                    <a:pt x="1379" y="6302"/>
                  </a:lnTo>
                  <a:lnTo>
                    <a:pt x="1371" y="6311"/>
                  </a:lnTo>
                  <a:lnTo>
                    <a:pt x="1365" y="6321"/>
                  </a:lnTo>
                  <a:lnTo>
                    <a:pt x="1358" y="6333"/>
                  </a:lnTo>
                  <a:close/>
                  <a:moveTo>
                    <a:pt x="3487" y="3933"/>
                  </a:moveTo>
                  <a:lnTo>
                    <a:pt x="3487" y="3933"/>
                  </a:lnTo>
                  <a:lnTo>
                    <a:pt x="3470" y="3920"/>
                  </a:lnTo>
                  <a:lnTo>
                    <a:pt x="3453" y="3908"/>
                  </a:lnTo>
                  <a:lnTo>
                    <a:pt x="3436" y="3895"/>
                  </a:lnTo>
                  <a:lnTo>
                    <a:pt x="3418" y="3884"/>
                  </a:lnTo>
                  <a:lnTo>
                    <a:pt x="3383" y="3865"/>
                  </a:lnTo>
                  <a:lnTo>
                    <a:pt x="3349" y="3846"/>
                  </a:lnTo>
                  <a:lnTo>
                    <a:pt x="3314" y="3829"/>
                  </a:lnTo>
                  <a:lnTo>
                    <a:pt x="3281" y="3814"/>
                  </a:lnTo>
                  <a:lnTo>
                    <a:pt x="3250" y="3799"/>
                  </a:lnTo>
                  <a:lnTo>
                    <a:pt x="3219" y="3784"/>
                  </a:lnTo>
                  <a:lnTo>
                    <a:pt x="3219" y="3784"/>
                  </a:lnTo>
                  <a:lnTo>
                    <a:pt x="3235" y="3774"/>
                  </a:lnTo>
                  <a:lnTo>
                    <a:pt x="3251" y="3763"/>
                  </a:lnTo>
                  <a:lnTo>
                    <a:pt x="3268" y="3749"/>
                  </a:lnTo>
                  <a:lnTo>
                    <a:pt x="3284" y="3735"/>
                  </a:lnTo>
                  <a:lnTo>
                    <a:pt x="3298" y="3722"/>
                  </a:lnTo>
                  <a:lnTo>
                    <a:pt x="3302" y="3716"/>
                  </a:lnTo>
                  <a:lnTo>
                    <a:pt x="3305" y="3711"/>
                  </a:lnTo>
                  <a:lnTo>
                    <a:pt x="3305" y="3707"/>
                  </a:lnTo>
                  <a:lnTo>
                    <a:pt x="3305" y="3705"/>
                  </a:lnTo>
                  <a:lnTo>
                    <a:pt x="3303" y="3704"/>
                  </a:lnTo>
                  <a:lnTo>
                    <a:pt x="3303" y="3704"/>
                  </a:lnTo>
                  <a:lnTo>
                    <a:pt x="3290" y="3697"/>
                  </a:lnTo>
                  <a:lnTo>
                    <a:pt x="3278" y="3691"/>
                  </a:lnTo>
                  <a:lnTo>
                    <a:pt x="3266" y="3687"/>
                  </a:lnTo>
                  <a:lnTo>
                    <a:pt x="3255" y="3685"/>
                  </a:lnTo>
                  <a:lnTo>
                    <a:pt x="3236" y="3682"/>
                  </a:lnTo>
                  <a:lnTo>
                    <a:pt x="3229" y="3681"/>
                  </a:lnTo>
                  <a:lnTo>
                    <a:pt x="3229" y="3681"/>
                  </a:lnTo>
                  <a:lnTo>
                    <a:pt x="3168" y="3705"/>
                  </a:lnTo>
                  <a:lnTo>
                    <a:pt x="3105" y="3731"/>
                  </a:lnTo>
                  <a:lnTo>
                    <a:pt x="3045" y="3757"/>
                  </a:lnTo>
                  <a:lnTo>
                    <a:pt x="2984" y="3784"/>
                  </a:lnTo>
                  <a:lnTo>
                    <a:pt x="2924" y="3813"/>
                  </a:lnTo>
                  <a:lnTo>
                    <a:pt x="2866" y="3841"/>
                  </a:lnTo>
                  <a:lnTo>
                    <a:pt x="2809" y="3870"/>
                  </a:lnTo>
                  <a:lnTo>
                    <a:pt x="2754" y="3900"/>
                  </a:lnTo>
                  <a:lnTo>
                    <a:pt x="2700" y="3928"/>
                  </a:lnTo>
                  <a:lnTo>
                    <a:pt x="2649" y="3957"/>
                  </a:lnTo>
                  <a:lnTo>
                    <a:pt x="2600" y="3984"/>
                  </a:lnTo>
                  <a:lnTo>
                    <a:pt x="2553" y="4012"/>
                  </a:lnTo>
                  <a:lnTo>
                    <a:pt x="2510" y="4039"/>
                  </a:lnTo>
                  <a:lnTo>
                    <a:pt x="2469" y="4064"/>
                  </a:lnTo>
                  <a:lnTo>
                    <a:pt x="2433" y="4088"/>
                  </a:lnTo>
                  <a:lnTo>
                    <a:pt x="2399" y="4110"/>
                  </a:lnTo>
                  <a:lnTo>
                    <a:pt x="2399" y="4110"/>
                  </a:lnTo>
                  <a:lnTo>
                    <a:pt x="2394" y="4113"/>
                  </a:lnTo>
                  <a:lnTo>
                    <a:pt x="2394" y="4113"/>
                  </a:lnTo>
                  <a:lnTo>
                    <a:pt x="2382" y="4120"/>
                  </a:lnTo>
                  <a:lnTo>
                    <a:pt x="2371" y="4127"/>
                  </a:lnTo>
                  <a:lnTo>
                    <a:pt x="2360" y="4132"/>
                  </a:lnTo>
                  <a:lnTo>
                    <a:pt x="2348" y="4136"/>
                  </a:lnTo>
                  <a:lnTo>
                    <a:pt x="2336" y="4139"/>
                  </a:lnTo>
                  <a:lnTo>
                    <a:pt x="2325" y="4142"/>
                  </a:lnTo>
                  <a:lnTo>
                    <a:pt x="2313" y="4143"/>
                  </a:lnTo>
                  <a:lnTo>
                    <a:pt x="2302" y="4144"/>
                  </a:lnTo>
                  <a:lnTo>
                    <a:pt x="2278" y="4145"/>
                  </a:lnTo>
                  <a:lnTo>
                    <a:pt x="2256" y="4143"/>
                  </a:lnTo>
                  <a:lnTo>
                    <a:pt x="2233" y="4140"/>
                  </a:lnTo>
                  <a:lnTo>
                    <a:pt x="2213" y="4135"/>
                  </a:lnTo>
                  <a:lnTo>
                    <a:pt x="2193" y="4130"/>
                  </a:lnTo>
                  <a:lnTo>
                    <a:pt x="2176" y="4123"/>
                  </a:lnTo>
                  <a:lnTo>
                    <a:pt x="2161" y="4117"/>
                  </a:lnTo>
                  <a:lnTo>
                    <a:pt x="2146" y="4111"/>
                  </a:lnTo>
                  <a:lnTo>
                    <a:pt x="2127" y="4101"/>
                  </a:lnTo>
                  <a:lnTo>
                    <a:pt x="2121" y="4097"/>
                  </a:lnTo>
                  <a:lnTo>
                    <a:pt x="2100" y="4225"/>
                  </a:lnTo>
                  <a:lnTo>
                    <a:pt x="2100" y="4225"/>
                  </a:lnTo>
                  <a:lnTo>
                    <a:pt x="2123" y="4238"/>
                  </a:lnTo>
                  <a:lnTo>
                    <a:pt x="2144" y="4249"/>
                  </a:lnTo>
                  <a:lnTo>
                    <a:pt x="2165" y="4258"/>
                  </a:lnTo>
                  <a:lnTo>
                    <a:pt x="2182" y="4267"/>
                  </a:lnTo>
                  <a:lnTo>
                    <a:pt x="2198" y="4273"/>
                  </a:lnTo>
                  <a:lnTo>
                    <a:pt x="2214" y="4277"/>
                  </a:lnTo>
                  <a:lnTo>
                    <a:pt x="2227" y="4281"/>
                  </a:lnTo>
                  <a:lnTo>
                    <a:pt x="2238" y="4283"/>
                  </a:lnTo>
                  <a:lnTo>
                    <a:pt x="2238" y="4283"/>
                  </a:lnTo>
                  <a:lnTo>
                    <a:pt x="2219" y="4287"/>
                  </a:lnTo>
                  <a:lnTo>
                    <a:pt x="2198" y="4292"/>
                  </a:lnTo>
                  <a:lnTo>
                    <a:pt x="2178" y="4298"/>
                  </a:lnTo>
                  <a:lnTo>
                    <a:pt x="2156" y="4306"/>
                  </a:lnTo>
                  <a:lnTo>
                    <a:pt x="2137" y="4315"/>
                  </a:lnTo>
                  <a:lnTo>
                    <a:pt x="2119" y="4326"/>
                  </a:lnTo>
                  <a:lnTo>
                    <a:pt x="2109" y="4331"/>
                  </a:lnTo>
                  <a:lnTo>
                    <a:pt x="2101" y="4337"/>
                  </a:lnTo>
                  <a:lnTo>
                    <a:pt x="2094" y="4344"/>
                  </a:lnTo>
                  <a:lnTo>
                    <a:pt x="2088" y="4351"/>
                  </a:lnTo>
                  <a:lnTo>
                    <a:pt x="2132" y="4469"/>
                  </a:lnTo>
                  <a:lnTo>
                    <a:pt x="2132" y="4469"/>
                  </a:lnTo>
                  <a:lnTo>
                    <a:pt x="2144" y="4460"/>
                  </a:lnTo>
                  <a:lnTo>
                    <a:pt x="2160" y="4451"/>
                  </a:lnTo>
                  <a:lnTo>
                    <a:pt x="2181" y="4439"/>
                  </a:lnTo>
                  <a:lnTo>
                    <a:pt x="2193" y="4434"/>
                  </a:lnTo>
                  <a:lnTo>
                    <a:pt x="2207" y="4429"/>
                  </a:lnTo>
                  <a:lnTo>
                    <a:pt x="2222" y="4424"/>
                  </a:lnTo>
                  <a:lnTo>
                    <a:pt x="2237" y="4419"/>
                  </a:lnTo>
                  <a:lnTo>
                    <a:pt x="2255" y="4415"/>
                  </a:lnTo>
                  <a:lnTo>
                    <a:pt x="2273" y="4412"/>
                  </a:lnTo>
                  <a:lnTo>
                    <a:pt x="2292" y="4410"/>
                  </a:lnTo>
                  <a:lnTo>
                    <a:pt x="2313" y="4409"/>
                  </a:lnTo>
                  <a:lnTo>
                    <a:pt x="2313" y="4409"/>
                  </a:lnTo>
                  <a:lnTo>
                    <a:pt x="2316" y="4425"/>
                  </a:lnTo>
                  <a:lnTo>
                    <a:pt x="2316" y="4425"/>
                  </a:lnTo>
                  <a:lnTo>
                    <a:pt x="2316" y="4439"/>
                  </a:lnTo>
                  <a:lnTo>
                    <a:pt x="2316" y="4454"/>
                  </a:lnTo>
                  <a:lnTo>
                    <a:pt x="2314" y="4468"/>
                  </a:lnTo>
                  <a:lnTo>
                    <a:pt x="2311" y="4483"/>
                  </a:lnTo>
                  <a:lnTo>
                    <a:pt x="2306" y="4499"/>
                  </a:lnTo>
                  <a:lnTo>
                    <a:pt x="2301" y="4514"/>
                  </a:lnTo>
                  <a:lnTo>
                    <a:pt x="2293" y="4529"/>
                  </a:lnTo>
                  <a:lnTo>
                    <a:pt x="2285" y="4545"/>
                  </a:lnTo>
                  <a:lnTo>
                    <a:pt x="2277" y="4561"/>
                  </a:lnTo>
                  <a:lnTo>
                    <a:pt x="2267" y="4576"/>
                  </a:lnTo>
                  <a:lnTo>
                    <a:pt x="2256" y="4593"/>
                  </a:lnTo>
                  <a:lnTo>
                    <a:pt x="2244" y="4608"/>
                  </a:lnTo>
                  <a:lnTo>
                    <a:pt x="2231" y="4624"/>
                  </a:lnTo>
                  <a:lnTo>
                    <a:pt x="2218" y="4640"/>
                  </a:lnTo>
                  <a:lnTo>
                    <a:pt x="2204" y="4655"/>
                  </a:lnTo>
                  <a:lnTo>
                    <a:pt x="2189" y="4670"/>
                  </a:lnTo>
                  <a:lnTo>
                    <a:pt x="2157" y="4701"/>
                  </a:lnTo>
                  <a:lnTo>
                    <a:pt x="2124" y="4730"/>
                  </a:lnTo>
                  <a:lnTo>
                    <a:pt x="2088" y="4757"/>
                  </a:lnTo>
                  <a:lnTo>
                    <a:pt x="2051" y="4783"/>
                  </a:lnTo>
                  <a:lnTo>
                    <a:pt x="2013" y="4807"/>
                  </a:lnTo>
                  <a:lnTo>
                    <a:pt x="1975" y="4829"/>
                  </a:lnTo>
                  <a:lnTo>
                    <a:pt x="1937" y="4848"/>
                  </a:lnTo>
                  <a:lnTo>
                    <a:pt x="1917" y="4858"/>
                  </a:lnTo>
                  <a:lnTo>
                    <a:pt x="1899" y="4866"/>
                  </a:lnTo>
                  <a:lnTo>
                    <a:pt x="1899" y="4866"/>
                  </a:lnTo>
                  <a:lnTo>
                    <a:pt x="1861" y="4880"/>
                  </a:lnTo>
                  <a:lnTo>
                    <a:pt x="1823" y="4892"/>
                  </a:lnTo>
                  <a:lnTo>
                    <a:pt x="1788" y="4904"/>
                  </a:lnTo>
                  <a:lnTo>
                    <a:pt x="1754" y="4913"/>
                  </a:lnTo>
                  <a:lnTo>
                    <a:pt x="1721" y="4921"/>
                  </a:lnTo>
                  <a:lnTo>
                    <a:pt x="1690" y="4927"/>
                  </a:lnTo>
                  <a:lnTo>
                    <a:pt x="1661" y="4931"/>
                  </a:lnTo>
                  <a:lnTo>
                    <a:pt x="1633" y="4935"/>
                  </a:lnTo>
                  <a:lnTo>
                    <a:pt x="1607" y="4937"/>
                  </a:lnTo>
                  <a:lnTo>
                    <a:pt x="1584" y="4938"/>
                  </a:lnTo>
                  <a:lnTo>
                    <a:pt x="1562" y="4938"/>
                  </a:lnTo>
                  <a:lnTo>
                    <a:pt x="1543" y="4937"/>
                  </a:lnTo>
                  <a:lnTo>
                    <a:pt x="1527" y="4935"/>
                  </a:lnTo>
                  <a:lnTo>
                    <a:pt x="1513" y="4932"/>
                  </a:lnTo>
                  <a:lnTo>
                    <a:pt x="1502" y="4928"/>
                  </a:lnTo>
                  <a:lnTo>
                    <a:pt x="1493" y="4924"/>
                  </a:lnTo>
                  <a:lnTo>
                    <a:pt x="1493" y="4924"/>
                  </a:lnTo>
                  <a:lnTo>
                    <a:pt x="1469" y="4908"/>
                  </a:lnTo>
                  <a:lnTo>
                    <a:pt x="1448" y="4890"/>
                  </a:lnTo>
                  <a:lnTo>
                    <a:pt x="1429" y="4872"/>
                  </a:lnTo>
                  <a:lnTo>
                    <a:pt x="1413" y="4853"/>
                  </a:lnTo>
                  <a:lnTo>
                    <a:pt x="1398" y="4836"/>
                  </a:lnTo>
                  <a:lnTo>
                    <a:pt x="1384" y="4818"/>
                  </a:lnTo>
                  <a:lnTo>
                    <a:pt x="1373" y="4800"/>
                  </a:lnTo>
                  <a:lnTo>
                    <a:pt x="1362" y="4783"/>
                  </a:lnTo>
                  <a:lnTo>
                    <a:pt x="1343" y="4752"/>
                  </a:lnTo>
                  <a:lnTo>
                    <a:pt x="1333" y="4738"/>
                  </a:lnTo>
                  <a:lnTo>
                    <a:pt x="1324" y="4726"/>
                  </a:lnTo>
                  <a:lnTo>
                    <a:pt x="1315" y="4714"/>
                  </a:lnTo>
                  <a:lnTo>
                    <a:pt x="1305" y="4706"/>
                  </a:lnTo>
                  <a:lnTo>
                    <a:pt x="1293" y="4699"/>
                  </a:lnTo>
                  <a:lnTo>
                    <a:pt x="1287" y="4696"/>
                  </a:lnTo>
                  <a:lnTo>
                    <a:pt x="1281" y="4694"/>
                  </a:lnTo>
                  <a:lnTo>
                    <a:pt x="1281" y="4694"/>
                  </a:lnTo>
                  <a:lnTo>
                    <a:pt x="1277" y="4694"/>
                  </a:lnTo>
                  <a:lnTo>
                    <a:pt x="1274" y="4694"/>
                  </a:lnTo>
                  <a:lnTo>
                    <a:pt x="1267" y="4696"/>
                  </a:lnTo>
                  <a:lnTo>
                    <a:pt x="1260" y="4699"/>
                  </a:lnTo>
                  <a:lnTo>
                    <a:pt x="1252" y="4703"/>
                  </a:lnTo>
                  <a:lnTo>
                    <a:pt x="1244" y="4707"/>
                  </a:lnTo>
                  <a:lnTo>
                    <a:pt x="1235" y="4710"/>
                  </a:lnTo>
                  <a:lnTo>
                    <a:pt x="1227" y="4712"/>
                  </a:lnTo>
                  <a:lnTo>
                    <a:pt x="1222" y="4712"/>
                  </a:lnTo>
                  <a:lnTo>
                    <a:pt x="1217" y="4712"/>
                  </a:lnTo>
                  <a:lnTo>
                    <a:pt x="1217" y="4712"/>
                  </a:lnTo>
                  <a:lnTo>
                    <a:pt x="1196" y="4709"/>
                  </a:lnTo>
                  <a:lnTo>
                    <a:pt x="1176" y="4706"/>
                  </a:lnTo>
                  <a:lnTo>
                    <a:pt x="1155" y="4705"/>
                  </a:lnTo>
                  <a:lnTo>
                    <a:pt x="1134" y="4704"/>
                  </a:lnTo>
                  <a:lnTo>
                    <a:pt x="1114" y="4704"/>
                  </a:lnTo>
                  <a:lnTo>
                    <a:pt x="1094" y="4706"/>
                  </a:lnTo>
                  <a:lnTo>
                    <a:pt x="1075" y="4708"/>
                  </a:lnTo>
                  <a:lnTo>
                    <a:pt x="1055" y="4712"/>
                  </a:lnTo>
                  <a:lnTo>
                    <a:pt x="1037" y="4716"/>
                  </a:lnTo>
                  <a:lnTo>
                    <a:pt x="1020" y="4724"/>
                  </a:lnTo>
                  <a:lnTo>
                    <a:pt x="1004" y="4731"/>
                  </a:lnTo>
                  <a:lnTo>
                    <a:pt x="990" y="4740"/>
                  </a:lnTo>
                  <a:lnTo>
                    <a:pt x="976" y="4751"/>
                  </a:lnTo>
                  <a:lnTo>
                    <a:pt x="970" y="4757"/>
                  </a:lnTo>
                  <a:lnTo>
                    <a:pt x="964" y="4763"/>
                  </a:lnTo>
                  <a:lnTo>
                    <a:pt x="959" y="4771"/>
                  </a:lnTo>
                  <a:lnTo>
                    <a:pt x="955" y="4779"/>
                  </a:lnTo>
                  <a:lnTo>
                    <a:pt x="951" y="4786"/>
                  </a:lnTo>
                  <a:lnTo>
                    <a:pt x="947" y="4795"/>
                  </a:lnTo>
                  <a:lnTo>
                    <a:pt x="947" y="4795"/>
                  </a:lnTo>
                  <a:lnTo>
                    <a:pt x="985" y="4793"/>
                  </a:lnTo>
                  <a:lnTo>
                    <a:pt x="1020" y="4792"/>
                  </a:lnTo>
                  <a:lnTo>
                    <a:pt x="1040" y="4792"/>
                  </a:lnTo>
                  <a:lnTo>
                    <a:pt x="1059" y="4793"/>
                  </a:lnTo>
                  <a:lnTo>
                    <a:pt x="1077" y="4794"/>
                  </a:lnTo>
                  <a:lnTo>
                    <a:pt x="1092" y="4797"/>
                  </a:lnTo>
                  <a:lnTo>
                    <a:pt x="1105" y="4800"/>
                  </a:lnTo>
                  <a:lnTo>
                    <a:pt x="1110" y="4802"/>
                  </a:lnTo>
                  <a:lnTo>
                    <a:pt x="1115" y="4804"/>
                  </a:lnTo>
                  <a:lnTo>
                    <a:pt x="1117" y="4807"/>
                  </a:lnTo>
                  <a:lnTo>
                    <a:pt x="1119" y="4811"/>
                  </a:lnTo>
                  <a:lnTo>
                    <a:pt x="1119" y="4814"/>
                  </a:lnTo>
                  <a:lnTo>
                    <a:pt x="1117" y="4818"/>
                  </a:lnTo>
                  <a:lnTo>
                    <a:pt x="1114" y="4822"/>
                  </a:lnTo>
                  <a:lnTo>
                    <a:pt x="1109" y="4827"/>
                  </a:lnTo>
                  <a:lnTo>
                    <a:pt x="1102" y="4832"/>
                  </a:lnTo>
                  <a:lnTo>
                    <a:pt x="1094" y="4837"/>
                  </a:lnTo>
                  <a:lnTo>
                    <a:pt x="1094" y="4837"/>
                  </a:lnTo>
                  <a:lnTo>
                    <a:pt x="1085" y="4843"/>
                  </a:lnTo>
                  <a:lnTo>
                    <a:pt x="1079" y="4849"/>
                  </a:lnTo>
                  <a:lnTo>
                    <a:pt x="1074" y="4856"/>
                  </a:lnTo>
                  <a:lnTo>
                    <a:pt x="1072" y="4863"/>
                  </a:lnTo>
                  <a:lnTo>
                    <a:pt x="1071" y="4870"/>
                  </a:lnTo>
                  <a:lnTo>
                    <a:pt x="1072" y="4876"/>
                  </a:lnTo>
                  <a:lnTo>
                    <a:pt x="1074" y="4883"/>
                  </a:lnTo>
                  <a:lnTo>
                    <a:pt x="1077" y="4890"/>
                  </a:lnTo>
                  <a:lnTo>
                    <a:pt x="1082" y="4898"/>
                  </a:lnTo>
                  <a:lnTo>
                    <a:pt x="1088" y="4906"/>
                  </a:lnTo>
                  <a:lnTo>
                    <a:pt x="1096" y="4913"/>
                  </a:lnTo>
                  <a:lnTo>
                    <a:pt x="1104" y="4920"/>
                  </a:lnTo>
                  <a:lnTo>
                    <a:pt x="1124" y="4935"/>
                  </a:lnTo>
                  <a:lnTo>
                    <a:pt x="1146" y="4951"/>
                  </a:lnTo>
                  <a:lnTo>
                    <a:pt x="1170" y="4966"/>
                  </a:lnTo>
                  <a:lnTo>
                    <a:pt x="1195" y="4980"/>
                  </a:lnTo>
                  <a:lnTo>
                    <a:pt x="1247" y="5008"/>
                  </a:lnTo>
                  <a:lnTo>
                    <a:pt x="1293" y="5031"/>
                  </a:lnTo>
                  <a:lnTo>
                    <a:pt x="1313" y="5042"/>
                  </a:lnTo>
                  <a:lnTo>
                    <a:pt x="1329" y="5051"/>
                  </a:lnTo>
                  <a:lnTo>
                    <a:pt x="1329" y="5051"/>
                  </a:lnTo>
                  <a:lnTo>
                    <a:pt x="1336" y="5056"/>
                  </a:lnTo>
                  <a:lnTo>
                    <a:pt x="1339" y="5060"/>
                  </a:lnTo>
                  <a:lnTo>
                    <a:pt x="1341" y="5063"/>
                  </a:lnTo>
                  <a:lnTo>
                    <a:pt x="1339" y="5066"/>
                  </a:lnTo>
                  <a:lnTo>
                    <a:pt x="1336" y="5068"/>
                  </a:lnTo>
                  <a:lnTo>
                    <a:pt x="1332" y="5070"/>
                  </a:lnTo>
                  <a:lnTo>
                    <a:pt x="1326" y="5071"/>
                  </a:lnTo>
                  <a:lnTo>
                    <a:pt x="1326" y="5071"/>
                  </a:lnTo>
                  <a:lnTo>
                    <a:pt x="1316" y="5071"/>
                  </a:lnTo>
                  <a:lnTo>
                    <a:pt x="1304" y="5069"/>
                  </a:lnTo>
                  <a:lnTo>
                    <a:pt x="1289" y="5066"/>
                  </a:lnTo>
                  <a:lnTo>
                    <a:pt x="1273" y="5061"/>
                  </a:lnTo>
                  <a:lnTo>
                    <a:pt x="1237" y="5050"/>
                  </a:lnTo>
                  <a:lnTo>
                    <a:pt x="1197" y="5035"/>
                  </a:lnTo>
                  <a:lnTo>
                    <a:pt x="1115" y="5004"/>
                  </a:lnTo>
                  <a:lnTo>
                    <a:pt x="1077" y="4988"/>
                  </a:lnTo>
                  <a:lnTo>
                    <a:pt x="1042" y="4977"/>
                  </a:lnTo>
                  <a:lnTo>
                    <a:pt x="1042" y="4977"/>
                  </a:lnTo>
                  <a:lnTo>
                    <a:pt x="1031" y="4974"/>
                  </a:lnTo>
                  <a:lnTo>
                    <a:pt x="1020" y="4972"/>
                  </a:lnTo>
                  <a:lnTo>
                    <a:pt x="1011" y="4972"/>
                  </a:lnTo>
                  <a:lnTo>
                    <a:pt x="1003" y="4973"/>
                  </a:lnTo>
                  <a:lnTo>
                    <a:pt x="996" y="4975"/>
                  </a:lnTo>
                  <a:lnTo>
                    <a:pt x="990" y="4978"/>
                  </a:lnTo>
                  <a:lnTo>
                    <a:pt x="985" y="4981"/>
                  </a:lnTo>
                  <a:lnTo>
                    <a:pt x="981" y="4984"/>
                  </a:lnTo>
                  <a:lnTo>
                    <a:pt x="972" y="4993"/>
                  </a:lnTo>
                  <a:lnTo>
                    <a:pt x="966" y="5000"/>
                  </a:lnTo>
                  <a:lnTo>
                    <a:pt x="962" y="5005"/>
                  </a:lnTo>
                  <a:lnTo>
                    <a:pt x="959" y="5006"/>
                  </a:lnTo>
                  <a:lnTo>
                    <a:pt x="957" y="5007"/>
                  </a:lnTo>
                  <a:lnTo>
                    <a:pt x="957" y="5007"/>
                  </a:lnTo>
                  <a:lnTo>
                    <a:pt x="948" y="5006"/>
                  </a:lnTo>
                  <a:lnTo>
                    <a:pt x="938" y="5005"/>
                  </a:lnTo>
                  <a:lnTo>
                    <a:pt x="926" y="5006"/>
                  </a:lnTo>
                  <a:lnTo>
                    <a:pt x="916" y="5006"/>
                  </a:lnTo>
                  <a:lnTo>
                    <a:pt x="894" y="5010"/>
                  </a:lnTo>
                  <a:lnTo>
                    <a:pt x="871" y="5016"/>
                  </a:lnTo>
                  <a:lnTo>
                    <a:pt x="849" y="5024"/>
                  </a:lnTo>
                  <a:lnTo>
                    <a:pt x="826" y="5034"/>
                  </a:lnTo>
                  <a:lnTo>
                    <a:pt x="805" y="5048"/>
                  </a:lnTo>
                  <a:lnTo>
                    <a:pt x="794" y="5055"/>
                  </a:lnTo>
                  <a:lnTo>
                    <a:pt x="785" y="5062"/>
                  </a:lnTo>
                  <a:lnTo>
                    <a:pt x="776" y="5070"/>
                  </a:lnTo>
                  <a:lnTo>
                    <a:pt x="768" y="5078"/>
                  </a:lnTo>
                  <a:lnTo>
                    <a:pt x="760" y="5088"/>
                  </a:lnTo>
                  <a:lnTo>
                    <a:pt x="753" y="5097"/>
                  </a:lnTo>
                  <a:lnTo>
                    <a:pt x="746" y="5107"/>
                  </a:lnTo>
                  <a:lnTo>
                    <a:pt x="740" y="5116"/>
                  </a:lnTo>
                  <a:lnTo>
                    <a:pt x="736" y="5127"/>
                  </a:lnTo>
                  <a:lnTo>
                    <a:pt x="732" y="5139"/>
                  </a:lnTo>
                  <a:lnTo>
                    <a:pt x="730" y="5150"/>
                  </a:lnTo>
                  <a:lnTo>
                    <a:pt x="728" y="5161"/>
                  </a:lnTo>
                  <a:lnTo>
                    <a:pt x="728" y="5173"/>
                  </a:lnTo>
                  <a:lnTo>
                    <a:pt x="728" y="5186"/>
                  </a:lnTo>
                  <a:lnTo>
                    <a:pt x="731" y="5199"/>
                  </a:lnTo>
                  <a:lnTo>
                    <a:pt x="734" y="5211"/>
                  </a:lnTo>
                  <a:lnTo>
                    <a:pt x="739" y="5225"/>
                  </a:lnTo>
                  <a:lnTo>
                    <a:pt x="745" y="5239"/>
                  </a:lnTo>
                  <a:lnTo>
                    <a:pt x="745" y="5239"/>
                  </a:lnTo>
                  <a:lnTo>
                    <a:pt x="748" y="5234"/>
                  </a:lnTo>
                  <a:lnTo>
                    <a:pt x="758" y="5221"/>
                  </a:lnTo>
                  <a:lnTo>
                    <a:pt x="773" y="5202"/>
                  </a:lnTo>
                  <a:lnTo>
                    <a:pt x="781" y="5192"/>
                  </a:lnTo>
                  <a:lnTo>
                    <a:pt x="791" y="5182"/>
                  </a:lnTo>
                  <a:lnTo>
                    <a:pt x="803" y="5171"/>
                  </a:lnTo>
                  <a:lnTo>
                    <a:pt x="814" y="5162"/>
                  </a:lnTo>
                  <a:lnTo>
                    <a:pt x="826" y="5154"/>
                  </a:lnTo>
                  <a:lnTo>
                    <a:pt x="839" y="5147"/>
                  </a:lnTo>
                  <a:lnTo>
                    <a:pt x="853" y="5142"/>
                  </a:lnTo>
                  <a:lnTo>
                    <a:pt x="859" y="5140"/>
                  </a:lnTo>
                  <a:lnTo>
                    <a:pt x="866" y="5139"/>
                  </a:lnTo>
                  <a:lnTo>
                    <a:pt x="873" y="5139"/>
                  </a:lnTo>
                  <a:lnTo>
                    <a:pt x="879" y="5139"/>
                  </a:lnTo>
                  <a:lnTo>
                    <a:pt x="887" y="5140"/>
                  </a:lnTo>
                  <a:lnTo>
                    <a:pt x="894" y="5142"/>
                  </a:lnTo>
                  <a:lnTo>
                    <a:pt x="894" y="5142"/>
                  </a:lnTo>
                  <a:lnTo>
                    <a:pt x="899" y="5144"/>
                  </a:lnTo>
                  <a:lnTo>
                    <a:pt x="902" y="5148"/>
                  </a:lnTo>
                  <a:lnTo>
                    <a:pt x="903" y="5154"/>
                  </a:lnTo>
                  <a:lnTo>
                    <a:pt x="904" y="5160"/>
                  </a:lnTo>
                  <a:lnTo>
                    <a:pt x="904" y="5177"/>
                  </a:lnTo>
                  <a:lnTo>
                    <a:pt x="902" y="5195"/>
                  </a:lnTo>
                  <a:lnTo>
                    <a:pt x="902" y="5205"/>
                  </a:lnTo>
                  <a:lnTo>
                    <a:pt x="902" y="5215"/>
                  </a:lnTo>
                  <a:lnTo>
                    <a:pt x="904" y="5226"/>
                  </a:lnTo>
                  <a:lnTo>
                    <a:pt x="906" y="5235"/>
                  </a:lnTo>
                  <a:lnTo>
                    <a:pt x="910" y="5245"/>
                  </a:lnTo>
                  <a:lnTo>
                    <a:pt x="915" y="5254"/>
                  </a:lnTo>
                  <a:lnTo>
                    <a:pt x="923" y="5262"/>
                  </a:lnTo>
                  <a:lnTo>
                    <a:pt x="933" y="5270"/>
                  </a:lnTo>
                  <a:lnTo>
                    <a:pt x="933" y="5270"/>
                  </a:lnTo>
                  <a:lnTo>
                    <a:pt x="941" y="5274"/>
                  </a:lnTo>
                  <a:lnTo>
                    <a:pt x="949" y="5277"/>
                  </a:lnTo>
                  <a:lnTo>
                    <a:pt x="959" y="5280"/>
                  </a:lnTo>
                  <a:lnTo>
                    <a:pt x="970" y="5281"/>
                  </a:lnTo>
                  <a:lnTo>
                    <a:pt x="982" y="5283"/>
                  </a:lnTo>
                  <a:lnTo>
                    <a:pt x="995" y="5283"/>
                  </a:lnTo>
                  <a:lnTo>
                    <a:pt x="1021" y="5283"/>
                  </a:lnTo>
                  <a:lnTo>
                    <a:pt x="1051" y="5281"/>
                  </a:lnTo>
                  <a:lnTo>
                    <a:pt x="1082" y="5278"/>
                  </a:lnTo>
                  <a:lnTo>
                    <a:pt x="1146" y="5270"/>
                  </a:lnTo>
                  <a:lnTo>
                    <a:pt x="1209" y="5261"/>
                  </a:lnTo>
                  <a:lnTo>
                    <a:pt x="1238" y="5257"/>
                  </a:lnTo>
                  <a:lnTo>
                    <a:pt x="1266" y="5255"/>
                  </a:lnTo>
                  <a:lnTo>
                    <a:pt x="1290" y="5254"/>
                  </a:lnTo>
                  <a:lnTo>
                    <a:pt x="1311" y="5255"/>
                  </a:lnTo>
                  <a:lnTo>
                    <a:pt x="1320" y="5256"/>
                  </a:lnTo>
                  <a:lnTo>
                    <a:pt x="1328" y="5258"/>
                  </a:lnTo>
                  <a:lnTo>
                    <a:pt x="1335" y="5261"/>
                  </a:lnTo>
                  <a:lnTo>
                    <a:pt x="1341" y="5266"/>
                  </a:lnTo>
                  <a:lnTo>
                    <a:pt x="1341" y="5266"/>
                  </a:lnTo>
                  <a:lnTo>
                    <a:pt x="1344" y="5269"/>
                  </a:lnTo>
                  <a:lnTo>
                    <a:pt x="1345" y="5272"/>
                  </a:lnTo>
                  <a:lnTo>
                    <a:pt x="1344" y="5274"/>
                  </a:lnTo>
                  <a:lnTo>
                    <a:pt x="1339" y="5277"/>
                  </a:lnTo>
                  <a:lnTo>
                    <a:pt x="1335" y="5279"/>
                  </a:lnTo>
                  <a:lnTo>
                    <a:pt x="1328" y="5282"/>
                  </a:lnTo>
                  <a:lnTo>
                    <a:pt x="1311" y="5286"/>
                  </a:lnTo>
                  <a:lnTo>
                    <a:pt x="1288" y="5290"/>
                  </a:lnTo>
                  <a:lnTo>
                    <a:pt x="1263" y="5293"/>
                  </a:lnTo>
                  <a:lnTo>
                    <a:pt x="1202" y="5301"/>
                  </a:lnTo>
                  <a:lnTo>
                    <a:pt x="1171" y="5305"/>
                  </a:lnTo>
                  <a:lnTo>
                    <a:pt x="1140" y="5310"/>
                  </a:lnTo>
                  <a:lnTo>
                    <a:pt x="1110" y="5317"/>
                  </a:lnTo>
                  <a:lnTo>
                    <a:pt x="1084" y="5323"/>
                  </a:lnTo>
                  <a:lnTo>
                    <a:pt x="1072" y="5327"/>
                  </a:lnTo>
                  <a:lnTo>
                    <a:pt x="1060" y="5331"/>
                  </a:lnTo>
                  <a:lnTo>
                    <a:pt x="1050" y="5335"/>
                  </a:lnTo>
                  <a:lnTo>
                    <a:pt x="1042" y="5340"/>
                  </a:lnTo>
                  <a:lnTo>
                    <a:pt x="1035" y="5345"/>
                  </a:lnTo>
                  <a:lnTo>
                    <a:pt x="1030" y="5350"/>
                  </a:lnTo>
                  <a:lnTo>
                    <a:pt x="1026" y="5357"/>
                  </a:lnTo>
                  <a:lnTo>
                    <a:pt x="1024" y="5363"/>
                  </a:lnTo>
                  <a:lnTo>
                    <a:pt x="1024" y="5363"/>
                  </a:lnTo>
                  <a:lnTo>
                    <a:pt x="1023" y="5368"/>
                  </a:lnTo>
                  <a:lnTo>
                    <a:pt x="1023" y="5377"/>
                  </a:lnTo>
                  <a:lnTo>
                    <a:pt x="1024" y="5388"/>
                  </a:lnTo>
                  <a:lnTo>
                    <a:pt x="1026" y="5394"/>
                  </a:lnTo>
                  <a:lnTo>
                    <a:pt x="1028" y="5399"/>
                  </a:lnTo>
                  <a:lnTo>
                    <a:pt x="1028" y="5399"/>
                  </a:lnTo>
                  <a:lnTo>
                    <a:pt x="1029" y="5406"/>
                  </a:lnTo>
                  <a:lnTo>
                    <a:pt x="1029" y="5412"/>
                  </a:lnTo>
                  <a:lnTo>
                    <a:pt x="1026" y="5418"/>
                  </a:lnTo>
                  <a:lnTo>
                    <a:pt x="1021" y="5424"/>
                  </a:lnTo>
                  <a:lnTo>
                    <a:pt x="1011" y="5438"/>
                  </a:lnTo>
                  <a:lnTo>
                    <a:pt x="997" y="5456"/>
                  </a:lnTo>
                  <a:lnTo>
                    <a:pt x="989" y="5466"/>
                  </a:lnTo>
                  <a:lnTo>
                    <a:pt x="982" y="5476"/>
                  </a:lnTo>
                  <a:lnTo>
                    <a:pt x="974" y="5488"/>
                  </a:lnTo>
                  <a:lnTo>
                    <a:pt x="968" y="5501"/>
                  </a:lnTo>
                  <a:lnTo>
                    <a:pt x="962" y="5515"/>
                  </a:lnTo>
                  <a:lnTo>
                    <a:pt x="958" y="5530"/>
                  </a:lnTo>
                  <a:lnTo>
                    <a:pt x="954" y="5547"/>
                  </a:lnTo>
                  <a:lnTo>
                    <a:pt x="953" y="5565"/>
                  </a:lnTo>
                  <a:lnTo>
                    <a:pt x="953" y="5565"/>
                  </a:lnTo>
                  <a:lnTo>
                    <a:pt x="953" y="5574"/>
                  </a:lnTo>
                  <a:lnTo>
                    <a:pt x="953" y="5583"/>
                  </a:lnTo>
                  <a:lnTo>
                    <a:pt x="956" y="5601"/>
                  </a:lnTo>
                  <a:lnTo>
                    <a:pt x="961" y="5618"/>
                  </a:lnTo>
                  <a:lnTo>
                    <a:pt x="967" y="5634"/>
                  </a:lnTo>
                  <a:lnTo>
                    <a:pt x="975" y="5649"/>
                  </a:lnTo>
                  <a:lnTo>
                    <a:pt x="985" y="5663"/>
                  </a:lnTo>
                  <a:lnTo>
                    <a:pt x="995" y="5676"/>
                  </a:lnTo>
                  <a:lnTo>
                    <a:pt x="1005" y="5688"/>
                  </a:lnTo>
                  <a:lnTo>
                    <a:pt x="1015" y="5698"/>
                  </a:lnTo>
                  <a:lnTo>
                    <a:pt x="1026" y="5707"/>
                  </a:lnTo>
                  <a:lnTo>
                    <a:pt x="1043" y="5723"/>
                  </a:lnTo>
                  <a:lnTo>
                    <a:pt x="1055" y="5731"/>
                  </a:lnTo>
                  <a:lnTo>
                    <a:pt x="1060" y="5735"/>
                  </a:lnTo>
                  <a:lnTo>
                    <a:pt x="1060" y="5735"/>
                  </a:lnTo>
                  <a:lnTo>
                    <a:pt x="1062" y="5731"/>
                  </a:lnTo>
                  <a:lnTo>
                    <a:pt x="1063" y="5726"/>
                  </a:lnTo>
                  <a:lnTo>
                    <a:pt x="1063" y="5717"/>
                  </a:lnTo>
                  <a:lnTo>
                    <a:pt x="1062" y="5708"/>
                  </a:lnTo>
                  <a:lnTo>
                    <a:pt x="1059" y="5687"/>
                  </a:lnTo>
                  <a:lnTo>
                    <a:pt x="1056" y="5661"/>
                  </a:lnTo>
                  <a:lnTo>
                    <a:pt x="1055" y="5649"/>
                  </a:lnTo>
                  <a:lnTo>
                    <a:pt x="1054" y="5636"/>
                  </a:lnTo>
                  <a:lnTo>
                    <a:pt x="1054" y="5624"/>
                  </a:lnTo>
                  <a:lnTo>
                    <a:pt x="1056" y="5613"/>
                  </a:lnTo>
                  <a:lnTo>
                    <a:pt x="1058" y="5603"/>
                  </a:lnTo>
                  <a:lnTo>
                    <a:pt x="1062" y="5594"/>
                  </a:lnTo>
                  <a:lnTo>
                    <a:pt x="1065" y="5591"/>
                  </a:lnTo>
                  <a:lnTo>
                    <a:pt x="1069" y="5587"/>
                  </a:lnTo>
                  <a:lnTo>
                    <a:pt x="1072" y="5585"/>
                  </a:lnTo>
                  <a:lnTo>
                    <a:pt x="1076" y="5582"/>
                  </a:lnTo>
                  <a:lnTo>
                    <a:pt x="1076" y="5582"/>
                  </a:lnTo>
                  <a:lnTo>
                    <a:pt x="1081" y="5581"/>
                  </a:lnTo>
                  <a:lnTo>
                    <a:pt x="1085" y="5581"/>
                  </a:lnTo>
                  <a:lnTo>
                    <a:pt x="1090" y="5582"/>
                  </a:lnTo>
                  <a:lnTo>
                    <a:pt x="1094" y="5586"/>
                  </a:lnTo>
                  <a:lnTo>
                    <a:pt x="1103" y="5593"/>
                  </a:lnTo>
                  <a:lnTo>
                    <a:pt x="1114" y="5602"/>
                  </a:lnTo>
                  <a:lnTo>
                    <a:pt x="1125" y="5613"/>
                  </a:lnTo>
                  <a:lnTo>
                    <a:pt x="1138" y="5622"/>
                  </a:lnTo>
                  <a:lnTo>
                    <a:pt x="1145" y="5627"/>
                  </a:lnTo>
                  <a:lnTo>
                    <a:pt x="1152" y="5631"/>
                  </a:lnTo>
                  <a:lnTo>
                    <a:pt x="1162" y="5634"/>
                  </a:lnTo>
                  <a:lnTo>
                    <a:pt x="1170" y="5636"/>
                  </a:lnTo>
                  <a:lnTo>
                    <a:pt x="1170" y="5636"/>
                  </a:lnTo>
                  <a:lnTo>
                    <a:pt x="1179" y="5636"/>
                  </a:lnTo>
                  <a:lnTo>
                    <a:pt x="1188" y="5636"/>
                  </a:lnTo>
                  <a:lnTo>
                    <a:pt x="1196" y="5635"/>
                  </a:lnTo>
                  <a:lnTo>
                    <a:pt x="1206" y="5633"/>
                  </a:lnTo>
                  <a:lnTo>
                    <a:pt x="1214" y="5629"/>
                  </a:lnTo>
                  <a:lnTo>
                    <a:pt x="1222" y="5625"/>
                  </a:lnTo>
                  <a:lnTo>
                    <a:pt x="1229" y="5621"/>
                  </a:lnTo>
                  <a:lnTo>
                    <a:pt x="1237" y="5616"/>
                  </a:lnTo>
                  <a:lnTo>
                    <a:pt x="1253" y="5604"/>
                  </a:lnTo>
                  <a:lnTo>
                    <a:pt x="1267" y="5590"/>
                  </a:lnTo>
                  <a:lnTo>
                    <a:pt x="1282" y="5573"/>
                  </a:lnTo>
                  <a:lnTo>
                    <a:pt x="1299" y="5556"/>
                  </a:lnTo>
                  <a:lnTo>
                    <a:pt x="1332" y="5517"/>
                  </a:lnTo>
                  <a:lnTo>
                    <a:pt x="1352" y="5498"/>
                  </a:lnTo>
                  <a:lnTo>
                    <a:pt x="1372" y="5478"/>
                  </a:lnTo>
                  <a:lnTo>
                    <a:pt x="1395" y="5458"/>
                  </a:lnTo>
                  <a:lnTo>
                    <a:pt x="1419" y="5439"/>
                  </a:lnTo>
                  <a:lnTo>
                    <a:pt x="1433" y="5430"/>
                  </a:lnTo>
                  <a:lnTo>
                    <a:pt x="1446" y="5422"/>
                  </a:lnTo>
                  <a:lnTo>
                    <a:pt x="1460" y="5414"/>
                  </a:lnTo>
                  <a:lnTo>
                    <a:pt x="1475" y="5406"/>
                  </a:lnTo>
                  <a:lnTo>
                    <a:pt x="1475" y="5406"/>
                  </a:lnTo>
                  <a:lnTo>
                    <a:pt x="1515" y="5387"/>
                  </a:lnTo>
                  <a:lnTo>
                    <a:pt x="1547" y="5375"/>
                  </a:lnTo>
                  <a:lnTo>
                    <a:pt x="1559" y="5370"/>
                  </a:lnTo>
                  <a:lnTo>
                    <a:pt x="1571" y="5367"/>
                  </a:lnTo>
                  <a:lnTo>
                    <a:pt x="1580" y="5366"/>
                  </a:lnTo>
                  <a:lnTo>
                    <a:pt x="1587" y="5365"/>
                  </a:lnTo>
                  <a:lnTo>
                    <a:pt x="1593" y="5365"/>
                  </a:lnTo>
                  <a:lnTo>
                    <a:pt x="1597" y="5367"/>
                  </a:lnTo>
                  <a:lnTo>
                    <a:pt x="1600" y="5369"/>
                  </a:lnTo>
                  <a:lnTo>
                    <a:pt x="1602" y="5372"/>
                  </a:lnTo>
                  <a:lnTo>
                    <a:pt x="1604" y="5375"/>
                  </a:lnTo>
                  <a:lnTo>
                    <a:pt x="1604" y="5379"/>
                  </a:lnTo>
                  <a:lnTo>
                    <a:pt x="1603" y="5389"/>
                  </a:lnTo>
                  <a:lnTo>
                    <a:pt x="1600" y="5401"/>
                  </a:lnTo>
                  <a:lnTo>
                    <a:pt x="1596" y="5415"/>
                  </a:lnTo>
                  <a:lnTo>
                    <a:pt x="1593" y="5428"/>
                  </a:lnTo>
                  <a:lnTo>
                    <a:pt x="1591" y="5440"/>
                  </a:lnTo>
                  <a:lnTo>
                    <a:pt x="1591" y="5446"/>
                  </a:lnTo>
                  <a:lnTo>
                    <a:pt x="1591" y="5453"/>
                  </a:lnTo>
                  <a:lnTo>
                    <a:pt x="1593" y="5458"/>
                  </a:lnTo>
                  <a:lnTo>
                    <a:pt x="1595" y="5463"/>
                  </a:lnTo>
                  <a:lnTo>
                    <a:pt x="1598" y="5467"/>
                  </a:lnTo>
                  <a:lnTo>
                    <a:pt x="1603" y="5471"/>
                  </a:lnTo>
                  <a:lnTo>
                    <a:pt x="1609" y="5474"/>
                  </a:lnTo>
                  <a:lnTo>
                    <a:pt x="1617" y="5476"/>
                  </a:lnTo>
                  <a:lnTo>
                    <a:pt x="1617" y="5476"/>
                  </a:lnTo>
                  <a:lnTo>
                    <a:pt x="1629" y="5480"/>
                  </a:lnTo>
                  <a:lnTo>
                    <a:pt x="1640" y="5483"/>
                  </a:lnTo>
                  <a:lnTo>
                    <a:pt x="1649" y="5488"/>
                  </a:lnTo>
                  <a:lnTo>
                    <a:pt x="1656" y="5492"/>
                  </a:lnTo>
                  <a:lnTo>
                    <a:pt x="1663" y="5498"/>
                  </a:lnTo>
                  <a:lnTo>
                    <a:pt x="1668" y="5503"/>
                  </a:lnTo>
                  <a:lnTo>
                    <a:pt x="1671" y="5509"/>
                  </a:lnTo>
                  <a:lnTo>
                    <a:pt x="1673" y="5515"/>
                  </a:lnTo>
                  <a:lnTo>
                    <a:pt x="1675" y="5521"/>
                  </a:lnTo>
                  <a:lnTo>
                    <a:pt x="1675" y="5527"/>
                  </a:lnTo>
                  <a:lnTo>
                    <a:pt x="1674" y="5534"/>
                  </a:lnTo>
                  <a:lnTo>
                    <a:pt x="1673" y="5541"/>
                  </a:lnTo>
                  <a:lnTo>
                    <a:pt x="1671" y="5548"/>
                  </a:lnTo>
                  <a:lnTo>
                    <a:pt x="1668" y="5555"/>
                  </a:lnTo>
                  <a:lnTo>
                    <a:pt x="1660" y="5568"/>
                  </a:lnTo>
                  <a:lnTo>
                    <a:pt x="1650" y="5581"/>
                  </a:lnTo>
                  <a:lnTo>
                    <a:pt x="1640" y="5594"/>
                  </a:lnTo>
                  <a:lnTo>
                    <a:pt x="1630" y="5605"/>
                  </a:lnTo>
                  <a:lnTo>
                    <a:pt x="1620" y="5615"/>
                  </a:lnTo>
                  <a:lnTo>
                    <a:pt x="1603" y="5629"/>
                  </a:lnTo>
                  <a:lnTo>
                    <a:pt x="1597" y="5636"/>
                  </a:lnTo>
                  <a:lnTo>
                    <a:pt x="1597" y="5636"/>
                  </a:lnTo>
                  <a:lnTo>
                    <a:pt x="1605" y="5640"/>
                  </a:lnTo>
                  <a:lnTo>
                    <a:pt x="1616" y="5642"/>
                  </a:lnTo>
                  <a:lnTo>
                    <a:pt x="1627" y="5643"/>
                  </a:lnTo>
                  <a:lnTo>
                    <a:pt x="1640" y="5642"/>
                  </a:lnTo>
                  <a:lnTo>
                    <a:pt x="1654" y="5639"/>
                  </a:lnTo>
                  <a:lnTo>
                    <a:pt x="1669" y="5635"/>
                  </a:lnTo>
                  <a:lnTo>
                    <a:pt x="1685" y="5628"/>
                  </a:lnTo>
                  <a:lnTo>
                    <a:pt x="1700" y="5620"/>
                  </a:lnTo>
                  <a:lnTo>
                    <a:pt x="1717" y="5611"/>
                  </a:lnTo>
                  <a:lnTo>
                    <a:pt x="1732" y="5600"/>
                  </a:lnTo>
                  <a:lnTo>
                    <a:pt x="1747" y="5587"/>
                  </a:lnTo>
                  <a:lnTo>
                    <a:pt x="1763" y="5572"/>
                  </a:lnTo>
                  <a:lnTo>
                    <a:pt x="1776" y="5555"/>
                  </a:lnTo>
                  <a:lnTo>
                    <a:pt x="1789" y="5536"/>
                  </a:lnTo>
                  <a:lnTo>
                    <a:pt x="1801" y="5516"/>
                  </a:lnTo>
                  <a:lnTo>
                    <a:pt x="1811" y="5495"/>
                  </a:lnTo>
                  <a:lnTo>
                    <a:pt x="1811" y="5495"/>
                  </a:lnTo>
                  <a:lnTo>
                    <a:pt x="1814" y="5486"/>
                  </a:lnTo>
                  <a:lnTo>
                    <a:pt x="1817" y="5480"/>
                  </a:lnTo>
                  <a:lnTo>
                    <a:pt x="1820" y="5475"/>
                  </a:lnTo>
                  <a:lnTo>
                    <a:pt x="1824" y="5471"/>
                  </a:lnTo>
                  <a:lnTo>
                    <a:pt x="1828" y="5468"/>
                  </a:lnTo>
                  <a:lnTo>
                    <a:pt x="1831" y="5465"/>
                  </a:lnTo>
                  <a:lnTo>
                    <a:pt x="1839" y="5462"/>
                  </a:lnTo>
                  <a:lnTo>
                    <a:pt x="1848" y="5459"/>
                  </a:lnTo>
                  <a:lnTo>
                    <a:pt x="1857" y="5455"/>
                  </a:lnTo>
                  <a:lnTo>
                    <a:pt x="1866" y="5449"/>
                  </a:lnTo>
                  <a:lnTo>
                    <a:pt x="1871" y="5444"/>
                  </a:lnTo>
                  <a:lnTo>
                    <a:pt x="1876" y="5439"/>
                  </a:lnTo>
                  <a:lnTo>
                    <a:pt x="1876" y="5439"/>
                  </a:lnTo>
                  <a:lnTo>
                    <a:pt x="1879" y="5433"/>
                  </a:lnTo>
                  <a:lnTo>
                    <a:pt x="1882" y="5427"/>
                  </a:lnTo>
                  <a:lnTo>
                    <a:pt x="1886" y="5421"/>
                  </a:lnTo>
                  <a:lnTo>
                    <a:pt x="1887" y="5415"/>
                  </a:lnTo>
                  <a:lnTo>
                    <a:pt x="1888" y="5400"/>
                  </a:lnTo>
                  <a:lnTo>
                    <a:pt x="1888" y="5386"/>
                  </a:lnTo>
                  <a:lnTo>
                    <a:pt x="1888" y="5371"/>
                  </a:lnTo>
                  <a:lnTo>
                    <a:pt x="1888" y="5357"/>
                  </a:lnTo>
                  <a:lnTo>
                    <a:pt x="1890" y="5342"/>
                  </a:lnTo>
                  <a:lnTo>
                    <a:pt x="1892" y="5336"/>
                  </a:lnTo>
                  <a:lnTo>
                    <a:pt x="1894" y="5330"/>
                  </a:lnTo>
                  <a:lnTo>
                    <a:pt x="1894" y="5330"/>
                  </a:lnTo>
                  <a:lnTo>
                    <a:pt x="1898" y="5324"/>
                  </a:lnTo>
                  <a:lnTo>
                    <a:pt x="1902" y="5319"/>
                  </a:lnTo>
                  <a:lnTo>
                    <a:pt x="1906" y="5314"/>
                  </a:lnTo>
                  <a:lnTo>
                    <a:pt x="1911" y="5309"/>
                  </a:lnTo>
                  <a:lnTo>
                    <a:pt x="1923" y="5301"/>
                  </a:lnTo>
                  <a:lnTo>
                    <a:pt x="1937" y="5295"/>
                  </a:lnTo>
                  <a:lnTo>
                    <a:pt x="1951" y="5290"/>
                  </a:lnTo>
                  <a:lnTo>
                    <a:pt x="1965" y="5286"/>
                  </a:lnTo>
                  <a:lnTo>
                    <a:pt x="1996" y="5278"/>
                  </a:lnTo>
                  <a:lnTo>
                    <a:pt x="2026" y="5272"/>
                  </a:lnTo>
                  <a:lnTo>
                    <a:pt x="2038" y="5268"/>
                  </a:lnTo>
                  <a:lnTo>
                    <a:pt x="2049" y="5262"/>
                  </a:lnTo>
                  <a:lnTo>
                    <a:pt x="2057" y="5256"/>
                  </a:lnTo>
                  <a:lnTo>
                    <a:pt x="2061" y="5253"/>
                  </a:lnTo>
                  <a:lnTo>
                    <a:pt x="2063" y="5249"/>
                  </a:lnTo>
                  <a:lnTo>
                    <a:pt x="2066" y="5245"/>
                  </a:lnTo>
                  <a:lnTo>
                    <a:pt x="2068" y="5240"/>
                  </a:lnTo>
                  <a:lnTo>
                    <a:pt x="2068" y="5235"/>
                  </a:lnTo>
                  <a:lnTo>
                    <a:pt x="2068" y="5230"/>
                  </a:lnTo>
                  <a:lnTo>
                    <a:pt x="2068" y="5230"/>
                  </a:lnTo>
                  <a:lnTo>
                    <a:pt x="2066" y="5215"/>
                  </a:lnTo>
                  <a:lnTo>
                    <a:pt x="2066" y="5202"/>
                  </a:lnTo>
                  <a:lnTo>
                    <a:pt x="2069" y="5190"/>
                  </a:lnTo>
                  <a:lnTo>
                    <a:pt x="2073" y="5180"/>
                  </a:lnTo>
                  <a:lnTo>
                    <a:pt x="2078" y="5169"/>
                  </a:lnTo>
                  <a:lnTo>
                    <a:pt x="2083" y="5161"/>
                  </a:lnTo>
                  <a:lnTo>
                    <a:pt x="2090" y="5153"/>
                  </a:lnTo>
                  <a:lnTo>
                    <a:pt x="2098" y="5146"/>
                  </a:lnTo>
                  <a:lnTo>
                    <a:pt x="2106" y="5140"/>
                  </a:lnTo>
                  <a:lnTo>
                    <a:pt x="2116" y="5134"/>
                  </a:lnTo>
                  <a:lnTo>
                    <a:pt x="2134" y="5124"/>
                  </a:lnTo>
                  <a:lnTo>
                    <a:pt x="2152" y="5116"/>
                  </a:lnTo>
                  <a:lnTo>
                    <a:pt x="2169" y="5109"/>
                  </a:lnTo>
                  <a:lnTo>
                    <a:pt x="2169" y="5109"/>
                  </a:lnTo>
                  <a:lnTo>
                    <a:pt x="2171" y="5109"/>
                  </a:lnTo>
                  <a:lnTo>
                    <a:pt x="2172" y="5110"/>
                  </a:lnTo>
                  <a:lnTo>
                    <a:pt x="2175" y="5112"/>
                  </a:lnTo>
                  <a:lnTo>
                    <a:pt x="2177" y="5117"/>
                  </a:lnTo>
                  <a:lnTo>
                    <a:pt x="2181" y="5124"/>
                  </a:lnTo>
                  <a:lnTo>
                    <a:pt x="2189" y="5143"/>
                  </a:lnTo>
                  <a:lnTo>
                    <a:pt x="2195" y="5154"/>
                  </a:lnTo>
                  <a:lnTo>
                    <a:pt x="2202" y="5166"/>
                  </a:lnTo>
                  <a:lnTo>
                    <a:pt x="2212" y="5179"/>
                  </a:lnTo>
                  <a:lnTo>
                    <a:pt x="2222" y="5192"/>
                  </a:lnTo>
                  <a:lnTo>
                    <a:pt x="2234" y="5206"/>
                  </a:lnTo>
                  <a:lnTo>
                    <a:pt x="2250" y="5220"/>
                  </a:lnTo>
                  <a:lnTo>
                    <a:pt x="2267" y="5233"/>
                  </a:lnTo>
                  <a:lnTo>
                    <a:pt x="2287" y="5245"/>
                  </a:lnTo>
                  <a:lnTo>
                    <a:pt x="2311" y="5257"/>
                  </a:lnTo>
                  <a:lnTo>
                    <a:pt x="2337" y="5268"/>
                  </a:lnTo>
                  <a:lnTo>
                    <a:pt x="2337" y="5268"/>
                  </a:lnTo>
                  <a:lnTo>
                    <a:pt x="2412" y="5237"/>
                  </a:lnTo>
                  <a:lnTo>
                    <a:pt x="2458" y="5215"/>
                  </a:lnTo>
                  <a:lnTo>
                    <a:pt x="2485" y="5202"/>
                  </a:lnTo>
                  <a:lnTo>
                    <a:pt x="2514" y="5187"/>
                  </a:lnTo>
                  <a:lnTo>
                    <a:pt x="2514" y="5187"/>
                  </a:lnTo>
                  <a:lnTo>
                    <a:pt x="2546" y="5170"/>
                  </a:lnTo>
                  <a:lnTo>
                    <a:pt x="2576" y="5153"/>
                  </a:lnTo>
                  <a:lnTo>
                    <a:pt x="2588" y="5145"/>
                  </a:lnTo>
                  <a:lnTo>
                    <a:pt x="2599" y="5138"/>
                  </a:lnTo>
                  <a:lnTo>
                    <a:pt x="2609" y="5130"/>
                  </a:lnTo>
                  <a:lnTo>
                    <a:pt x="2617" y="5123"/>
                  </a:lnTo>
                  <a:lnTo>
                    <a:pt x="2617" y="5123"/>
                  </a:lnTo>
                  <a:lnTo>
                    <a:pt x="2616" y="5121"/>
                  </a:lnTo>
                  <a:lnTo>
                    <a:pt x="2615" y="5119"/>
                  </a:lnTo>
                  <a:lnTo>
                    <a:pt x="2607" y="5112"/>
                  </a:lnTo>
                  <a:lnTo>
                    <a:pt x="2596" y="5101"/>
                  </a:lnTo>
                  <a:lnTo>
                    <a:pt x="2583" y="5087"/>
                  </a:lnTo>
                  <a:lnTo>
                    <a:pt x="2568" y="5069"/>
                  </a:lnTo>
                  <a:lnTo>
                    <a:pt x="2553" y="5050"/>
                  </a:lnTo>
                  <a:lnTo>
                    <a:pt x="2546" y="5039"/>
                  </a:lnTo>
                  <a:lnTo>
                    <a:pt x="2540" y="5026"/>
                  </a:lnTo>
                  <a:lnTo>
                    <a:pt x="2535" y="5015"/>
                  </a:lnTo>
                  <a:lnTo>
                    <a:pt x="2530" y="5002"/>
                  </a:lnTo>
                  <a:lnTo>
                    <a:pt x="2530" y="5002"/>
                  </a:lnTo>
                  <a:lnTo>
                    <a:pt x="2527" y="4989"/>
                  </a:lnTo>
                  <a:lnTo>
                    <a:pt x="2524" y="4978"/>
                  </a:lnTo>
                  <a:lnTo>
                    <a:pt x="2522" y="4969"/>
                  </a:lnTo>
                  <a:lnTo>
                    <a:pt x="2522" y="4960"/>
                  </a:lnTo>
                  <a:lnTo>
                    <a:pt x="2522" y="4953"/>
                  </a:lnTo>
                  <a:lnTo>
                    <a:pt x="2522" y="4948"/>
                  </a:lnTo>
                  <a:lnTo>
                    <a:pt x="2523" y="4944"/>
                  </a:lnTo>
                  <a:lnTo>
                    <a:pt x="2524" y="4942"/>
                  </a:lnTo>
                  <a:lnTo>
                    <a:pt x="2524" y="4942"/>
                  </a:lnTo>
                  <a:lnTo>
                    <a:pt x="2537" y="4959"/>
                  </a:lnTo>
                  <a:lnTo>
                    <a:pt x="2552" y="4976"/>
                  </a:lnTo>
                  <a:lnTo>
                    <a:pt x="2573" y="4997"/>
                  </a:lnTo>
                  <a:lnTo>
                    <a:pt x="2585" y="5008"/>
                  </a:lnTo>
                  <a:lnTo>
                    <a:pt x="2597" y="5019"/>
                  </a:lnTo>
                  <a:lnTo>
                    <a:pt x="2611" y="5030"/>
                  </a:lnTo>
                  <a:lnTo>
                    <a:pt x="2627" y="5042"/>
                  </a:lnTo>
                  <a:lnTo>
                    <a:pt x="2643" y="5053"/>
                  </a:lnTo>
                  <a:lnTo>
                    <a:pt x="2660" y="5062"/>
                  </a:lnTo>
                  <a:lnTo>
                    <a:pt x="2677" y="5071"/>
                  </a:lnTo>
                  <a:lnTo>
                    <a:pt x="2695" y="5079"/>
                  </a:lnTo>
                  <a:lnTo>
                    <a:pt x="2695" y="5079"/>
                  </a:lnTo>
                  <a:lnTo>
                    <a:pt x="2749" y="5051"/>
                  </a:lnTo>
                  <a:lnTo>
                    <a:pt x="2803" y="5021"/>
                  </a:lnTo>
                  <a:lnTo>
                    <a:pt x="2857" y="4988"/>
                  </a:lnTo>
                  <a:lnTo>
                    <a:pt x="2911" y="4954"/>
                  </a:lnTo>
                  <a:lnTo>
                    <a:pt x="2911" y="4954"/>
                  </a:lnTo>
                  <a:lnTo>
                    <a:pt x="2946" y="4930"/>
                  </a:lnTo>
                  <a:lnTo>
                    <a:pt x="2946" y="4930"/>
                  </a:lnTo>
                  <a:lnTo>
                    <a:pt x="2947" y="4929"/>
                  </a:lnTo>
                  <a:lnTo>
                    <a:pt x="2947" y="4929"/>
                  </a:lnTo>
                  <a:lnTo>
                    <a:pt x="2948" y="4927"/>
                  </a:lnTo>
                  <a:lnTo>
                    <a:pt x="2947" y="4925"/>
                  </a:lnTo>
                  <a:lnTo>
                    <a:pt x="2943" y="4918"/>
                  </a:lnTo>
                  <a:lnTo>
                    <a:pt x="2935" y="4909"/>
                  </a:lnTo>
                  <a:lnTo>
                    <a:pt x="2924" y="4898"/>
                  </a:lnTo>
                  <a:lnTo>
                    <a:pt x="2899" y="4874"/>
                  </a:lnTo>
                  <a:lnTo>
                    <a:pt x="2870" y="4845"/>
                  </a:lnTo>
                  <a:lnTo>
                    <a:pt x="2857" y="4831"/>
                  </a:lnTo>
                  <a:lnTo>
                    <a:pt x="2846" y="4817"/>
                  </a:lnTo>
                  <a:lnTo>
                    <a:pt x="2836" y="4802"/>
                  </a:lnTo>
                  <a:lnTo>
                    <a:pt x="2832" y="4795"/>
                  </a:lnTo>
                  <a:lnTo>
                    <a:pt x="2829" y="4789"/>
                  </a:lnTo>
                  <a:lnTo>
                    <a:pt x="2828" y="4782"/>
                  </a:lnTo>
                  <a:lnTo>
                    <a:pt x="2827" y="4776"/>
                  </a:lnTo>
                  <a:lnTo>
                    <a:pt x="2827" y="4770"/>
                  </a:lnTo>
                  <a:lnTo>
                    <a:pt x="2828" y="4765"/>
                  </a:lnTo>
                  <a:lnTo>
                    <a:pt x="2830" y="4759"/>
                  </a:lnTo>
                  <a:lnTo>
                    <a:pt x="2834" y="4754"/>
                  </a:lnTo>
                  <a:lnTo>
                    <a:pt x="2840" y="4750"/>
                  </a:lnTo>
                  <a:lnTo>
                    <a:pt x="2847" y="4746"/>
                  </a:lnTo>
                  <a:lnTo>
                    <a:pt x="2847" y="4746"/>
                  </a:lnTo>
                  <a:lnTo>
                    <a:pt x="2853" y="4742"/>
                  </a:lnTo>
                  <a:lnTo>
                    <a:pt x="2858" y="4737"/>
                  </a:lnTo>
                  <a:lnTo>
                    <a:pt x="2861" y="4732"/>
                  </a:lnTo>
                  <a:lnTo>
                    <a:pt x="2863" y="4726"/>
                  </a:lnTo>
                  <a:lnTo>
                    <a:pt x="2864" y="4720"/>
                  </a:lnTo>
                  <a:lnTo>
                    <a:pt x="2864" y="4711"/>
                  </a:lnTo>
                  <a:lnTo>
                    <a:pt x="2864" y="4704"/>
                  </a:lnTo>
                  <a:lnTo>
                    <a:pt x="2862" y="4695"/>
                  </a:lnTo>
                  <a:lnTo>
                    <a:pt x="2857" y="4678"/>
                  </a:lnTo>
                  <a:lnTo>
                    <a:pt x="2849" y="4658"/>
                  </a:lnTo>
                  <a:lnTo>
                    <a:pt x="2830" y="4616"/>
                  </a:lnTo>
                  <a:lnTo>
                    <a:pt x="2821" y="4595"/>
                  </a:lnTo>
                  <a:lnTo>
                    <a:pt x="2813" y="4574"/>
                  </a:lnTo>
                  <a:lnTo>
                    <a:pt x="2806" y="4554"/>
                  </a:lnTo>
                  <a:lnTo>
                    <a:pt x="2804" y="4544"/>
                  </a:lnTo>
                  <a:lnTo>
                    <a:pt x="2802" y="4534"/>
                  </a:lnTo>
                  <a:lnTo>
                    <a:pt x="2802" y="4525"/>
                  </a:lnTo>
                  <a:lnTo>
                    <a:pt x="2802" y="4517"/>
                  </a:lnTo>
                  <a:lnTo>
                    <a:pt x="2803" y="4509"/>
                  </a:lnTo>
                  <a:lnTo>
                    <a:pt x="2805" y="4502"/>
                  </a:lnTo>
                  <a:lnTo>
                    <a:pt x="2808" y="4495"/>
                  </a:lnTo>
                  <a:lnTo>
                    <a:pt x="2813" y="4488"/>
                  </a:lnTo>
                  <a:lnTo>
                    <a:pt x="2819" y="4482"/>
                  </a:lnTo>
                  <a:lnTo>
                    <a:pt x="2827" y="4478"/>
                  </a:lnTo>
                  <a:lnTo>
                    <a:pt x="2827" y="4478"/>
                  </a:lnTo>
                  <a:lnTo>
                    <a:pt x="2928" y="4425"/>
                  </a:lnTo>
                  <a:lnTo>
                    <a:pt x="3034" y="4374"/>
                  </a:lnTo>
                  <a:lnTo>
                    <a:pt x="3138" y="4323"/>
                  </a:lnTo>
                  <a:lnTo>
                    <a:pt x="3241" y="4273"/>
                  </a:lnTo>
                  <a:lnTo>
                    <a:pt x="3433" y="4182"/>
                  </a:lnTo>
                  <a:lnTo>
                    <a:pt x="3516" y="4142"/>
                  </a:lnTo>
                  <a:lnTo>
                    <a:pt x="3591" y="4105"/>
                  </a:lnTo>
                  <a:lnTo>
                    <a:pt x="3591" y="4105"/>
                  </a:lnTo>
                  <a:lnTo>
                    <a:pt x="3587" y="4089"/>
                  </a:lnTo>
                  <a:lnTo>
                    <a:pt x="3581" y="4070"/>
                  </a:lnTo>
                  <a:lnTo>
                    <a:pt x="3571" y="4047"/>
                  </a:lnTo>
                  <a:lnTo>
                    <a:pt x="3564" y="4035"/>
                  </a:lnTo>
                  <a:lnTo>
                    <a:pt x="3557" y="4020"/>
                  </a:lnTo>
                  <a:lnTo>
                    <a:pt x="3549" y="4006"/>
                  </a:lnTo>
                  <a:lnTo>
                    <a:pt x="3540" y="3992"/>
                  </a:lnTo>
                  <a:lnTo>
                    <a:pt x="3529" y="3977"/>
                  </a:lnTo>
                  <a:lnTo>
                    <a:pt x="3516" y="3962"/>
                  </a:lnTo>
                  <a:lnTo>
                    <a:pt x="3502" y="3948"/>
                  </a:lnTo>
                  <a:lnTo>
                    <a:pt x="3487" y="3933"/>
                  </a:lnTo>
                  <a:close/>
                  <a:moveTo>
                    <a:pt x="322" y="5867"/>
                  </a:moveTo>
                  <a:lnTo>
                    <a:pt x="322" y="5867"/>
                  </a:lnTo>
                  <a:lnTo>
                    <a:pt x="321" y="5881"/>
                  </a:lnTo>
                  <a:lnTo>
                    <a:pt x="321" y="5892"/>
                  </a:lnTo>
                  <a:lnTo>
                    <a:pt x="323" y="5908"/>
                  </a:lnTo>
                  <a:lnTo>
                    <a:pt x="326" y="5923"/>
                  </a:lnTo>
                  <a:lnTo>
                    <a:pt x="329" y="5931"/>
                  </a:lnTo>
                  <a:lnTo>
                    <a:pt x="332" y="5939"/>
                  </a:lnTo>
                  <a:lnTo>
                    <a:pt x="337" y="5947"/>
                  </a:lnTo>
                  <a:lnTo>
                    <a:pt x="343" y="5956"/>
                  </a:lnTo>
                  <a:lnTo>
                    <a:pt x="349" y="5964"/>
                  </a:lnTo>
                  <a:lnTo>
                    <a:pt x="357" y="5971"/>
                  </a:lnTo>
                  <a:lnTo>
                    <a:pt x="357" y="5971"/>
                  </a:lnTo>
                  <a:lnTo>
                    <a:pt x="369" y="5980"/>
                  </a:lnTo>
                  <a:lnTo>
                    <a:pt x="382" y="5988"/>
                  </a:lnTo>
                  <a:lnTo>
                    <a:pt x="397" y="5995"/>
                  </a:lnTo>
                  <a:lnTo>
                    <a:pt x="412" y="6000"/>
                  </a:lnTo>
                  <a:lnTo>
                    <a:pt x="426" y="6002"/>
                  </a:lnTo>
                  <a:lnTo>
                    <a:pt x="434" y="6002"/>
                  </a:lnTo>
                  <a:lnTo>
                    <a:pt x="441" y="6001"/>
                  </a:lnTo>
                  <a:lnTo>
                    <a:pt x="447" y="6000"/>
                  </a:lnTo>
                  <a:lnTo>
                    <a:pt x="453" y="5998"/>
                  </a:lnTo>
                  <a:lnTo>
                    <a:pt x="458" y="5995"/>
                  </a:lnTo>
                  <a:lnTo>
                    <a:pt x="463" y="5991"/>
                  </a:lnTo>
                  <a:lnTo>
                    <a:pt x="463" y="5991"/>
                  </a:lnTo>
                  <a:lnTo>
                    <a:pt x="468" y="5986"/>
                  </a:lnTo>
                  <a:lnTo>
                    <a:pt x="473" y="5979"/>
                  </a:lnTo>
                  <a:lnTo>
                    <a:pt x="476" y="5973"/>
                  </a:lnTo>
                  <a:lnTo>
                    <a:pt x="479" y="5966"/>
                  </a:lnTo>
                  <a:lnTo>
                    <a:pt x="481" y="5958"/>
                  </a:lnTo>
                  <a:lnTo>
                    <a:pt x="482" y="5950"/>
                  </a:lnTo>
                  <a:lnTo>
                    <a:pt x="483" y="5933"/>
                  </a:lnTo>
                  <a:lnTo>
                    <a:pt x="483" y="5917"/>
                  </a:lnTo>
                  <a:lnTo>
                    <a:pt x="484" y="5900"/>
                  </a:lnTo>
                  <a:lnTo>
                    <a:pt x="485" y="5892"/>
                  </a:lnTo>
                  <a:lnTo>
                    <a:pt x="487" y="5884"/>
                  </a:lnTo>
                  <a:lnTo>
                    <a:pt x="489" y="5877"/>
                  </a:lnTo>
                  <a:lnTo>
                    <a:pt x="493" y="5869"/>
                  </a:lnTo>
                  <a:lnTo>
                    <a:pt x="493" y="5869"/>
                  </a:lnTo>
                  <a:lnTo>
                    <a:pt x="495" y="5866"/>
                  </a:lnTo>
                  <a:lnTo>
                    <a:pt x="499" y="5863"/>
                  </a:lnTo>
                  <a:lnTo>
                    <a:pt x="508" y="5857"/>
                  </a:lnTo>
                  <a:lnTo>
                    <a:pt x="516" y="5854"/>
                  </a:lnTo>
                  <a:lnTo>
                    <a:pt x="519" y="5853"/>
                  </a:lnTo>
                  <a:lnTo>
                    <a:pt x="519" y="5853"/>
                  </a:lnTo>
                  <a:lnTo>
                    <a:pt x="526" y="5851"/>
                  </a:lnTo>
                  <a:lnTo>
                    <a:pt x="532" y="5848"/>
                  </a:lnTo>
                  <a:lnTo>
                    <a:pt x="538" y="5845"/>
                  </a:lnTo>
                  <a:lnTo>
                    <a:pt x="544" y="5840"/>
                  </a:lnTo>
                  <a:lnTo>
                    <a:pt x="544" y="5840"/>
                  </a:lnTo>
                  <a:lnTo>
                    <a:pt x="585" y="5859"/>
                  </a:lnTo>
                  <a:lnTo>
                    <a:pt x="626" y="5877"/>
                  </a:lnTo>
                  <a:lnTo>
                    <a:pt x="668" y="5896"/>
                  </a:lnTo>
                  <a:lnTo>
                    <a:pt x="709" y="5917"/>
                  </a:lnTo>
                  <a:lnTo>
                    <a:pt x="748" y="5938"/>
                  </a:lnTo>
                  <a:lnTo>
                    <a:pt x="789" y="5961"/>
                  </a:lnTo>
                  <a:lnTo>
                    <a:pt x="830" y="5983"/>
                  </a:lnTo>
                  <a:lnTo>
                    <a:pt x="870" y="6007"/>
                  </a:lnTo>
                  <a:lnTo>
                    <a:pt x="910" y="6031"/>
                  </a:lnTo>
                  <a:lnTo>
                    <a:pt x="949" y="6056"/>
                  </a:lnTo>
                  <a:lnTo>
                    <a:pt x="1027" y="6106"/>
                  </a:lnTo>
                  <a:lnTo>
                    <a:pt x="1103" y="6158"/>
                  </a:lnTo>
                  <a:lnTo>
                    <a:pt x="1178" y="6211"/>
                  </a:lnTo>
                  <a:lnTo>
                    <a:pt x="1178" y="6211"/>
                  </a:lnTo>
                  <a:lnTo>
                    <a:pt x="1197" y="6225"/>
                  </a:lnTo>
                  <a:lnTo>
                    <a:pt x="1215" y="6236"/>
                  </a:lnTo>
                  <a:lnTo>
                    <a:pt x="1215" y="6236"/>
                  </a:lnTo>
                  <a:lnTo>
                    <a:pt x="1208" y="6258"/>
                  </a:lnTo>
                  <a:lnTo>
                    <a:pt x="1199" y="6281"/>
                  </a:lnTo>
                  <a:lnTo>
                    <a:pt x="1189" y="6305"/>
                  </a:lnTo>
                  <a:lnTo>
                    <a:pt x="1177" y="6331"/>
                  </a:lnTo>
                  <a:lnTo>
                    <a:pt x="1177" y="6331"/>
                  </a:lnTo>
                  <a:lnTo>
                    <a:pt x="1137" y="6407"/>
                  </a:lnTo>
                  <a:lnTo>
                    <a:pt x="1118" y="6443"/>
                  </a:lnTo>
                  <a:lnTo>
                    <a:pt x="1100" y="6479"/>
                  </a:lnTo>
                  <a:lnTo>
                    <a:pt x="1093" y="6497"/>
                  </a:lnTo>
                  <a:lnTo>
                    <a:pt x="1087" y="6514"/>
                  </a:lnTo>
                  <a:lnTo>
                    <a:pt x="1081" y="6530"/>
                  </a:lnTo>
                  <a:lnTo>
                    <a:pt x="1077" y="6547"/>
                  </a:lnTo>
                  <a:lnTo>
                    <a:pt x="1074" y="6562"/>
                  </a:lnTo>
                  <a:lnTo>
                    <a:pt x="1072" y="6576"/>
                  </a:lnTo>
                  <a:lnTo>
                    <a:pt x="1072" y="6591"/>
                  </a:lnTo>
                  <a:lnTo>
                    <a:pt x="1073" y="6603"/>
                  </a:lnTo>
                  <a:lnTo>
                    <a:pt x="1073" y="6603"/>
                  </a:lnTo>
                  <a:lnTo>
                    <a:pt x="1075" y="6612"/>
                  </a:lnTo>
                  <a:lnTo>
                    <a:pt x="1077" y="6621"/>
                  </a:lnTo>
                  <a:lnTo>
                    <a:pt x="1080" y="6629"/>
                  </a:lnTo>
                  <a:lnTo>
                    <a:pt x="1083" y="6638"/>
                  </a:lnTo>
                  <a:lnTo>
                    <a:pt x="1087" y="6645"/>
                  </a:lnTo>
                  <a:lnTo>
                    <a:pt x="1092" y="6652"/>
                  </a:lnTo>
                  <a:lnTo>
                    <a:pt x="1097" y="6658"/>
                  </a:lnTo>
                  <a:lnTo>
                    <a:pt x="1102" y="6664"/>
                  </a:lnTo>
                  <a:lnTo>
                    <a:pt x="1108" y="6669"/>
                  </a:lnTo>
                  <a:lnTo>
                    <a:pt x="1115" y="6674"/>
                  </a:lnTo>
                  <a:lnTo>
                    <a:pt x="1122" y="6679"/>
                  </a:lnTo>
                  <a:lnTo>
                    <a:pt x="1129" y="6682"/>
                  </a:lnTo>
                  <a:lnTo>
                    <a:pt x="1137" y="6685"/>
                  </a:lnTo>
                  <a:lnTo>
                    <a:pt x="1145" y="6687"/>
                  </a:lnTo>
                  <a:lnTo>
                    <a:pt x="1154" y="6689"/>
                  </a:lnTo>
                  <a:lnTo>
                    <a:pt x="1163" y="6690"/>
                  </a:lnTo>
                  <a:lnTo>
                    <a:pt x="1163" y="6690"/>
                  </a:lnTo>
                  <a:lnTo>
                    <a:pt x="1173" y="6690"/>
                  </a:lnTo>
                  <a:lnTo>
                    <a:pt x="1183" y="6689"/>
                  </a:lnTo>
                  <a:lnTo>
                    <a:pt x="1192" y="6687"/>
                  </a:lnTo>
                  <a:lnTo>
                    <a:pt x="1201" y="6685"/>
                  </a:lnTo>
                  <a:lnTo>
                    <a:pt x="1210" y="6682"/>
                  </a:lnTo>
                  <a:lnTo>
                    <a:pt x="1218" y="6677"/>
                  </a:lnTo>
                  <a:lnTo>
                    <a:pt x="1226" y="6673"/>
                  </a:lnTo>
                  <a:lnTo>
                    <a:pt x="1233" y="6668"/>
                  </a:lnTo>
                  <a:lnTo>
                    <a:pt x="1240" y="6662"/>
                  </a:lnTo>
                  <a:lnTo>
                    <a:pt x="1246" y="6657"/>
                  </a:lnTo>
                  <a:lnTo>
                    <a:pt x="1252" y="6651"/>
                  </a:lnTo>
                  <a:lnTo>
                    <a:pt x="1257" y="6644"/>
                  </a:lnTo>
                  <a:lnTo>
                    <a:pt x="1261" y="6637"/>
                  </a:lnTo>
                  <a:lnTo>
                    <a:pt x="1265" y="6629"/>
                  </a:lnTo>
                  <a:lnTo>
                    <a:pt x="1268" y="6622"/>
                  </a:lnTo>
                  <a:lnTo>
                    <a:pt x="1270" y="6614"/>
                  </a:lnTo>
                  <a:lnTo>
                    <a:pt x="1270" y="6614"/>
                  </a:lnTo>
                  <a:lnTo>
                    <a:pt x="1272" y="6598"/>
                  </a:lnTo>
                  <a:lnTo>
                    <a:pt x="1273" y="6582"/>
                  </a:lnTo>
                  <a:lnTo>
                    <a:pt x="1271" y="6570"/>
                  </a:lnTo>
                  <a:lnTo>
                    <a:pt x="1268" y="6558"/>
                  </a:lnTo>
                  <a:lnTo>
                    <a:pt x="1263" y="6549"/>
                  </a:lnTo>
                  <a:lnTo>
                    <a:pt x="1258" y="6539"/>
                  </a:lnTo>
                  <a:lnTo>
                    <a:pt x="1251" y="6532"/>
                  </a:lnTo>
                  <a:lnTo>
                    <a:pt x="1243" y="6527"/>
                  </a:lnTo>
                  <a:lnTo>
                    <a:pt x="1236" y="6522"/>
                  </a:lnTo>
                  <a:lnTo>
                    <a:pt x="1229" y="6518"/>
                  </a:lnTo>
                  <a:lnTo>
                    <a:pt x="1215" y="6513"/>
                  </a:lnTo>
                  <a:lnTo>
                    <a:pt x="1206" y="6511"/>
                  </a:lnTo>
                  <a:lnTo>
                    <a:pt x="1201" y="6511"/>
                  </a:lnTo>
                  <a:lnTo>
                    <a:pt x="1201" y="6511"/>
                  </a:lnTo>
                  <a:lnTo>
                    <a:pt x="1217" y="6466"/>
                  </a:lnTo>
                  <a:lnTo>
                    <a:pt x="1229" y="6430"/>
                  </a:lnTo>
                  <a:lnTo>
                    <a:pt x="1240" y="6401"/>
                  </a:lnTo>
                  <a:lnTo>
                    <a:pt x="1240" y="6401"/>
                  </a:lnTo>
                  <a:lnTo>
                    <a:pt x="1248" y="6381"/>
                  </a:lnTo>
                  <a:lnTo>
                    <a:pt x="1258" y="6363"/>
                  </a:lnTo>
                  <a:lnTo>
                    <a:pt x="1266" y="6345"/>
                  </a:lnTo>
                  <a:lnTo>
                    <a:pt x="1275" y="6329"/>
                  </a:lnTo>
                  <a:lnTo>
                    <a:pt x="1283" y="6314"/>
                  </a:lnTo>
                  <a:lnTo>
                    <a:pt x="1292" y="6299"/>
                  </a:lnTo>
                  <a:lnTo>
                    <a:pt x="1310" y="6275"/>
                  </a:lnTo>
                  <a:lnTo>
                    <a:pt x="1327" y="6254"/>
                  </a:lnTo>
                  <a:lnTo>
                    <a:pt x="1345" y="6237"/>
                  </a:lnTo>
                  <a:lnTo>
                    <a:pt x="1361" y="6224"/>
                  </a:lnTo>
                  <a:lnTo>
                    <a:pt x="1376" y="6212"/>
                  </a:lnTo>
                  <a:lnTo>
                    <a:pt x="1391" y="6205"/>
                  </a:lnTo>
                  <a:lnTo>
                    <a:pt x="1404" y="6199"/>
                  </a:lnTo>
                  <a:lnTo>
                    <a:pt x="1416" y="6195"/>
                  </a:lnTo>
                  <a:lnTo>
                    <a:pt x="1426" y="6193"/>
                  </a:lnTo>
                  <a:lnTo>
                    <a:pt x="1435" y="6192"/>
                  </a:lnTo>
                  <a:lnTo>
                    <a:pt x="1441" y="6192"/>
                  </a:lnTo>
                  <a:lnTo>
                    <a:pt x="1446" y="6192"/>
                  </a:lnTo>
                  <a:lnTo>
                    <a:pt x="1446" y="6192"/>
                  </a:lnTo>
                  <a:lnTo>
                    <a:pt x="1442" y="6188"/>
                  </a:lnTo>
                  <a:lnTo>
                    <a:pt x="1437" y="6183"/>
                  </a:lnTo>
                  <a:lnTo>
                    <a:pt x="1432" y="6175"/>
                  </a:lnTo>
                  <a:lnTo>
                    <a:pt x="1425" y="6166"/>
                  </a:lnTo>
                  <a:lnTo>
                    <a:pt x="1420" y="6155"/>
                  </a:lnTo>
                  <a:lnTo>
                    <a:pt x="1414" y="6142"/>
                  </a:lnTo>
                  <a:lnTo>
                    <a:pt x="1409" y="6125"/>
                  </a:lnTo>
                  <a:lnTo>
                    <a:pt x="1406" y="6108"/>
                  </a:lnTo>
                  <a:lnTo>
                    <a:pt x="1404" y="6088"/>
                  </a:lnTo>
                  <a:lnTo>
                    <a:pt x="1404" y="6065"/>
                  </a:lnTo>
                  <a:lnTo>
                    <a:pt x="1405" y="6053"/>
                  </a:lnTo>
                  <a:lnTo>
                    <a:pt x="1407" y="6041"/>
                  </a:lnTo>
                  <a:lnTo>
                    <a:pt x="1409" y="6027"/>
                  </a:lnTo>
                  <a:lnTo>
                    <a:pt x="1413" y="6013"/>
                  </a:lnTo>
                  <a:lnTo>
                    <a:pt x="1417" y="5999"/>
                  </a:lnTo>
                  <a:lnTo>
                    <a:pt x="1422" y="5983"/>
                  </a:lnTo>
                  <a:lnTo>
                    <a:pt x="1428" y="5968"/>
                  </a:lnTo>
                  <a:lnTo>
                    <a:pt x="1436" y="5952"/>
                  </a:lnTo>
                  <a:lnTo>
                    <a:pt x="1444" y="5934"/>
                  </a:lnTo>
                  <a:lnTo>
                    <a:pt x="1453" y="5917"/>
                  </a:lnTo>
                  <a:lnTo>
                    <a:pt x="1453" y="5917"/>
                  </a:lnTo>
                  <a:lnTo>
                    <a:pt x="1473" y="5880"/>
                  </a:lnTo>
                  <a:lnTo>
                    <a:pt x="1490" y="5844"/>
                  </a:lnTo>
                  <a:lnTo>
                    <a:pt x="1505" y="5811"/>
                  </a:lnTo>
                  <a:lnTo>
                    <a:pt x="1516" y="5780"/>
                  </a:lnTo>
                  <a:lnTo>
                    <a:pt x="1527" y="5749"/>
                  </a:lnTo>
                  <a:lnTo>
                    <a:pt x="1535" y="5719"/>
                  </a:lnTo>
                  <a:lnTo>
                    <a:pt x="1541" y="5691"/>
                  </a:lnTo>
                  <a:lnTo>
                    <a:pt x="1546" y="5663"/>
                  </a:lnTo>
                  <a:lnTo>
                    <a:pt x="1546" y="5663"/>
                  </a:lnTo>
                  <a:lnTo>
                    <a:pt x="1547" y="5654"/>
                  </a:lnTo>
                  <a:lnTo>
                    <a:pt x="1546" y="5645"/>
                  </a:lnTo>
                  <a:lnTo>
                    <a:pt x="1545" y="5636"/>
                  </a:lnTo>
                  <a:lnTo>
                    <a:pt x="1542" y="5626"/>
                  </a:lnTo>
                  <a:lnTo>
                    <a:pt x="1538" y="5617"/>
                  </a:lnTo>
                  <a:lnTo>
                    <a:pt x="1534" y="5609"/>
                  </a:lnTo>
                  <a:lnTo>
                    <a:pt x="1529" y="5600"/>
                  </a:lnTo>
                  <a:lnTo>
                    <a:pt x="1523" y="5592"/>
                  </a:lnTo>
                  <a:lnTo>
                    <a:pt x="1515" y="5585"/>
                  </a:lnTo>
                  <a:lnTo>
                    <a:pt x="1508" y="5577"/>
                  </a:lnTo>
                  <a:lnTo>
                    <a:pt x="1500" y="5571"/>
                  </a:lnTo>
                  <a:lnTo>
                    <a:pt x="1492" y="5566"/>
                  </a:lnTo>
                  <a:lnTo>
                    <a:pt x="1484" y="5561"/>
                  </a:lnTo>
                  <a:lnTo>
                    <a:pt x="1474" y="5558"/>
                  </a:lnTo>
                  <a:lnTo>
                    <a:pt x="1465" y="5556"/>
                  </a:lnTo>
                  <a:lnTo>
                    <a:pt x="1455" y="5554"/>
                  </a:lnTo>
                  <a:lnTo>
                    <a:pt x="1455" y="5554"/>
                  </a:lnTo>
                  <a:lnTo>
                    <a:pt x="1445" y="5554"/>
                  </a:lnTo>
                  <a:lnTo>
                    <a:pt x="1436" y="5555"/>
                  </a:lnTo>
                  <a:lnTo>
                    <a:pt x="1425" y="5557"/>
                  </a:lnTo>
                  <a:lnTo>
                    <a:pt x="1416" y="5560"/>
                  </a:lnTo>
                  <a:lnTo>
                    <a:pt x="1407" y="5564"/>
                  </a:lnTo>
                  <a:lnTo>
                    <a:pt x="1399" y="5568"/>
                  </a:lnTo>
                  <a:lnTo>
                    <a:pt x="1391" y="5574"/>
                  </a:lnTo>
                  <a:lnTo>
                    <a:pt x="1382" y="5579"/>
                  </a:lnTo>
                  <a:lnTo>
                    <a:pt x="1375" y="5587"/>
                  </a:lnTo>
                  <a:lnTo>
                    <a:pt x="1369" y="5593"/>
                  </a:lnTo>
                  <a:lnTo>
                    <a:pt x="1363" y="5600"/>
                  </a:lnTo>
                  <a:lnTo>
                    <a:pt x="1358" y="5608"/>
                  </a:lnTo>
                  <a:lnTo>
                    <a:pt x="1354" y="5616"/>
                  </a:lnTo>
                  <a:lnTo>
                    <a:pt x="1350" y="5624"/>
                  </a:lnTo>
                  <a:lnTo>
                    <a:pt x="1348" y="5633"/>
                  </a:lnTo>
                  <a:lnTo>
                    <a:pt x="1347" y="5641"/>
                  </a:lnTo>
                  <a:lnTo>
                    <a:pt x="1347" y="5641"/>
                  </a:lnTo>
                  <a:lnTo>
                    <a:pt x="1346" y="5661"/>
                  </a:lnTo>
                  <a:lnTo>
                    <a:pt x="1347" y="5680"/>
                  </a:lnTo>
                  <a:lnTo>
                    <a:pt x="1351" y="5695"/>
                  </a:lnTo>
                  <a:lnTo>
                    <a:pt x="1356" y="5707"/>
                  </a:lnTo>
                  <a:lnTo>
                    <a:pt x="1362" y="5717"/>
                  </a:lnTo>
                  <a:lnTo>
                    <a:pt x="1369" y="5727"/>
                  </a:lnTo>
                  <a:lnTo>
                    <a:pt x="1377" y="5734"/>
                  </a:lnTo>
                  <a:lnTo>
                    <a:pt x="1386" y="5739"/>
                  </a:lnTo>
                  <a:lnTo>
                    <a:pt x="1394" y="5743"/>
                  </a:lnTo>
                  <a:lnTo>
                    <a:pt x="1402" y="5747"/>
                  </a:lnTo>
                  <a:lnTo>
                    <a:pt x="1416" y="5752"/>
                  </a:lnTo>
                  <a:lnTo>
                    <a:pt x="1422" y="5754"/>
                  </a:lnTo>
                  <a:lnTo>
                    <a:pt x="1425" y="5756"/>
                  </a:lnTo>
                  <a:lnTo>
                    <a:pt x="1428" y="5759"/>
                  </a:lnTo>
                  <a:lnTo>
                    <a:pt x="1428" y="5762"/>
                  </a:lnTo>
                  <a:lnTo>
                    <a:pt x="1428" y="5762"/>
                  </a:lnTo>
                  <a:lnTo>
                    <a:pt x="1417" y="5798"/>
                  </a:lnTo>
                  <a:lnTo>
                    <a:pt x="1405" y="5831"/>
                  </a:lnTo>
                  <a:lnTo>
                    <a:pt x="1392" y="5861"/>
                  </a:lnTo>
                  <a:lnTo>
                    <a:pt x="1378" y="5887"/>
                  </a:lnTo>
                  <a:lnTo>
                    <a:pt x="1365" y="5912"/>
                  </a:lnTo>
                  <a:lnTo>
                    <a:pt x="1352" y="5933"/>
                  </a:lnTo>
                  <a:lnTo>
                    <a:pt x="1337" y="5953"/>
                  </a:lnTo>
                  <a:lnTo>
                    <a:pt x="1323" y="5969"/>
                  </a:lnTo>
                  <a:lnTo>
                    <a:pt x="1323" y="5969"/>
                  </a:lnTo>
                  <a:lnTo>
                    <a:pt x="1296" y="5953"/>
                  </a:lnTo>
                  <a:lnTo>
                    <a:pt x="1263" y="5933"/>
                  </a:lnTo>
                  <a:lnTo>
                    <a:pt x="1263" y="5933"/>
                  </a:lnTo>
                  <a:lnTo>
                    <a:pt x="1186" y="5891"/>
                  </a:lnTo>
                  <a:lnTo>
                    <a:pt x="1111" y="5850"/>
                  </a:lnTo>
                  <a:lnTo>
                    <a:pt x="1038" y="5811"/>
                  </a:lnTo>
                  <a:lnTo>
                    <a:pt x="1001" y="5793"/>
                  </a:lnTo>
                  <a:lnTo>
                    <a:pt x="964" y="5776"/>
                  </a:lnTo>
                  <a:lnTo>
                    <a:pt x="927" y="5758"/>
                  </a:lnTo>
                  <a:lnTo>
                    <a:pt x="889" y="5743"/>
                  </a:lnTo>
                  <a:lnTo>
                    <a:pt x="850" y="5727"/>
                  </a:lnTo>
                  <a:lnTo>
                    <a:pt x="810" y="5712"/>
                  </a:lnTo>
                  <a:lnTo>
                    <a:pt x="769" y="5698"/>
                  </a:lnTo>
                  <a:lnTo>
                    <a:pt x="727" y="5686"/>
                  </a:lnTo>
                  <a:lnTo>
                    <a:pt x="683" y="5673"/>
                  </a:lnTo>
                  <a:lnTo>
                    <a:pt x="638" y="5662"/>
                  </a:lnTo>
                  <a:lnTo>
                    <a:pt x="638" y="5662"/>
                  </a:lnTo>
                  <a:lnTo>
                    <a:pt x="655" y="5629"/>
                  </a:lnTo>
                  <a:lnTo>
                    <a:pt x="655" y="5629"/>
                  </a:lnTo>
                  <a:lnTo>
                    <a:pt x="681" y="5585"/>
                  </a:lnTo>
                  <a:lnTo>
                    <a:pt x="699" y="5553"/>
                  </a:lnTo>
                  <a:lnTo>
                    <a:pt x="706" y="5542"/>
                  </a:lnTo>
                  <a:lnTo>
                    <a:pt x="710" y="5532"/>
                  </a:lnTo>
                  <a:lnTo>
                    <a:pt x="712" y="5526"/>
                  </a:lnTo>
                  <a:lnTo>
                    <a:pt x="711" y="5524"/>
                  </a:lnTo>
                  <a:lnTo>
                    <a:pt x="710" y="5522"/>
                  </a:lnTo>
                  <a:lnTo>
                    <a:pt x="710" y="5522"/>
                  </a:lnTo>
                  <a:lnTo>
                    <a:pt x="709" y="5522"/>
                  </a:lnTo>
                  <a:lnTo>
                    <a:pt x="708" y="5522"/>
                  </a:lnTo>
                  <a:lnTo>
                    <a:pt x="702" y="5523"/>
                  </a:lnTo>
                  <a:lnTo>
                    <a:pt x="688" y="5532"/>
                  </a:lnTo>
                  <a:lnTo>
                    <a:pt x="664" y="5548"/>
                  </a:lnTo>
                  <a:lnTo>
                    <a:pt x="647" y="5557"/>
                  </a:lnTo>
                  <a:lnTo>
                    <a:pt x="628" y="5568"/>
                  </a:lnTo>
                  <a:lnTo>
                    <a:pt x="628" y="5568"/>
                  </a:lnTo>
                  <a:lnTo>
                    <a:pt x="606" y="5579"/>
                  </a:lnTo>
                  <a:lnTo>
                    <a:pt x="588" y="5589"/>
                  </a:lnTo>
                  <a:lnTo>
                    <a:pt x="573" y="5595"/>
                  </a:lnTo>
                  <a:lnTo>
                    <a:pt x="558" y="5600"/>
                  </a:lnTo>
                  <a:lnTo>
                    <a:pt x="545" y="5604"/>
                  </a:lnTo>
                  <a:lnTo>
                    <a:pt x="532" y="5607"/>
                  </a:lnTo>
                  <a:lnTo>
                    <a:pt x="504" y="5611"/>
                  </a:lnTo>
                  <a:lnTo>
                    <a:pt x="504" y="5611"/>
                  </a:lnTo>
                  <a:lnTo>
                    <a:pt x="495" y="5611"/>
                  </a:lnTo>
                  <a:lnTo>
                    <a:pt x="486" y="5610"/>
                  </a:lnTo>
                  <a:lnTo>
                    <a:pt x="468" y="5607"/>
                  </a:lnTo>
                  <a:lnTo>
                    <a:pt x="453" y="5603"/>
                  </a:lnTo>
                  <a:lnTo>
                    <a:pt x="446" y="5603"/>
                  </a:lnTo>
                  <a:lnTo>
                    <a:pt x="441" y="5604"/>
                  </a:lnTo>
                  <a:lnTo>
                    <a:pt x="441" y="5604"/>
                  </a:lnTo>
                  <a:lnTo>
                    <a:pt x="435" y="5607"/>
                  </a:lnTo>
                  <a:lnTo>
                    <a:pt x="428" y="5613"/>
                  </a:lnTo>
                  <a:lnTo>
                    <a:pt x="423" y="5620"/>
                  </a:lnTo>
                  <a:lnTo>
                    <a:pt x="418" y="5629"/>
                  </a:lnTo>
                  <a:lnTo>
                    <a:pt x="413" y="5642"/>
                  </a:lnTo>
                  <a:lnTo>
                    <a:pt x="408" y="5656"/>
                  </a:lnTo>
                  <a:lnTo>
                    <a:pt x="395" y="5693"/>
                  </a:lnTo>
                  <a:lnTo>
                    <a:pt x="395" y="5693"/>
                  </a:lnTo>
                  <a:lnTo>
                    <a:pt x="370" y="5764"/>
                  </a:lnTo>
                  <a:lnTo>
                    <a:pt x="363" y="5783"/>
                  </a:lnTo>
                  <a:lnTo>
                    <a:pt x="363" y="5783"/>
                  </a:lnTo>
                  <a:lnTo>
                    <a:pt x="355" y="5801"/>
                  </a:lnTo>
                  <a:lnTo>
                    <a:pt x="348" y="5815"/>
                  </a:lnTo>
                  <a:lnTo>
                    <a:pt x="335" y="5834"/>
                  </a:lnTo>
                  <a:lnTo>
                    <a:pt x="331" y="5842"/>
                  </a:lnTo>
                  <a:lnTo>
                    <a:pt x="327" y="5849"/>
                  </a:lnTo>
                  <a:lnTo>
                    <a:pt x="324" y="5857"/>
                  </a:lnTo>
                  <a:lnTo>
                    <a:pt x="322" y="5867"/>
                  </a:lnTo>
                  <a:close/>
                  <a:moveTo>
                    <a:pt x="390" y="969"/>
                  </a:moveTo>
                  <a:lnTo>
                    <a:pt x="390" y="969"/>
                  </a:lnTo>
                  <a:lnTo>
                    <a:pt x="419" y="968"/>
                  </a:lnTo>
                  <a:lnTo>
                    <a:pt x="451" y="965"/>
                  </a:lnTo>
                  <a:lnTo>
                    <a:pt x="483" y="962"/>
                  </a:lnTo>
                  <a:lnTo>
                    <a:pt x="513" y="958"/>
                  </a:lnTo>
                  <a:lnTo>
                    <a:pt x="563" y="952"/>
                  </a:lnTo>
                  <a:lnTo>
                    <a:pt x="583" y="948"/>
                  </a:lnTo>
                  <a:lnTo>
                    <a:pt x="580" y="644"/>
                  </a:lnTo>
                  <a:lnTo>
                    <a:pt x="580" y="644"/>
                  </a:lnTo>
                  <a:lnTo>
                    <a:pt x="531" y="637"/>
                  </a:lnTo>
                  <a:lnTo>
                    <a:pt x="429" y="621"/>
                  </a:lnTo>
                  <a:lnTo>
                    <a:pt x="429" y="621"/>
                  </a:lnTo>
                  <a:lnTo>
                    <a:pt x="416" y="620"/>
                  </a:lnTo>
                  <a:lnTo>
                    <a:pt x="404" y="619"/>
                  </a:lnTo>
                  <a:lnTo>
                    <a:pt x="392" y="619"/>
                  </a:lnTo>
                  <a:lnTo>
                    <a:pt x="381" y="620"/>
                  </a:lnTo>
                  <a:lnTo>
                    <a:pt x="371" y="622"/>
                  </a:lnTo>
                  <a:lnTo>
                    <a:pt x="362" y="625"/>
                  </a:lnTo>
                  <a:lnTo>
                    <a:pt x="353" y="628"/>
                  </a:lnTo>
                  <a:lnTo>
                    <a:pt x="346" y="632"/>
                  </a:lnTo>
                  <a:lnTo>
                    <a:pt x="338" y="636"/>
                  </a:lnTo>
                  <a:lnTo>
                    <a:pt x="331" y="641"/>
                  </a:lnTo>
                  <a:lnTo>
                    <a:pt x="325" y="646"/>
                  </a:lnTo>
                  <a:lnTo>
                    <a:pt x="320" y="651"/>
                  </a:lnTo>
                  <a:lnTo>
                    <a:pt x="311" y="664"/>
                  </a:lnTo>
                  <a:lnTo>
                    <a:pt x="304" y="676"/>
                  </a:lnTo>
                  <a:lnTo>
                    <a:pt x="298" y="689"/>
                  </a:lnTo>
                  <a:lnTo>
                    <a:pt x="293" y="702"/>
                  </a:lnTo>
                  <a:lnTo>
                    <a:pt x="290" y="715"/>
                  </a:lnTo>
                  <a:lnTo>
                    <a:pt x="288" y="725"/>
                  </a:lnTo>
                  <a:lnTo>
                    <a:pt x="287" y="742"/>
                  </a:lnTo>
                  <a:lnTo>
                    <a:pt x="287" y="748"/>
                  </a:lnTo>
                  <a:lnTo>
                    <a:pt x="291" y="832"/>
                  </a:lnTo>
                  <a:lnTo>
                    <a:pt x="291" y="832"/>
                  </a:lnTo>
                  <a:lnTo>
                    <a:pt x="291" y="838"/>
                  </a:lnTo>
                  <a:lnTo>
                    <a:pt x="293" y="854"/>
                  </a:lnTo>
                  <a:lnTo>
                    <a:pt x="298" y="875"/>
                  </a:lnTo>
                  <a:lnTo>
                    <a:pt x="302" y="887"/>
                  </a:lnTo>
                  <a:lnTo>
                    <a:pt x="306" y="901"/>
                  </a:lnTo>
                  <a:lnTo>
                    <a:pt x="311" y="913"/>
                  </a:lnTo>
                  <a:lnTo>
                    <a:pt x="318" y="925"/>
                  </a:lnTo>
                  <a:lnTo>
                    <a:pt x="326" y="938"/>
                  </a:lnTo>
                  <a:lnTo>
                    <a:pt x="335" y="948"/>
                  </a:lnTo>
                  <a:lnTo>
                    <a:pt x="340" y="952"/>
                  </a:lnTo>
                  <a:lnTo>
                    <a:pt x="347" y="956"/>
                  </a:lnTo>
                  <a:lnTo>
                    <a:pt x="353" y="960"/>
                  </a:lnTo>
                  <a:lnTo>
                    <a:pt x="359" y="963"/>
                  </a:lnTo>
                  <a:lnTo>
                    <a:pt x="366" y="965"/>
                  </a:lnTo>
                  <a:lnTo>
                    <a:pt x="373" y="967"/>
                  </a:lnTo>
                  <a:lnTo>
                    <a:pt x="381" y="968"/>
                  </a:lnTo>
                  <a:lnTo>
                    <a:pt x="390" y="969"/>
                  </a:lnTo>
                  <a:close/>
                  <a:moveTo>
                    <a:pt x="1101" y="856"/>
                  </a:moveTo>
                  <a:lnTo>
                    <a:pt x="1101" y="856"/>
                  </a:lnTo>
                  <a:lnTo>
                    <a:pt x="1103" y="835"/>
                  </a:lnTo>
                  <a:lnTo>
                    <a:pt x="1103" y="813"/>
                  </a:lnTo>
                  <a:lnTo>
                    <a:pt x="1103" y="770"/>
                  </a:lnTo>
                  <a:lnTo>
                    <a:pt x="1103" y="770"/>
                  </a:lnTo>
                  <a:lnTo>
                    <a:pt x="1102" y="609"/>
                  </a:lnTo>
                  <a:lnTo>
                    <a:pt x="1102" y="609"/>
                  </a:lnTo>
                  <a:lnTo>
                    <a:pt x="1102" y="599"/>
                  </a:lnTo>
                  <a:lnTo>
                    <a:pt x="1101" y="589"/>
                  </a:lnTo>
                  <a:lnTo>
                    <a:pt x="1100" y="578"/>
                  </a:lnTo>
                  <a:lnTo>
                    <a:pt x="1097" y="565"/>
                  </a:lnTo>
                  <a:lnTo>
                    <a:pt x="1094" y="555"/>
                  </a:lnTo>
                  <a:lnTo>
                    <a:pt x="1092" y="551"/>
                  </a:lnTo>
                  <a:lnTo>
                    <a:pt x="1089" y="548"/>
                  </a:lnTo>
                  <a:lnTo>
                    <a:pt x="1086" y="546"/>
                  </a:lnTo>
                  <a:lnTo>
                    <a:pt x="1082" y="545"/>
                  </a:lnTo>
                  <a:lnTo>
                    <a:pt x="1082" y="545"/>
                  </a:lnTo>
                  <a:lnTo>
                    <a:pt x="1049" y="545"/>
                  </a:lnTo>
                  <a:lnTo>
                    <a:pt x="1031" y="546"/>
                  </a:lnTo>
                  <a:lnTo>
                    <a:pt x="1020" y="547"/>
                  </a:lnTo>
                  <a:lnTo>
                    <a:pt x="1020" y="547"/>
                  </a:lnTo>
                  <a:lnTo>
                    <a:pt x="1017" y="552"/>
                  </a:lnTo>
                  <a:lnTo>
                    <a:pt x="1015" y="559"/>
                  </a:lnTo>
                  <a:lnTo>
                    <a:pt x="1009" y="578"/>
                  </a:lnTo>
                  <a:lnTo>
                    <a:pt x="1003" y="597"/>
                  </a:lnTo>
                  <a:lnTo>
                    <a:pt x="1000" y="604"/>
                  </a:lnTo>
                  <a:lnTo>
                    <a:pt x="998" y="609"/>
                  </a:lnTo>
                  <a:lnTo>
                    <a:pt x="978" y="547"/>
                  </a:lnTo>
                  <a:lnTo>
                    <a:pt x="978" y="547"/>
                  </a:lnTo>
                  <a:lnTo>
                    <a:pt x="962" y="546"/>
                  </a:lnTo>
                  <a:lnTo>
                    <a:pt x="939" y="546"/>
                  </a:lnTo>
                  <a:lnTo>
                    <a:pt x="914" y="547"/>
                  </a:lnTo>
                  <a:lnTo>
                    <a:pt x="900" y="549"/>
                  </a:lnTo>
                  <a:lnTo>
                    <a:pt x="900" y="549"/>
                  </a:lnTo>
                  <a:lnTo>
                    <a:pt x="895" y="561"/>
                  </a:lnTo>
                  <a:lnTo>
                    <a:pt x="889" y="579"/>
                  </a:lnTo>
                  <a:lnTo>
                    <a:pt x="882" y="597"/>
                  </a:lnTo>
                  <a:lnTo>
                    <a:pt x="877" y="609"/>
                  </a:lnTo>
                  <a:lnTo>
                    <a:pt x="858" y="550"/>
                  </a:lnTo>
                  <a:lnTo>
                    <a:pt x="858" y="550"/>
                  </a:lnTo>
                  <a:lnTo>
                    <a:pt x="845" y="549"/>
                  </a:lnTo>
                  <a:lnTo>
                    <a:pt x="821" y="549"/>
                  </a:lnTo>
                  <a:lnTo>
                    <a:pt x="797" y="550"/>
                  </a:lnTo>
                  <a:lnTo>
                    <a:pt x="788" y="551"/>
                  </a:lnTo>
                  <a:lnTo>
                    <a:pt x="784" y="551"/>
                  </a:lnTo>
                  <a:lnTo>
                    <a:pt x="784" y="551"/>
                  </a:lnTo>
                  <a:lnTo>
                    <a:pt x="780" y="556"/>
                  </a:lnTo>
                  <a:lnTo>
                    <a:pt x="777" y="563"/>
                  </a:lnTo>
                  <a:lnTo>
                    <a:pt x="770" y="581"/>
                  </a:lnTo>
                  <a:lnTo>
                    <a:pt x="763" y="598"/>
                  </a:lnTo>
                  <a:lnTo>
                    <a:pt x="758" y="609"/>
                  </a:lnTo>
                  <a:lnTo>
                    <a:pt x="739" y="551"/>
                  </a:lnTo>
                  <a:lnTo>
                    <a:pt x="739" y="551"/>
                  </a:lnTo>
                  <a:lnTo>
                    <a:pt x="722" y="551"/>
                  </a:lnTo>
                  <a:lnTo>
                    <a:pt x="691" y="551"/>
                  </a:lnTo>
                  <a:lnTo>
                    <a:pt x="691" y="551"/>
                  </a:lnTo>
                  <a:lnTo>
                    <a:pt x="686" y="552"/>
                  </a:lnTo>
                  <a:lnTo>
                    <a:pt x="682" y="553"/>
                  </a:lnTo>
                  <a:lnTo>
                    <a:pt x="678" y="555"/>
                  </a:lnTo>
                  <a:lnTo>
                    <a:pt x="674" y="557"/>
                  </a:lnTo>
                  <a:lnTo>
                    <a:pt x="668" y="564"/>
                  </a:lnTo>
                  <a:lnTo>
                    <a:pt x="663" y="573"/>
                  </a:lnTo>
                  <a:lnTo>
                    <a:pt x="658" y="581"/>
                  </a:lnTo>
                  <a:lnTo>
                    <a:pt x="655" y="591"/>
                  </a:lnTo>
                  <a:lnTo>
                    <a:pt x="654" y="600"/>
                  </a:lnTo>
                  <a:lnTo>
                    <a:pt x="653" y="608"/>
                  </a:lnTo>
                  <a:lnTo>
                    <a:pt x="653" y="608"/>
                  </a:lnTo>
                  <a:lnTo>
                    <a:pt x="654" y="686"/>
                  </a:lnTo>
                  <a:lnTo>
                    <a:pt x="655" y="765"/>
                  </a:lnTo>
                  <a:lnTo>
                    <a:pt x="655" y="765"/>
                  </a:lnTo>
                  <a:lnTo>
                    <a:pt x="658" y="869"/>
                  </a:lnTo>
                  <a:lnTo>
                    <a:pt x="661" y="947"/>
                  </a:lnTo>
                  <a:lnTo>
                    <a:pt x="661" y="947"/>
                  </a:lnTo>
                  <a:lnTo>
                    <a:pt x="680" y="946"/>
                  </a:lnTo>
                  <a:lnTo>
                    <a:pt x="690" y="944"/>
                  </a:lnTo>
                  <a:lnTo>
                    <a:pt x="698" y="943"/>
                  </a:lnTo>
                  <a:lnTo>
                    <a:pt x="707" y="941"/>
                  </a:lnTo>
                  <a:lnTo>
                    <a:pt x="715" y="938"/>
                  </a:lnTo>
                  <a:lnTo>
                    <a:pt x="721" y="933"/>
                  </a:lnTo>
                  <a:lnTo>
                    <a:pt x="727" y="929"/>
                  </a:lnTo>
                  <a:lnTo>
                    <a:pt x="727" y="929"/>
                  </a:lnTo>
                  <a:lnTo>
                    <a:pt x="732" y="924"/>
                  </a:lnTo>
                  <a:lnTo>
                    <a:pt x="736" y="919"/>
                  </a:lnTo>
                  <a:lnTo>
                    <a:pt x="743" y="908"/>
                  </a:lnTo>
                  <a:lnTo>
                    <a:pt x="748" y="897"/>
                  </a:lnTo>
                  <a:lnTo>
                    <a:pt x="753" y="886"/>
                  </a:lnTo>
                  <a:lnTo>
                    <a:pt x="756" y="876"/>
                  </a:lnTo>
                  <a:lnTo>
                    <a:pt x="757" y="869"/>
                  </a:lnTo>
                  <a:lnTo>
                    <a:pt x="758" y="862"/>
                  </a:lnTo>
                  <a:lnTo>
                    <a:pt x="758" y="862"/>
                  </a:lnTo>
                  <a:lnTo>
                    <a:pt x="758" y="882"/>
                  </a:lnTo>
                  <a:lnTo>
                    <a:pt x="758" y="912"/>
                  </a:lnTo>
                  <a:lnTo>
                    <a:pt x="759" y="942"/>
                  </a:lnTo>
                  <a:lnTo>
                    <a:pt x="761" y="965"/>
                  </a:lnTo>
                  <a:lnTo>
                    <a:pt x="761" y="965"/>
                  </a:lnTo>
                  <a:lnTo>
                    <a:pt x="761" y="966"/>
                  </a:lnTo>
                  <a:lnTo>
                    <a:pt x="763" y="967"/>
                  </a:lnTo>
                  <a:lnTo>
                    <a:pt x="769" y="969"/>
                  </a:lnTo>
                  <a:lnTo>
                    <a:pt x="778" y="970"/>
                  </a:lnTo>
                  <a:lnTo>
                    <a:pt x="789" y="970"/>
                  </a:lnTo>
                  <a:lnTo>
                    <a:pt x="803" y="968"/>
                  </a:lnTo>
                  <a:lnTo>
                    <a:pt x="816" y="963"/>
                  </a:lnTo>
                  <a:lnTo>
                    <a:pt x="822" y="960"/>
                  </a:lnTo>
                  <a:lnTo>
                    <a:pt x="829" y="957"/>
                  </a:lnTo>
                  <a:lnTo>
                    <a:pt x="835" y="952"/>
                  </a:lnTo>
                  <a:lnTo>
                    <a:pt x="842" y="947"/>
                  </a:lnTo>
                  <a:lnTo>
                    <a:pt x="842" y="947"/>
                  </a:lnTo>
                  <a:lnTo>
                    <a:pt x="850" y="937"/>
                  </a:lnTo>
                  <a:lnTo>
                    <a:pt x="857" y="925"/>
                  </a:lnTo>
                  <a:lnTo>
                    <a:pt x="862" y="913"/>
                  </a:lnTo>
                  <a:lnTo>
                    <a:pt x="866" y="901"/>
                  </a:lnTo>
                  <a:lnTo>
                    <a:pt x="873" y="878"/>
                  </a:lnTo>
                  <a:lnTo>
                    <a:pt x="877" y="862"/>
                  </a:lnTo>
                  <a:lnTo>
                    <a:pt x="877" y="862"/>
                  </a:lnTo>
                  <a:lnTo>
                    <a:pt x="877" y="893"/>
                  </a:lnTo>
                  <a:lnTo>
                    <a:pt x="878" y="926"/>
                  </a:lnTo>
                  <a:lnTo>
                    <a:pt x="880" y="953"/>
                  </a:lnTo>
                  <a:lnTo>
                    <a:pt x="881" y="962"/>
                  </a:lnTo>
                  <a:lnTo>
                    <a:pt x="882" y="964"/>
                  </a:lnTo>
                  <a:lnTo>
                    <a:pt x="883" y="965"/>
                  </a:lnTo>
                  <a:lnTo>
                    <a:pt x="883" y="965"/>
                  </a:lnTo>
                  <a:lnTo>
                    <a:pt x="890" y="966"/>
                  </a:lnTo>
                  <a:lnTo>
                    <a:pt x="898" y="966"/>
                  </a:lnTo>
                  <a:lnTo>
                    <a:pt x="908" y="965"/>
                  </a:lnTo>
                  <a:lnTo>
                    <a:pt x="919" y="963"/>
                  </a:lnTo>
                  <a:lnTo>
                    <a:pt x="930" y="960"/>
                  </a:lnTo>
                  <a:lnTo>
                    <a:pt x="942" y="956"/>
                  </a:lnTo>
                  <a:lnTo>
                    <a:pt x="953" y="950"/>
                  </a:lnTo>
                  <a:lnTo>
                    <a:pt x="958" y="946"/>
                  </a:lnTo>
                  <a:lnTo>
                    <a:pt x="962" y="942"/>
                  </a:lnTo>
                  <a:lnTo>
                    <a:pt x="962" y="942"/>
                  </a:lnTo>
                  <a:lnTo>
                    <a:pt x="970" y="932"/>
                  </a:lnTo>
                  <a:lnTo>
                    <a:pt x="978" y="922"/>
                  </a:lnTo>
                  <a:lnTo>
                    <a:pt x="984" y="912"/>
                  </a:lnTo>
                  <a:lnTo>
                    <a:pt x="989" y="901"/>
                  </a:lnTo>
                  <a:lnTo>
                    <a:pt x="992" y="890"/>
                  </a:lnTo>
                  <a:lnTo>
                    <a:pt x="995" y="879"/>
                  </a:lnTo>
                  <a:lnTo>
                    <a:pt x="998" y="862"/>
                  </a:lnTo>
                  <a:lnTo>
                    <a:pt x="998" y="862"/>
                  </a:lnTo>
                  <a:lnTo>
                    <a:pt x="998" y="891"/>
                  </a:lnTo>
                  <a:lnTo>
                    <a:pt x="999" y="915"/>
                  </a:lnTo>
                  <a:lnTo>
                    <a:pt x="1001" y="936"/>
                  </a:lnTo>
                  <a:lnTo>
                    <a:pt x="1001" y="936"/>
                  </a:lnTo>
                  <a:lnTo>
                    <a:pt x="1015" y="935"/>
                  </a:lnTo>
                  <a:lnTo>
                    <a:pt x="1024" y="933"/>
                  </a:lnTo>
                  <a:lnTo>
                    <a:pt x="1032" y="931"/>
                  </a:lnTo>
                  <a:lnTo>
                    <a:pt x="1032" y="931"/>
                  </a:lnTo>
                  <a:lnTo>
                    <a:pt x="1046" y="925"/>
                  </a:lnTo>
                  <a:lnTo>
                    <a:pt x="1057" y="920"/>
                  </a:lnTo>
                  <a:lnTo>
                    <a:pt x="1068" y="913"/>
                  </a:lnTo>
                  <a:lnTo>
                    <a:pt x="1068" y="913"/>
                  </a:lnTo>
                  <a:lnTo>
                    <a:pt x="1078" y="905"/>
                  </a:lnTo>
                  <a:lnTo>
                    <a:pt x="1083" y="900"/>
                  </a:lnTo>
                  <a:lnTo>
                    <a:pt x="1088" y="894"/>
                  </a:lnTo>
                  <a:lnTo>
                    <a:pt x="1092" y="887"/>
                  </a:lnTo>
                  <a:lnTo>
                    <a:pt x="1096" y="878"/>
                  </a:lnTo>
                  <a:lnTo>
                    <a:pt x="1099" y="868"/>
                  </a:lnTo>
                  <a:lnTo>
                    <a:pt x="1101" y="856"/>
                  </a:lnTo>
                  <a:close/>
                  <a:moveTo>
                    <a:pt x="1266" y="1010"/>
                  </a:moveTo>
                  <a:lnTo>
                    <a:pt x="1266" y="916"/>
                  </a:lnTo>
                  <a:lnTo>
                    <a:pt x="1266" y="916"/>
                  </a:lnTo>
                  <a:lnTo>
                    <a:pt x="1261" y="910"/>
                  </a:lnTo>
                  <a:lnTo>
                    <a:pt x="1255" y="902"/>
                  </a:lnTo>
                  <a:lnTo>
                    <a:pt x="1247" y="891"/>
                  </a:lnTo>
                  <a:lnTo>
                    <a:pt x="1240" y="875"/>
                  </a:lnTo>
                  <a:lnTo>
                    <a:pt x="1237" y="866"/>
                  </a:lnTo>
                  <a:lnTo>
                    <a:pt x="1234" y="856"/>
                  </a:lnTo>
                  <a:lnTo>
                    <a:pt x="1232" y="845"/>
                  </a:lnTo>
                  <a:lnTo>
                    <a:pt x="1229" y="831"/>
                  </a:lnTo>
                  <a:lnTo>
                    <a:pt x="1228" y="818"/>
                  </a:lnTo>
                  <a:lnTo>
                    <a:pt x="1227" y="803"/>
                  </a:lnTo>
                  <a:lnTo>
                    <a:pt x="1227" y="803"/>
                  </a:lnTo>
                  <a:lnTo>
                    <a:pt x="1227" y="792"/>
                  </a:lnTo>
                  <a:lnTo>
                    <a:pt x="1228" y="782"/>
                  </a:lnTo>
                  <a:lnTo>
                    <a:pt x="1229" y="772"/>
                  </a:lnTo>
                  <a:lnTo>
                    <a:pt x="1232" y="762"/>
                  </a:lnTo>
                  <a:lnTo>
                    <a:pt x="1238" y="743"/>
                  </a:lnTo>
                  <a:lnTo>
                    <a:pt x="1244" y="727"/>
                  </a:lnTo>
                  <a:lnTo>
                    <a:pt x="1252" y="714"/>
                  </a:lnTo>
                  <a:lnTo>
                    <a:pt x="1258" y="702"/>
                  </a:lnTo>
                  <a:lnTo>
                    <a:pt x="1264" y="693"/>
                  </a:lnTo>
                  <a:lnTo>
                    <a:pt x="1263" y="603"/>
                  </a:lnTo>
                  <a:lnTo>
                    <a:pt x="1263" y="603"/>
                  </a:lnTo>
                  <a:lnTo>
                    <a:pt x="1254" y="596"/>
                  </a:lnTo>
                  <a:lnTo>
                    <a:pt x="1230" y="581"/>
                  </a:lnTo>
                  <a:lnTo>
                    <a:pt x="1216" y="573"/>
                  </a:lnTo>
                  <a:lnTo>
                    <a:pt x="1201" y="565"/>
                  </a:lnTo>
                  <a:lnTo>
                    <a:pt x="1194" y="562"/>
                  </a:lnTo>
                  <a:lnTo>
                    <a:pt x="1188" y="561"/>
                  </a:lnTo>
                  <a:lnTo>
                    <a:pt x="1182" y="560"/>
                  </a:lnTo>
                  <a:lnTo>
                    <a:pt x="1176" y="560"/>
                  </a:lnTo>
                  <a:lnTo>
                    <a:pt x="1177" y="887"/>
                  </a:lnTo>
                  <a:lnTo>
                    <a:pt x="1177" y="887"/>
                  </a:lnTo>
                  <a:lnTo>
                    <a:pt x="1177" y="899"/>
                  </a:lnTo>
                  <a:lnTo>
                    <a:pt x="1174" y="909"/>
                  </a:lnTo>
                  <a:lnTo>
                    <a:pt x="1170" y="920"/>
                  </a:lnTo>
                  <a:lnTo>
                    <a:pt x="1164" y="930"/>
                  </a:lnTo>
                  <a:lnTo>
                    <a:pt x="1156" y="942"/>
                  </a:lnTo>
                  <a:lnTo>
                    <a:pt x="1148" y="952"/>
                  </a:lnTo>
                  <a:lnTo>
                    <a:pt x="1138" y="962"/>
                  </a:lnTo>
                  <a:lnTo>
                    <a:pt x="1128" y="971"/>
                  </a:lnTo>
                  <a:lnTo>
                    <a:pt x="1117" y="981"/>
                  </a:lnTo>
                  <a:lnTo>
                    <a:pt x="1104" y="989"/>
                  </a:lnTo>
                  <a:lnTo>
                    <a:pt x="1092" y="997"/>
                  </a:lnTo>
                  <a:lnTo>
                    <a:pt x="1079" y="1003"/>
                  </a:lnTo>
                  <a:lnTo>
                    <a:pt x="1065" y="1009"/>
                  </a:lnTo>
                  <a:lnTo>
                    <a:pt x="1052" y="1014"/>
                  </a:lnTo>
                  <a:lnTo>
                    <a:pt x="1039" y="1018"/>
                  </a:lnTo>
                  <a:lnTo>
                    <a:pt x="1026" y="1021"/>
                  </a:lnTo>
                  <a:lnTo>
                    <a:pt x="1026" y="1021"/>
                  </a:lnTo>
                  <a:lnTo>
                    <a:pt x="996" y="1027"/>
                  </a:lnTo>
                  <a:lnTo>
                    <a:pt x="967" y="1031"/>
                  </a:lnTo>
                  <a:lnTo>
                    <a:pt x="939" y="1034"/>
                  </a:lnTo>
                  <a:lnTo>
                    <a:pt x="911" y="1037"/>
                  </a:lnTo>
                  <a:lnTo>
                    <a:pt x="858" y="1040"/>
                  </a:lnTo>
                  <a:lnTo>
                    <a:pt x="810" y="1042"/>
                  </a:lnTo>
                  <a:lnTo>
                    <a:pt x="770" y="1042"/>
                  </a:lnTo>
                  <a:lnTo>
                    <a:pt x="739" y="1042"/>
                  </a:lnTo>
                  <a:lnTo>
                    <a:pt x="712" y="1041"/>
                  </a:lnTo>
                  <a:lnTo>
                    <a:pt x="712" y="1041"/>
                  </a:lnTo>
                  <a:lnTo>
                    <a:pt x="713" y="1048"/>
                  </a:lnTo>
                  <a:lnTo>
                    <a:pt x="716" y="1068"/>
                  </a:lnTo>
                  <a:lnTo>
                    <a:pt x="722" y="1095"/>
                  </a:lnTo>
                  <a:lnTo>
                    <a:pt x="725" y="1110"/>
                  </a:lnTo>
                  <a:lnTo>
                    <a:pt x="730" y="1126"/>
                  </a:lnTo>
                  <a:lnTo>
                    <a:pt x="730" y="1126"/>
                  </a:lnTo>
                  <a:lnTo>
                    <a:pt x="735" y="1136"/>
                  </a:lnTo>
                  <a:lnTo>
                    <a:pt x="741" y="1146"/>
                  </a:lnTo>
                  <a:lnTo>
                    <a:pt x="748" y="1155"/>
                  </a:lnTo>
                  <a:lnTo>
                    <a:pt x="756" y="1164"/>
                  </a:lnTo>
                  <a:lnTo>
                    <a:pt x="769" y="1176"/>
                  </a:lnTo>
                  <a:lnTo>
                    <a:pt x="774" y="1180"/>
                  </a:lnTo>
                  <a:lnTo>
                    <a:pt x="1163" y="1180"/>
                  </a:lnTo>
                  <a:lnTo>
                    <a:pt x="1266" y="1010"/>
                  </a:lnTo>
                  <a:close/>
                  <a:moveTo>
                    <a:pt x="773" y="1398"/>
                  </a:moveTo>
                  <a:lnTo>
                    <a:pt x="1164" y="1398"/>
                  </a:lnTo>
                  <a:lnTo>
                    <a:pt x="1164" y="1398"/>
                  </a:lnTo>
                  <a:lnTo>
                    <a:pt x="1175" y="1365"/>
                  </a:lnTo>
                  <a:lnTo>
                    <a:pt x="1183" y="1339"/>
                  </a:lnTo>
                  <a:lnTo>
                    <a:pt x="1186" y="1328"/>
                  </a:lnTo>
                  <a:lnTo>
                    <a:pt x="1188" y="1319"/>
                  </a:lnTo>
                  <a:lnTo>
                    <a:pt x="1170" y="1256"/>
                  </a:lnTo>
                  <a:lnTo>
                    <a:pt x="775" y="1256"/>
                  </a:lnTo>
                  <a:lnTo>
                    <a:pt x="753" y="1321"/>
                  </a:lnTo>
                  <a:lnTo>
                    <a:pt x="773" y="1398"/>
                  </a:lnTo>
                  <a:close/>
                  <a:moveTo>
                    <a:pt x="1164" y="1471"/>
                  </a:moveTo>
                  <a:lnTo>
                    <a:pt x="782" y="1471"/>
                  </a:lnTo>
                  <a:lnTo>
                    <a:pt x="780" y="1976"/>
                  </a:lnTo>
                  <a:lnTo>
                    <a:pt x="1111" y="1985"/>
                  </a:lnTo>
                  <a:lnTo>
                    <a:pt x="1216" y="1902"/>
                  </a:lnTo>
                  <a:lnTo>
                    <a:pt x="1164" y="1471"/>
                  </a:lnTo>
                  <a:close/>
                  <a:moveTo>
                    <a:pt x="1343" y="2103"/>
                  </a:moveTo>
                  <a:lnTo>
                    <a:pt x="1343" y="2103"/>
                  </a:lnTo>
                  <a:lnTo>
                    <a:pt x="1309" y="2079"/>
                  </a:lnTo>
                  <a:lnTo>
                    <a:pt x="1284" y="2061"/>
                  </a:lnTo>
                  <a:lnTo>
                    <a:pt x="1276" y="2054"/>
                  </a:lnTo>
                  <a:lnTo>
                    <a:pt x="1271" y="2049"/>
                  </a:lnTo>
                  <a:lnTo>
                    <a:pt x="1271" y="2049"/>
                  </a:lnTo>
                  <a:lnTo>
                    <a:pt x="1269" y="2043"/>
                  </a:lnTo>
                  <a:lnTo>
                    <a:pt x="1267" y="2033"/>
                  </a:lnTo>
                  <a:lnTo>
                    <a:pt x="1263" y="2004"/>
                  </a:lnTo>
                  <a:lnTo>
                    <a:pt x="1260" y="1964"/>
                  </a:lnTo>
                  <a:lnTo>
                    <a:pt x="1138" y="2062"/>
                  </a:lnTo>
                  <a:lnTo>
                    <a:pt x="765" y="2061"/>
                  </a:lnTo>
                  <a:lnTo>
                    <a:pt x="765" y="2061"/>
                  </a:lnTo>
                  <a:lnTo>
                    <a:pt x="765" y="2062"/>
                  </a:lnTo>
                  <a:lnTo>
                    <a:pt x="764" y="2064"/>
                  </a:lnTo>
                  <a:lnTo>
                    <a:pt x="762" y="2072"/>
                  </a:lnTo>
                  <a:lnTo>
                    <a:pt x="760" y="2103"/>
                  </a:lnTo>
                  <a:lnTo>
                    <a:pt x="759" y="2147"/>
                  </a:lnTo>
                  <a:lnTo>
                    <a:pt x="758" y="2197"/>
                  </a:lnTo>
                  <a:lnTo>
                    <a:pt x="757" y="2291"/>
                  </a:lnTo>
                  <a:lnTo>
                    <a:pt x="757" y="2333"/>
                  </a:lnTo>
                  <a:lnTo>
                    <a:pt x="757" y="2333"/>
                  </a:lnTo>
                  <a:lnTo>
                    <a:pt x="786" y="2359"/>
                  </a:lnTo>
                  <a:lnTo>
                    <a:pt x="852" y="2412"/>
                  </a:lnTo>
                  <a:lnTo>
                    <a:pt x="888" y="2441"/>
                  </a:lnTo>
                  <a:lnTo>
                    <a:pt x="919" y="2465"/>
                  </a:lnTo>
                  <a:lnTo>
                    <a:pt x="943" y="2481"/>
                  </a:lnTo>
                  <a:lnTo>
                    <a:pt x="950" y="2486"/>
                  </a:lnTo>
                  <a:lnTo>
                    <a:pt x="952" y="2487"/>
                  </a:lnTo>
                  <a:lnTo>
                    <a:pt x="954" y="2487"/>
                  </a:lnTo>
                  <a:lnTo>
                    <a:pt x="1205" y="2170"/>
                  </a:lnTo>
                  <a:lnTo>
                    <a:pt x="1343" y="2103"/>
                  </a:lnTo>
                  <a:close/>
                  <a:moveTo>
                    <a:pt x="1259" y="2225"/>
                  </a:moveTo>
                  <a:lnTo>
                    <a:pt x="1033" y="2515"/>
                  </a:lnTo>
                  <a:lnTo>
                    <a:pt x="1402" y="2669"/>
                  </a:lnTo>
                  <a:lnTo>
                    <a:pt x="1402" y="2669"/>
                  </a:lnTo>
                  <a:lnTo>
                    <a:pt x="1442" y="2647"/>
                  </a:lnTo>
                  <a:lnTo>
                    <a:pt x="1485" y="2624"/>
                  </a:lnTo>
                  <a:lnTo>
                    <a:pt x="1528" y="2599"/>
                  </a:lnTo>
                  <a:lnTo>
                    <a:pt x="1571" y="2573"/>
                  </a:lnTo>
                  <a:lnTo>
                    <a:pt x="1656" y="2521"/>
                  </a:lnTo>
                  <a:lnTo>
                    <a:pt x="1736" y="2471"/>
                  </a:lnTo>
                  <a:lnTo>
                    <a:pt x="1806" y="2426"/>
                  </a:lnTo>
                  <a:lnTo>
                    <a:pt x="1862" y="2389"/>
                  </a:lnTo>
                  <a:lnTo>
                    <a:pt x="1912" y="2356"/>
                  </a:lnTo>
                  <a:lnTo>
                    <a:pt x="1392" y="2160"/>
                  </a:lnTo>
                  <a:lnTo>
                    <a:pt x="1259" y="2225"/>
                  </a:lnTo>
                  <a:close/>
                  <a:moveTo>
                    <a:pt x="1462" y="703"/>
                  </a:moveTo>
                  <a:lnTo>
                    <a:pt x="1462" y="703"/>
                  </a:lnTo>
                  <a:lnTo>
                    <a:pt x="1461" y="553"/>
                  </a:lnTo>
                  <a:lnTo>
                    <a:pt x="1461" y="448"/>
                  </a:lnTo>
                  <a:lnTo>
                    <a:pt x="1462" y="411"/>
                  </a:lnTo>
                  <a:lnTo>
                    <a:pt x="1463" y="399"/>
                  </a:lnTo>
                  <a:lnTo>
                    <a:pt x="1464" y="394"/>
                  </a:lnTo>
                  <a:lnTo>
                    <a:pt x="1464" y="394"/>
                  </a:lnTo>
                  <a:lnTo>
                    <a:pt x="1469" y="386"/>
                  </a:lnTo>
                  <a:lnTo>
                    <a:pt x="1474" y="379"/>
                  </a:lnTo>
                  <a:lnTo>
                    <a:pt x="1480" y="368"/>
                  </a:lnTo>
                  <a:lnTo>
                    <a:pt x="1480" y="368"/>
                  </a:lnTo>
                  <a:lnTo>
                    <a:pt x="1483" y="360"/>
                  </a:lnTo>
                  <a:lnTo>
                    <a:pt x="1484" y="351"/>
                  </a:lnTo>
                  <a:lnTo>
                    <a:pt x="1484" y="343"/>
                  </a:lnTo>
                  <a:lnTo>
                    <a:pt x="1483" y="333"/>
                  </a:lnTo>
                  <a:lnTo>
                    <a:pt x="1481" y="320"/>
                  </a:lnTo>
                  <a:lnTo>
                    <a:pt x="1480" y="315"/>
                  </a:lnTo>
                  <a:lnTo>
                    <a:pt x="1298" y="315"/>
                  </a:lnTo>
                  <a:lnTo>
                    <a:pt x="1298" y="315"/>
                  </a:lnTo>
                  <a:lnTo>
                    <a:pt x="1297" y="319"/>
                  </a:lnTo>
                  <a:lnTo>
                    <a:pt x="1296" y="323"/>
                  </a:lnTo>
                  <a:lnTo>
                    <a:pt x="1296" y="335"/>
                  </a:lnTo>
                  <a:lnTo>
                    <a:pt x="1297" y="348"/>
                  </a:lnTo>
                  <a:lnTo>
                    <a:pt x="1299" y="358"/>
                  </a:lnTo>
                  <a:lnTo>
                    <a:pt x="1299" y="358"/>
                  </a:lnTo>
                  <a:lnTo>
                    <a:pt x="1303" y="369"/>
                  </a:lnTo>
                  <a:lnTo>
                    <a:pt x="1309" y="380"/>
                  </a:lnTo>
                  <a:lnTo>
                    <a:pt x="1316" y="391"/>
                  </a:lnTo>
                  <a:lnTo>
                    <a:pt x="1320" y="395"/>
                  </a:lnTo>
                  <a:lnTo>
                    <a:pt x="1325" y="398"/>
                  </a:lnTo>
                  <a:lnTo>
                    <a:pt x="1325" y="703"/>
                  </a:lnTo>
                  <a:lnTo>
                    <a:pt x="1325" y="703"/>
                  </a:lnTo>
                  <a:lnTo>
                    <a:pt x="1321" y="710"/>
                  </a:lnTo>
                  <a:lnTo>
                    <a:pt x="1316" y="717"/>
                  </a:lnTo>
                  <a:lnTo>
                    <a:pt x="1311" y="727"/>
                  </a:lnTo>
                  <a:lnTo>
                    <a:pt x="1306" y="741"/>
                  </a:lnTo>
                  <a:lnTo>
                    <a:pt x="1301" y="758"/>
                  </a:lnTo>
                  <a:lnTo>
                    <a:pt x="1296" y="778"/>
                  </a:lnTo>
                  <a:lnTo>
                    <a:pt x="1292" y="802"/>
                  </a:lnTo>
                  <a:lnTo>
                    <a:pt x="1292" y="802"/>
                  </a:lnTo>
                  <a:lnTo>
                    <a:pt x="1292" y="813"/>
                  </a:lnTo>
                  <a:lnTo>
                    <a:pt x="1292" y="823"/>
                  </a:lnTo>
                  <a:lnTo>
                    <a:pt x="1293" y="833"/>
                  </a:lnTo>
                  <a:lnTo>
                    <a:pt x="1296" y="844"/>
                  </a:lnTo>
                  <a:lnTo>
                    <a:pt x="1302" y="861"/>
                  </a:lnTo>
                  <a:lnTo>
                    <a:pt x="1308" y="877"/>
                  </a:lnTo>
                  <a:lnTo>
                    <a:pt x="1315" y="891"/>
                  </a:lnTo>
                  <a:lnTo>
                    <a:pt x="1321" y="900"/>
                  </a:lnTo>
                  <a:lnTo>
                    <a:pt x="1327" y="909"/>
                  </a:lnTo>
                  <a:lnTo>
                    <a:pt x="1323" y="1165"/>
                  </a:lnTo>
                  <a:lnTo>
                    <a:pt x="1323" y="1165"/>
                  </a:lnTo>
                  <a:lnTo>
                    <a:pt x="1321" y="1167"/>
                  </a:lnTo>
                  <a:lnTo>
                    <a:pt x="1315" y="1174"/>
                  </a:lnTo>
                  <a:lnTo>
                    <a:pt x="1312" y="1179"/>
                  </a:lnTo>
                  <a:lnTo>
                    <a:pt x="1310" y="1186"/>
                  </a:lnTo>
                  <a:lnTo>
                    <a:pt x="1307" y="1194"/>
                  </a:lnTo>
                  <a:lnTo>
                    <a:pt x="1306" y="1203"/>
                  </a:lnTo>
                  <a:lnTo>
                    <a:pt x="1306" y="1203"/>
                  </a:lnTo>
                  <a:lnTo>
                    <a:pt x="1306" y="1213"/>
                  </a:lnTo>
                  <a:lnTo>
                    <a:pt x="1306" y="1221"/>
                  </a:lnTo>
                  <a:lnTo>
                    <a:pt x="1307" y="1234"/>
                  </a:lnTo>
                  <a:lnTo>
                    <a:pt x="1309" y="1241"/>
                  </a:lnTo>
                  <a:lnTo>
                    <a:pt x="1310" y="1243"/>
                  </a:lnTo>
                  <a:lnTo>
                    <a:pt x="1480" y="1243"/>
                  </a:lnTo>
                  <a:lnTo>
                    <a:pt x="1480" y="1243"/>
                  </a:lnTo>
                  <a:lnTo>
                    <a:pt x="1482" y="1235"/>
                  </a:lnTo>
                  <a:lnTo>
                    <a:pt x="1483" y="1221"/>
                  </a:lnTo>
                  <a:lnTo>
                    <a:pt x="1482" y="1204"/>
                  </a:lnTo>
                  <a:lnTo>
                    <a:pt x="1482" y="1196"/>
                  </a:lnTo>
                  <a:lnTo>
                    <a:pt x="1480" y="1188"/>
                  </a:lnTo>
                  <a:lnTo>
                    <a:pt x="1480" y="1188"/>
                  </a:lnTo>
                  <a:lnTo>
                    <a:pt x="1477" y="1179"/>
                  </a:lnTo>
                  <a:lnTo>
                    <a:pt x="1471" y="1172"/>
                  </a:lnTo>
                  <a:lnTo>
                    <a:pt x="1466" y="1166"/>
                  </a:lnTo>
                  <a:lnTo>
                    <a:pt x="1461" y="1161"/>
                  </a:lnTo>
                  <a:lnTo>
                    <a:pt x="1460" y="909"/>
                  </a:lnTo>
                  <a:lnTo>
                    <a:pt x="1460" y="909"/>
                  </a:lnTo>
                  <a:lnTo>
                    <a:pt x="1473" y="888"/>
                  </a:lnTo>
                  <a:lnTo>
                    <a:pt x="1482" y="876"/>
                  </a:lnTo>
                  <a:lnTo>
                    <a:pt x="1488" y="865"/>
                  </a:lnTo>
                  <a:lnTo>
                    <a:pt x="1494" y="852"/>
                  </a:lnTo>
                  <a:lnTo>
                    <a:pt x="1499" y="837"/>
                  </a:lnTo>
                  <a:lnTo>
                    <a:pt x="1502" y="822"/>
                  </a:lnTo>
                  <a:lnTo>
                    <a:pt x="1503" y="814"/>
                  </a:lnTo>
                  <a:lnTo>
                    <a:pt x="1503" y="806"/>
                  </a:lnTo>
                  <a:lnTo>
                    <a:pt x="1503" y="806"/>
                  </a:lnTo>
                  <a:lnTo>
                    <a:pt x="1503" y="797"/>
                  </a:lnTo>
                  <a:lnTo>
                    <a:pt x="1502" y="788"/>
                  </a:lnTo>
                  <a:lnTo>
                    <a:pt x="1498" y="773"/>
                  </a:lnTo>
                  <a:lnTo>
                    <a:pt x="1493" y="758"/>
                  </a:lnTo>
                  <a:lnTo>
                    <a:pt x="1487" y="743"/>
                  </a:lnTo>
                  <a:lnTo>
                    <a:pt x="1481" y="731"/>
                  </a:lnTo>
                  <a:lnTo>
                    <a:pt x="1473" y="720"/>
                  </a:lnTo>
                  <a:lnTo>
                    <a:pt x="1462" y="703"/>
                  </a:lnTo>
                  <a:close/>
                  <a:moveTo>
                    <a:pt x="1843" y="953"/>
                  </a:moveTo>
                  <a:lnTo>
                    <a:pt x="2130" y="663"/>
                  </a:lnTo>
                  <a:lnTo>
                    <a:pt x="2130" y="663"/>
                  </a:lnTo>
                  <a:lnTo>
                    <a:pt x="1946" y="660"/>
                  </a:lnTo>
                  <a:lnTo>
                    <a:pt x="1837" y="659"/>
                  </a:lnTo>
                  <a:lnTo>
                    <a:pt x="1715" y="658"/>
                  </a:lnTo>
                  <a:lnTo>
                    <a:pt x="1715" y="658"/>
                  </a:lnTo>
                  <a:lnTo>
                    <a:pt x="1708" y="657"/>
                  </a:lnTo>
                  <a:lnTo>
                    <a:pt x="1698" y="655"/>
                  </a:lnTo>
                  <a:lnTo>
                    <a:pt x="1687" y="651"/>
                  </a:lnTo>
                  <a:lnTo>
                    <a:pt x="1676" y="646"/>
                  </a:lnTo>
                  <a:lnTo>
                    <a:pt x="1650" y="634"/>
                  </a:lnTo>
                  <a:lnTo>
                    <a:pt x="1623" y="620"/>
                  </a:lnTo>
                  <a:lnTo>
                    <a:pt x="1597" y="606"/>
                  </a:lnTo>
                  <a:lnTo>
                    <a:pt x="1576" y="596"/>
                  </a:lnTo>
                  <a:lnTo>
                    <a:pt x="1566" y="592"/>
                  </a:lnTo>
                  <a:lnTo>
                    <a:pt x="1558" y="591"/>
                  </a:lnTo>
                  <a:lnTo>
                    <a:pt x="1553" y="590"/>
                  </a:lnTo>
                  <a:lnTo>
                    <a:pt x="1551" y="591"/>
                  </a:lnTo>
                  <a:lnTo>
                    <a:pt x="1550" y="592"/>
                  </a:lnTo>
                  <a:lnTo>
                    <a:pt x="1550" y="592"/>
                  </a:lnTo>
                  <a:lnTo>
                    <a:pt x="1535" y="628"/>
                  </a:lnTo>
                  <a:lnTo>
                    <a:pt x="1514" y="681"/>
                  </a:lnTo>
                  <a:lnTo>
                    <a:pt x="1514" y="681"/>
                  </a:lnTo>
                  <a:lnTo>
                    <a:pt x="1523" y="691"/>
                  </a:lnTo>
                  <a:lnTo>
                    <a:pt x="1532" y="703"/>
                  </a:lnTo>
                  <a:lnTo>
                    <a:pt x="1542" y="719"/>
                  </a:lnTo>
                  <a:lnTo>
                    <a:pt x="1551" y="737"/>
                  </a:lnTo>
                  <a:lnTo>
                    <a:pt x="1556" y="747"/>
                  </a:lnTo>
                  <a:lnTo>
                    <a:pt x="1560" y="759"/>
                  </a:lnTo>
                  <a:lnTo>
                    <a:pt x="1563" y="770"/>
                  </a:lnTo>
                  <a:lnTo>
                    <a:pt x="1565" y="781"/>
                  </a:lnTo>
                  <a:lnTo>
                    <a:pt x="1568" y="793"/>
                  </a:lnTo>
                  <a:lnTo>
                    <a:pt x="1568" y="806"/>
                  </a:lnTo>
                  <a:lnTo>
                    <a:pt x="1568" y="806"/>
                  </a:lnTo>
                  <a:lnTo>
                    <a:pt x="1566" y="825"/>
                  </a:lnTo>
                  <a:lnTo>
                    <a:pt x="1564" y="838"/>
                  </a:lnTo>
                  <a:lnTo>
                    <a:pt x="1561" y="855"/>
                  </a:lnTo>
                  <a:lnTo>
                    <a:pt x="1558" y="864"/>
                  </a:lnTo>
                  <a:lnTo>
                    <a:pt x="1555" y="873"/>
                  </a:lnTo>
                  <a:lnTo>
                    <a:pt x="1551" y="883"/>
                  </a:lnTo>
                  <a:lnTo>
                    <a:pt x="1545" y="894"/>
                  </a:lnTo>
                  <a:lnTo>
                    <a:pt x="1539" y="903"/>
                  </a:lnTo>
                  <a:lnTo>
                    <a:pt x="1532" y="914"/>
                  </a:lnTo>
                  <a:lnTo>
                    <a:pt x="1524" y="924"/>
                  </a:lnTo>
                  <a:lnTo>
                    <a:pt x="1513" y="935"/>
                  </a:lnTo>
                  <a:lnTo>
                    <a:pt x="1513" y="935"/>
                  </a:lnTo>
                  <a:lnTo>
                    <a:pt x="1536" y="981"/>
                  </a:lnTo>
                  <a:lnTo>
                    <a:pt x="1553" y="1013"/>
                  </a:lnTo>
                  <a:lnTo>
                    <a:pt x="1560" y="1025"/>
                  </a:lnTo>
                  <a:lnTo>
                    <a:pt x="1565" y="1032"/>
                  </a:lnTo>
                  <a:lnTo>
                    <a:pt x="1565" y="1032"/>
                  </a:lnTo>
                  <a:lnTo>
                    <a:pt x="1580" y="1023"/>
                  </a:lnTo>
                  <a:lnTo>
                    <a:pt x="1597" y="1013"/>
                  </a:lnTo>
                  <a:lnTo>
                    <a:pt x="1618" y="1002"/>
                  </a:lnTo>
                  <a:lnTo>
                    <a:pt x="1642" y="990"/>
                  </a:lnTo>
                  <a:lnTo>
                    <a:pt x="1669" y="978"/>
                  </a:lnTo>
                  <a:lnTo>
                    <a:pt x="1696" y="968"/>
                  </a:lnTo>
                  <a:lnTo>
                    <a:pt x="1711" y="964"/>
                  </a:lnTo>
                  <a:lnTo>
                    <a:pt x="1724" y="961"/>
                  </a:lnTo>
                  <a:lnTo>
                    <a:pt x="1724" y="961"/>
                  </a:lnTo>
                  <a:lnTo>
                    <a:pt x="1737" y="959"/>
                  </a:lnTo>
                  <a:lnTo>
                    <a:pt x="1761" y="957"/>
                  </a:lnTo>
                  <a:lnTo>
                    <a:pt x="1843" y="953"/>
                  </a:lnTo>
                  <a:close/>
                  <a:moveTo>
                    <a:pt x="3120" y="962"/>
                  </a:moveTo>
                  <a:lnTo>
                    <a:pt x="3486" y="484"/>
                  </a:lnTo>
                  <a:lnTo>
                    <a:pt x="3486" y="484"/>
                  </a:lnTo>
                  <a:lnTo>
                    <a:pt x="3479" y="482"/>
                  </a:lnTo>
                  <a:lnTo>
                    <a:pt x="3469" y="481"/>
                  </a:lnTo>
                  <a:lnTo>
                    <a:pt x="3458" y="480"/>
                  </a:lnTo>
                  <a:lnTo>
                    <a:pt x="3445" y="480"/>
                  </a:lnTo>
                  <a:lnTo>
                    <a:pt x="3428" y="483"/>
                  </a:lnTo>
                  <a:lnTo>
                    <a:pt x="3420" y="485"/>
                  </a:lnTo>
                  <a:lnTo>
                    <a:pt x="3412" y="488"/>
                  </a:lnTo>
                  <a:lnTo>
                    <a:pt x="3403" y="492"/>
                  </a:lnTo>
                  <a:lnTo>
                    <a:pt x="3394" y="496"/>
                  </a:lnTo>
                  <a:lnTo>
                    <a:pt x="3394" y="496"/>
                  </a:lnTo>
                  <a:lnTo>
                    <a:pt x="3385" y="502"/>
                  </a:lnTo>
                  <a:lnTo>
                    <a:pt x="3376" y="508"/>
                  </a:lnTo>
                  <a:lnTo>
                    <a:pt x="3369" y="515"/>
                  </a:lnTo>
                  <a:lnTo>
                    <a:pt x="3363" y="523"/>
                  </a:lnTo>
                  <a:lnTo>
                    <a:pt x="3358" y="532"/>
                  </a:lnTo>
                  <a:lnTo>
                    <a:pt x="3353" y="540"/>
                  </a:lnTo>
                  <a:lnTo>
                    <a:pt x="3349" y="548"/>
                  </a:lnTo>
                  <a:lnTo>
                    <a:pt x="3346" y="557"/>
                  </a:lnTo>
                  <a:lnTo>
                    <a:pt x="3341" y="574"/>
                  </a:lnTo>
                  <a:lnTo>
                    <a:pt x="3337" y="589"/>
                  </a:lnTo>
                  <a:lnTo>
                    <a:pt x="3336" y="600"/>
                  </a:lnTo>
                  <a:lnTo>
                    <a:pt x="3337" y="605"/>
                  </a:lnTo>
                  <a:lnTo>
                    <a:pt x="3338" y="608"/>
                  </a:lnTo>
                  <a:lnTo>
                    <a:pt x="3338" y="608"/>
                  </a:lnTo>
                  <a:lnTo>
                    <a:pt x="3334" y="599"/>
                  </a:lnTo>
                  <a:lnTo>
                    <a:pt x="3330" y="592"/>
                  </a:lnTo>
                  <a:lnTo>
                    <a:pt x="3325" y="585"/>
                  </a:lnTo>
                  <a:lnTo>
                    <a:pt x="3320" y="579"/>
                  </a:lnTo>
                  <a:lnTo>
                    <a:pt x="3315" y="574"/>
                  </a:lnTo>
                  <a:lnTo>
                    <a:pt x="3310" y="568"/>
                  </a:lnTo>
                  <a:lnTo>
                    <a:pt x="3304" y="564"/>
                  </a:lnTo>
                  <a:lnTo>
                    <a:pt x="3299" y="561"/>
                  </a:lnTo>
                  <a:lnTo>
                    <a:pt x="3286" y="556"/>
                  </a:lnTo>
                  <a:lnTo>
                    <a:pt x="3273" y="554"/>
                  </a:lnTo>
                  <a:lnTo>
                    <a:pt x="3261" y="553"/>
                  </a:lnTo>
                  <a:lnTo>
                    <a:pt x="3249" y="554"/>
                  </a:lnTo>
                  <a:lnTo>
                    <a:pt x="3236" y="556"/>
                  </a:lnTo>
                  <a:lnTo>
                    <a:pt x="3225" y="558"/>
                  </a:lnTo>
                  <a:lnTo>
                    <a:pt x="3214" y="562"/>
                  </a:lnTo>
                  <a:lnTo>
                    <a:pt x="3206" y="565"/>
                  </a:lnTo>
                  <a:lnTo>
                    <a:pt x="3192" y="572"/>
                  </a:lnTo>
                  <a:lnTo>
                    <a:pt x="3187" y="574"/>
                  </a:lnTo>
                  <a:lnTo>
                    <a:pt x="3187" y="574"/>
                  </a:lnTo>
                  <a:lnTo>
                    <a:pt x="3199" y="594"/>
                  </a:lnTo>
                  <a:lnTo>
                    <a:pt x="3209" y="613"/>
                  </a:lnTo>
                  <a:lnTo>
                    <a:pt x="3215" y="632"/>
                  </a:lnTo>
                  <a:lnTo>
                    <a:pt x="3219" y="647"/>
                  </a:lnTo>
                  <a:lnTo>
                    <a:pt x="3220" y="663"/>
                  </a:lnTo>
                  <a:lnTo>
                    <a:pt x="3220" y="675"/>
                  </a:lnTo>
                  <a:lnTo>
                    <a:pt x="3218" y="687"/>
                  </a:lnTo>
                  <a:lnTo>
                    <a:pt x="3214" y="696"/>
                  </a:lnTo>
                  <a:lnTo>
                    <a:pt x="3209" y="705"/>
                  </a:lnTo>
                  <a:lnTo>
                    <a:pt x="3203" y="712"/>
                  </a:lnTo>
                  <a:lnTo>
                    <a:pt x="3194" y="718"/>
                  </a:lnTo>
                  <a:lnTo>
                    <a:pt x="3186" y="722"/>
                  </a:lnTo>
                  <a:lnTo>
                    <a:pt x="3178" y="724"/>
                  </a:lnTo>
                  <a:lnTo>
                    <a:pt x="3169" y="725"/>
                  </a:lnTo>
                  <a:lnTo>
                    <a:pt x="3160" y="725"/>
                  </a:lnTo>
                  <a:lnTo>
                    <a:pt x="3150" y="724"/>
                  </a:lnTo>
                  <a:lnTo>
                    <a:pt x="3150" y="724"/>
                  </a:lnTo>
                  <a:lnTo>
                    <a:pt x="3138" y="720"/>
                  </a:lnTo>
                  <a:lnTo>
                    <a:pt x="3129" y="715"/>
                  </a:lnTo>
                  <a:lnTo>
                    <a:pt x="3121" y="709"/>
                  </a:lnTo>
                  <a:lnTo>
                    <a:pt x="3114" y="702"/>
                  </a:lnTo>
                  <a:lnTo>
                    <a:pt x="3108" y="695"/>
                  </a:lnTo>
                  <a:lnTo>
                    <a:pt x="3104" y="688"/>
                  </a:lnTo>
                  <a:lnTo>
                    <a:pt x="3100" y="680"/>
                  </a:lnTo>
                  <a:lnTo>
                    <a:pt x="3098" y="673"/>
                  </a:lnTo>
                  <a:lnTo>
                    <a:pt x="3095" y="658"/>
                  </a:lnTo>
                  <a:lnTo>
                    <a:pt x="3095" y="646"/>
                  </a:lnTo>
                  <a:lnTo>
                    <a:pt x="3095" y="638"/>
                  </a:lnTo>
                  <a:lnTo>
                    <a:pt x="3095" y="635"/>
                  </a:lnTo>
                  <a:lnTo>
                    <a:pt x="3095" y="635"/>
                  </a:lnTo>
                  <a:lnTo>
                    <a:pt x="3092" y="637"/>
                  </a:lnTo>
                  <a:lnTo>
                    <a:pt x="3084" y="643"/>
                  </a:lnTo>
                  <a:lnTo>
                    <a:pt x="3072" y="650"/>
                  </a:lnTo>
                  <a:lnTo>
                    <a:pt x="3064" y="653"/>
                  </a:lnTo>
                  <a:lnTo>
                    <a:pt x="3056" y="656"/>
                  </a:lnTo>
                  <a:lnTo>
                    <a:pt x="3047" y="658"/>
                  </a:lnTo>
                  <a:lnTo>
                    <a:pt x="3038" y="659"/>
                  </a:lnTo>
                  <a:lnTo>
                    <a:pt x="3028" y="659"/>
                  </a:lnTo>
                  <a:lnTo>
                    <a:pt x="3018" y="658"/>
                  </a:lnTo>
                  <a:lnTo>
                    <a:pt x="3008" y="655"/>
                  </a:lnTo>
                  <a:lnTo>
                    <a:pt x="2999" y="650"/>
                  </a:lnTo>
                  <a:lnTo>
                    <a:pt x="2989" y="643"/>
                  </a:lnTo>
                  <a:lnTo>
                    <a:pt x="2980" y="634"/>
                  </a:lnTo>
                  <a:lnTo>
                    <a:pt x="2980" y="634"/>
                  </a:lnTo>
                  <a:lnTo>
                    <a:pt x="2973" y="625"/>
                  </a:lnTo>
                  <a:lnTo>
                    <a:pt x="2969" y="616"/>
                  </a:lnTo>
                  <a:lnTo>
                    <a:pt x="2967" y="607"/>
                  </a:lnTo>
                  <a:lnTo>
                    <a:pt x="2968" y="598"/>
                  </a:lnTo>
                  <a:lnTo>
                    <a:pt x="2969" y="589"/>
                  </a:lnTo>
                  <a:lnTo>
                    <a:pt x="2973" y="581"/>
                  </a:lnTo>
                  <a:lnTo>
                    <a:pt x="2980" y="572"/>
                  </a:lnTo>
                  <a:lnTo>
                    <a:pt x="2987" y="564"/>
                  </a:lnTo>
                  <a:lnTo>
                    <a:pt x="2996" y="557"/>
                  </a:lnTo>
                  <a:lnTo>
                    <a:pt x="3006" y="550"/>
                  </a:lnTo>
                  <a:lnTo>
                    <a:pt x="3019" y="544"/>
                  </a:lnTo>
                  <a:lnTo>
                    <a:pt x="3033" y="540"/>
                  </a:lnTo>
                  <a:lnTo>
                    <a:pt x="3048" y="536"/>
                  </a:lnTo>
                  <a:lnTo>
                    <a:pt x="3065" y="533"/>
                  </a:lnTo>
                  <a:lnTo>
                    <a:pt x="3083" y="532"/>
                  </a:lnTo>
                  <a:lnTo>
                    <a:pt x="3102" y="531"/>
                  </a:lnTo>
                  <a:lnTo>
                    <a:pt x="3102" y="531"/>
                  </a:lnTo>
                  <a:lnTo>
                    <a:pt x="3103" y="520"/>
                  </a:lnTo>
                  <a:lnTo>
                    <a:pt x="3102" y="509"/>
                  </a:lnTo>
                  <a:lnTo>
                    <a:pt x="3099" y="494"/>
                  </a:lnTo>
                  <a:lnTo>
                    <a:pt x="3096" y="486"/>
                  </a:lnTo>
                  <a:lnTo>
                    <a:pt x="3093" y="477"/>
                  </a:lnTo>
                  <a:lnTo>
                    <a:pt x="3089" y="469"/>
                  </a:lnTo>
                  <a:lnTo>
                    <a:pt x="3084" y="460"/>
                  </a:lnTo>
                  <a:lnTo>
                    <a:pt x="3078" y="451"/>
                  </a:lnTo>
                  <a:lnTo>
                    <a:pt x="3071" y="443"/>
                  </a:lnTo>
                  <a:lnTo>
                    <a:pt x="3061" y="435"/>
                  </a:lnTo>
                  <a:lnTo>
                    <a:pt x="3051" y="426"/>
                  </a:lnTo>
                  <a:lnTo>
                    <a:pt x="3051" y="426"/>
                  </a:lnTo>
                  <a:lnTo>
                    <a:pt x="3043" y="421"/>
                  </a:lnTo>
                  <a:lnTo>
                    <a:pt x="3034" y="417"/>
                  </a:lnTo>
                  <a:lnTo>
                    <a:pt x="3024" y="415"/>
                  </a:lnTo>
                  <a:lnTo>
                    <a:pt x="3014" y="413"/>
                  </a:lnTo>
                  <a:lnTo>
                    <a:pt x="3004" y="412"/>
                  </a:lnTo>
                  <a:lnTo>
                    <a:pt x="2995" y="412"/>
                  </a:lnTo>
                  <a:lnTo>
                    <a:pt x="2977" y="414"/>
                  </a:lnTo>
                  <a:lnTo>
                    <a:pt x="2960" y="418"/>
                  </a:lnTo>
                  <a:lnTo>
                    <a:pt x="2947" y="421"/>
                  </a:lnTo>
                  <a:lnTo>
                    <a:pt x="2936" y="425"/>
                  </a:lnTo>
                  <a:lnTo>
                    <a:pt x="2936" y="425"/>
                  </a:lnTo>
                  <a:lnTo>
                    <a:pt x="2943" y="421"/>
                  </a:lnTo>
                  <a:lnTo>
                    <a:pt x="2951" y="415"/>
                  </a:lnTo>
                  <a:lnTo>
                    <a:pt x="2960" y="408"/>
                  </a:lnTo>
                  <a:lnTo>
                    <a:pt x="2970" y="397"/>
                  </a:lnTo>
                  <a:lnTo>
                    <a:pt x="2980" y="384"/>
                  </a:lnTo>
                  <a:lnTo>
                    <a:pt x="2984" y="376"/>
                  </a:lnTo>
                  <a:lnTo>
                    <a:pt x="2988" y="369"/>
                  </a:lnTo>
                  <a:lnTo>
                    <a:pt x="2991" y="360"/>
                  </a:lnTo>
                  <a:lnTo>
                    <a:pt x="2993" y="351"/>
                  </a:lnTo>
                  <a:lnTo>
                    <a:pt x="2993" y="351"/>
                  </a:lnTo>
                  <a:lnTo>
                    <a:pt x="2995" y="336"/>
                  </a:lnTo>
                  <a:lnTo>
                    <a:pt x="2994" y="320"/>
                  </a:lnTo>
                  <a:lnTo>
                    <a:pt x="2992" y="303"/>
                  </a:lnTo>
                  <a:lnTo>
                    <a:pt x="2988" y="285"/>
                  </a:lnTo>
                  <a:lnTo>
                    <a:pt x="2981" y="267"/>
                  </a:lnTo>
                  <a:lnTo>
                    <a:pt x="2972" y="249"/>
                  </a:lnTo>
                  <a:lnTo>
                    <a:pt x="2961" y="232"/>
                  </a:lnTo>
                  <a:lnTo>
                    <a:pt x="2955" y="223"/>
                  </a:lnTo>
                  <a:lnTo>
                    <a:pt x="2948" y="216"/>
                  </a:lnTo>
                  <a:lnTo>
                    <a:pt x="2947" y="214"/>
                  </a:lnTo>
                  <a:lnTo>
                    <a:pt x="2944" y="214"/>
                  </a:lnTo>
                  <a:lnTo>
                    <a:pt x="2944" y="214"/>
                  </a:lnTo>
                  <a:lnTo>
                    <a:pt x="2934" y="214"/>
                  </a:lnTo>
                  <a:lnTo>
                    <a:pt x="2923" y="215"/>
                  </a:lnTo>
                  <a:lnTo>
                    <a:pt x="2903" y="219"/>
                  </a:lnTo>
                  <a:lnTo>
                    <a:pt x="2885" y="224"/>
                  </a:lnTo>
                  <a:lnTo>
                    <a:pt x="2866" y="232"/>
                  </a:lnTo>
                  <a:lnTo>
                    <a:pt x="2851" y="240"/>
                  </a:lnTo>
                  <a:lnTo>
                    <a:pt x="2836" y="250"/>
                  </a:lnTo>
                  <a:lnTo>
                    <a:pt x="2824" y="261"/>
                  </a:lnTo>
                  <a:lnTo>
                    <a:pt x="2814" y="272"/>
                  </a:lnTo>
                  <a:lnTo>
                    <a:pt x="2814" y="272"/>
                  </a:lnTo>
                  <a:lnTo>
                    <a:pt x="2809" y="280"/>
                  </a:lnTo>
                  <a:lnTo>
                    <a:pt x="2805" y="288"/>
                  </a:lnTo>
                  <a:lnTo>
                    <a:pt x="2802" y="297"/>
                  </a:lnTo>
                  <a:lnTo>
                    <a:pt x="2799" y="305"/>
                  </a:lnTo>
                  <a:lnTo>
                    <a:pt x="2796" y="320"/>
                  </a:lnTo>
                  <a:lnTo>
                    <a:pt x="2795" y="334"/>
                  </a:lnTo>
                  <a:lnTo>
                    <a:pt x="2795" y="347"/>
                  </a:lnTo>
                  <a:lnTo>
                    <a:pt x="2796" y="357"/>
                  </a:lnTo>
                  <a:lnTo>
                    <a:pt x="2798" y="365"/>
                  </a:lnTo>
                  <a:lnTo>
                    <a:pt x="2798" y="365"/>
                  </a:lnTo>
                  <a:lnTo>
                    <a:pt x="2792" y="354"/>
                  </a:lnTo>
                  <a:lnTo>
                    <a:pt x="2787" y="341"/>
                  </a:lnTo>
                  <a:lnTo>
                    <a:pt x="2778" y="327"/>
                  </a:lnTo>
                  <a:lnTo>
                    <a:pt x="2767" y="313"/>
                  </a:lnTo>
                  <a:lnTo>
                    <a:pt x="2761" y="306"/>
                  </a:lnTo>
                  <a:lnTo>
                    <a:pt x="2754" y="299"/>
                  </a:lnTo>
                  <a:lnTo>
                    <a:pt x="2746" y="292"/>
                  </a:lnTo>
                  <a:lnTo>
                    <a:pt x="2737" y="287"/>
                  </a:lnTo>
                  <a:lnTo>
                    <a:pt x="2729" y="283"/>
                  </a:lnTo>
                  <a:lnTo>
                    <a:pt x="2719" y="281"/>
                  </a:lnTo>
                  <a:lnTo>
                    <a:pt x="2719" y="281"/>
                  </a:lnTo>
                  <a:lnTo>
                    <a:pt x="2707" y="278"/>
                  </a:lnTo>
                  <a:lnTo>
                    <a:pt x="2694" y="278"/>
                  </a:lnTo>
                  <a:lnTo>
                    <a:pt x="2683" y="278"/>
                  </a:lnTo>
                  <a:lnTo>
                    <a:pt x="2672" y="279"/>
                  </a:lnTo>
                  <a:lnTo>
                    <a:pt x="2663" y="281"/>
                  </a:lnTo>
                  <a:lnTo>
                    <a:pt x="2653" y="284"/>
                  </a:lnTo>
                  <a:lnTo>
                    <a:pt x="2644" y="287"/>
                  </a:lnTo>
                  <a:lnTo>
                    <a:pt x="2637" y="291"/>
                  </a:lnTo>
                  <a:lnTo>
                    <a:pt x="2624" y="300"/>
                  </a:lnTo>
                  <a:lnTo>
                    <a:pt x="2615" y="307"/>
                  </a:lnTo>
                  <a:lnTo>
                    <a:pt x="2607" y="314"/>
                  </a:lnTo>
                  <a:lnTo>
                    <a:pt x="2607" y="314"/>
                  </a:lnTo>
                  <a:lnTo>
                    <a:pt x="2621" y="328"/>
                  </a:lnTo>
                  <a:lnTo>
                    <a:pt x="2632" y="343"/>
                  </a:lnTo>
                  <a:lnTo>
                    <a:pt x="2641" y="357"/>
                  </a:lnTo>
                  <a:lnTo>
                    <a:pt x="2648" y="371"/>
                  </a:lnTo>
                  <a:lnTo>
                    <a:pt x="2654" y="384"/>
                  </a:lnTo>
                  <a:lnTo>
                    <a:pt x="2659" y="398"/>
                  </a:lnTo>
                  <a:lnTo>
                    <a:pt x="2661" y="410"/>
                  </a:lnTo>
                  <a:lnTo>
                    <a:pt x="2662" y="421"/>
                  </a:lnTo>
                  <a:lnTo>
                    <a:pt x="2661" y="432"/>
                  </a:lnTo>
                  <a:lnTo>
                    <a:pt x="2659" y="442"/>
                  </a:lnTo>
                  <a:lnTo>
                    <a:pt x="2654" y="451"/>
                  </a:lnTo>
                  <a:lnTo>
                    <a:pt x="2649" y="458"/>
                  </a:lnTo>
                  <a:lnTo>
                    <a:pt x="2642" y="464"/>
                  </a:lnTo>
                  <a:lnTo>
                    <a:pt x="2635" y="469"/>
                  </a:lnTo>
                  <a:lnTo>
                    <a:pt x="2626" y="472"/>
                  </a:lnTo>
                  <a:lnTo>
                    <a:pt x="2616" y="473"/>
                  </a:lnTo>
                  <a:lnTo>
                    <a:pt x="2616" y="473"/>
                  </a:lnTo>
                  <a:lnTo>
                    <a:pt x="2601" y="473"/>
                  </a:lnTo>
                  <a:lnTo>
                    <a:pt x="2590" y="471"/>
                  </a:lnTo>
                  <a:lnTo>
                    <a:pt x="2580" y="467"/>
                  </a:lnTo>
                  <a:lnTo>
                    <a:pt x="2571" y="462"/>
                  </a:lnTo>
                  <a:lnTo>
                    <a:pt x="2562" y="456"/>
                  </a:lnTo>
                  <a:lnTo>
                    <a:pt x="2556" y="449"/>
                  </a:lnTo>
                  <a:lnTo>
                    <a:pt x="2551" y="441"/>
                  </a:lnTo>
                  <a:lnTo>
                    <a:pt x="2547" y="432"/>
                  </a:lnTo>
                  <a:lnTo>
                    <a:pt x="2543" y="424"/>
                  </a:lnTo>
                  <a:lnTo>
                    <a:pt x="2541" y="417"/>
                  </a:lnTo>
                  <a:lnTo>
                    <a:pt x="2538" y="403"/>
                  </a:lnTo>
                  <a:lnTo>
                    <a:pt x="2536" y="393"/>
                  </a:lnTo>
                  <a:lnTo>
                    <a:pt x="2536" y="390"/>
                  </a:lnTo>
                  <a:lnTo>
                    <a:pt x="2536" y="390"/>
                  </a:lnTo>
                  <a:lnTo>
                    <a:pt x="2534" y="392"/>
                  </a:lnTo>
                  <a:lnTo>
                    <a:pt x="2528" y="398"/>
                  </a:lnTo>
                  <a:lnTo>
                    <a:pt x="2518" y="405"/>
                  </a:lnTo>
                  <a:lnTo>
                    <a:pt x="2506" y="413"/>
                  </a:lnTo>
                  <a:lnTo>
                    <a:pt x="2499" y="416"/>
                  </a:lnTo>
                  <a:lnTo>
                    <a:pt x="2491" y="419"/>
                  </a:lnTo>
                  <a:lnTo>
                    <a:pt x="2483" y="420"/>
                  </a:lnTo>
                  <a:lnTo>
                    <a:pt x="2473" y="421"/>
                  </a:lnTo>
                  <a:lnTo>
                    <a:pt x="2464" y="421"/>
                  </a:lnTo>
                  <a:lnTo>
                    <a:pt x="2454" y="419"/>
                  </a:lnTo>
                  <a:lnTo>
                    <a:pt x="2444" y="415"/>
                  </a:lnTo>
                  <a:lnTo>
                    <a:pt x="2434" y="409"/>
                  </a:lnTo>
                  <a:lnTo>
                    <a:pt x="2434" y="409"/>
                  </a:lnTo>
                  <a:lnTo>
                    <a:pt x="2426" y="404"/>
                  </a:lnTo>
                  <a:lnTo>
                    <a:pt x="2419" y="397"/>
                  </a:lnTo>
                  <a:lnTo>
                    <a:pt x="2414" y="390"/>
                  </a:lnTo>
                  <a:lnTo>
                    <a:pt x="2410" y="381"/>
                  </a:lnTo>
                  <a:lnTo>
                    <a:pt x="2408" y="372"/>
                  </a:lnTo>
                  <a:lnTo>
                    <a:pt x="2407" y="363"/>
                  </a:lnTo>
                  <a:lnTo>
                    <a:pt x="2407" y="354"/>
                  </a:lnTo>
                  <a:lnTo>
                    <a:pt x="2410" y="345"/>
                  </a:lnTo>
                  <a:lnTo>
                    <a:pt x="2415" y="334"/>
                  </a:lnTo>
                  <a:lnTo>
                    <a:pt x="2421" y="325"/>
                  </a:lnTo>
                  <a:lnTo>
                    <a:pt x="2432" y="316"/>
                  </a:lnTo>
                  <a:lnTo>
                    <a:pt x="2443" y="308"/>
                  </a:lnTo>
                  <a:lnTo>
                    <a:pt x="2457" y="300"/>
                  </a:lnTo>
                  <a:lnTo>
                    <a:pt x="2474" y="292"/>
                  </a:lnTo>
                  <a:lnTo>
                    <a:pt x="2495" y="286"/>
                  </a:lnTo>
                  <a:lnTo>
                    <a:pt x="2518" y="280"/>
                  </a:lnTo>
                  <a:lnTo>
                    <a:pt x="2518" y="280"/>
                  </a:lnTo>
                  <a:lnTo>
                    <a:pt x="2517" y="275"/>
                  </a:lnTo>
                  <a:lnTo>
                    <a:pt x="2512" y="262"/>
                  </a:lnTo>
                  <a:lnTo>
                    <a:pt x="2509" y="253"/>
                  </a:lnTo>
                  <a:lnTo>
                    <a:pt x="2504" y="242"/>
                  </a:lnTo>
                  <a:lnTo>
                    <a:pt x="2499" y="232"/>
                  </a:lnTo>
                  <a:lnTo>
                    <a:pt x="2492" y="222"/>
                  </a:lnTo>
                  <a:lnTo>
                    <a:pt x="2484" y="213"/>
                  </a:lnTo>
                  <a:lnTo>
                    <a:pt x="2474" y="203"/>
                  </a:lnTo>
                  <a:lnTo>
                    <a:pt x="2464" y="196"/>
                  </a:lnTo>
                  <a:lnTo>
                    <a:pt x="2452" y="190"/>
                  </a:lnTo>
                  <a:lnTo>
                    <a:pt x="2446" y="188"/>
                  </a:lnTo>
                  <a:lnTo>
                    <a:pt x="2440" y="187"/>
                  </a:lnTo>
                  <a:lnTo>
                    <a:pt x="2433" y="186"/>
                  </a:lnTo>
                  <a:lnTo>
                    <a:pt x="2424" y="185"/>
                  </a:lnTo>
                  <a:lnTo>
                    <a:pt x="2417" y="186"/>
                  </a:lnTo>
                  <a:lnTo>
                    <a:pt x="2408" y="187"/>
                  </a:lnTo>
                  <a:lnTo>
                    <a:pt x="2400" y="190"/>
                  </a:lnTo>
                  <a:lnTo>
                    <a:pt x="2391" y="193"/>
                  </a:lnTo>
                  <a:lnTo>
                    <a:pt x="2391" y="193"/>
                  </a:lnTo>
                  <a:lnTo>
                    <a:pt x="2394" y="191"/>
                  </a:lnTo>
                  <a:lnTo>
                    <a:pt x="2398" y="188"/>
                  </a:lnTo>
                  <a:lnTo>
                    <a:pt x="2406" y="180"/>
                  </a:lnTo>
                  <a:lnTo>
                    <a:pt x="2415" y="168"/>
                  </a:lnTo>
                  <a:lnTo>
                    <a:pt x="2423" y="153"/>
                  </a:lnTo>
                  <a:lnTo>
                    <a:pt x="2427" y="144"/>
                  </a:lnTo>
                  <a:lnTo>
                    <a:pt x="2432" y="136"/>
                  </a:lnTo>
                  <a:lnTo>
                    <a:pt x="2435" y="127"/>
                  </a:lnTo>
                  <a:lnTo>
                    <a:pt x="2437" y="117"/>
                  </a:lnTo>
                  <a:lnTo>
                    <a:pt x="2438" y="106"/>
                  </a:lnTo>
                  <a:lnTo>
                    <a:pt x="2439" y="97"/>
                  </a:lnTo>
                  <a:lnTo>
                    <a:pt x="2438" y="86"/>
                  </a:lnTo>
                  <a:lnTo>
                    <a:pt x="2436" y="76"/>
                  </a:lnTo>
                  <a:lnTo>
                    <a:pt x="2436" y="76"/>
                  </a:lnTo>
                  <a:lnTo>
                    <a:pt x="2434" y="66"/>
                  </a:lnTo>
                  <a:lnTo>
                    <a:pt x="2429" y="57"/>
                  </a:lnTo>
                  <a:lnTo>
                    <a:pt x="2426" y="49"/>
                  </a:lnTo>
                  <a:lnTo>
                    <a:pt x="2422" y="41"/>
                  </a:lnTo>
                  <a:lnTo>
                    <a:pt x="2413" y="28"/>
                  </a:lnTo>
                  <a:lnTo>
                    <a:pt x="2404" y="17"/>
                  </a:lnTo>
                  <a:lnTo>
                    <a:pt x="2396" y="9"/>
                  </a:lnTo>
                  <a:lnTo>
                    <a:pt x="2389" y="4"/>
                  </a:lnTo>
                  <a:lnTo>
                    <a:pt x="2382" y="0"/>
                  </a:lnTo>
                  <a:lnTo>
                    <a:pt x="2279" y="593"/>
                  </a:lnTo>
                  <a:lnTo>
                    <a:pt x="2548" y="712"/>
                  </a:lnTo>
                  <a:lnTo>
                    <a:pt x="2548" y="712"/>
                  </a:lnTo>
                  <a:lnTo>
                    <a:pt x="2572" y="693"/>
                  </a:lnTo>
                  <a:lnTo>
                    <a:pt x="2594" y="677"/>
                  </a:lnTo>
                  <a:lnTo>
                    <a:pt x="2615" y="665"/>
                  </a:lnTo>
                  <a:lnTo>
                    <a:pt x="2633" y="656"/>
                  </a:lnTo>
                  <a:lnTo>
                    <a:pt x="2633" y="656"/>
                  </a:lnTo>
                  <a:lnTo>
                    <a:pt x="2646" y="650"/>
                  </a:lnTo>
                  <a:lnTo>
                    <a:pt x="2661" y="646"/>
                  </a:lnTo>
                  <a:lnTo>
                    <a:pt x="2675" y="642"/>
                  </a:lnTo>
                  <a:lnTo>
                    <a:pt x="2688" y="639"/>
                  </a:lnTo>
                  <a:lnTo>
                    <a:pt x="2702" y="637"/>
                  </a:lnTo>
                  <a:lnTo>
                    <a:pt x="2716" y="636"/>
                  </a:lnTo>
                  <a:lnTo>
                    <a:pt x="2729" y="635"/>
                  </a:lnTo>
                  <a:lnTo>
                    <a:pt x="2743" y="635"/>
                  </a:lnTo>
                  <a:lnTo>
                    <a:pt x="2757" y="636"/>
                  </a:lnTo>
                  <a:lnTo>
                    <a:pt x="2770" y="638"/>
                  </a:lnTo>
                  <a:lnTo>
                    <a:pt x="2783" y="640"/>
                  </a:lnTo>
                  <a:lnTo>
                    <a:pt x="2796" y="643"/>
                  </a:lnTo>
                  <a:lnTo>
                    <a:pt x="2821" y="650"/>
                  </a:lnTo>
                  <a:lnTo>
                    <a:pt x="2845" y="658"/>
                  </a:lnTo>
                  <a:lnTo>
                    <a:pt x="2845" y="658"/>
                  </a:lnTo>
                  <a:lnTo>
                    <a:pt x="2861" y="667"/>
                  </a:lnTo>
                  <a:lnTo>
                    <a:pt x="2875" y="675"/>
                  </a:lnTo>
                  <a:lnTo>
                    <a:pt x="2889" y="683"/>
                  </a:lnTo>
                  <a:lnTo>
                    <a:pt x="2900" y="691"/>
                  </a:lnTo>
                  <a:lnTo>
                    <a:pt x="2910" y="699"/>
                  </a:lnTo>
                  <a:lnTo>
                    <a:pt x="2918" y="709"/>
                  </a:lnTo>
                  <a:lnTo>
                    <a:pt x="2925" y="717"/>
                  </a:lnTo>
                  <a:lnTo>
                    <a:pt x="2932" y="726"/>
                  </a:lnTo>
                  <a:lnTo>
                    <a:pt x="2937" y="735"/>
                  </a:lnTo>
                  <a:lnTo>
                    <a:pt x="2941" y="743"/>
                  </a:lnTo>
                  <a:lnTo>
                    <a:pt x="2944" y="753"/>
                  </a:lnTo>
                  <a:lnTo>
                    <a:pt x="2947" y="761"/>
                  </a:lnTo>
                  <a:lnTo>
                    <a:pt x="2950" y="778"/>
                  </a:lnTo>
                  <a:lnTo>
                    <a:pt x="2952" y="793"/>
                  </a:lnTo>
                  <a:lnTo>
                    <a:pt x="2952" y="793"/>
                  </a:lnTo>
                  <a:lnTo>
                    <a:pt x="2951" y="804"/>
                  </a:lnTo>
                  <a:lnTo>
                    <a:pt x="2949" y="815"/>
                  </a:lnTo>
                  <a:lnTo>
                    <a:pt x="2946" y="827"/>
                  </a:lnTo>
                  <a:lnTo>
                    <a:pt x="2942" y="839"/>
                  </a:lnTo>
                  <a:lnTo>
                    <a:pt x="2933" y="863"/>
                  </a:lnTo>
                  <a:lnTo>
                    <a:pt x="2925" y="877"/>
                  </a:lnTo>
                  <a:lnTo>
                    <a:pt x="3120" y="962"/>
                  </a:lnTo>
                  <a:close/>
                  <a:moveTo>
                    <a:pt x="4480" y="887"/>
                  </a:moveTo>
                  <a:lnTo>
                    <a:pt x="4715" y="773"/>
                  </a:lnTo>
                  <a:lnTo>
                    <a:pt x="4477" y="674"/>
                  </a:lnTo>
                  <a:lnTo>
                    <a:pt x="4477" y="674"/>
                  </a:lnTo>
                  <a:lnTo>
                    <a:pt x="4404" y="675"/>
                  </a:lnTo>
                  <a:lnTo>
                    <a:pt x="4312" y="676"/>
                  </a:lnTo>
                  <a:lnTo>
                    <a:pt x="4201" y="675"/>
                  </a:lnTo>
                  <a:lnTo>
                    <a:pt x="4076" y="673"/>
                  </a:lnTo>
                  <a:lnTo>
                    <a:pt x="3783" y="667"/>
                  </a:lnTo>
                  <a:lnTo>
                    <a:pt x="3449" y="660"/>
                  </a:lnTo>
                  <a:lnTo>
                    <a:pt x="3252" y="916"/>
                  </a:lnTo>
                  <a:lnTo>
                    <a:pt x="3252" y="916"/>
                  </a:lnTo>
                  <a:lnTo>
                    <a:pt x="3986" y="900"/>
                  </a:lnTo>
                  <a:lnTo>
                    <a:pt x="4276" y="894"/>
                  </a:lnTo>
                  <a:lnTo>
                    <a:pt x="4480" y="887"/>
                  </a:lnTo>
                  <a:close/>
                  <a:moveTo>
                    <a:pt x="4171" y="2139"/>
                  </a:moveTo>
                  <a:lnTo>
                    <a:pt x="4171" y="2139"/>
                  </a:lnTo>
                  <a:lnTo>
                    <a:pt x="4105" y="2106"/>
                  </a:lnTo>
                  <a:lnTo>
                    <a:pt x="4042" y="2073"/>
                  </a:lnTo>
                  <a:lnTo>
                    <a:pt x="3983" y="2042"/>
                  </a:lnTo>
                  <a:lnTo>
                    <a:pt x="3954" y="2025"/>
                  </a:lnTo>
                  <a:lnTo>
                    <a:pt x="3926" y="2008"/>
                  </a:lnTo>
                  <a:lnTo>
                    <a:pt x="3900" y="1991"/>
                  </a:lnTo>
                  <a:lnTo>
                    <a:pt x="3875" y="1973"/>
                  </a:lnTo>
                  <a:lnTo>
                    <a:pt x="3852" y="1954"/>
                  </a:lnTo>
                  <a:lnTo>
                    <a:pt x="3829" y="1934"/>
                  </a:lnTo>
                  <a:lnTo>
                    <a:pt x="3809" y="1914"/>
                  </a:lnTo>
                  <a:lnTo>
                    <a:pt x="3789" y="1893"/>
                  </a:lnTo>
                  <a:lnTo>
                    <a:pt x="3772" y="1869"/>
                  </a:lnTo>
                  <a:lnTo>
                    <a:pt x="3756" y="1845"/>
                  </a:lnTo>
                  <a:lnTo>
                    <a:pt x="3756" y="1845"/>
                  </a:lnTo>
                  <a:lnTo>
                    <a:pt x="3750" y="1832"/>
                  </a:lnTo>
                  <a:lnTo>
                    <a:pt x="3743" y="1819"/>
                  </a:lnTo>
                  <a:lnTo>
                    <a:pt x="3738" y="1805"/>
                  </a:lnTo>
                  <a:lnTo>
                    <a:pt x="3733" y="1790"/>
                  </a:lnTo>
                  <a:lnTo>
                    <a:pt x="3729" y="1775"/>
                  </a:lnTo>
                  <a:lnTo>
                    <a:pt x="3726" y="1760"/>
                  </a:lnTo>
                  <a:lnTo>
                    <a:pt x="3723" y="1743"/>
                  </a:lnTo>
                  <a:lnTo>
                    <a:pt x="3721" y="1727"/>
                  </a:lnTo>
                  <a:lnTo>
                    <a:pt x="3720" y="1711"/>
                  </a:lnTo>
                  <a:lnTo>
                    <a:pt x="3719" y="1693"/>
                  </a:lnTo>
                  <a:lnTo>
                    <a:pt x="3719" y="1677"/>
                  </a:lnTo>
                  <a:lnTo>
                    <a:pt x="3720" y="1659"/>
                  </a:lnTo>
                  <a:lnTo>
                    <a:pt x="3721" y="1641"/>
                  </a:lnTo>
                  <a:lnTo>
                    <a:pt x="3724" y="1624"/>
                  </a:lnTo>
                  <a:lnTo>
                    <a:pt x="3726" y="1606"/>
                  </a:lnTo>
                  <a:lnTo>
                    <a:pt x="3730" y="1589"/>
                  </a:lnTo>
                  <a:lnTo>
                    <a:pt x="3734" y="1571"/>
                  </a:lnTo>
                  <a:lnTo>
                    <a:pt x="3740" y="1554"/>
                  </a:lnTo>
                  <a:lnTo>
                    <a:pt x="3745" y="1537"/>
                  </a:lnTo>
                  <a:lnTo>
                    <a:pt x="3753" y="1519"/>
                  </a:lnTo>
                  <a:lnTo>
                    <a:pt x="3761" y="1503"/>
                  </a:lnTo>
                  <a:lnTo>
                    <a:pt x="3769" y="1487"/>
                  </a:lnTo>
                  <a:lnTo>
                    <a:pt x="3778" y="1470"/>
                  </a:lnTo>
                  <a:lnTo>
                    <a:pt x="3788" y="1454"/>
                  </a:lnTo>
                  <a:lnTo>
                    <a:pt x="3800" y="1439"/>
                  </a:lnTo>
                  <a:lnTo>
                    <a:pt x="3812" y="1424"/>
                  </a:lnTo>
                  <a:lnTo>
                    <a:pt x="3824" y="1410"/>
                  </a:lnTo>
                  <a:lnTo>
                    <a:pt x="3839" y="1396"/>
                  </a:lnTo>
                  <a:lnTo>
                    <a:pt x="3853" y="1382"/>
                  </a:lnTo>
                  <a:lnTo>
                    <a:pt x="3868" y="1370"/>
                  </a:lnTo>
                  <a:lnTo>
                    <a:pt x="3885" y="1358"/>
                  </a:lnTo>
                  <a:lnTo>
                    <a:pt x="3902" y="1347"/>
                  </a:lnTo>
                  <a:lnTo>
                    <a:pt x="3902" y="1347"/>
                  </a:lnTo>
                  <a:lnTo>
                    <a:pt x="3910" y="1355"/>
                  </a:lnTo>
                  <a:lnTo>
                    <a:pt x="3917" y="1363"/>
                  </a:lnTo>
                  <a:lnTo>
                    <a:pt x="3922" y="1370"/>
                  </a:lnTo>
                  <a:lnTo>
                    <a:pt x="3927" y="1378"/>
                  </a:lnTo>
                  <a:lnTo>
                    <a:pt x="3936" y="1394"/>
                  </a:lnTo>
                  <a:lnTo>
                    <a:pt x="3941" y="1408"/>
                  </a:lnTo>
                  <a:lnTo>
                    <a:pt x="3944" y="1420"/>
                  </a:lnTo>
                  <a:lnTo>
                    <a:pt x="3946" y="1429"/>
                  </a:lnTo>
                  <a:lnTo>
                    <a:pt x="3946" y="1438"/>
                  </a:lnTo>
                  <a:lnTo>
                    <a:pt x="3946" y="1438"/>
                  </a:lnTo>
                  <a:lnTo>
                    <a:pt x="3966" y="1438"/>
                  </a:lnTo>
                  <a:lnTo>
                    <a:pt x="3991" y="1438"/>
                  </a:lnTo>
                  <a:lnTo>
                    <a:pt x="4044" y="1434"/>
                  </a:lnTo>
                  <a:lnTo>
                    <a:pt x="4098" y="1432"/>
                  </a:lnTo>
                  <a:lnTo>
                    <a:pt x="4123" y="1431"/>
                  </a:lnTo>
                  <a:lnTo>
                    <a:pt x="4143" y="1431"/>
                  </a:lnTo>
                  <a:lnTo>
                    <a:pt x="4143" y="1431"/>
                  </a:lnTo>
                  <a:lnTo>
                    <a:pt x="4144" y="1417"/>
                  </a:lnTo>
                  <a:lnTo>
                    <a:pt x="4144" y="1400"/>
                  </a:lnTo>
                  <a:lnTo>
                    <a:pt x="4143" y="1382"/>
                  </a:lnTo>
                  <a:lnTo>
                    <a:pt x="4141" y="1364"/>
                  </a:lnTo>
                  <a:lnTo>
                    <a:pt x="4138" y="1344"/>
                  </a:lnTo>
                  <a:lnTo>
                    <a:pt x="4133" y="1325"/>
                  </a:lnTo>
                  <a:lnTo>
                    <a:pt x="4126" y="1307"/>
                  </a:lnTo>
                  <a:lnTo>
                    <a:pt x="4121" y="1297"/>
                  </a:lnTo>
                  <a:lnTo>
                    <a:pt x="4116" y="1288"/>
                  </a:lnTo>
                  <a:lnTo>
                    <a:pt x="4116" y="1288"/>
                  </a:lnTo>
                  <a:lnTo>
                    <a:pt x="4134" y="1302"/>
                  </a:lnTo>
                  <a:lnTo>
                    <a:pt x="4150" y="1315"/>
                  </a:lnTo>
                  <a:lnTo>
                    <a:pt x="4165" y="1328"/>
                  </a:lnTo>
                  <a:lnTo>
                    <a:pt x="4172" y="1335"/>
                  </a:lnTo>
                  <a:lnTo>
                    <a:pt x="4178" y="1343"/>
                  </a:lnTo>
                  <a:lnTo>
                    <a:pt x="4184" y="1352"/>
                  </a:lnTo>
                  <a:lnTo>
                    <a:pt x="4189" y="1361"/>
                  </a:lnTo>
                  <a:lnTo>
                    <a:pt x="4194" y="1370"/>
                  </a:lnTo>
                  <a:lnTo>
                    <a:pt x="4198" y="1380"/>
                  </a:lnTo>
                  <a:lnTo>
                    <a:pt x="4203" y="1392"/>
                  </a:lnTo>
                  <a:lnTo>
                    <a:pt x="4206" y="1404"/>
                  </a:lnTo>
                  <a:lnTo>
                    <a:pt x="4209" y="1417"/>
                  </a:lnTo>
                  <a:lnTo>
                    <a:pt x="4212" y="1431"/>
                  </a:lnTo>
                  <a:lnTo>
                    <a:pt x="4212" y="1431"/>
                  </a:lnTo>
                  <a:lnTo>
                    <a:pt x="4390" y="1438"/>
                  </a:lnTo>
                  <a:lnTo>
                    <a:pt x="4390" y="1438"/>
                  </a:lnTo>
                  <a:lnTo>
                    <a:pt x="4390" y="1421"/>
                  </a:lnTo>
                  <a:lnTo>
                    <a:pt x="4389" y="1406"/>
                  </a:lnTo>
                  <a:lnTo>
                    <a:pt x="4386" y="1391"/>
                  </a:lnTo>
                  <a:lnTo>
                    <a:pt x="4381" y="1376"/>
                  </a:lnTo>
                  <a:lnTo>
                    <a:pt x="4376" y="1363"/>
                  </a:lnTo>
                  <a:lnTo>
                    <a:pt x="4370" y="1350"/>
                  </a:lnTo>
                  <a:lnTo>
                    <a:pt x="4362" y="1338"/>
                  </a:lnTo>
                  <a:lnTo>
                    <a:pt x="4353" y="1326"/>
                  </a:lnTo>
                  <a:lnTo>
                    <a:pt x="4353" y="1326"/>
                  </a:lnTo>
                  <a:lnTo>
                    <a:pt x="4370" y="1334"/>
                  </a:lnTo>
                  <a:lnTo>
                    <a:pt x="4388" y="1342"/>
                  </a:lnTo>
                  <a:lnTo>
                    <a:pt x="4403" y="1352"/>
                  </a:lnTo>
                  <a:lnTo>
                    <a:pt x="4418" y="1361"/>
                  </a:lnTo>
                  <a:lnTo>
                    <a:pt x="4433" y="1371"/>
                  </a:lnTo>
                  <a:lnTo>
                    <a:pt x="4447" y="1381"/>
                  </a:lnTo>
                  <a:lnTo>
                    <a:pt x="4459" y="1392"/>
                  </a:lnTo>
                  <a:lnTo>
                    <a:pt x="4471" y="1403"/>
                  </a:lnTo>
                  <a:lnTo>
                    <a:pt x="4483" y="1414"/>
                  </a:lnTo>
                  <a:lnTo>
                    <a:pt x="4494" y="1426"/>
                  </a:lnTo>
                  <a:lnTo>
                    <a:pt x="4504" y="1439"/>
                  </a:lnTo>
                  <a:lnTo>
                    <a:pt x="4513" y="1451"/>
                  </a:lnTo>
                  <a:lnTo>
                    <a:pt x="4522" y="1463"/>
                  </a:lnTo>
                  <a:lnTo>
                    <a:pt x="4530" y="1475"/>
                  </a:lnTo>
                  <a:lnTo>
                    <a:pt x="4544" y="1501"/>
                  </a:lnTo>
                  <a:lnTo>
                    <a:pt x="4556" y="1526"/>
                  </a:lnTo>
                  <a:lnTo>
                    <a:pt x="4567" y="1551"/>
                  </a:lnTo>
                  <a:lnTo>
                    <a:pt x="4574" y="1577"/>
                  </a:lnTo>
                  <a:lnTo>
                    <a:pt x="4580" y="1600"/>
                  </a:lnTo>
                  <a:lnTo>
                    <a:pt x="4584" y="1624"/>
                  </a:lnTo>
                  <a:lnTo>
                    <a:pt x="4587" y="1646"/>
                  </a:lnTo>
                  <a:lnTo>
                    <a:pt x="4588" y="1667"/>
                  </a:lnTo>
                  <a:lnTo>
                    <a:pt x="4588" y="1685"/>
                  </a:lnTo>
                  <a:lnTo>
                    <a:pt x="4588" y="1685"/>
                  </a:lnTo>
                  <a:lnTo>
                    <a:pt x="4588" y="1711"/>
                  </a:lnTo>
                  <a:lnTo>
                    <a:pt x="4587" y="1737"/>
                  </a:lnTo>
                  <a:lnTo>
                    <a:pt x="4583" y="1762"/>
                  </a:lnTo>
                  <a:lnTo>
                    <a:pt x="4578" y="1787"/>
                  </a:lnTo>
                  <a:lnTo>
                    <a:pt x="4571" y="1811"/>
                  </a:lnTo>
                  <a:lnTo>
                    <a:pt x="4562" y="1834"/>
                  </a:lnTo>
                  <a:lnTo>
                    <a:pt x="4553" y="1857"/>
                  </a:lnTo>
                  <a:lnTo>
                    <a:pt x="4542" y="1878"/>
                  </a:lnTo>
                  <a:lnTo>
                    <a:pt x="4530" y="1900"/>
                  </a:lnTo>
                  <a:lnTo>
                    <a:pt x="4515" y="1919"/>
                  </a:lnTo>
                  <a:lnTo>
                    <a:pt x="4501" y="1939"/>
                  </a:lnTo>
                  <a:lnTo>
                    <a:pt x="4485" y="1956"/>
                  </a:lnTo>
                  <a:lnTo>
                    <a:pt x="4468" y="1972"/>
                  </a:lnTo>
                  <a:lnTo>
                    <a:pt x="4450" y="1988"/>
                  </a:lnTo>
                  <a:lnTo>
                    <a:pt x="4432" y="2002"/>
                  </a:lnTo>
                  <a:lnTo>
                    <a:pt x="4412" y="2015"/>
                  </a:lnTo>
                  <a:lnTo>
                    <a:pt x="4412" y="2015"/>
                  </a:lnTo>
                  <a:lnTo>
                    <a:pt x="4377" y="2036"/>
                  </a:lnTo>
                  <a:lnTo>
                    <a:pt x="4345" y="2054"/>
                  </a:lnTo>
                  <a:lnTo>
                    <a:pt x="4313" y="2071"/>
                  </a:lnTo>
                  <a:lnTo>
                    <a:pt x="4282" y="2087"/>
                  </a:lnTo>
                  <a:lnTo>
                    <a:pt x="4225" y="2114"/>
                  </a:lnTo>
                  <a:lnTo>
                    <a:pt x="4171" y="2139"/>
                  </a:lnTo>
                  <a:close/>
                  <a:moveTo>
                    <a:pt x="3989" y="3389"/>
                  </a:moveTo>
                  <a:lnTo>
                    <a:pt x="3989" y="3389"/>
                  </a:lnTo>
                  <a:lnTo>
                    <a:pt x="3970" y="3382"/>
                  </a:lnTo>
                  <a:lnTo>
                    <a:pt x="3970" y="3382"/>
                  </a:lnTo>
                  <a:lnTo>
                    <a:pt x="3967" y="3380"/>
                  </a:lnTo>
                  <a:lnTo>
                    <a:pt x="3967" y="3380"/>
                  </a:lnTo>
                  <a:lnTo>
                    <a:pt x="3989" y="3389"/>
                  </a:lnTo>
                  <a:close/>
                  <a:moveTo>
                    <a:pt x="2262" y="1056"/>
                  </a:moveTo>
                  <a:lnTo>
                    <a:pt x="2262" y="1056"/>
                  </a:lnTo>
                  <a:lnTo>
                    <a:pt x="2262" y="1057"/>
                  </a:lnTo>
                  <a:lnTo>
                    <a:pt x="2261" y="1059"/>
                  </a:lnTo>
                  <a:lnTo>
                    <a:pt x="2257" y="1061"/>
                  </a:lnTo>
                  <a:lnTo>
                    <a:pt x="2251" y="1064"/>
                  </a:lnTo>
                  <a:lnTo>
                    <a:pt x="2241" y="1066"/>
                  </a:lnTo>
                  <a:lnTo>
                    <a:pt x="2219" y="1072"/>
                  </a:lnTo>
                  <a:lnTo>
                    <a:pt x="2191" y="1077"/>
                  </a:lnTo>
                  <a:lnTo>
                    <a:pt x="2164" y="1081"/>
                  </a:lnTo>
                  <a:lnTo>
                    <a:pt x="2138" y="1083"/>
                  </a:lnTo>
                  <a:lnTo>
                    <a:pt x="2120" y="1083"/>
                  </a:lnTo>
                  <a:lnTo>
                    <a:pt x="2113" y="1082"/>
                  </a:lnTo>
                  <a:lnTo>
                    <a:pt x="2109" y="1081"/>
                  </a:lnTo>
                  <a:lnTo>
                    <a:pt x="2109" y="1081"/>
                  </a:lnTo>
                  <a:lnTo>
                    <a:pt x="2106" y="1079"/>
                  </a:lnTo>
                  <a:lnTo>
                    <a:pt x="2104" y="1075"/>
                  </a:lnTo>
                  <a:lnTo>
                    <a:pt x="2101" y="1064"/>
                  </a:lnTo>
                  <a:lnTo>
                    <a:pt x="2098" y="1052"/>
                  </a:lnTo>
                  <a:lnTo>
                    <a:pt x="2096" y="1038"/>
                  </a:lnTo>
                  <a:lnTo>
                    <a:pt x="2096" y="1023"/>
                  </a:lnTo>
                  <a:lnTo>
                    <a:pt x="2096" y="1010"/>
                  </a:lnTo>
                  <a:lnTo>
                    <a:pt x="2097" y="1000"/>
                  </a:lnTo>
                  <a:lnTo>
                    <a:pt x="2098" y="995"/>
                  </a:lnTo>
                  <a:lnTo>
                    <a:pt x="2100" y="992"/>
                  </a:lnTo>
                  <a:lnTo>
                    <a:pt x="2100" y="992"/>
                  </a:lnTo>
                  <a:lnTo>
                    <a:pt x="2101" y="991"/>
                  </a:lnTo>
                  <a:lnTo>
                    <a:pt x="2103" y="989"/>
                  </a:lnTo>
                  <a:lnTo>
                    <a:pt x="2109" y="988"/>
                  </a:lnTo>
                  <a:lnTo>
                    <a:pt x="2118" y="987"/>
                  </a:lnTo>
                  <a:lnTo>
                    <a:pt x="2128" y="987"/>
                  </a:lnTo>
                  <a:lnTo>
                    <a:pt x="2139" y="988"/>
                  </a:lnTo>
                  <a:lnTo>
                    <a:pt x="2151" y="990"/>
                  </a:lnTo>
                  <a:lnTo>
                    <a:pt x="2165" y="993"/>
                  </a:lnTo>
                  <a:lnTo>
                    <a:pt x="2179" y="997"/>
                  </a:lnTo>
                  <a:lnTo>
                    <a:pt x="2192" y="1002"/>
                  </a:lnTo>
                  <a:lnTo>
                    <a:pt x="2206" y="1007"/>
                  </a:lnTo>
                  <a:lnTo>
                    <a:pt x="2219" y="1014"/>
                  </a:lnTo>
                  <a:lnTo>
                    <a:pt x="2231" y="1021"/>
                  </a:lnTo>
                  <a:lnTo>
                    <a:pt x="2241" y="1029"/>
                  </a:lnTo>
                  <a:lnTo>
                    <a:pt x="2251" y="1038"/>
                  </a:lnTo>
                  <a:lnTo>
                    <a:pt x="2258" y="1047"/>
                  </a:lnTo>
                  <a:lnTo>
                    <a:pt x="2260" y="1051"/>
                  </a:lnTo>
                  <a:lnTo>
                    <a:pt x="2262" y="1056"/>
                  </a:lnTo>
                  <a:close/>
                  <a:moveTo>
                    <a:pt x="4842" y="2915"/>
                  </a:moveTo>
                  <a:lnTo>
                    <a:pt x="4842" y="2915"/>
                  </a:lnTo>
                  <a:lnTo>
                    <a:pt x="4862" y="2919"/>
                  </a:lnTo>
                  <a:lnTo>
                    <a:pt x="4881" y="2921"/>
                  </a:lnTo>
                  <a:lnTo>
                    <a:pt x="4900" y="2922"/>
                  </a:lnTo>
                  <a:lnTo>
                    <a:pt x="4916" y="2921"/>
                  </a:lnTo>
                  <a:lnTo>
                    <a:pt x="4932" y="2919"/>
                  </a:lnTo>
                  <a:lnTo>
                    <a:pt x="4946" y="2916"/>
                  </a:lnTo>
                  <a:lnTo>
                    <a:pt x="4958" y="2911"/>
                  </a:lnTo>
                  <a:lnTo>
                    <a:pt x="4969" y="2905"/>
                  </a:lnTo>
                  <a:lnTo>
                    <a:pt x="4969" y="2905"/>
                  </a:lnTo>
                  <a:lnTo>
                    <a:pt x="4967" y="2879"/>
                  </a:lnTo>
                  <a:lnTo>
                    <a:pt x="4960" y="2819"/>
                  </a:lnTo>
                  <a:lnTo>
                    <a:pt x="4951" y="2746"/>
                  </a:lnTo>
                  <a:lnTo>
                    <a:pt x="4946" y="2714"/>
                  </a:lnTo>
                  <a:lnTo>
                    <a:pt x="4940" y="2686"/>
                  </a:lnTo>
                  <a:lnTo>
                    <a:pt x="4940" y="2686"/>
                  </a:lnTo>
                  <a:lnTo>
                    <a:pt x="4922" y="2689"/>
                  </a:lnTo>
                  <a:lnTo>
                    <a:pt x="4902" y="2692"/>
                  </a:lnTo>
                  <a:lnTo>
                    <a:pt x="4891" y="2692"/>
                  </a:lnTo>
                  <a:lnTo>
                    <a:pt x="4879" y="2692"/>
                  </a:lnTo>
                  <a:lnTo>
                    <a:pt x="4867" y="2691"/>
                  </a:lnTo>
                  <a:lnTo>
                    <a:pt x="4855" y="2689"/>
                  </a:lnTo>
                  <a:lnTo>
                    <a:pt x="4843" y="2686"/>
                  </a:lnTo>
                  <a:lnTo>
                    <a:pt x="4830" y="2682"/>
                  </a:lnTo>
                  <a:lnTo>
                    <a:pt x="4818" y="2677"/>
                  </a:lnTo>
                  <a:lnTo>
                    <a:pt x="4806" y="2670"/>
                  </a:lnTo>
                  <a:lnTo>
                    <a:pt x="4794" y="2660"/>
                  </a:lnTo>
                  <a:lnTo>
                    <a:pt x="4782" y="2650"/>
                  </a:lnTo>
                  <a:lnTo>
                    <a:pt x="4771" y="2638"/>
                  </a:lnTo>
                  <a:lnTo>
                    <a:pt x="4761" y="2624"/>
                  </a:lnTo>
                  <a:lnTo>
                    <a:pt x="4761" y="2624"/>
                  </a:lnTo>
                  <a:lnTo>
                    <a:pt x="4743" y="2595"/>
                  </a:lnTo>
                  <a:lnTo>
                    <a:pt x="4724" y="2567"/>
                  </a:lnTo>
                  <a:lnTo>
                    <a:pt x="4724" y="2567"/>
                  </a:lnTo>
                  <a:lnTo>
                    <a:pt x="4703" y="2539"/>
                  </a:lnTo>
                  <a:lnTo>
                    <a:pt x="4680" y="2511"/>
                  </a:lnTo>
                  <a:lnTo>
                    <a:pt x="4658" y="2485"/>
                  </a:lnTo>
                  <a:lnTo>
                    <a:pt x="4634" y="2459"/>
                  </a:lnTo>
                  <a:lnTo>
                    <a:pt x="4611" y="2435"/>
                  </a:lnTo>
                  <a:lnTo>
                    <a:pt x="4586" y="2412"/>
                  </a:lnTo>
                  <a:lnTo>
                    <a:pt x="4562" y="2389"/>
                  </a:lnTo>
                  <a:lnTo>
                    <a:pt x="4538" y="2369"/>
                  </a:lnTo>
                  <a:lnTo>
                    <a:pt x="4513" y="2349"/>
                  </a:lnTo>
                  <a:lnTo>
                    <a:pt x="4489" y="2329"/>
                  </a:lnTo>
                  <a:lnTo>
                    <a:pt x="4463" y="2311"/>
                  </a:lnTo>
                  <a:lnTo>
                    <a:pt x="4439" y="2292"/>
                  </a:lnTo>
                  <a:lnTo>
                    <a:pt x="4413" y="2276"/>
                  </a:lnTo>
                  <a:lnTo>
                    <a:pt x="4389" y="2260"/>
                  </a:lnTo>
                  <a:lnTo>
                    <a:pt x="4337" y="2228"/>
                  </a:lnTo>
                  <a:lnTo>
                    <a:pt x="4337" y="2228"/>
                  </a:lnTo>
                  <a:lnTo>
                    <a:pt x="4381" y="2205"/>
                  </a:lnTo>
                  <a:lnTo>
                    <a:pt x="4422" y="2183"/>
                  </a:lnTo>
                  <a:lnTo>
                    <a:pt x="4459" y="2160"/>
                  </a:lnTo>
                  <a:lnTo>
                    <a:pt x="4492" y="2139"/>
                  </a:lnTo>
                  <a:lnTo>
                    <a:pt x="4523" y="2117"/>
                  </a:lnTo>
                  <a:lnTo>
                    <a:pt x="4549" y="2096"/>
                  </a:lnTo>
                  <a:lnTo>
                    <a:pt x="4574" y="2076"/>
                  </a:lnTo>
                  <a:lnTo>
                    <a:pt x="4595" y="2055"/>
                  </a:lnTo>
                  <a:lnTo>
                    <a:pt x="4615" y="2036"/>
                  </a:lnTo>
                  <a:lnTo>
                    <a:pt x="4632" y="2017"/>
                  </a:lnTo>
                  <a:lnTo>
                    <a:pt x="4647" y="1999"/>
                  </a:lnTo>
                  <a:lnTo>
                    <a:pt x="4661" y="1981"/>
                  </a:lnTo>
                  <a:lnTo>
                    <a:pt x="4673" y="1965"/>
                  </a:lnTo>
                  <a:lnTo>
                    <a:pt x="4683" y="1950"/>
                  </a:lnTo>
                  <a:lnTo>
                    <a:pt x="4700" y="1922"/>
                  </a:lnTo>
                  <a:lnTo>
                    <a:pt x="4700" y="1922"/>
                  </a:lnTo>
                  <a:lnTo>
                    <a:pt x="4708" y="1910"/>
                  </a:lnTo>
                  <a:lnTo>
                    <a:pt x="4714" y="1896"/>
                  </a:lnTo>
                  <a:lnTo>
                    <a:pt x="4721" y="1880"/>
                  </a:lnTo>
                  <a:lnTo>
                    <a:pt x="4727" y="1864"/>
                  </a:lnTo>
                  <a:lnTo>
                    <a:pt x="4733" y="1845"/>
                  </a:lnTo>
                  <a:lnTo>
                    <a:pt x="4739" y="1826"/>
                  </a:lnTo>
                  <a:lnTo>
                    <a:pt x="4743" y="1806"/>
                  </a:lnTo>
                  <a:lnTo>
                    <a:pt x="4749" y="1785"/>
                  </a:lnTo>
                  <a:lnTo>
                    <a:pt x="4753" y="1763"/>
                  </a:lnTo>
                  <a:lnTo>
                    <a:pt x="4756" y="1740"/>
                  </a:lnTo>
                  <a:lnTo>
                    <a:pt x="4758" y="1716"/>
                  </a:lnTo>
                  <a:lnTo>
                    <a:pt x="4759" y="1692"/>
                  </a:lnTo>
                  <a:lnTo>
                    <a:pt x="4760" y="1667"/>
                  </a:lnTo>
                  <a:lnTo>
                    <a:pt x="4759" y="1642"/>
                  </a:lnTo>
                  <a:lnTo>
                    <a:pt x="4758" y="1616"/>
                  </a:lnTo>
                  <a:lnTo>
                    <a:pt x="4755" y="1590"/>
                  </a:lnTo>
                  <a:lnTo>
                    <a:pt x="4751" y="1564"/>
                  </a:lnTo>
                  <a:lnTo>
                    <a:pt x="4745" y="1538"/>
                  </a:lnTo>
                  <a:lnTo>
                    <a:pt x="4738" y="1511"/>
                  </a:lnTo>
                  <a:lnTo>
                    <a:pt x="4730" y="1486"/>
                  </a:lnTo>
                  <a:lnTo>
                    <a:pt x="4720" y="1459"/>
                  </a:lnTo>
                  <a:lnTo>
                    <a:pt x="4709" y="1433"/>
                  </a:lnTo>
                  <a:lnTo>
                    <a:pt x="4695" y="1408"/>
                  </a:lnTo>
                  <a:lnTo>
                    <a:pt x="4681" y="1383"/>
                  </a:lnTo>
                  <a:lnTo>
                    <a:pt x="4665" y="1359"/>
                  </a:lnTo>
                  <a:lnTo>
                    <a:pt x="4646" y="1334"/>
                  </a:lnTo>
                  <a:lnTo>
                    <a:pt x="4625" y="1311"/>
                  </a:lnTo>
                  <a:lnTo>
                    <a:pt x="4602" y="1288"/>
                  </a:lnTo>
                  <a:lnTo>
                    <a:pt x="4578" y="1267"/>
                  </a:lnTo>
                  <a:lnTo>
                    <a:pt x="4551" y="1246"/>
                  </a:lnTo>
                  <a:lnTo>
                    <a:pt x="4522" y="1227"/>
                  </a:lnTo>
                  <a:lnTo>
                    <a:pt x="4490" y="1207"/>
                  </a:lnTo>
                  <a:lnTo>
                    <a:pt x="4490" y="1207"/>
                  </a:lnTo>
                  <a:lnTo>
                    <a:pt x="4466" y="1195"/>
                  </a:lnTo>
                  <a:lnTo>
                    <a:pt x="4443" y="1184"/>
                  </a:lnTo>
                  <a:lnTo>
                    <a:pt x="4419" y="1174"/>
                  </a:lnTo>
                  <a:lnTo>
                    <a:pt x="4396" y="1165"/>
                  </a:lnTo>
                  <a:lnTo>
                    <a:pt x="4372" y="1156"/>
                  </a:lnTo>
                  <a:lnTo>
                    <a:pt x="4348" y="1149"/>
                  </a:lnTo>
                  <a:lnTo>
                    <a:pt x="4325" y="1143"/>
                  </a:lnTo>
                  <a:lnTo>
                    <a:pt x="4302" y="1138"/>
                  </a:lnTo>
                  <a:lnTo>
                    <a:pt x="4278" y="1133"/>
                  </a:lnTo>
                  <a:lnTo>
                    <a:pt x="4256" y="1130"/>
                  </a:lnTo>
                  <a:lnTo>
                    <a:pt x="4233" y="1127"/>
                  </a:lnTo>
                  <a:lnTo>
                    <a:pt x="4211" y="1125"/>
                  </a:lnTo>
                  <a:lnTo>
                    <a:pt x="4188" y="1123"/>
                  </a:lnTo>
                  <a:lnTo>
                    <a:pt x="4167" y="1123"/>
                  </a:lnTo>
                  <a:lnTo>
                    <a:pt x="4145" y="1123"/>
                  </a:lnTo>
                  <a:lnTo>
                    <a:pt x="4124" y="1123"/>
                  </a:lnTo>
                  <a:lnTo>
                    <a:pt x="4083" y="1126"/>
                  </a:lnTo>
                  <a:lnTo>
                    <a:pt x="4044" y="1130"/>
                  </a:lnTo>
                  <a:lnTo>
                    <a:pt x="4007" y="1136"/>
                  </a:lnTo>
                  <a:lnTo>
                    <a:pt x="3973" y="1144"/>
                  </a:lnTo>
                  <a:lnTo>
                    <a:pt x="3941" y="1152"/>
                  </a:lnTo>
                  <a:lnTo>
                    <a:pt x="3912" y="1161"/>
                  </a:lnTo>
                  <a:lnTo>
                    <a:pt x="3887" y="1172"/>
                  </a:lnTo>
                  <a:lnTo>
                    <a:pt x="3864" y="1181"/>
                  </a:lnTo>
                  <a:lnTo>
                    <a:pt x="3864" y="1181"/>
                  </a:lnTo>
                  <a:lnTo>
                    <a:pt x="3844" y="1191"/>
                  </a:lnTo>
                  <a:lnTo>
                    <a:pt x="3824" y="1201"/>
                  </a:lnTo>
                  <a:lnTo>
                    <a:pt x="3806" y="1213"/>
                  </a:lnTo>
                  <a:lnTo>
                    <a:pt x="3787" y="1224"/>
                  </a:lnTo>
                  <a:lnTo>
                    <a:pt x="3769" y="1237"/>
                  </a:lnTo>
                  <a:lnTo>
                    <a:pt x="3752" y="1249"/>
                  </a:lnTo>
                  <a:lnTo>
                    <a:pt x="3735" y="1264"/>
                  </a:lnTo>
                  <a:lnTo>
                    <a:pt x="3719" y="1278"/>
                  </a:lnTo>
                  <a:lnTo>
                    <a:pt x="3703" y="1293"/>
                  </a:lnTo>
                  <a:lnTo>
                    <a:pt x="3687" y="1309"/>
                  </a:lnTo>
                  <a:lnTo>
                    <a:pt x="3673" y="1325"/>
                  </a:lnTo>
                  <a:lnTo>
                    <a:pt x="3659" y="1341"/>
                  </a:lnTo>
                  <a:lnTo>
                    <a:pt x="3645" y="1359"/>
                  </a:lnTo>
                  <a:lnTo>
                    <a:pt x="3633" y="1377"/>
                  </a:lnTo>
                  <a:lnTo>
                    <a:pt x="3621" y="1396"/>
                  </a:lnTo>
                  <a:lnTo>
                    <a:pt x="3609" y="1415"/>
                  </a:lnTo>
                  <a:lnTo>
                    <a:pt x="3599" y="1434"/>
                  </a:lnTo>
                  <a:lnTo>
                    <a:pt x="3589" y="1455"/>
                  </a:lnTo>
                  <a:lnTo>
                    <a:pt x="3581" y="1475"/>
                  </a:lnTo>
                  <a:lnTo>
                    <a:pt x="3573" y="1497"/>
                  </a:lnTo>
                  <a:lnTo>
                    <a:pt x="3565" y="1518"/>
                  </a:lnTo>
                  <a:lnTo>
                    <a:pt x="3559" y="1541"/>
                  </a:lnTo>
                  <a:lnTo>
                    <a:pt x="3554" y="1563"/>
                  </a:lnTo>
                  <a:lnTo>
                    <a:pt x="3550" y="1586"/>
                  </a:lnTo>
                  <a:lnTo>
                    <a:pt x="3547" y="1609"/>
                  </a:lnTo>
                  <a:lnTo>
                    <a:pt x="3545" y="1634"/>
                  </a:lnTo>
                  <a:lnTo>
                    <a:pt x="3544" y="1658"/>
                  </a:lnTo>
                  <a:lnTo>
                    <a:pt x="3543" y="1683"/>
                  </a:lnTo>
                  <a:lnTo>
                    <a:pt x="3544" y="1708"/>
                  </a:lnTo>
                  <a:lnTo>
                    <a:pt x="3546" y="1734"/>
                  </a:lnTo>
                  <a:lnTo>
                    <a:pt x="3550" y="1760"/>
                  </a:lnTo>
                  <a:lnTo>
                    <a:pt x="3554" y="1786"/>
                  </a:lnTo>
                  <a:lnTo>
                    <a:pt x="3554" y="1786"/>
                  </a:lnTo>
                  <a:lnTo>
                    <a:pt x="3559" y="1810"/>
                  </a:lnTo>
                  <a:lnTo>
                    <a:pt x="3564" y="1831"/>
                  </a:lnTo>
                  <a:lnTo>
                    <a:pt x="3571" y="1853"/>
                  </a:lnTo>
                  <a:lnTo>
                    <a:pt x="3577" y="1873"/>
                  </a:lnTo>
                  <a:lnTo>
                    <a:pt x="3585" y="1893"/>
                  </a:lnTo>
                  <a:lnTo>
                    <a:pt x="3592" y="1911"/>
                  </a:lnTo>
                  <a:lnTo>
                    <a:pt x="3601" y="1929"/>
                  </a:lnTo>
                  <a:lnTo>
                    <a:pt x="3610" y="1947"/>
                  </a:lnTo>
                  <a:lnTo>
                    <a:pt x="3620" y="1963"/>
                  </a:lnTo>
                  <a:lnTo>
                    <a:pt x="3631" y="1978"/>
                  </a:lnTo>
                  <a:lnTo>
                    <a:pt x="3641" y="1994"/>
                  </a:lnTo>
                  <a:lnTo>
                    <a:pt x="3652" y="2009"/>
                  </a:lnTo>
                  <a:lnTo>
                    <a:pt x="3665" y="2023"/>
                  </a:lnTo>
                  <a:lnTo>
                    <a:pt x="3677" y="2037"/>
                  </a:lnTo>
                  <a:lnTo>
                    <a:pt x="3690" y="2050"/>
                  </a:lnTo>
                  <a:lnTo>
                    <a:pt x="3704" y="2062"/>
                  </a:lnTo>
                  <a:lnTo>
                    <a:pt x="3732" y="2087"/>
                  </a:lnTo>
                  <a:lnTo>
                    <a:pt x="3763" y="2109"/>
                  </a:lnTo>
                  <a:lnTo>
                    <a:pt x="3795" y="2131"/>
                  </a:lnTo>
                  <a:lnTo>
                    <a:pt x="3828" y="2151"/>
                  </a:lnTo>
                  <a:lnTo>
                    <a:pt x="3863" y="2172"/>
                  </a:lnTo>
                  <a:lnTo>
                    <a:pt x="3899" y="2191"/>
                  </a:lnTo>
                  <a:lnTo>
                    <a:pt x="3976" y="2229"/>
                  </a:lnTo>
                  <a:lnTo>
                    <a:pt x="3976" y="2229"/>
                  </a:lnTo>
                  <a:lnTo>
                    <a:pt x="3945" y="2246"/>
                  </a:lnTo>
                  <a:lnTo>
                    <a:pt x="3916" y="2263"/>
                  </a:lnTo>
                  <a:lnTo>
                    <a:pt x="3890" y="2280"/>
                  </a:lnTo>
                  <a:lnTo>
                    <a:pt x="3864" y="2298"/>
                  </a:lnTo>
                  <a:lnTo>
                    <a:pt x="3840" y="2318"/>
                  </a:lnTo>
                  <a:lnTo>
                    <a:pt x="3817" y="2337"/>
                  </a:lnTo>
                  <a:lnTo>
                    <a:pt x="3797" y="2358"/>
                  </a:lnTo>
                  <a:lnTo>
                    <a:pt x="3778" y="2379"/>
                  </a:lnTo>
                  <a:lnTo>
                    <a:pt x="3761" y="2403"/>
                  </a:lnTo>
                  <a:lnTo>
                    <a:pt x="3754" y="2415"/>
                  </a:lnTo>
                  <a:lnTo>
                    <a:pt x="3746" y="2427"/>
                  </a:lnTo>
                  <a:lnTo>
                    <a:pt x="3739" y="2440"/>
                  </a:lnTo>
                  <a:lnTo>
                    <a:pt x="3733" y="2453"/>
                  </a:lnTo>
                  <a:lnTo>
                    <a:pt x="3728" y="2466"/>
                  </a:lnTo>
                  <a:lnTo>
                    <a:pt x="3723" y="2480"/>
                  </a:lnTo>
                  <a:lnTo>
                    <a:pt x="3718" y="2495"/>
                  </a:lnTo>
                  <a:lnTo>
                    <a:pt x="3714" y="2510"/>
                  </a:lnTo>
                  <a:lnTo>
                    <a:pt x="3711" y="2525"/>
                  </a:lnTo>
                  <a:lnTo>
                    <a:pt x="3708" y="2541"/>
                  </a:lnTo>
                  <a:lnTo>
                    <a:pt x="3706" y="2557"/>
                  </a:lnTo>
                  <a:lnTo>
                    <a:pt x="3705" y="2574"/>
                  </a:lnTo>
                  <a:lnTo>
                    <a:pt x="3704" y="2592"/>
                  </a:lnTo>
                  <a:lnTo>
                    <a:pt x="3703" y="2609"/>
                  </a:lnTo>
                  <a:lnTo>
                    <a:pt x="3703" y="2609"/>
                  </a:lnTo>
                  <a:lnTo>
                    <a:pt x="3704" y="2632"/>
                  </a:lnTo>
                  <a:lnTo>
                    <a:pt x="3707" y="2655"/>
                  </a:lnTo>
                  <a:lnTo>
                    <a:pt x="3711" y="2678"/>
                  </a:lnTo>
                  <a:lnTo>
                    <a:pt x="3716" y="2701"/>
                  </a:lnTo>
                  <a:lnTo>
                    <a:pt x="3729" y="2749"/>
                  </a:lnTo>
                  <a:lnTo>
                    <a:pt x="3736" y="2775"/>
                  </a:lnTo>
                  <a:lnTo>
                    <a:pt x="3742" y="2801"/>
                  </a:lnTo>
                  <a:lnTo>
                    <a:pt x="3749" y="2830"/>
                  </a:lnTo>
                  <a:lnTo>
                    <a:pt x="3753" y="2859"/>
                  </a:lnTo>
                  <a:lnTo>
                    <a:pt x="3757" y="2889"/>
                  </a:lnTo>
                  <a:lnTo>
                    <a:pt x="3758" y="2922"/>
                  </a:lnTo>
                  <a:lnTo>
                    <a:pt x="3758" y="2957"/>
                  </a:lnTo>
                  <a:lnTo>
                    <a:pt x="3757" y="2975"/>
                  </a:lnTo>
                  <a:lnTo>
                    <a:pt x="3755" y="2994"/>
                  </a:lnTo>
                  <a:lnTo>
                    <a:pt x="3753" y="3012"/>
                  </a:lnTo>
                  <a:lnTo>
                    <a:pt x="3750" y="3033"/>
                  </a:lnTo>
                  <a:lnTo>
                    <a:pt x="3745" y="3053"/>
                  </a:lnTo>
                  <a:lnTo>
                    <a:pt x="3741" y="3073"/>
                  </a:lnTo>
                  <a:lnTo>
                    <a:pt x="3741" y="3073"/>
                  </a:lnTo>
                  <a:lnTo>
                    <a:pt x="3741" y="3075"/>
                  </a:lnTo>
                  <a:lnTo>
                    <a:pt x="3741" y="3076"/>
                  </a:lnTo>
                  <a:lnTo>
                    <a:pt x="3743" y="3076"/>
                  </a:lnTo>
                  <a:lnTo>
                    <a:pt x="3745" y="3078"/>
                  </a:lnTo>
                  <a:lnTo>
                    <a:pt x="3753" y="3075"/>
                  </a:lnTo>
                  <a:lnTo>
                    <a:pt x="3762" y="3073"/>
                  </a:lnTo>
                  <a:lnTo>
                    <a:pt x="3785" y="3063"/>
                  </a:lnTo>
                  <a:lnTo>
                    <a:pt x="3814" y="3051"/>
                  </a:lnTo>
                  <a:lnTo>
                    <a:pt x="3842" y="3036"/>
                  </a:lnTo>
                  <a:lnTo>
                    <a:pt x="3867" y="3022"/>
                  </a:lnTo>
                  <a:lnTo>
                    <a:pt x="3886" y="3011"/>
                  </a:lnTo>
                  <a:lnTo>
                    <a:pt x="3891" y="3007"/>
                  </a:lnTo>
                  <a:lnTo>
                    <a:pt x="3894" y="3005"/>
                  </a:lnTo>
                  <a:lnTo>
                    <a:pt x="3894" y="3005"/>
                  </a:lnTo>
                  <a:lnTo>
                    <a:pt x="3903" y="2981"/>
                  </a:lnTo>
                  <a:lnTo>
                    <a:pt x="3910" y="2958"/>
                  </a:lnTo>
                  <a:lnTo>
                    <a:pt x="3916" y="2934"/>
                  </a:lnTo>
                  <a:lnTo>
                    <a:pt x="3921" y="2910"/>
                  </a:lnTo>
                  <a:lnTo>
                    <a:pt x="3925" y="2886"/>
                  </a:lnTo>
                  <a:lnTo>
                    <a:pt x="3928" y="2863"/>
                  </a:lnTo>
                  <a:lnTo>
                    <a:pt x="3930" y="2840"/>
                  </a:lnTo>
                  <a:lnTo>
                    <a:pt x="3932" y="2818"/>
                  </a:lnTo>
                  <a:lnTo>
                    <a:pt x="3932" y="2779"/>
                  </a:lnTo>
                  <a:lnTo>
                    <a:pt x="3931" y="2748"/>
                  </a:lnTo>
                  <a:lnTo>
                    <a:pt x="3928" y="2721"/>
                  </a:lnTo>
                  <a:lnTo>
                    <a:pt x="3928" y="2721"/>
                  </a:lnTo>
                  <a:lnTo>
                    <a:pt x="3939" y="2730"/>
                  </a:lnTo>
                  <a:lnTo>
                    <a:pt x="3947" y="2741"/>
                  </a:lnTo>
                  <a:lnTo>
                    <a:pt x="3954" y="2753"/>
                  </a:lnTo>
                  <a:lnTo>
                    <a:pt x="3960" y="2767"/>
                  </a:lnTo>
                  <a:lnTo>
                    <a:pt x="3964" y="2782"/>
                  </a:lnTo>
                  <a:lnTo>
                    <a:pt x="3968" y="2797"/>
                  </a:lnTo>
                  <a:lnTo>
                    <a:pt x="3971" y="2814"/>
                  </a:lnTo>
                  <a:lnTo>
                    <a:pt x="3973" y="2830"/>
                  </a:lnTo>
                  <a:lnTo>
                    <a:pt x="3975" y="2847"/>
                  </a:lnTo>
                  <a:lnTo>
                    <a:pt x="3976" y="2865"/>
                  </a:lnTo>
                  <a:lnTo>
                    <a:pt x="3976" y="2881"/>
                  </a:lnTo>
                  <a:lnTo>
                    <a:pt x="3975" y="2899"/>
                  </a:lnTo>
                  <a:lnTo>
                    <a:pt x="3971" y="2930"/>
                  </a:lnTo>
                  <a:lnTo>
                    <a:pt x="3965" y="2959"/>
                  </a:lnTo>
                  <a:lnTo>
                    <a:pt x="3965" y="2959"/>
                  </a:lnTo>
                  <a:lnTo>
                    <a:pt x="3982" y="2950"/>
                  </a:lnTo>
                  <a:lnTo>
                    <a:pt x="3998" y="2938"/>
                  </a:lnTo>
                  <a:lnTo>
                    <a:pt x="4016" y="2925"/>
                  </a:lnTo>
                  <a:lnTo>
                    <a:pt x="4036" y="2911"/>
                  </a:lnTo>
                  <a:lnTo>
                    <a:pt x="4053" y="2896"/>
                  </a:lnTo>
                  <a:lnTo>
                    <a:pt x="4061" y="2888"/>
                  </a:lnTo>
                  <a:lnTo>
                    <a:pt x="4068" y="2881"/>
                  </a:lnTo>
                  <a:lnTo>
                    <a:pt x="4072" y="2874"/>
                  </a:lnTo>
                  <a:lnTo>
                    <a:pt x="4075" y="2868"/>
                  </a:lnTo>
                  <a:lnTo>
                    <a:pt x="4075" y="2868"/>
                  </a:lnTo>
                  <a:lnTo>
                    <a:pt x="4083" y="2838"/>
                  </a:lnTo>
                  <a:lnTo>
                    <a:pt x="4090" y="2810"/>
                  </a:lnTo>
                  <a:lnTo>
                    <a:pt x="4094" y="2783"/>
                  </a:lnTo>
                  <a:lnTo>
                    <a:pt x="4096" y="2757"/>
                  </a:lnTo>
                  <a:lnTo>
                    <a:pt x="4096" y="2733"/>
                  </a:lnTo>
                  <a:lnTo>
                    <a:pt x="4095" y="2709"/>
                  </a:lnTo>
                  <a:lnTo>
                    <a:pt x="4093" y="2687"/>
                  </a:lnTo>
                  <a:lnTo>
                    <a:pt x="4090" y="2665"/>
                  </a:lnTo>
                  <a:lnTo>
                    <a:pt x="4085" y="2645"/>
                  </a:lnTo>
                  <a:lnTo>
                    <a:pt x="4080" y="2626"/>
                  </a:lnTo>
                  <a:lnTo>
                    <a:pt x="4075" y="2607"/>
                  </a:lnTo>
                  <a:lnTo>
                    <a:pt x="4069" y="2590"/>
                  </a:lnTo>
                  <a:lnTo>
                    <a:pt x="4055" y="2556"/>
                  </a:lnTo>
                  <a:lnTo>
                    <a:pt x="4043" y="2524"/>
                  </a:lnTo>
                  <a:lnTo>
                    <a:pt x="4043" y="2524"/>
                  </a:lnTo>
                  <a:lnTo>
                    <a:pt x="4038" y="2509"/>
                  </a:lnTo>
                  <a:lnTo>
                    <a:pt x="4035" y="2494"/>
                  </a:lnTo>
                  <a:lnTo>
                    <a:pt x="4034" y="2479"/>
                  </a:lnTo>
                  <a:lnTo>
                    <a:pt x="4035" y="2464"/>
                  </a:lnTo>
                  <a:lnTo>
                    <a:pt x="4037" y="2450"/>
                  </a:lnTo>
                  <a:lnTo>
                    <a:pt x="4041" y="2435"/>
                  </a:lnTo>
                  <a:lnTo>
                    <a:pt x="4046" y="2421"/>
                  </a:lnTo>
                  <a:lnTo>
                    <a:pt x="4053" y="2408"/>
                  </a:lnTo>
                  <a:lnTo>
                    <a:pt x="4061" y="2395"/>
                  </a:lnTo>
                  <a:lnTo>
                    <a:pt x="4071" y="2381"/>
                  </a:lnTo>
                  <a:lnTo>
                    <a:pt x="4081" y="2369"/>
                  </a:lnTo>
                  <a:lnTo>
                    <a:pt x="4092" y="2358"/>
                  </a:lnTo>
                  <a:lnTo>
                    <a:pt x="4103" y="2346"/>
                  </a:lnTo>
                  <a:lnTo>
                    <a:pt x="4117" y="2335"/>
                  </a:lnTo>
                  <a:lnTo>
                    <a:pt x="4130" y="2326"/>
                  </a:lnTo>
                  <a:lnTo>
                    <a:pt x="4145" y="2317"/>
                  </a:lnTo>
                  <a:lnTo>
                    <a:pt x="4145" y="2317"/>
                  </a:lnTo>
                  <a:lnTo>
                    <a:pt x="4180" y="2336"/>
                  </a:lnTo>
                  <a:lnTo>
                    <a:pt x="4215" y="2357"/>
                  </a:lnTo>
                  <a:lnTo>
                    <a:pt x="4251" y="2378"/>
                  </a:lnTo>
                  <a:lnTo>
                    <a:pt x="4286" y="2402"/>
                  </a:lnTo>
                  <a:lnTo>
                    <a:pt x="4286" y="2402"/>
                  </a:lnTo>
                  <a:lnTo>
                    <a:pt x="4307" y="2416"/>
                  </a:lnTo>
                  <a:lnTo>
                    <a:pt x="4341" y="2441"/>
                  </a:lnTo>
                  <a:lnTo>
                    <a:pt x="4361" y="2456"/>
                  </a:lnTo>
                  <a:lnTo>
                    <a:pt x="4382" y="2474"/>
                  </a:lnTo>
                  <a:lnTo>
                    <a:pt x="4405" y="2494"/>
                  </a:lnTo>
                  <a:lnTo>
                    <a:pt x="4430" y="2515"/>
                  </a:lnTo>
                  <a:lnTo>
                    <a:pt x="4453" y="2539"/>
                  </a:lnTo>
                  <a:lnTo>
                    <a:pt x="4478" y="2563"/>
                  </a:lnTo>
                  <a:lnTo>
                    <a:pt x="4501" y="2590"/>
                  </a:lnTo>
                  <a:lnTo>
                    <a:pt x="4524" y="2618"/>
                  </a:lnTo>
                  <a:lnTo>
                    <a:pt x="4545" y="2647"/>
                  </a:lnTo>
                  <a:lnTo>
                    <a:pt x="4564" y="2678"/>
                  </a:lnTo>
                  <a:lnTo>
                    <a:pt x="4574" y="2693"/>
                  </a:lnTo>
                  <a:lnTo>
                    <a:pt x="4582" y="2709"/>
                  </a:lnTo>
                  <a:lnTo>
                    <a:pt x="4590" y="2726"/>
                  </a:lnTo>
                  <a:lnTo>
                    <a:pt x="4596" y="2742"/>
                  </a:lnTo>
                  <a:lnTo>
                    <a:pt x="4596" y="2742"/>
                  </a:lnTo>
                  <a:lnTo>
                    <a:pt x="4606" y="2768"/>
                  </a:lnTo>
                  <a:lnTo>
                    <a:pt x="4616" y="2792"/>
                  </a:lnTo>
                  <a:lnTo>
                    <a:pt x="4624" y="2817"/>
                  </a:lnTo>
                  <a:lnTo>
                    <a:pt x="4630" y="2840"/>
                  </a:lnTo>
                  <a:lnTo>
                    <a:pt x="4636" y="2864"/>
                  </a:lnTo>
                  <a:lnTo>
                    <a:pt x="4641" y="2886"/>
                  </a:lnTo>
                  <a:lnTo>
                    <a:pt x="4645" y="2908"/>
                  </a:lnTo>
                  <a:lnTo>
                    <a:pt x="4649" y="2928"/>
                  </a:lnTo>
                  <a:lnTo>
                    <a:pt x="4651" y="2949"/>
                  </a:lnTo>
                  <a:lnTo>
                    <a:pt x="4653" y="2968"/>
                  </a:lnTo>
                  <a:lnTo>
                    <a:pt x="4654" y="2987"/>
                  </a:lnTo>
                  <a:lnTo>
                    <a:pt x="4655" y="3005"/>
                  </a:lnTo>
                  <a:lnTo>
                    <a:pt x="4654" y="3039"/>
                  </a:lnTo>
                  <a:lnTo>
                    <a:pt x="4652" y="3070"/>
                  </a:lnTo>
                  <a:lnTo>
                    <a:pt x="4648" y="3099"/>
                  </a:lnTo>
                  <a:lnTo>
                    <a:pt x="4642" y="3126"/>
                  </a:lnTo>
                  <a:lnTo>
                    <a:pt x="4635" y="3149"/>
                  </a:lnTo>
                  <a:lnTo>
                    <a:pt x="4628" y="3171"/>
                  </a:lnTo>
                  <a:lnTo>
                    <a:pt x="4620" y="3189"/>
                  </a:lnTo>
                  <a:lnTo>
                    <a:pt x="4612" y="3206"/>
                  </a:lnTo>
                  <a:lnTo>
                    <a:pt x="4603" y="3221"/>
                  </a:lnTo>
                  <a:lnTo>
                    <a:pt x="4596" y="3232"/>
                  </a:lnTo>
                  <a:lnTo>
                    <a:pt x="4596" y="3232"/>
                  </a:lnTo>
                  <a:lnTo>
                    <a:pt x="4582" y="3252"/>
                  </a:lnTo>
                  <a:lnTo>
                    <a:pt x="4568" y="3273"/>
                  </a:lnTo>
                  <a:lnTo>
                    <a:pt x="4553" y="3291"/>
                  </a:lnTo>
                  <a:lnTo>
                    <a:pt x="4538" y="3310"/>
                  </a:lnTo>
                  <a:lnTo>
                    <a:pt x="4522" y="3327"/>
                  </a:lnTo>
                  <a:lnTo>
                    <a:pt x="4505" y="3343"/>
                  </a:lnTo>
                  <a:lnTo>
                    <a:pt x="4487" y="3359"/>
                  </a:lnTo>
                  <a:lnTo>
                    <a:pt x="4469" y="3373"/>
                  </a:lnTo>
                  <a:lnTo>
                    <a:pt x="4450" y="3386"/>
                  </a:lnTo>
                  <a:lnTo>
                    <a:pt x="4430" y="3398"/>
                  </a:lnTo>
                  <a:lnTo>
                    <a:pt x="4409" y="3409"/>
                  </a:lnTo>
                  <a:lnTo>
                    <a:pt x="4388" y="3418"/>
                  </a:lnTo>
                  <a:lnTo>
                    <a:pt x="4364" y="3426"/>
                  </a:lnTo>
                  <a:lnTo>
                    <a:pt x="4341" y="3433"/>
                  </a:lnTo>
                  <a:lnTo>
                    <a:pt x="4316" y="3438"/>
                  </a:lnTo>
                  <a:lnTo>
                    <a:pt x="4290" y="3441"/>
                  </a:lnTo>
                  <a:lnTo>
                    <a:pt x="4290" y="3441"/>
                  </a:lnTo>
                  <a:lnTo>
                    <a:pt x="4283" y="3440"/>
                  </a:lnTo>
                  <a:lnTo>
                    <a:pt x="4275" y="3440"/>
                  </a:lnTo>
                  <a:lnTo>
                    <a:pt x="4275" y="3440"/>
                  </a:lnTo>
                  <a:lnTo>
                    <a:pt x="4242" y="3441"/>
                  </a:lnTo>
                  <a:lnTo>
                    <a:pt x="4213" y="3441"/>
                  </a:lnTo>
                  <a:lnTo>
                    <a:pt x="4185" y="3440"/>
                  </a:lnTo>
                  <a:lnTo>
                    <a:pt x="4159" y="3437"/>
                  </a:lnTo>
                  <a:lnTo>
                    <a:pt x="4159" y="3437"/>
                  </a:lnTo>
                  <a:lnTo>
                    <a:pt x="4131" y="3432"/>
                  </a:lnTo>
                  <a:lnTo>
                    <a:pt x="4103" y="3427"/>
                  </a:lnTo>
                  <a:lnTo>
                    <a:pt x="4077" y="3420"/>
                  </a:lnTo>
                  <a:lnTo>
                    <a:pt x="4052" y="3413"/>
                  </a:lnTo>
                  <a:lnTo>
                    <a:pt x="4052" y="3413"/>
                  </a:lnTo>
                  <a:lnTo>
                    <a:pt x="4009" y="3398"/>
                  </a:lnTo>
                  <a:lnTo>
                    <a:pt x="3965" y="3379"/>
                  </a:lnTo>
                  <a:lnTo>
                    <a:pt x="3965" y="3379"/>
                  </a:lnTo>
                  <a:lnTo>
                    <a:pt x="3925" y="3359"/>
                  </a:lnTo>
                  <a:lnTo>
                    <a:pt x="3874" y="3331"/>
                  </a:lnTo>
                  <a:lnTo>
                    <a:pt x="3846" y="3314"/>
                  </a:lnTo>
                  <a:lnTo>
                    <a:pt x="3815" y="3294"/>
                  </a:lnTo>
                  <a:lnTo>
                    <a:pt x="3782" y="3274"/>
                  </a:lnTo>
                  <a:lnTo>
                    <a:pt x="3748" y="3250"/>
                  </a:lnTo>
                  <a:lnTo>
                    <a:pt x="3712" y="3226"/>
                  </a:lnTo>
                  <a:lnTo>
                    <a:pt x="3676" y="3198"/>
                  </a:lnTo>
                  <a:lnTo>
                    <a:pt x="3638" y="3170"/>
                  </a:lnTo>
                  <a:lnTo>
                    <a:pt x="3601" y="3139"/>
                  </a:lnTo>
                  <a:lnTo>
                    <a:pt x="3563" y="3106"/>
                  </a:lnTo>
                  <a:lnTo>
                    <a:pt x="3526" y="3071"/>
                  </a:lnTo>
                  <a:lnTo>
                    <a:pt x="3488" y="3035"/>
                  </a:lnTo>
                  <a:lnTo>
                    <a:pt x="3451" y="2997"/>
                  </a:lnTo>
                  <a:lnTo>
                    <a:pt x="3451" y="2997"/>
                  </a:lnTo>
                  <a:lnTo>
                    <a:pt x="3394" y="2933"/>
                  </a:lnTo>
                  <a:lnTo>
                    <a:pt x="3342" y="2874"/>
                  </a:lnTo>
                  <a:lnTo>
                    <a:pt x="3295" y="2819"/>
                  </a:lnTo>
                  <a:lnTo>
                    <a:pt x="3253" y="2769"/>
                  </a:lnTo>
                  <a:lnTo>
                    <a:pt x="3215" y="2722"/>
                  </a:lnTo>
                  <a:lnTo>
                    <a:pt x="3180" y="2679"/>
                  </a:lnTo>
                  <a:lnTo>
                    <a:pt x="3120" y="2602"/>
                  </a:lnTo>
                  <a:lnTo>
                    <a:pt x="3120" y="2602"/>
                  </a:lnTo>
                  <a:lnTo>
                    <a:pt x="3138" y="2609"/>
                  </a:lnTo>
                  <a:lnTo>
                    <a:pt x="3156" y="2615"/>
                  </a:lnTo>
                  <a:lnTo>
                    <a:pt x="3175" y="2620"/>
                  </a:lnTo>
                  <a:lnTo>
                    <a:pt x="3193" y="2625"/>
                  </a:lnTo>
                  <a:lnTo>
                    <a:pt x="3211" y="2628"/>
                  </a:lnTo>
                  <a:lnTo>
                    <a:pt x="3229" y="2630"/>
                  </a:lnTo>
                  <a:lnTo>
                    <a:pt x="3262" y="2633"/>
                  </a:lnTo>
                  <a:lnTo>
                    <a:pt x="3289" y="2633"/>
                  </a:lnTo>
                  <a:lnTo>
                    <a:pt x="3312" y="2632"/>
                  </a:lnTo>
                  <a:lnTo>
                    <a:pt x="3332" y="2630"/>
                  </a:lnTo>
                  <a:lnTo>
                    <a:pt x="3332" y="2630"/>
                  </a:lnTo>
                  <a:lnTo>
                    <a:pt x="3336" y="2580"/>
                  </a:lnTo>
                  <a:lnTo>
                    <a:pt x="3338" y="2535"/>
                  </a:lnTo>
                  <a:lnTo>
                    <a:pt x="3340" y="2495"/>
                  </a:lnTo>
                  <a:lnTo>
                    <a:pt x="3346" y="2360"/>
                  </a:lnTo>
                  <a:lnTo>
                    <a:pt x="3346" y="2360"/>
                  </a:lnTo>
                  <a:lnTo>
                    <a:pt x="3349" y="2323"/>
                  </a:lnTo>
                  <a:lnTo>
                    <a:pt x="3351" y="2288"/>
                  </a:lnTo>
                  <a:lnTo>
                    <a:pt x="3352" y="2251"/>
                  </a:lnTo>
                  <a:lnTo>
                    <a:pt x="3352" y="2251"/>
                  </a:lnTo>
                  <a:lnTo>
                    <a:pt x="3340" y="2250"/>
                  </a:lnTo>
                  <a:lnTo>
                    <a:pt x="3307" y="2246"/>
                  </a:lnTo>
                  <a:lnTo>
                    <a:pt x="3285" y="2243"/>
                  </a:lnTo>
                  <a:lnTo>
                    <a:pt x="3260" y="2238"/>
                  </a:lnTo>
                  <a:lnTo>
                    <a:pt x="3233" y="2233"/>
                  </a:lnTo>
                  <a:lnTo>
                    <a:pt x="3206" y="2226"/>
                  </a:lnTo>
                  <a:lnTo>
                    <a:pt x="3176" y="2217"/>
                  </a:lnTo>
                  <a:lnTo>
                    <a:pt x="3147" y="2206"/>
                  </a:lnTo>
                  <a:lnTo>
                    <a:pt x="3120" y="2194"/>
                  </a:lnTo>
                  <a:lnTo>
                    <a:pt x="3106" y="2188"/>
                  </a:lnTo>
                  <a:lnTo>
                    <a:pt x="3093" y="2181"/>
                  </a:lnTo>
                  <a:lnTo>
                    <a:pt x="3081" y="2173"/>
                  </a:lnTo>
                  <a:lnTo>
                    <a:pt x="3070" y="2164"/>
                  </a:lnTo>
                  <a:lnTo>
                    <a:pt x="3058" y="2155"/>
                  </a:lnTo>
                  <a:lnTo>
                    <a:pt x="3049" y="2146"/>
                  </a:lnTo>
                  <a:lnTo>
                    <a:pt x="3040" y="2136"/>
                  </a:lnTo>
                  <a:lnTo>
                    <a:pt x="3032" y="2125"/>
                  </a:lnTo>
                  <a:lnTo>
                    <a:pt x="3025" y="2113"/>
                  </a:lnTo>
                  <a:lnTo>
                    <a:pt x="3019" y="2101"/>
                  </a:lnTo>
                  <a:lnTo>
                    <a:pt x="3019" y="2101"/>
                  </a:lnTo>
                  <a:lnTo>
                    <a:pt x="3030" y="2107"/>
                  </a:lnTo>
                  <a:lnTo>
                    <a:pt x="3042" y="2112"/>
                  </a:lnTo>
                  <a:lnTo>
                    <a:pt x="3059" y="2119"/>
                  </a:lnTo>
                  <a:lnTo>
                    <a:pt x="3081" y="2127"/>
                  </a:lnTo>
                  <a:lnTo>
                    <a:pt x="3106" y="2134"/>
                  </a:lnTo>
                  <a:lnTo>
                    <a:pt x="3136" y="2139"/>
                  </a:lnTo>
                  <a:lnTo>
                    <a:pt x="3152" y="2141"/>
                  </a:lnTo>
                  <a:lnTo>
                    <a:pt x="3169" y="2142"/>
                  </a:lnTo>
                  <a:lnTo>
                    <a:pt x="3169" y="2142"/>
                  </a:lnTo>
                  <a:lnTo>
                    <a:pt x="3201" y="2143"/>
                  </a:lnTo>
                  <a:lnTo>
                    <a:pt x="3234" y="2143"/>
                  </a:lnTo>
                  <a:lnTo>
                    <a:pt x="3266" y="2141"/>
                  </a:lnTo>
                  <a:lnTo>
                    <a:pt x="3295" y="2139"/>
                  </a:lnTo>
                  <a:lnTo>
                    <a:pt x="3340" y="2133"/>
                  </a:lnTo>
                  <a:lnTo>
                    <a:pt x="3357" y="2131"/>
                  </a:lnTo>
                  <a:lnTo>
                    <a:pt x="3357" y="2131"/>
                  </a:lnTo>
                  <a:lnTo>
                    <a:pt x="3359" y="2125"/>
                  </a:lnTo>
                  <a:lnTo>
                    <a:pt x="3361" y="2113"/>
                  </a:lnTo>
                  <a:lnTo>
                    <a:pt x="3364" y="2083"/>
                  </a:lnTo>
                  <a:lnTo>
                    <a:pt x="3367" y="2043"/>
                  </a:lnTo>
                  <a:lnTo>
                    <a:pt x="3369" y="1999"/>
                  </a:lnTo>
                  <a:lnTo>
                    <a:pt x="3373" y="1919"/>
                  </a:lnTo>
                  <a:lnTo>
                    <a:pt x="3375" y="1884"/>
                  </a:lnTo>
                  <a:lnTo>
                    <a:pt x="3375" y="1884"/>
                  </a:lnTo>
                  <a:lnTo>
                    <a:pt x="3376" y="1856"/>
                  </a:lnTo>
                  <a:lnTo>
                    <a:pt x="3377" y="1816"/>
                  </a:lnTo>
                  <a:lnTo>
                    <a:pt x="3377" y="1767"/>
                  </a:lnTo>
                  <a:lnTo>
                    <a:pt x="3377" y="1767"/>
                  </a:lnTo>
                  <a:lnTo>
                    <a:pt x="3369" y="1769"/>
                  </a:lnTo>
                  <a:lnTo>
                    <a:pt x="3359" y="1770"/>
                  </a:lnTo>
                  <a:lnTo>
                    <a:pt x="3338" y="1772"/>
                  </a:lnTo>
                  <a:lnTo>
                    <a:pt x="3315" y="1771"/>
                  </a:lnTo>
                  <a:lnTo>
                    <a:pt x="3290" y="1769"/>
                  </a:lnTo>
                  <a:lnTo>
                    <a:pt x="3264" y="1766"/>
                  </a:lnTo>
                  <a:lnTo>
                    <a:pt x="3236" y="1762"/>
                  </a:lnTo>
                  <a:lnTo>
                    <a:pt x="3208" y="1756"/>
                  </a:lnTo>
                  <a:lnTo>
                    <a:pt x="3178" y="1748"/>
                  </a:lnTo>
                  <a:lnTo>
                    <a:pt x="3178" y="1748"/>
                  </a:lnTo>
                  <a:lnTo>
                    <a:pt x="3158" y="1742"/>
                  </a:lnTo>
                  <a:lnTo>
                    <a:pt x="3135" y="1733"/>
                  </a:lnTo>
                  <a:lnTo>
                    <a:pt x="3112" y="1721"/>
                  </a:lnTo>
                  <a:lnTo>
                    <a:pt x="3088" y="1706"/>
                  </a:lnTo>
                  <a:lnTo>
                    <a:pt x="3064" y="1690"/>
                  </a:lnTo>
                  <a:lnTo>
                    <a:pt x="3053" y="1681"/>
                  </a:lnTo>
                  <a:lnTo>
                    <a:pt x="3043" y="1672"/>
                  </a:lnTo>
                  <a:lnTo>
                    <a:pt x="3034" y="1661"/>
                  </a:lnTo>
                  <a:lnTo>
                    <a:pt x="3025" y="1652"/>
                  </a:lnTo>
                  <a:lnTo>
                    <a:pt x="3017" y="1642"/>
                  </a:lnTo>
                  <a:lnTo>
                    <a:pt x="3010" y="1631"/>
                  </a:lnTo>
                  <a:lnTo>
                    <a:pt x="3010" y="1631"/>
                  </a:lnTo>
                  <a:lnTo>
                    <a:pt x="3022" y="1636"/>
                  </a:lnTo>
                  <a:lnTo>
                    <a:pt x="3035" y="1640"/>
                  </a:lnTo>
                  <a:lnTo>
                    <a:pt x="3052" y="1646"/>
                  </a:lnTo>
                  <a:lnTo>
                    <a:pt x="3075" y="1652"/>
                  </a:lnTo>
                  <a:lnTo>
                    <a:pt x="3101" y="1658"/>
                  </a:lnTo>
                  <a:lnTo>
                    <a:pt x="3132" y="1665"/>
                  </a:lnTo>
                  <a:lnTo>
                    <a:pt x="3167" y="1670"/>
                  </a:lnTo>
                  <a:lnTo>
                    <a:pt x="3167" y="1670"/>
                  </a:lnTo>
                  <a:lnTo>
                    <a:pt x="3187" y="1672"/>
                  </a:lnTo>
                  <a:lnTo>
                    <a:pt x="3207" y="1673"/>
                  </a:lnTo>
                  <a:lnTo>
                    <a:pt x="3226" y="1674"/>
                  </a:lnTo>
                  <a:lnTo>
                    <a:pt x="3245" y="1674"/>
                  </a:lnTo>
                  <a:lnTo>
                    <a:pt x="3283" y="1672"/>
                  </a:lnTo>
                  <a:lnTo>
                    <a:pt x="3317" y="1669"/>
                  </a:lnTo>
                  <a:lnTo>
                    <a:pt x="3346" y="1663"/>
                  </a:lnTo>
                  <a:lnTo>
                    <a:pt x="3369" y="1658"/>
                  </a:lnTo>
                  <a:lnTo>
                    <a:pt x="3377" y="1655"/>
                  </a:lnTo>
                  <a:lnTo>
                    <a:pt x="3383" y="1653"/>
                  </a:lnTo>
                  <a:lnTo>
                    <a:pt x="3388" y="1650"/>
                  </a:lnTo>
                  <a:lnTo>
                    <a:pt x="3390" y="1647"/>
                  </a:lnTo>
                  <a:lnTo>
                    <a:pt x="3390" y="1647"/>
                  </a:lnTo>
                  <a:lnTo>
                    <a:pt x="3392" y="1621"/>
                  </a:lnTo>
                  <a:lnTo>
                    <a:pt x="3393" y="1587"/>
                  </a:lnTo>
                  <a:lnTo>
                    <a:pt x="3394" y="1510"/>
                  </a:lnTo>
                  <a:lnTo>
                    <a:pt x="3394" y="1412"/>
                  </a:lnTo>
                  <a:lnTo>
                    <a:pt x="3394" y="1412"/>
                  </a:lnTo>
                  <a:lnTo>
                    <a:pt x="3399" y="1348"/>
                  </a:lnTo>
                  <a:lnTo>
                    <a:pt x="3400" y="1304"/>
                  </a:lnTo>
                  <a:lnTo>
                    <a:pt x="3400" y="1289"/>
                  </a:lnTo>
                  <a:lnTo>
                    <a:pt x="3399" y="1285"/>
                  </a:lnTo>
                  <a:lnTo>
                    <a:pt x="3398" y="1284"/>
                  </a:lnTo>
                  <a:lnTo>
                    <a:pt x="3398" y="1284"/>
                  </a:lnTo>
                  <a:lnTo>
                    <a:pt x="3392" y="1284"/>
                  </a:lnTo>
                  <a:lnTo>
                    <a:pt x="3381" y="1285"/>
                  </a:lnTo>
                  <a:lnTo>
                    <a:pt x="3368" y="1285"/>
                  </a:lnTo>
                  <a:lnTo>
                    <a:pt x="3354" y="1284"/>
                  </a:lnTo>
                  <a:lnTo>
                    <a:pt x="3336" y="1282"/>
                  </a:lnTo>
                  <a:lnTo>
                    <a:pt x="3317" y="1279"/>
                  </a:lnTo>
                  <a:lnTo>
                    <a:pt x="3297" y="1274"/>
                  </a:lnTo>
                  <a:lnTo>
                    <a:pt x="3274" y="1269"/>
                  </a:lnTo>
                  <a:lnTo>
                    <a:pt x="3251" y="1261"/>
                  </a:lnTo>
                  <a:lnTo>
                    <a:pt x="3226" y="1251"/>
                  </a:lnTo>
                  <a:lnTo>
                    <a:pt x="3200" y="1240"/>
                  </a:lnTo>
                  <a:lnTo>
                    <a:pt x="3175" y="1226"/>
                  </a:lnTo>
                  <a:lnTo>
                    <a:pt x="3149" y="1210"/>
                  </a:lnTo>
                  <a:lnTo>
                    <a:pt x="3123" y="1191"/>
                  </a:lnTo>
                  <a:lnTo>
                    <a:pt x="3110" y="1181"/>
                  </a:lnTo>
                  <a:lnTo>
                    <a:pt x="3097" y="1170"/>
                  </a:lnTo>
                  <a:lnTo>
                    <a:pt x="3085" y="1157"/>
                  </a:lnTo>
                  <a:lnTo>
                    <a:pt x="3073" y="1145"/>
                  </a:lnTo>
                  <a:lnTo>
                    <a:pt x="3073" y="1145"/>
                  </a:lnTo>
                  <a:lnTo>
                    <a:pt x="3071" y="1143"/>
                  </a:lnTo>
                  <a:lnTo>
                    <a:pt x="3065" y="1138"/>
                  </a:lnTo>
                  <a:lnTo>
                    <a:pt x="3059" y="1129"/>
                  </a:lnTo>
                  <a:lnTo>
                    <a:pt x="3056" y="1123"/>
                  </a:lnTo>
                  <a:lnTo>
                    <a:pt x="3053" y="1116"/>
                  </a:lnTo>
                  <a:lnTo>
                    <a:pt x="3051" y="1109"/>
                  </a:lnTo>
                  <a:lnTo>
                    <a:pt x="3050" y="1101"/>
                  </a:lnTo>
                  <a:lnTo>
                    <a:pt x="3049" y="1092"/>
                  </a:lnTo>
                  <a:lnTo>
                    <a:pt x="3050" y="1082"/>
                  </a:lnTo>
                  <a:lnTo>
                    <a:pt x="3053" y="1072"/>
                  </a:lnTo>
                  <a:lnTo>
                    <a:pt x="3056" y="1060"/>
                  </a:lnTo>
                  <a:lnTo>
                    <a:pt x="3062" y="1048"/>
                  </a:lnTo>
                  <a:lnTo>
                    <a:pt x="3071" y="1035"/>
                  </a:lnTo>
                  <a:lnTo>
                    <a:pt x="3071" y="1035"/>
                  </a:lnTo>
                  <a:lnTo>
                    <a:pt x="2806" y="916"/>
                  </a:lnTo>
                  <a:lnTo>
                    <a:pt x="2806" y="916"/>
                  </a:lnTo>
                  <a:lnTo>
                    <a:pt x="2815" y="907"/>
                  </a:lnTo>
                  <a:lnTo>
                    <a:pt x="2824" y="896"/>
                  </a:lnTo>
                  <a:lnTo>
                    <a:pt x="2834" y="881"/>
                  </a:lnTo>
                  <a:lnTo>
                    <a:pt x="2845" y="865"/>
                  </a:lnTo>
                  <a:lnTo>
                    <a:pt x="2850" y="856"/>
                  </a:lnTo>
                  <a:lnTo>
                    <a:pt x="2854" y="847"/>
                  </a:lnTo>
                  <a:lnTo>
                    <a:pt x="2858" y="836"/>
                  </a:lnTo>
                  <a:lnTo>
                    <a:pt x="2861" y="826"/>
                  </a:lnTo>
                  <a:lnTo>
                    <a:pt x="2863" y="816"/>
                  </a:lnTo>
                  <a:lnTo>
                    <a:pt x="2863" y="806"/>
                  </a:lnTo>
                  <a:lnTo>
                    <a:pt x="2863" y="806"/>
                  </a:lnTo>
                  <a:lnTo>
                    <a:pt x="2863" y="794"/>
                  </a:lnTo>
                  <a:lnTo>
                    <a:pt x="2860" y="784"/>
                  </a:lnTo>
                  <a:lnTo>
                    <a:pt x="2855" y="774"/>
                  </a:lnTo>
                  <a:lnTo>
                    <a:pt x="2849" y="765"/>
                  </a:lnTo>
                  <a:lnTo>
                    <a:pt x="2841" y="756"/>
                  </a:lnTo>
                  <a:lnTo>
                    <a:pt x="2830" y="748"/>
                  </a:lnTo>
                  <a:lnTo>
                    <a:pt x="2820" y="741"/>
                  </a:lnTo>
                  <a:lnTo>
                    <a:pt x="2808" y="735"/>
                  </a:lnTo>
                  <a:lnTo>
                    <a:pt x="2795" y="730"/>
                  </a:lnTo>
                  <a:lnTo>
                    <a:pt x="2781" y="726"/>
                  </a:lnTo>
                  <a:lnTo>
                    <a:pt x="2767" y="722"/>
                  </a:lnTo>
                  <a:lnTo>
                    <a:pt x="2753" y="720"/>
                  </a:lnTo>
                  <a:lnTo>
                    <a:pt x="2738" y="718"/>
                  </a:lnTo>
                  <a:lnTo>
                    <a:pt x="2723" y="718"/>
                  </a:lnTo>
                  <a:lnTo>
                    <a:pt x="2709" y="719"/>
                  </a:lnTo>
                  <a:lnTo>
                    <a:pt x="2694" y="721"/>
                  </a:lnTo>
                  <a:lnTo>
                    <a:pt x="2694" y="721"/>
                  </a:lnTo>
                  <a:lnTo>
                    <a:pt x="2681" y="724"/>
                  </a:lnTo>
                  <a:lnTo>
                    <a:pt x="2669" y="728"/>
                  </a:lnTo>
                  <a:lnTo>
                    <a:pt x="2656" y="733"/>
                  </a:lnTo>
                  <a:lnTo>
                    <a:pt x="2644" y="739"/>
                  </a:lnTo>
                  <a:lnTo>
                    <a:pt x="2634" y="746"/>
                  </a:lnTo>
                  <a:lnTo>
                    <a:pt x="2623" y="754"/>
                  </a:lnTo>
                  <a:lnTo>
                    <a:pt x="2604" y="769"/>
                  </a:lnTo>
                  <a:lnTo>
                    <a:pt x="2589" y="784"/>
                  </a:lnTo>
                  <a:lnTo>
                    <a:pt x="2578" y="796"/>
                  </a:lnTo>
                  <a:lnTo>
                    <a:pt x="2569" y="809"/>
                  </a:lnTo>
                  <a:lnTo>
                    <a:pt x="2238" y="662"/>
                  </a:lnTo>
                  <a:lnTo>
                    <a:pt x="1977" y="925"/>
                  </a:lnTo>
                  <a:lnTo>
                    <a:pt x="1977" y="925"/>
                  </a:lnTo>
                  <a:lnTo>
                    <a:pt x="1972" y="930"/>
                  </a:lnTo>
                  <a:lnTo>
                    <a:pt x="1966" y="942"/>
                  </a:lnTo>
                  <a:lnTo>
                    <a:pt x="1963" y="949"/>
                  </a:lnTo>
                  <a:lnTo>
                    <a:pt x="1961" y="957"/>
                  </a:lnTo>
                  <a:lnTo>
                    <a:pt x="1960" y="966"/>
                  </a:lnTo>
                  <a:lnTo>
                    <a:pt x="1960" y="975"/>
                  </a:lnTo>
                  <a:lnTo>
                    <a:pt x="1964" y="999"/>
                  </a:lnTo>
                  <a:lnTo>
                    <a:pt x="1964" y="999"/>
                  </a:lnTo>
                  <a:lnTo>
                    <a:pt x="1964" y="1005"/>
                  </a:lnTo>
                  <a:lnTo>
                    <a:pt x="1963" y="1011"/>
                  </a:lnTo>
                  <a:lnTo>
                    <a:pt x="1962" y="1016"/>
                  </a:lnTo>
                  <a:lnTo>
                    <a:pt x="1961" y="1020"/>
                  </a:lnTo>
                  <a:lnTo>
                    <a:pt x="1957" y="1028"/>
                  </a:lnTo>
                  <a:lnTo>
                    <a:pt x="1955" y="1032"/>
                  </a:lnTo>
                  <a:lnTo>
                    <a:pt x="1955" y="1032"/>
                  </a:lnTo>
                  <a:lnTo>
                    <a:pt x="1936" y="1054"/>
                  </a:lnTo>
                  <a:lnTo>
                    <a:pt x="1916" y="1078"/>
                  </a:lnTo>
                  <a:lnTo>
                    <a:pt x="1896" y="1100"/>
                  </a:lnTo>
                  <a:lnTo>
                    <a:pt x="1876" y="1123"/>
                  </a:lnTo>
                  <a:lnTo>
                    <a:pt x="1876" y="1123"/>
                  </a:lnTo>
                  <a:lnTo>
                    <a:pt x="1847" y="1161"/>
                  </a:lnTo>
                  <a:lnTo>
                    <a:pt x="1836" y="1177"/>
                  </a:lnTo>
                  <a:lnTo>
                    <a:pt x="1828" y="1189"/>
                  </a:lnTo>
                  <a:lnTo>
                    <a:pt x="1828" y="1189"/>
                  </a:lnTo>
                  <a:lnTo>
                    <a:pt x="1819" y="1204"/>
                  </a:lnTo>
                  <a:lnTo>
                    <a:pt x="1811" y="1220"/>
                  </a:lnTo>
                  <a:lnTo>
                    <a:pt x="1799" y="1245"/>
                  </a:lnTo>
                  <a:lnTo>
                    <a:pt x="1789" y="1269"/>
                  </a:lnTo>
                  <a:lnTo>
                    <a:pt x="1781" y="1290"/>
                  </a:lnTo>
                  <a:lnTo>
                    <a:pt x="1781" y="1290"/>
                  </a:lnTo>
                  <a:lnTo>
                    <a:pt x="1780" y="1293"/>
                  </a:lnTo>
                  <a:lnTo>
                    <a:pt x="1778" y="1304"/>
                  </a:lnTo>
                  <a:lnTo>
                    <a:pt x="1778" y="1311"/>
                  </a:lnTo>
                  <a:lnTo>
                    <a:pt x="1777" y="1319"/>
                  </a:lnTo>
                  <a:lnTo>
                    <a:pt x="1778" y="1328"/>
                  </a:lnTo>
                  <a:lnTo>
                    <a:pt x="1780" y="1339"/>
                  </a:lnTo>
                  <a:lnTo>
                    <a:pt x="1784" y="1352"/>
                  </a:lnTo>
                  <a:lnTo>
                    <a:pt x="1789" y="1365"/>
                  </a:lnTo>
                  <a:lnTo>
                    <a:pt x="1797" y="1378"/>
                  </a:lnTo>
                  <a:lnTo>
                    <a:pt x="1807" y="1394"/>
                  </a:lnTo>
                  <a:lnTo>
                    <a:pt x="1819" y="1410"/>
                  </a:lnTo>
                  <a:lnTo>
                    <a:pt x="1833" y="1426"/>
                  </a:lnTo>
                  <a:lnTo>
                    <a:pt x="1852" y="1444"/>
                  </a:lnTo>
                  <a:lnTo>
                    <a:pt x="1874" y="1462"/>
                  </a:lnTo>
                  <a:lnTo>
                    <a:pt x="1881" y="1468"/>
                  </a:lnTo>
                  <a:lnTo>
                    <a:pt x="1881" y="1468"/>
                  </a:lnTo>
                  <a:lnTo>
                    <a:pt x="1894" y="1451"/>
                  </a:lnTo>
                  <a:lnTo>
                    <a:pt x="1905" y="1462"/>
                  </a:lnTo>
                  <a:lnTo>
                    <a:pt x="1905" y="1462"/>
                  </a:lnTo>
                  <a:lnTo>
                    <a:pt x="1914" y="1471"/>
                  </a:lnTo>
                  <a:lnTo>
                    <a:pt x="1926" y="1482"/>
                  </a:lnTo>
                  <a:lnTo>
                    <a:pt x="1941" y="1494"/>
                  </a:lnTo>
                  <a:lnTo>
                    <a:pt x="1957" y="1504"/>
                  </a:lnTo>
                  <a:lnTo>
                    <a:pt x="1957" y="1504"/>
                  </a:lnTo>
                  <a:lnTo>
                    <a:pt x="1959" y="1497"/>
                  </a:lnTo>
                  <a:lnTo>
                    <a:pt x="1964" y="1477"/>
                  </a:lnTo>
                  <a:lnTo>
                    <a:pt x="1969" y="1464"/>
                  </a:lnTo>
                  <a:lnTo>
                    <a:pt x="1975" y="1451"/>
                  </a:lnTo>
                  <a:lnTo>
                    <a:pt x="1983" y="1437"/>
                  </a:lnTo>
                  <a:lnTo>
                    <a:pt x="1991" y="1422"/>
                  </a:lnTo>
                  <a:lnTo>
                    <a:pt x="1991" y="1422"/>
                  </a:lnTo>
                  <a:lnTo>
                    <a:pt x="2000" y="1410"/>
                  </a:lnTo>
                  <a:lnTo>
                    <a:pt x="2011" y="1398"/>
                  </a:lnTo>
                  <a:lnTo>
                    <a:pt x="2025" y="1384"/>
                  </a:lnTo>
                  <a:lnTo>
                    <a:pt x="2038" y="1371"/>
                  </a:lnTo>
                  <a:lnTo>
                    <a:pt x="2052" y="1359"/>
                  </a:lnTo>
                  <a:lnTo>
                    <a:pt x="2065" y="1348"/>
                  </a:lnTo>
                  <a:lnTo>
                    <a:pt x="2080" y="1337"/>
                  </a:lnTo>
                  <a:lnTo>
                    <a:pt x="2092" y="1329"/>
                  </a:lnTo>
                  <a:lnTo>
                    <a:pt x="2092" y="1329"/>
                  </a:lnTo>
                  <a:lnTo>
                    <a:pt x="2107" y="1320"/>
                  </a:lnTo>
                  <a:lnTo>
                    <a:pt x="2123" y="1312"/>
                  </a:lnTo>
                  <a:lnTo>
                    <a:pt x="2138" y="1305"/>
                  </a:lnTo>
                  <a:lnTo>
                    <a:pt x="2154" y="1298"/>
                  </a:lnTo>
                  <a:lnTo>
                    <a:pt x="2170" y="1294"/>
                  </a:lnTo>
                  <a:lnTo>
                    <a:pt x="2186" y="1291"/>
                  </a:lnTo>
                  <a:lnTo>
                    <a:pt x="2202" y="1288"/>
                  </a:lnTo>
                  <a:lnTo>
                    <a:pt x="2220" y="1287"/>
                  </a:lnTo>
                  <a:lnTo>
                    <a:pt x="2220" y="1287"/>
                  </a:lnTo>
                  <a:lnTo>
                    <a:pt x="2234" y="1288"/>
                  </a:lnTo>
                  <a:lnTo>
                    <a:pt x="2247" y="1289"/>
                  </a:lnTo>
                  <a:lnTo>
                    <a:pt x="2261" y="1292"/>
                  </a:lnTo>
                  <a:lnTo>
                    <a:pt x="2272" y="1297"/>
                  </a:lnTo>
                  <a:lnTo>
                    <a:pt x="2283" y="1304"/>
                  </a:lnTo>
                  <a:lnTo>
                    <a:pt x="2295" y="1311"/>
                  </a:lnTo>
                  <a:lnTo>
                    <a:pt x="2305" y="1320"/>
                  </a:lnTo>
                  <a:lnTo>
                    <a:pt x="2316" y="1330"/>
                  </a:lnTo>
                  <a:lnTo>
                    <a:pt x="2316" y="1330"/>
                  </a:lnTo>
                  <a:lnTo>
                    <a:pt x="2323" y="1338"/>
                  </a:lnTo>
                  <a:lnTo>
                    <a:pt x="2330" y="1349"/>
                  </a:lnTo>
                  <a:lnTo>
                    <a:pt x="2336" y="1360"/>
                  </a:lnTo>
                  <a:lnTo>
                    <a:pt x="2342" y="1372"/>
                  </a:lnTo>
                  <a:lnTo>
                    <a:pt x="2347" y="1384"/>
                  </a:lnTo>
                  <a:lnTo>
                    <a:pt x="2351" y="1398"/>
                  </a:lnTo>
                  <a:lnTo>
                    <a:pt x="2355" y="1412"/>
                  </a:lnTo>
                  <a:lnTo>
                    <a:pt x="2358" y="1426"/>
                  </a:lnTo>
                  <a:lnTo>
                    <a:pt x="2360" y="1440"/>
                  </a:lnTo>
                  <a:lnTo>
                    <a:pt x="2362" y="1454"/>
                  </a:lnTo>
                  <a:lnTo>
                    <a:pt x="2363" y="1467"/>
                  </a:lnTo>
                  <a:lnTo>
                    <a:pt x="2364" y="1480"/>
                  </a:lnTo>
                  <a:lnTo>
                    <a:pt x="2364" y="1493"/>
                  </a:lnTo>
                  <a:lnTo>
                    <a:pt x="2363" y="1504"/>
                  </a:lnTo>
                  <a:lnTo>
                    <a:pt x="2361" y="1514"/>
                  </a:lnTo>
                  <a:lnTo>
                    <a:pt x="2359" y="1523"/>
                  </a:lnTo>
                  <a:lnTo>
                    <a:pt x="2359" y="1523"/>
                  </a:lnTo>
                  <a:lnTo>
                    <a:pt x="2330" y="1505"/>
                  </a:lnTo>
                  <a:lnTo>
                    <a:pt x="2330" y="1505"/>
                  </a:lnTo>
                  <a:lnTo>
                    <a:pt x="2309" y="1494"/>
                  </a:lnTo>
                  <a:lnTo>
                    <a:pt x="2281" y="1484"/>
                  </a:lnTo>
                  <a:lnTo>
                    <a:pt x="2266" y="1477"/>
                  </a:lnTo>
                  <a:lnTo>
                    <a:pt x="2251" y="1473"/>
                  </a:lnTo>
                  <a:lnTo>
                    <a:pt x="2233" y="1469"/>
                  </a:lnTo>
                  <a:lnTo>
                    <a:pt x="2215" y="1465"/>
                  </a:lnTo>
                  <a:lnTo>
                    <a:pt x="2195" y="1463"/>
                  </a:lnTo>
                  <a:lnTo>
                    <a:pt x="2175" y="1462"/>
                  </a:lnTo>
                  <a:lnTo>
                    <a:pt x="2154" y="1462"/>
                  </a:lnTo>
                  <a:lnTo>
                    <a:pt x="2132" y="1464"/>
                  </a:lnTo>
                  <a:lnTo>
                    <a:pt x="2109" y="1467"/>
                  </a:lnTo>
                  <a:lnTo>
                    <a:pt x="2086" y="1472"/>
                  </a:lnTo>
                  <a:lnTo>
                    <a:pt x="2062" y="1480"/>
                  </a:lnTo>
                  <a:lnTo>
                    <a:pt x="2037" y="1491"/>
                  </a:lnTo>
                  <a:lnTo>
                    <a:pt x="2037" y="1491"/>
                  </a:lnTo>
                  <a:lnTo>
                    <a:pt x="1995" y="1509"/>
                  </a:lnTo>
                  <a:lnTo>
                    <a:pt x="1967" y="1521"/>
                  </a:lnTo>
                  <a:lnTo>
                    <a:pt x="1936" y="1534"/>
                  </a:lnTo>
                  <a:lnTo>
                    <a:pt x="1900" y="1548"/>
                  </a:lnTo>
                  <a:lnTo>
                    <a:pt x="1860" y="1562"/>
                  </a:lnTo>
                  <a:lnTo>
                    <a:pt x="1814" y="1578"/>
                  </a:lnTo>
                  <a:lnTo>
                    <a:pt x="1764" y="1593"/>
                  </a:lnTo>
                  <a:lnTo>
                    <a:pt x="1764" y="1593"/>
                  </a:lnTo>
                  <a:lnTo>
                    <a:pt x="1737" y="1600"/>
                  </a:lnTo>
                  <a:lnTo>
                    <a:pt x="1725" y="1602"/>
                  </a:lnTo>
                  <a:lnTo>
                    <a:pt x="1713" y="1603"/>
                  </a:lnTo>
                  <a:lnTo>
                    <a:pt x="1701" y="1603"/>
                  </a:lnTo>
                  <a:lnTo>
                    <a:pt x="1691" y="1603"/>
                  </a:lnTo>
                  <a:lnTo>
                    <a:pt x="1681" y="1602"/>
                  </a:lnTo>
                  <a:lnTo>
                    <a:pt x="1672" y="1600"/>
                  </a:lnTo>
                  <a:lnTo>
                    <a:pt x="1664" y="1597"/>
                  </a:lnTo>
                  <a:lnTo>
                    <a:pt x="1655" y="1592"/>
                  </a:lnTo>
                  <a:lnTo>
                    <a:pt x="1649" y="1587"/>
                  </a:lnTo>
                  <a:lnTo>
                    <a:pt x="1642" y="1581"/>
                  </a:lnTo>
                  <a:lnTo>
                    <a:pt x="1637" y="1574"/>
                  </a:lnTo>
                  <a:lnTo>
                    <a:pt x="1633" y="1564"/>
                  </a:lnTo>
                  <a:lnTo>
                    <a:pt x="1629" y="1554"/>
                  </a:lnTo>
                  <a:lnTo>
                    <a:pt x="1626" y="1543"/>
                  </a:lnTo>
                  <a:lnTo>
                    <a:pt x="1626" y="1543"/>
                  </a:lnTo>
                  <a:lnTo>
                    <a:pt x="1624" y="1533"/>
                  </a:lnTo>
                  <a:lnTo>
                    <a:pt x="1623" y="1522"/>
                  </a:lnTo>
                  <a:lnTo>
                    <a:pt x="1623" y="1513"/>
                  </a:lnTo>
                  <a:lnTo>
                    <a:pt x="1623" y="1504"/>
                  </a:lnTo>
                  <a:lnTo>
                    <a:pt x="1625" y="1488"/>
                  </a:lnTo>
                  <a:lnTo>
                    <a:pt x="1629" y="1473"/>
                  </a:lnTo>
                  <a:lnTo>
                    <a:pt x="1633" y="1462"/>
                  </a:lnTo>
                  <a:lnTo>
                    <a:pt x="1636" y="1454"/>
                  </a:lnTo>
                  <a:lnTo>
                    <a:pt x="1640" y="1446"/>
                  </a:lnTo>
                  <a:lnTo>
                    <a:pt x="1640" y="1446"/>
                  </a:lnTo>
                  <a:lnTo>
                    <a:pt x="1636" y="1447"/>
                  </a:lnTo>
                  <a:lnTo>
                    <a:pt x="1626" y="1450"/>
                  </a:lnTo>
                  <a:lnTo>
                    <a:pt x="1610" y="1456"/>
                  </a:lnTo>
                  <a:lnTo>
                    <a:pt x="1601" y="1459"/>
                  </a:lnTo>
                  <a:lnTo>
                    <a:pt x="1592" y="1464"/>
                  </a:lnTo>
                  <a:lnTo>
                    <a:pt x="1582" y="1470"/>
                  </a:lnTo>
                  <a:lnTo>
                    <a:pt x="1573" y="1476"/>
                  </a:lnTo>
                  <a:lnTo>
                    <a:pt x="1563" y="1485"/>
                  </a:lnTo>
                  <a:lnTo>
                    <a:pt x="1554" y="1494"/>
                  </a:lnTo>
                  <a:lnTo>
                    <a:pt x="1546" y="1504"/>
                  </a:lnTo>
                  <a:lnTo>
                    <a:pt x="1539" y="1515"/>
                  </a:lnTo>
                  <a:lnTo>
                    <a:pt x="1533" y="1529"/>
                  </a:lnTo>
                  <a:lnTo>
                    <a:pt x="1528" y="1543"/>
                  </a:lnTo>
                  <a:lnTo>
                    <a:pt x="1528" y="1543"/>
                  </a:lnTo>
                  <a:lnTo>
                    <a:pt x="1525" y="1558"/>
                  </a:lnTo>
                  <a:lnTo>
                    <a:pt x="1523" y="1574"/>
                  </a:lnTo>
                  <a:lnTo>
                    <a:pt x="1523" y="1589"/>
                  </a:lnTo>
                  <a:lnTo>
                    <a:pt x="1523" y="1603"/>
                  </a:lnTo>
                  <a:lnTo>
                    <a:pt x="1524" y="1616"/>
                  </a:lnTo>
                  <a:lnTo>
                    <a:pt x="1527" y="1631"/>
                  </a:lnTo>
                  <a:lnTo>
                    <a:pt x="1531" y="1643"/>
                  </a:lnTo>
                  <a:lnTo>
                    <a:pt x="1536" y="1655"/>
                  </a:lnTo>
                  <a:lnTo>
                    <a:pt x="1542" y="1668"/>
                  </a:lnTo>
                  <a:lnTo>
                    <a:pt x="1549" y="1678"/>
                  </a:lnTo>
                  <a:lnTo>
                    <a:pt x="1557" y="1688"/>
                  </a:lnTo>
                  <a:lnTo>
                    <a:pt x="1568" y="1696"/>
                  </a:lnTo>
                  <a:lnTo>
                    <a:pt x="1578" y="1704"/>
                  </a:lnTo>
                  <a:lnTo>
                    <a:pt x="1590" y="1711"/>
                  </a:lnTo>
                  <a:lnTo>
                    <a:pt x="1602" y="1717"/>
                  </a:lnTo>
                  <a:lnTo>
                    <a:pt x="1617" y="1721"/>
                  </a:lnTo>
                  <a:lnTo>
                    <a:pt x="1617" y="1721"/>
                  </a:lnTo>
                  <a:lnTo>
                    <a:pt x="1630" y="1724"/>
                  </a:lnTo>
                  <a:lnTo>
                    <a:pt x="1644" y="1725"/>
                  </a:lnTo>
                  <a:lnTo>
                    <a:pt x="1660" y="1724"/>
                  </a:lnTo>
                  <a:lnTo>
                    <a:pt x="1676" y="1722"/>
                  </a:lnTo>
                  <a:lnTo>
                    <a:pt x="1692" y="1720"/>
                  </a:lnTo>
                  <a:lnTo>
                    <a:pt x="1710" y="1716"/>
                  </a:lnTo>
                  <a:lnTo>
                    <a:pt x="1727" y="1711"/>
                  </a:lnTo>
                  <a:lnTo>
                    <a:pt x="1744" y="1705"/>
                  </a:lnTo>
                  <a:lnTo>
                    <a:pt x="1779" y="1691"/>
                  </a:lnTo>
                  <a:lnTo>
                    <a:pt x="1815" y="1676"/>
                  </a:lnTo>
                  <a:lnTo>
                    <a:pt x="1849" y="1659"/>
                  </a:lnTo>
                  <a:lnTo>
                    <a:pt x="1880" y="1643"/>
                  </a:lnTo>
                  <a:lnTo>
                    <a:pt x="1880" y="1643"/>
                  </a:lnTo>
                  <a:lnTo>
                    <a:pt x="1942" y="1611"/>
                  </a:lnTo>
                  <a:lnTo>
                    <a:pt x="1979" y="1593"/>
                  </a:lnTo>
                  <a:lnTo>
                    <a:pt x="2013" y="1577"/>
                  </a:lnTo>
                  <a:lnTo>
                    <a:pt x="2013" y="1577"/>
                  </a:lnTo>
                  <a:lnTo>
                    <a:pt x="2041" y="1565"/>
                  </a:lnTo>
                  <a:lnTo>
                    <a:pt x="2054" y="1561"/>
                  </a:lnTo>
                  <a:lnTo>
                    <a:pt x="2068" y="1557"/>
                  </a:lnTo>
                  <a:lnTo>
                    <a:pt x="2081" y="1554"/>
                  </a:lnTo>
                  <a:lnTo>
                    <a:pt x="2093" y="1552"/>
                  </a:lnTo>
                  <a:lnTo>
                    <a:pt x="2105" y="1550"/>
                  </a:lnTo>
                  <a:lnTo>
                    <a:pt x="2119" y="1550"/>
                  </a:lnTo>
                  <a:lnTo>
                    <a:pt x="2131" y="1550"/>
                  </a:lnTo>
                  <a:lnTo>
                    <a:pt x="2143" y="1551"/>
                  </a:lnTo>
                  <a:lnTo>
                    <a:pt x="2156" y="1553"/>
                  </a:lnTo>
                  <a:lnTo>
                    <a:pt x="2170" y="1555"/>
                  </a:lnTo>
                  <a:lnTo>
                    <a:pt x="2183" y="1559"/>
                  </a:lnTo>
                  <a:lnTo>
                    <a:pt x="2196" y="1563"/>
                  </a:lnTo>
                  <a:lnTo>
                    <a:pt x="2211" y="1569"/>
                  </a:lnTo>
                  <a:lnTo>
                    <a:pt x="2226" y="1576"/>
                  </a:lnTo>
                  <a:lnTo>
                    <a:pt x="2226" y="1576"/>
                  </a:lnTo>
                  <a:lnTo>
                    <a:pt x="2246" y="1586"/>
                  </a:lnTo>
                  <a:lnTo>
                    <a:pt x="2265" y="1596"/>
                  </a:lnTo>
                  <a:lnTo>
                    <a:pt x="2281" y="1607"/>
                  </a:lnTo>
                  <a:lnTo>
                    <a:pt x="2295" y="1616"/>
                  </a:lnTo>
                  <a:lnTo>
                    <a:pt x="2305" y="1626"/>
                  </a:lnTo>
                  <a:lnTo>
                    <a:pt x="2312" y="1633"/>
                  </a:lnTo>
                  <a:lnTo>
                    <a:pt x="2319" y="1639"/>
                  </a:lnTo>
                  <a:lnTo>
                    <a:pt x="2319" y="1639"/>
                  </a:lnTo>
                  <a:lnTo>
                    <a:pt x="2317" y="1642"/>
                  </a:lnTo>
                  <a:lnTo>
                    <a:pt x="2313" y="1649"/>
                  </a:lnTo>
                  <a:lnTo>
                    <a:pt x="2305" y="1660"/>
                  </a:lnTo>
                  <a:lnTo>
                    <a:pt x="2300" y="1667"/>
                  </a:lnTo>
                  <a:lnTo>
                    <a:pt x="2293" y="1674"/>
                  </a:lnTo>
                  <a:lnTo>
                    <a:pt x="2285" y="1680"/>
                  </a:lnTo>
                  <a:lnTo>
                    <a:pt x="2276" y="1687"/>
                  </a:lnTo>
                  <a:lnTo>
                    <a:pt x="2267" y="1693"/>
                  </a:lnTo>
                  <a:lnTo>
                    <a:pt x="2255" y="1698"/>
                  </a:lnTo>
                  <a:lnTo>
                    <a:pt x="2242" y="1703"/>
                  </a:lnTo>
                  <a:lnTo>
                    <a:pt x="2228" y="1707"/>
                  </a:lnTo>
                  <a:lnTo>
                    <a:pt x="2212" y="1711"/>
                  </a:lnTo>
                  <a:lnTo>
                    <a:pt x="2194" y="1712"/>
                  </a:lnTo>
                  <a:lnTo>
                    <a:pt x="2194" y="1712"/>
                  </a:lnTo>
                  <a:lnTo>
                    <a:pt x="2180" y="1713"/>
                  </a:lnTo>
                  <a:lnTo>
                    <a:pt x="2166" y="1712"/>
                  </a:lnTo>
                  <a:lnTo>
                    <a:pt x="2152" y="1710"/>
                  </a:lnTo>
                  <a:lnTo>
                    <a:pt x="2139" y="1706"/>
                  </a:lnTo>
                  <a:lnTo>
                    <a:pt x="2127" y="1703"/>
                  </a:lnTo>
                  <a:lnTo>
                    <a:pt x="2115" y="1699"/>
                  </a:lnTo>
                  <a:lnTo>
                    <a:pt x="2103" y="1695"/>
                  </a:lnTo>
                  <a:lnTo>
                    <a:pt x="2092" y="1689"/>
                  </a:lnTo>
                  <a:lnTo>
                    <a:pt x="2082" y="1684"/>
                  </a:lnTo>
                  <a:lnTo>
                    <a:pt x="2073" y="1678"/>
                  </a:lnTo>
                  <a:lnTo>
                    <a:pt x="2064" y="1672"/>
                  </a:lnTo>
                  <a:lnTo>
                    <a:pt x="2056" y="1665"/>
                  </a:lnTo>
                  <a:lnTo>
                    <a:pt x="2048" y="1657"/>
                  </a:lnTo>
                  <a:lnTo>
                    <a:pt x="2042" y="1650"/>
                  </a:lnTo>
                  <a:lnTo>
                    <a:pt x="2036" y="1643"/>
                  </a:lnTo>
                  <a:lnTo>
                    <a:pt x="2031" y="1636"/>
                  </a:lnTo>
                  <a:lnTo>
                    <a:pt x="2031" y="1636"/>
                  </a:lnTo>
                  <a:lnTo>
                    <a:pt x="2022" y="1658"/>
                  </a:lnTo>
                  <a:lnTo>
                    <a:pt x="2013" y="1676"/>
                  </a:lnTo>
                  <a:lnTo>
                    <a:pt x="2007" y="1689"/>
                  </a:lnTo>
                  <a:lnTo>
                    <a:pt x="2007" y="1689"/>
                  </a:lnTo>
                  <a:lnTo>
                    <a:pt x="2003" y="1697"/>
                  </a:lnTo>
                  <a:lnTo>
                    <a:pt x="2000" y="1704"/>
                  </a:lnTo>
                  <a:lnTo>
                    <a:pt x="1998" y="1713"/>
                  </a:lnTo>
                  <a:lnTo>
                    <a:pt x="1997" y="1719"/>
                  </a:lnTo>
                  <a:lnTo>
                    <a:pt x="1997" y="1726"/>
                  </a:lnTo>
                  <a:lnTo>
                    <a:pt x="1997" y="1732"/>
                  </a:lnTo>
                  <a:lnTo>
                    <a:pt x="1999" y="1744"/>
                  </a:lnTo>
                  <a:lnTo>
                    <a:pt x="2001" y="1756"/>
                  </a:lnTo>
                  <a:lnTo>
                    <a:pt x="2003" y="1766"/>
                  </a:lnTo>
                  <a:lnTo>
                    <a:pt x="2004" y="1777"/>
                  </a:lnTo>
                  <a:lnTo>
                    <a:pt x="2003" y="1783"/>
                  </a:lnTo>
                  <a:lnTo>
                    <a:pt x="2001" y="1788"/>
                  </a:lnTo>
                  <a:lnTo>
                    <a:pt x="2001" y="1788"/>
                  </a:lnTo>
                  <a:lnTo>
                    <a:pt x="1999" y="1794"/>
                  </a:lnTo>
                  <a:lnTo>
                    <a:pt x="1995" y="1800"/>
                  </a:lnTo>
                  <a:lnTo>
                    <a:pt x="1986" y="1813"/>
                  </a:lnTo>
                  <a:lnTo>
                    <a:pt x="1973" y="1825"/>
                  </a:lnTo>
                  <a:lnTo>
                    <a:pt x="1960" y="1837"/>
                  </a:lnTo>
                  <a:lnTo>
                    <a:pt x="1945" y="1849"/>
                  </a:lnTo>
                  <a:lnTo>
                    <a:pt x="1931" y="1860"/>
                  </a:lnTo>
                  <a:lnTo>
                    <a:pt x="1904" y="1878"/>
                  </a:lnTo>
                  <a:lnTo>
                    <a:pt x="1904" y="1878"/>
                  </a:lnTo>
                  <a:lnTo>
                    <a:pt x="1886" y="1889"/>
                  </a:lnTo>
                  <a:lnTo>
                    <a:pt x="1864" y="1901"/>
                  </a:lnTo>
                  <a:lnTo>
                    <a:pt x="1842" y="1911"/>
                  </a:lnTo>
                  <a:lnTo>
                    <a:pt x="1819" y="1919"/>
                  </a:lnTo>
                  <a:lnTo>
                    <a:pt x="1798" y="1926"/>
                  </a:lnTo>
                  <a:lnTo>
                    <a:pt x="1779" y="1932"/>
                  </a:lnTo>
                  <a:lnTo>
                    <a:pt x="1754" y="1940"/>
                  </a:lnTo>
                  <a:lnTo>
                    <a:pt x="1754" y="1940"/>
                  </a:lnTo>
                  <a:lnTo>
                    <a:pt x="1779" y="1998"/>
                  </a:lnTo>
                  <a:lnTo>
                    <a:pt x="1811" y="2066"/>
                  </a:lnTo>
                  <a:lnTo>
                    <a:pt x="1811" y="2066"/>
                  </a:lnTo>
                  <a:lnTo>
                    <a:pt x="1833" y="2111"/>
                  </a:lnTo>
                  <a:lnTo>
                    <a:pt x="1862" y="2166"/>
                  </a:lnTo>
                  <a:lnTo>
                    <a:pt x="1877" y="2193"/>
                  </a:lnTo>
                  <a:lnTo>
                    <a:pt x="1893" y="2219"/>
                  </a:lnTo>
                  <a:lnTo>
                    <a:pt x="1909" y="2240"/>
                  </a:lnTo>
                  <a:lnTo>
                    <a:pt x="1916" y="2250"/>
                  </a:lnTo>
                  <a:lnTo>
                    <a:pt x="1924" y="2259"/>
                  </a:lnTo>
                  <a:lnTo>
                    <a:pt x="1924" y="2259"/>
                  </a:lnTo>
                  <a:lnTo>
                    <a:pt x="1940" y="2254"/>
                  </a:lnTo>
                  <a:lnTo>
                    <a:pt x="1957" y="2249"/>
                  </a:lnTo>
                  <a:lnTo>
                    <a:pt x="1980" y="2243"/>
                  </a:lnTo>
                  <a:lnTo>
                    <a:pt x="2004" y="2235"/>
                  </a:lnTo>
                  <a:lnTo>
                    <a:pt x="2031" y="2225"/>
                  </a:lnTo>
                  <a:lnTo>
                    <a:pt x="2057" y="2213"/>
                  </a:lnTo>
                  <a:lnTo>
                    <a:pt x="2071" y="2206"/>
                  </a:lnTo>
                  <a:lnTo>
                    <a:pt x="2083" y="2199"/>
                  </a:lnTo>
                  <a:lnTo>
                    <a:pt x="2083" y="2199"/>
                  </a:lnTo>
                  <a:lnTo>
                    <a:pt x="2105" y="2186"/>
                  </a:lnTo>
                  <a:lnTo>
                    <a:pt x="2126" y="2172"/>
                  </a:lnTo>
                  <a:lnTo>
                    <a:pt x="2145" y="2157"/>
                  </a:lnTo>
                  <a:lnTo>
                    <a:pt x="2162" y="2142"/>
                  </a:lnTo>
                  <a:lnTo>
                    <a:pt x="2177" y="2128"/>
                  </a:lnTo>
                  <a:lnTo>
                    <a:pt x="2189" y="2113"/>
                  </a:lnTo>
                  <a:lnTo>
                    <a:pt x="2199" y="2099"/>
                  </a:lnTo>
                  <a:lnTo>
                    <a:pt x="2207" y="2086"/>
                  </a:lnTo>
                  <a:lnTo>
                    <a:pt x="2207" y="2086"/>
                  </a:lnTo>
                  <a:lnTo>
                    <a:pt x="2190" y="2122"/>
                  </a:lnTo>
                  <a:lnTo>
                    <a:pt x="2175" y="2155"/>
                  </a:lnTo>
                  <a:lnTo>
                    <a:pt x="2161" y="2185"/>
                  </a:lnTo>
                  <a:lnTo>
                    <a:pt x="2146" y="2213"/>
                  </a:lnTo>
                  <a:lnTo>
                    <a:pt x="2132" y="2238"/>
                  </a:lnTo>
                  <a:lnTo>
                    <a:pt x="2119" y="2261"/>
                  </a:lnTo>
                  <a:lnTo>
                    <a:pt x="2105" y="2281"/>
                  </a:lnTo>
                  <a:lnTo>
                    <a:pt x="2092" y="2299"/>
                  </a:lnTo>
                  <a:lnTo>
                    <a:pt x="2080" y="2317"/>
                  </a:lnTo>
                  <a:lnTo>
                    <a:pt x="2068" y="2331"/>
                  </a:lnTo>
                  <a:lnTo>
                    <a:pt x="2055" y="2344"/>
                  </a:lnTo>
                  <a:lnTo>
                    <a:pt x="2044" y="2356"/>
                  </a:lnTo>
                  <a:lnTo>
                    <a:pt x="2033" y="2367"/>
                  </a:lnTo>
                  <a:lnTo>
                    <a:pt x="2022" y="2376"/>
                  </a:lnTo>
                  <a:lnTo>
                    <a:pt x="2011" y="2383"/>
                  </a:lnTo>
                  <a:lnTo>
                    <a:pt x="2000" y="2391"/>
                  </a:lnTo>
                  <a:lnTo>
                    <a:pt x="2000" y="2391"/>
                  </a:lnTo>
                  <a:lnTo>
                    <a:pt x="1907" y="2452"/>
                  </a:lnTo>
                  <a:lnTo>
                    <a:pt x="1797" y="2524"/>
                  </a:lnTo>
                  <a:lnTo>
                    <a:pt x="1735" y="2563"/>
                  </a:lnTo>
                  <a:lnTo>
                    <a:pt x="1671" y="2602"/>
                  </a:lnTo>
                  <a:lnTo>
                    <a:pt x="1602" y="2642"/>
                  </a:lnTo>
                  <a:lnTo>
                    <a:pt x="1532" y="2682"/>
                  </a:lnTo>
                  <a:lnTo>
                    <a:pt x="1459" y="2720"/>
                  </a:lnTo>
                  <a:lnTo>
                    <a:pt x="1422" y="2739"/>
                  </a:lnTo>
                  <a:lnTo>
                    <a:pt x="1384" y="2756"/>
                  </a:lnTo>
                  <a:lnTo>
                    <a:pt x="1347" y="2774"/>
                  </a:lnTo>
                  <a:lnTo>
                    <a:pt x="1308" y="2791"/>
                  </a:lnTo>
                  <a:lnTo>
                    <a:pt x="1269" y="2808"/>
                  </a:lnTo>
                  <a:lnTo>
                    <a:pt x="1230" y="2823"/>
                  </a:lnTo>
                  <a:lnTo>
                    <a:pt x="1190" y="2837"/>
                  </a:lnTo>
                  <a:lnTo>
                    <a:pt x="1151" y="2851"/>
                  </a:lnTo>
                  <a:lnTo>
                    <a:pt x="1111" y="2864"/>
                  </a:lnTo>
                  <a:lnTo>
                    <a:pt x="1072" y="2875"/>
                  </a:lnTo>
                  <a:lnTo>
                    <a:pt x="1032" y="2885"/>
                  </a:lnTo>
                  <a:lnTo>
                    <a:pt x="992" y="2893"/>
                  </a:lnTo>
                  <a:lnTo>
                    <a:pt x="952" y="2902"/>
                  </a:lnTo>
                  <a:lnTo>
                    <a:pt x="913" y="2908"/>
                  </a:lnTo>
                  <a:lnTo>
                    <a:pt x="913" y="2908"/>
                  </a:lnTo>
                  <a:lnTo>
                    <a:pt x="901" y="2908"/>
                  </a:lnTo>
                  <a:lnTo>
                    <a:pt x="889" y="2907"/>
                  </a:lnTo>
                  <a:lnTo>
                    <a:pt x="876" y="2904"/>
                  </a:lnTo>
                  <a:lnTo>
                    <a:pt x="863" y="2901"/>
                  </a:lnTo>
                  <a:lnTo>
                    <a:pt x="850" y="2898"/>
                  </a:lnTo>
                  <a:lnTo>
                    <a:pt x="836" y="2892"/>
                  </a:lnTo>
                  <a:lnTo>
                    <a:pt x="809" y="2880"/>
                  </a:lnTo>
                  <a:lnTo>
                    <a:pt x="781" y="2866"/>
                  </a:lnTo>
                  <a:lnTo>
                    <a:pt x="754" y="2850"/>
                  </a:lnTo>
                  <a:lnTo>
                    <a:pt x="726" y="2832"/>
                  </a:lnTo>
                  <a:lnTo>
                    <a:pt x="698" y="2813"/>
                  </a:lnTo>
                  <a:lnTo>
                    <a:pt x="672" y="2792"/>
                  </a:lnTo>
                  <a:lnTo>
                    <a:pt x="646" y="2772"/>
                  </a:lnTo>
                  <a:lnTo>
                    <a:pt x="623" y="2751"/>
                  </a:lnTo>
                  <a:lnTo>
                    <a:pt x="600" y="2731"/>
                  </a:lnTo>
                  <a:lnTo>
                    <a:pt x="581" y="2711"/>
                  </a:lnTo>
                  <a:lnTo>
                    <a:pt x="563" y="2694"/>
                  </a:lnTo>
                  <a:lnTo>
                    <a:pt x="548" y="2679"/>
                  </a:lnTo>
                  <a:lnTo>
                    <a:pt x="537" y="2665"/>
                  </a:lnTo>
                  <a:lnTo>
                    <a:pt x="537" y="2665"/>
                  </a:lnTo>
                  <a:lnTo>
                    <a:pt x="533" y="2661"/>
                  </a:lnTo>
                  <a:lnTo>
                    <a:pt x="530" y="2657"/>
                  </a:lnTo>
                  <a:lnTo>
                    <a:pt x="520" y="2652"/>
                  </a:lnTo>
                  <a:lnTo>
                    <a:pt x="512" y="2650"/>
                  </a:lnTo>
                  <a:lnTo>
                    <a:pt x="502" y="2649"/>
                  </a:lnTo>
                  <a:lnTo>
                    <a:pt x="493" y="2649"/>
                  </a:lnTo>
                  <a:lnTo>
                    <a:pt x="483" y="2651"/>
                  </a:lnTo>
                  <a:lnTo>
                    <a:pt x="473" y="2654"/>
                  </a:lnTo>
                  <a:lnTo>
                    <a:pt x="464" y="2658"/>
                  </a:lnTo>
                  <a:lnTo>
                    <a:pt x="447" y="2666"/>
                  </a:lnTo>
                  <a:lnTo>
                    <a:pt x="433" y="2676"/>
                  </a:lnTo>
                  <a:lnTo>
                    <a:pt x="419" y="2686"/>
                  </a:lnTo>
                  <a:lnTo>
                    <a:pt x="419" y="2686"/>
                  </a:lnTo>
                  <a:lnTo>
                    <a:pt x="412" y="2685"/>
                  </a:lnTo>
                  <a:lnTo>
                    <a:pt x="393" y="2683"/>
                  </a:lnTo>
                  <a:lnTo>
                    <a:pt x="379" y="2683"/>
                  </a:lnTo>
                  <a:lnTo>
                    <a:pt x="364" y="2683"/>
                  </a:lnTo>
                  <a:lnTo>
                    <a:pt x="348" y="2684"/>
                  </a:lnTo>
                  <a:lnTo>
                    <a:pt x="329" y="2686"/>
                  </a:lnTo>
                  <a:lnTo>
                    <a:pt x="310" y="2689"/>
                  </a:lnTo>
                  <a:lnTo>
                    <a:pt x="290" y="2694"/>
                  </a:lnTo>
                  <a:lnTo>
                    <a:pt x="271" y="2700"/>
                  </a:lnTo>
                  <a:lnTo>
                    <a:pt x="252" y="2709"/>
                  </a:lnTo>
                  <a:lnTo>
                    <a:pt x="242" y="2715"/>
                  </a:lnTo>
                  <a:lnTo>
                    <a:pt x="233" y="2720"/>
                  </a:lnTo>
                  <a:lnTo>
                    <a:pt x="224" y="2726"/>
                  </a:lnTo>
                  <a:lnTo>
                    <a:pt x="216" y="2733"/>
                  </a:lnTo>
                  <a:lnTo>
                    <a:pt x="207" y="2741"/>
                  </a:lnTo>
                  <a:lnTo>
                    <a:pt x="199" y="2749"/>
                  </a:lnTo>
                  <a:lnTo>
                    <a:pt x="191" y="2759"/>
                  </a:lnTo>
                  <a:lnTo>
                    <a:pt x="184" y="2768"/>
                  </a:lnTo>
                  <a:lnTo>
                    <a:pt x="184" y="2768"/>
                  </a:lnTo>
                  <a:lnTo>
                    <a:pt x="183" y="2771"/>
                  </a:lnTo>
                  <a:lnTo>
                    <a:pt x="185" y="2773"/>
                  </a:lnTo>
                  <a:lnTo>
                    <a:pt x="188" y="2774"/>
                  </a:lnTo>
                  <a:lnTo>
                    <a:pt x="193" y="2774"/>
                  </a:lnTo>
                  <a:lnTo>
                    <a:pt x="210" y="2772"/>
                  </a:lnTo>
                  <a:lnTo>
                    <a:pt x="230" y="2770"/>
                  </a:lnTo>
                  <a:lnTo>
                    <a:pt x="255" y="2768"/>
                  </a:lnTo>
                  <a:lnTo>
                    <a:pt x="280" y="2767"/>
                  </a:lnTo>
                  <a:lnTo>
                    <a:pt x="293" y="2768"/>
                  </a:lnTo>
                  <a:lnTo>
                    <a:pt x="307" y="2769"/>
                  </a:lnTo>
                  <a:lnTo>
                    <a:pt x="319" y="2771"/>
                  </a:lnTo>
                  <a:lnTo>
                    <a:pt x="331" y="2774"/>
                  </a:lnTo>
                  <a:lnTo>
                    <a:pt x="331" y="2774"/>
                  </a:lnTo>
                  <a:lnTo>
                    <a:pt x="338" y="2777"/>
                  </a:lnTo>
                  <a:lnTo>
                    <a:pt x="343" y="2780"/>
                  </a:lnTo>
                  <a:lnTo>
                    <a:pt x="346" y="2783"/>
                  </a:lnTo>
                  <a:lnTo>
                    <a:pt x="347" y="2786"/>
                  </a:lnTo>
                  <a:lnTo>
                    <a:pt x="347" y="2789"/>
                  </a:lnTo>
                  <a:lnTo>
                    <a:pt x="345" y="2793"/>
                  </a:lnTo>
                  <a:lnTo>
                    <a:pt x="339" y="2801"/>
                  </a:lnTo>
                  <a:lnTo>
                    <a:pt x="332" y="2811"/>
                  </a:lnTo>
                  <a:lnTo>
                    <a:pt x="325" y="2822"/>
                  </a:lnTo>
                  <a:lnTo>
                    <a:pt x="321" y="2828"/>
                  </a:lnTo>
                  <a:lnTo>
                    <a:pt x="319" y="2834"/>
                  </a:lnTo>
                  <a:lnTo>
                    <a:pt x="317" y="2840"/>
                  </a:lnTo>
                  <a:lnTo>
                    <a:pt x="317" y="2847"/>
                  </a:lnTo>
                  <a:lnTo>
                    <a:pt x="317" y="2847"/>
                  </a:lnTo>
                  <a:lnTo>
                    <a:pt x="317" y="2853"/>
                  </a:lnTo>
                  <a:lnTo>
                    <a:pt x="319" y="2859"/>
                  </a:lnTo>
                  <a:lnTo>
                    <a:pt x="321" y="2864"/>
                  </a:lnTo>
                  <a:lnTo>
                    <a:pt x="324" y="2869"/>
                  </a:lnTo>
                  <a:lnTo>
                    <a:pt x="328" y="2874"/>
                  </a:lnTo>
                  <a:lnTo>
                    <a:pt x="333" y="2879"/>
                  </a:lnTo>
                  <a:lnTo>
                    <a:pt x="346" y="2889"/>
                  </a:lnTo>
                  <a:lnTo>
                    <a:pt x="361" y="2899"/>
                  </a:lnTo>
                  <a:lnTo>
                    <a:pt x="377" y="2908"/>
                  </a:lnTo>
                  <a:lnTo>
                    <a:pt x="397" y="2917"/>
                  </a:lnTo>
                  <a:lnTo>
                    <a:pt x="416" y="2925"/>
                  </a:lnTo>
                  <a:lnTo>
                    <a:pt x="458" y="2941"/>
                  </a:lnTo>
                  <a:lnTo>
                    <a:pt x="500" y="2955"/>
                  </a:lnTo>
                  <a:lnTo>
                    <a:pt x="571" y="2976"/>
                  </a:lnTo>
                  <a:lnTo>
                    <a:pt x="571" y="2976"/>
                  </a:lnTo>
                  <a:lnTo>
                    <a:pt x="579" y="2980"/>
                  </a:lnTo>
                  <a:lnTo>
                    <a:pt x="585" y="2984"/>
                  </a:lnTo>
                  <a:lnTo>
                    <a:pt x="588" y="2990"/>
                  </a:lnTo>
                  <a:lnTo>
                    <a:pt x="590" y="2995"/>
                  </a:lnTo>
                  <a:lnTo>
                    <a:pt x="590" y="2999"/>
                  </a:lnTo>
                  <a:lnTo>
                    <a:pt x="588" y="3003"/>
                  </a:lnTo>
                  <a:lnTo>
                    <a:pt x="585" y="3005"/>
                  </a:lnTo>
                  <a:lnTo>
                    <a:pt x="581" y="3006"/>
                  </a:lnTo>
                  <a:lnTo>
                    <a:pt x="581" y="3006"/>
                  </a:lnTo>
                  <a:lnTo>
                    <a:pt x="556" y="3005"/>
                  </a:lnTo>
                  <a:lnTo>
                    <a:pt x="532" y="3002"/>
                  </a:lnTo>
                  <a:lnTo>
                    <a:pt x="509" y="2999"/>
                  </a:lnTo>
                  <a:lnTo>
                    <a:pt x="488" y="2994"/>
                  </a:lnTo>
                  <a:lnTo>
                    <a:pt x="467" y="2989"/>
                  </a:lnTo>
                  <a:lnTo>
                    <a:pt x="448" y="2982"/>
                  </a:lnTo>
                  <a:lnTo>
                    <a:pt x="429" y="2976"/>
                  </a:lnTo>
                  <a:lnTo>
                    <a:pt x="412" y="2970"/>
                  </a:lnTo>
                  <a:lnTo>
                    <a:pt x="380" y="2957"/>
                  </a:lnTo>
                  <a:lnTo>
                    <a:pt x="352" y="2945"/>
                  </a:lnTo>
                  <a:lnTo>
                    <a:pt x="327" y="2933"/>
                  </a:lnTo>
                  <a:lnTo>
                    <a:pt x="316" y="2929"/>
                  </a:lnTo>
                  <a:lnTo>
                    <a:pt x="305" y="2925"/>
                  </a:lnTo>
                  <a:lnTo>
                    <a:pt x="305" y="2925"/>
                  </a:lnTo>
                  <a:lnTo>
                    <a:pt x="286" y="2920"/>
                  </a:lnTo>
                  <a:lnTo>
                    <a:pt x="268" y="2916"/>
                  </a:lnTo>
                  <a:lnTo>
                    <a:pt x="253" y="2913"/>
                  </a:lnTo>
                  <a:lnTo>
                    <a:pt x="237" y="2911"/>
                  </a:lnTo>
                  <a:lnTo>
                    <a:pt x="224" y="2910"/>
                  </a:lnTo>
                  <a:lnTo>
                    <a:pt x="213" y="2911"/>
                  </a:lnTo>
                  <a:lnTo>
                    <a:pt x="202" y="2912"/>
                  </a:lnTo>
                  <a:lnTo>
                    <a:pt x="192" y="2914"/>
                  </a:lnTo>
                  <a:lnTo>
                    <a:pt x="185" y="2918"/>
                  </a:lnTo>
                  <a:lnTo>
                    <a:pt x="178" y="2922"/>
                  </a:lnTo>
                  <a:lnTo>
                    <a:pt x="172" y="2927"/>
                  </a:lnTo>
                  <a:lnTo>
                    <a:pt x="167" y="2933"/>
                  </a:lnTo>
                  <a:lnTo>
                    <a:pt x="163" y="2939"/>
                  </a:lnTo>
                  <a:lnTo>
                    <a:pt x="160" y="2948"/>
                  </a:lnTo>
                  <a:lnTo>
                    <a:pt x="156" y="2956"/>
                  </a:lnTo>
                  <a:lnTo>
                    <a:pt x="155" y="2965"/>
                  </a:lnTo>
                  <a:lnTo>
                    <a:pt x="155" y="2965"/>
                  </a:lnTo>
                  <a:lnTo>
                    <a:pt x="154" y="2968"/>
                  </a:lnTo>
                  <a:lnTo>
                    <a:pt x="152" y="2971"/>
                  </a:lnTo>
                  <a:lnTo>
                    <a:pt x="150" y="2974"/>
                  </a:lnTo>
                  <a:lnTo>
                    <a:pt x="147" y="2976"/>
                  </a:lnTo>
                  <a:lnTo>
                    <a:pt x="140" y="2980"/>
                  </a:lnTo>
                  <a:lnTo>
                    <a:pt x="132" y="2985"/>
                  </a:lnTo>
                  <a:lnTo>
                    <a:pt x="109" y="2995"/>
                  </a:lnTo>
                  <a:lnTo>
                    <a:pt x="97" y="3001"/>
                  </a:lnTo>
                  <a:lnTo>
                    <a:pt x="84" y="3009"/>
                  </a:lnTo>
                  <a:lnTo>
                    <a:pt x="71" y="3019"/>
                  </a:lnTo>
                  <a:lnTo>
                    <a:pt x="57" y="3033"/>
                  </a:lnTo>
                  <a:lnTo>
                    <a:pt x="51" y="3040"/>
                  </a:lnTo>
                  <a:lnTo>
                    <a:pt x="45" y="3048"/>
                  </a:lnTo>
                  <a:lnTo>
                    <a:pt x="39" y="3058"/>
                  </a:lnTo>
                  <a:lnTo>
                    <a:pt x="33" y="3068"/>
                  </a:lnTo>
                  <a:lnTo>
                    <a:pt x="28" y="3080"/>
                  </a:lnTo>
                  <a:lnTo>
                    <a:pt x="22" y="3092"/>
                  </a:lnTo>
                  <a:lnTo>
                    <a:pt x="17" y="3106"/>
                  </a:lnTo>
                  <a:lnTo>
                    <a:pt x="13" y="3120"/>
                  </a:lnTo>
                  <a:lnTo>
                    <a:pt x="9" y="3137"/>
                  </a:lnTo>
                  <a:lnTo>
                    <a:pt x="6" y="3154"/>
                  </a:lnTo>
                  <a:lnTo>
                    <a:pt x="3" y="3174"/>
                  </a:lnTo>
                  <a:lnTo>
                    <a:pt x="0" y="3194"/>
                  </a:lnTo>
                  <a:lnTo>
                    <a:pt x="0" y="3194"/>
                  </a:lnTo>
                  <a:lnTo>
                    <a:pt x="1" y="3195"/>
                  </a:lnTo>
                  <a:lnTo>
                    <a:pt x="2" y="3196"/>
                  </a:lnTo>
                  <a:lnTo>
                    <a:pt x="6" y="3194"/>
                  </a:lnTo>
                  <a:lnTo>
                    <a:pt x="12" y="3189"/>
                  </a:lnTo>
                  <a:lnTo>
                    <a:pt x="20" y="3181"/>
                  </a:lnTo>
                  <a:lnTo>
                    <a:pt x="43" y="3158"/>
                  </a:lnTo>
                  <a:lnTo>
                    <a:pt x="69" y="3134"/>
                  </a:lnTo>
                  <a:lnTo>
                    <a:pt x="82" y="3121"/>
                  </a:lnTo>
                  <a:lnTo>
                    <a:pt x="95" y="3110"/>
                  </a:lnTo>
                  <a:lnTo>
                    <a:pt x="107" y="3101"/>
                  </a:lnTo>
                  <a:lnTo>
                    <a:pt x="119" y="3094"/>
                  </a:lnTo>
                  <a:lnTo>
                    <a:pt x="124" y="3091"/>
                  </a:lnTo>
                  <a:lnTo>
                    <a:pt x="129" y="3090"/>
                  </a:lnTo>
                  <a:lnTo>
                    <a:pt x="133" y="3089"/>
                  </a:lnTo>
                  <a:lnTo>
                    <a:pt x="137" y="3089"/>
                  </a:lnTo>
                  <a:lnTo>
                    <a:pt x="140" y="3091"/>
                  </a:lnTo>
                  <a:lnTo>
                    <a:pt x="143" y="3093"/>
                  </a:lnTo>
                  <a:lnTo>
                    <a:pt x="144" y="3097"/>
                  </a:lnTo>
                  <a:lnTo>
                    <a:pt x="146" y="3101"/>
                  </a:lnTo>
                  <a:lnTo>
                    <a:pt x="146" y="3101"/>
                  </a:lnTo>
                  <a:lnTo>
                    <a:pt x="149" y="3117"/>
                  </a:lnTo>
                  <a:lnTo>
                    <a:pt x="154" y="3132"/>
                  </a:lnTo>
                  <a:lnTo>
                    <a:pt x="162" y="3145"/>
                  </a:lnTo>
                  <a:lnTo>
                    <a:pt x="170" y="3155"/>
                  </a:lnTo>
                  <a:lnTo>
                    <a:pt x="179" y="3165"/>
                  </a:lnTo>
                  <a:lnTo>
                    <a:pt x="189" y="3173"/>
                  </a:lnTo>
                  <a:lnTo>
                    <a:pt x="200" y="3180"/>
                  </a:lnTo>
                  <a:lnTo>
                    <a:pt x="214" y="3185"/>
                  </a:lnTo>
                  <a:lnTo>
                    <a:pt x="227" y="3189"/>
                  </a:lnTo>
                  <a:lnTo>
                    <a:pt x="241" y="3191"/>
                  </a:lnTo>
                  <a:lnTo>
                    <a:pt x="256" y="3193"/>
                  </a:lnTo>
                  <a:lnTo>
                    <a:pt x="271" y="3194"/>
                  </a:lnTo>
                  <a:lnTo>
                    <a:pt x="287" y="3195"/>
                  </a:lnTo>
                  <a:lnTo>
                    <a:pt x="304" y="3194"/>
                  </a:lnTo>
                  <a:lnTo>
                    <a:pt x="337" y="3192"/>
                  </a:lnTo>
                  <a:lnTo>
                    <a:pt x="371" y="3188"/>
                  </a:lnTo>
                  <a:lnTo>
                    <a:pt x="405" y="3183"/>
                  </a:lnTo>
                  <a:lnTo>
                    <a:pt x="438" y="3178"/>
                  </a:lnTo>
                  <a:lnTo>
                    <a:pt x="468" y="3174"/>
                  </a:lnTo>
                  <a:lnTo>
                    <a:pt x="496" y="3172"/>
                  </a:lnTo>
                  <a:lnTo>
                    <a:pt x="509" y="3171"/>
                  </a:lnTo>
                  <a:lnTo>
                    <a:pt x="520" y="3171"/>
                  </a:lnTo>
                  <a:lnTo>
                    <a:pt x="531" y="3172"/>
                  </a:lnTo>
                  <a:lnTo>
                    <a:pt x="541" y="3174"/>
                  </a:lnTo>
                  <a:lnTo>
                    <a:pt x="549" y="3177"/>
                  </a:lnTo>
                  <a:lnTo>
                    <a:pt x="555" y="3181"/>
                  </a:lnTo>
                  <a:lnTo>
                    <a:pt x="555" y="3181"/>
                  </a:lnTo>
                  <a:lnTo>
                    <a:pt x="558" y="3184"/>
                  </a:lnTo>
                  <a:lnTo>
                    <a:pt x="559" y="3186"/>
                  </a:lnTo>
                  <a:lnTo>
                    <a:pt x="557" y="3189"/>
                  </a:lnTo>
                  <a:lnTo>
                    <a:pt x="554" y="3191"/>
                  </a:lnTo>
                  <a:lnTo>
                    <a:pt x="549" y="3194"/>
                  </a:lnTo>
                  <a:lnTo>
                    <a:pt x="542" y="3196"/>
                  </a:lnTo>
                  <a:lnTo>
                    <a:pt x="525" y="3200"/>
                  </a:lnTo>
                  <a:lnTo>
                    <a:pt x="475" y="3209"/>
                  </a:lnTo>
                  <a:lnTo>
                    <a:pt x="447" y="3215"/>
                  </a:lnTo>
                  <a:lnTo>
                    <a:pt x="417" y="3221"/>
                  </a:lnTo>
                  <a:lnTo>
                    <a:pt x="388" y="3228"/>
                  </a:lnTo>
                  <a:lnTo>
                    <a:pt x="359" y="3236"/>
                  </a:lnTo>
                  <a:lnTo>
                    <a:pt x="346" y="3240"/>
                  </a:lnTo>
                  <a:lnTo>
                    <a:pt x="333" y="3245"/>
                  </a:lnTo>
                  <a:lnTo>
                    <a:pt x="322" y="3250"/>
                  </a:lnTo>
                  <a:lnTo>
                    <a:pt x="312" y="3256"/>
                  </a:lnTo>
                  <a:lnTo>
                    <a:pt x="303" y="3263"/>
                  </a:lnTo>
                  <a:lnTo>
                    <a:pt x="294" y="3269"/>
                  </a:lnTo>
                  <a:lnTo>
                    <a:pt x="288" y="3276"/>
                  </a:lnTo>
                  <a:lnTo>
                    <a:pt x="284" y="3284"/>
                  </a:lnTo>
                  <a:lnTo>
                    <a:pt x="282" y="3292"/>
                  </a:lnTo>
                  <a:lnTo>
                    <a:pt x="281" y="3300"/>
                  </a:lnTo>
                  <a:lnTo>
                    <a:pt x="283" y="3311"/>
                  </a:lnTo>
                  <a:lnTo>
                    <a:pt x="287" y="3321"/>
                  </a:lnTo>
                  <a:lnTo>
                    <a:pt x="287" y="3321"/>
                  </a:lnTo>
                  <a:lnTo>
                    <a:pt x="287" y="3322"/>
                  </a:lnTo>
                  <a:lnTo>
                    <a:pt x="286" y="3325"/>
                  </a:lnTo>
                  <a:lnTo>
                    <a:pt x="283" y="3331"/>
                  </a:lnTo>
                  <a:lnTo>
                    <a:pt x="268" y="3348"/>
                  </a:lnTo>
                  <a:lnTo>
                    <a:pt x="258" y="3361"/>
                  </a:lnTo>
                  <a:lnTo>
                    <a:pt x="247" y="3374"/>
                  </a:lnTo>
                  <a:lnTo>
                    <a:pt x="237" y="3389"/>
                  </a:lnTo>
                  <a:lnTo>
                    <a:pt x="228" y="3406"/>
                  </a:lnTo>
                  <a:lnTo>
                    <a:pt x="220" y="3423"/>
                  </a:lnTo>
                  <a:lnTo>
                    <a:pt x="217" y="3432"/>
                  </a:lnTo>
                  <a:lnTo>
                    <a:pt x="214" y="3443"/>
                  </a:lnTo>
                  <a:lnTo>
                    <a:pt x="213" y="3452"/>
                  </a:lnTo>
                  <a:lnTo>
                    <a:pt x="212" y="3463"/>
                  </a:lnTo>
                  <a:lnTo>
                    <a:pt x="212" y="3473"/>
                  </a:lnTo>
                  <a:lnTo>
                    <a:pt x="213" y="3483"/>
                  </a:lnTo>
                  <a:lnTo>
                    <a:pt x="215" y="3495"/>
                  </a:lnTo>
                  <a:lnTo>
                    <a:pt x="219" y="3506"/>
                  </a:lnTo>
                  <a:lnTo>
                    <a:pt x="223" y="3518"/>
                  </a:lnTo>
                  <a:lnTo>
                    <a:pt x="229" y="3529"/>
                  </a:lnTo>
                  <a:lnTo>
                    <a:pt x="237" y="3542"/>
                  </a:lnTo>
                  <a:lnTo>
                    <a:pt x="246" y="3554"/>
                  </a:lnTo>
                  <a:lnTo>
                    <a:pt x="257" y="3566"/>
                  </a:lnTo>
                  <a:lnTo>
                    <a:pt x="270" y="3579"/>
                  </a:lnTo>
                  <a:lnTo>
                    <a:pt x="270" y="3579"/>
                  </a:lnTo>
                  <a:lnTo>
                    <a:pt x="270" y="3572"/>
                  </a:lnTo>
                  <a:lnTo>
                    <a:pt x="272" y="3555"/>
                  </a:lnTo>
                  <a:lnTo>
                    <a:pt x="277" y="3530"/>
                  </a:lnTo>
                  <a:lnTo>
                    <a:pt x="281" y="3517"/>
                  </a:lnTo>
                  <a:lnTo>
                    <a:pt x="285" y="3503"/>
                  </a:lnTo>
                  <a:lnTo>
                    <a:pt x="291" y="3490"/>
                  </a:lnTo>
                  <a:lnTo>
                    <a:pt x="298" y="3476"/>
                  </a:lnTo>
                  <a:lnTo>
                    <a:pt x="306" y="3463"/>
                  </a:lnTo>
                  <a:lnTo>
                    <a:pt x="315" y="3453"/>
                  </a:lnTo>
                  <a:lnTo>
                    <a:pt x="321" y="3448"/>
                  </a:lnTo>
                  <a:lnTo>
                    <a:pt x="326" y="3444"/>
                  </a:lnTo>
                  <a:lnTo>
                    <a:pt x="332" y="3439"/>
                  </a:lnTo>
                  <a:lnTo>
                    <a:pt x="339" y="3436"/>
                  </a:lnTo>
                  <a:lnTo>
                    <a:pt x="346" y="3434"/>
                  </a:lnTo>
                  <a:lnTo>
                    <a:pt x="354" y="3432"/>
                  </a:lnTo>
                  <a:lnTo>
                    <a:pt x="361" y="3432"/>
                  </a:lnTo>
                  <a:lnTo>
                    <a:pt x="369" y="3432"/>
                  </a:lnTo>
                  <a:lnTo>
                    <a:pt x="369" y="3432"/>
                  </a:lnTo>
                  <a:lnTo>
                    <a:pt x="383" y="3433"/>
                  </a:lnTo>
                  <a:lnTo>
                    <a:pt x="396" y="3436"/>
                  </a:lnTo>
                  <a:lnTo>
                    <a:pt x="408" y="3440"/>
                  </a:lnTo>
                  <a:lnTo>
                    <a:pt x="420" y="3445"/>
                  </a:lnTo>
                  <a:lnTo>
                    <a:pt x="443" y="3455"/>
                  </a:lnTo>
                  <a:lnTo>
                    <a:pt x="454" y="3459"/>
                  </a:lnTo>
                  <a:lnTo>
                    <a:pt x="465" y="3463"/>
                  </a:lnTo>
                  <a:lnTo>
                    <a:pt x="476" y="3466"/>
                  </a:lnTo>
                  <a:lnTo>
                    <a:pt x="489" y="3468"/>
                  </a:lnTo>
                  <a:lnTo>
                    <a:pt x="501" y="3469"/>
                  </a:lnTo>
                  <a:lnTo>
                    <a:pt x="514" y="3467"/>
                  </a:lnTo>
                  <a:lnTo>
                    <a:pt x="528" y="3464"/>
                  </a:lnTo>
                  <a:lnTo>
                    <a:pt x="542" y="3458"/>
                  </a:lnTo>
                  <a:lnTo>
                    <a:pt x="558" y="3450"/>
                  </a:lnTo>
                  <a:lnTo>
                    <a:pt x="575" y="3437"/>
                  </a:lnTo>
                  <a:lnTo>
                    <a:pt x="575" y="3437"/>
                  </a:lnTo>
                  <a:lnTo>
                    <a:pt x="588" y="3428"/>
                  </a:lnTo>
                  <a:lnTo>
                    <a:pt x="600" y="3417"/>
                  </a:lnTo>
                  <a:lnTo>
                    <a:pt x="614" y="3405"/>
                  </a:lnTo>
                  <a:lnTo>
                    <a:pt x="630" y="3392"/>
                  </a:lnTo>
                  <a:lnTo>
                    <a:pt x="651" y="3380"/>
                  </a:lnTo>
                  <a:lnTo>
                    <a:pt x="664" y="3373"/>
                  </a:lnTo>
                  <a:lnTo>
                    <a:pt x="678" y="3367"/>
                  </a:lnTo>
                  <a:lnTo>
                    <a:pt x="693" y="3360"/>
                  </a:lnTo>
                  <a:lnTo>
                    <a:pt x="712" y="3354"/>
                  </a:lnTo>
                  <a:lnTo>
                    <a:pt x="732" y="3346"/>
                  </a:lnTo>
                  <a:lnTo>
                    <a:pt x="754" y="3339"/>
                  </a:lnTo>
                  <a:lnTo>
                    <a:pt x="754" y="3339"/>
                  </a:lnTo>
                  <a:lnTo>
                    <a:pt x="756" y="3339"/>
                  </a:lnTo>
                  <a:lnTo>
                    <a:pt x="757" y="3340"/>
                  </a:lnTo>
                  <a:lnTo>
                    <a:pt x="760" y="3345"/>
                  </a:lnTo>
                  <a:lnTo>
                    <a:pt x="762" y="3354"/>
                  </a:lnTo>
                  <a:lnTo>
                    <a:pt x="765" y="3363"/>
                  </a:lnTo>
                  <a:lnTo>
                    <a:pt x="768" y="3375"/>
                  </a:lnTo>
                  <a:lnTo>
                    <a:pt x="772" y="3387"/>
                  </a:lnTo>
                  <a:lnTo>
                    <a:pt x="777" y="3400"/>
                  </a:lnTo>
                  <a:lnTo>
                    <a:pt x="783" y="3412"/>
                  </a:lnTo>
                  <a:lnTo>
                    <a:pt x="783" y="3412"/>
                  </a:lnTo>
                  <a:lnTo>
                    <a:pt x="786" y="3415"/>
                  </a:lnTo>
                  <a:lnTo>
                    <a:pt x="789" y="3417"/>
                  </a:lnTo>
                  <a:lnTo>
                    <a:pt x="797" y="3422"/>
                  </a:lnTo>
                  <a:lnTo>
                    <a:pt x="805" y="3425"/>
                  </a:lnTo>
                  <a:lnTo>
                    <a:pt x="813" y="3429"/>
                  </a:lnTo>
                  <a:lnTo>
                    <a:pt x="821" y="3432"/>
                  </a:lnTo>
                  <a:lnTo>
                    <a:pt x="827" y="3435"/>
                  </a:lnTo>
                  <a:lnTo>
                    <a:pt x="830" y="3437"/>
                  </a:lnTo>
                  <a:lnTo>
                    <a:pt x="831" y="3439"/>
                  </a:lnTo>
                  <a:lnTo>
                    <a:pt x="833" y="3443"/>
                  </a:lnTo>
                  <a:lnTo>
                    <a:pt x="833" y="3446"/>
                  </a:lnTo>
                  <a:lnTo>
                    <a:pt x="833" y="3446"/>
                  </a:lnTo>
                  <a:lnTo>
                    <a:pt x="832" y="3456"/>
                  </a:lnTo>
                  <a:lnTo>
                    <a:pt x="830" y="3467"/>
                  </a:lnTo>
                  <a:lnTo>
                    <a:pt x="826" y="3477"/>
                  </a:lnTo>
                  <a:lnTo>
                    <a:pt x="822" y="3486"/>
                  </a:lnTo>
                  <a:lnTo>
                    <a:pt x="817" y="3496"/>
                  </a:lnTo>
                  <a:lnTo>
                    <a:pt x="811" y="3505"/>
                  </a:lnTo>
                  <a:lnTo>
                    <a:pt x="798" y="3521"/>
                  </a:lnTo>
                  <a:lnTo>
                    <a:pt x="784" y="3535"/>
                  </a:lnTo>
                  <a:lnTo>
                    <a:pt x="773" y="3546"/>
                  </a:lnTo>
                  <a:lnTo>
                    <a:pt x="765" y="3552"/>
                  </a:lnTo>
                  <a:lnTo>
                    <a:pt x="763" y="3555"/>
                  </a:lnTo>
                  <a:lnTo>
                    <a:pt x="763" y="3555"/>
                  </a:lnTo>
                  <a:lnTo>
                    <a:pt x="767" y="3558"/>
                  </a:lnTo>
                  <a:lnTo>
                    <a:pt x="778" y="3561"/>
                  </a:lnTo>
                  <a:lnTo>
                    <a:pt x="785" y="3562"/>
                  </a:lnTo>
                  <a:lnTo>
                    <a:pt x="794" y="3563"/>
                  </a:lnTo>
                  <a:lnTo>
                    <a:pt x="804" y="3563"/>
                  </a:lnTo>
                  <a:lnTo>
                    <a:pt x="815" y="3561"/>
                  </a:lnTo>
                  <a:lnTo>
                    <a:pt x="826" y="3558"/>
                  </a:lnTo>
                  <a:lnTo>
                    <a:pt x="839" y="3553"/>
                  </a:lnTo>
                  <a:lnTo>
                    <a:pt x="852" y="3546"/>
                  </a:lnTo>
                  <a:lnTo>
                    <a:pt x="865" y="3536"/>
                  </a:lnTo>
                  <a:lnTo>
                    <a:pt x="879" y="3522"/>
                  </a:lnTo>
                  <a:lnTo>
                    <a:pt x="894" y="3506"/>
                  </a:lnTo>
                  <a:lnTo>
                    <a:pt x="907" y="3486"/>
                  </a:lnTo>
                  <a:lnTo>
                    <a:pt x="921" y="3463"/>
                  </a:lnTo>
                  <a:lnTo>
                    <a:pt x="921" y="3463"/>
                  </a:lnTo>
                  <a:lnTo>
                    <a:pt x="924" y="3459"/>
                  </a:lnTo>
                  <a:lnTo>
                    <a:pt x="927" y="3455"/>
                  </a:lnTo>
                  <a:lnTo>
                    <a:pt x="930" y="3453"/>
                  </a:lnTo>
                  <a:lnTo>
                    <a:pt x="935" y="3451"/>
                  </a:lnTo>
                  <a:lnTo>
                    <a:pt x="939" y="3450"/>
                  </a:lnTo>
                  <a:lnTo>
                    <a:pt x="943" y="3450"/>
                  </a:lnTo>
                  <a:lnTo>
                    <a:pt x="951" y="3450"/>
                  </a:lnTo>
                  <a:lnTo>
                    <a:pt x="970" y="3452"/>
                  </a:lnTo>
                  <a:lnTo>
                    <a:pt x="982" y="3452"/>
                  </a:lnTo>
                  <a:lnTo>
                    <a:pt x="987" y="3451"/>
                  </a:lnTo>
                  <a:lnTo>
                    <a:pt x="992" y="3450"/>
                  </a:lnTo>
                  <a:lnTo>
                    <a:pt x="992" y="3450"/>
                  </a:lnTo>
                  <a:lnTo>
                    <a:pt x="1010" y="3444"/>
                  </a:lnTo>
                  <a:lnTo>
                    <a:pt x="1017" y="3439"/>
                  </a:lnTo>
                  <a:lnTo>
                    <a:pt x="1024" y="3435"/>
                  </a:lnTo>
                  <a:lnTo>
                    <a:pt x="1029" y="3432"/>
                  </a:lnTo>
                  <a:lnTo>
                    <a:pt x="1033" y="3428"/>
                  </a:lnTo>
                  <a:lnTo>
                    <a:pt x="1036" y="3424"/>
                  </a:lnTo>
                  <a:lnTo>
                    <a:pt x="1039" y="3419"/>
                  </a:lnTo>
                  <a:lnTo>
                    <a:pt x="1041" y="3415"/>
                  </a:lnTo>
                  <a:lnTo>
                    <a:pt x="1042" y="3410"/>
                  </a:lnTo>
                  <a:lnTo>
                    <a:pt x="1043" y="3401"/>
                  </a:lnTo>
                  <a:lnTo>
                    <a:pt x="1042" y="3390"/>
                  </a:lnTo>
                  <a:lnTo>
                    <a:pt x="1040" y="3380"/>
                  </a:lnTo>
                  <a:lnTo>
                    <a:pt x="1035" y="3358"/>
                  </a:lnTo>
                  <a:lnTo>
                    <a:pt x="1034" y="3347"/>
                  </a:lnTo>
                  <a:lnTo>
                    <a:pt x="1033" y="3335"/>
                  </a:lnTo>
                  <a:lnTo>
                    <a:pt x="1034" y="3324"/>
                  </a:lnTo>
                  <a:lnTo>
                    <a:pt x="1036" y="3319"/>
                  </a:lnTo>
                  <a:lnTo>
                    <a:pt x="1038" y="3313"/>
                  </a:lnTo>
                  <a:lnTo>
                    <a:pt x="1040" y="3308"/>
                  </a:lnTo>
                  <a:lnTo>
                    <a:pt x="1044" y="3302"/>
                  </a:lnTo>
                  <a:lnTo>
                    <a:pt x="1048" y="3296"/>
                  </a:lnTo>
                  <a:lnTo>
                    <a:pt x="1054" y="3291"/>
                  </a:lnTo>
                  <a:lnTo>
                    <a:pt x="1054" y="3291"/>
                  </a:lnTo>
                  <a:lnTo>
                    <a:pt x="1069" y="3278"/>
                  </a:lnTo>
                  <a:lnTo>
                    <a:pt x="1084" y="3265"/>
                  </a:lnTo>
                  <a:lnTo>
                    <a:pt x="1099" y="3253"/>
                  </a:lnTo>
                  <a:lnTo>
                    <a:pt x="1115" y="3241"/>
                  </a:lnTo>
                  <a:lnTo>
                    <a:pt x="1146" y="3221"/>
                  </a:lnTo>
                  <a:lnTo>
                    <a:pt x="1178" y="3202"/>
                  </a:lnTo>
                  <a:lnTo>
                    <a:pt x="1210" y="3186"/>
                  </a:lnTo>
                  <a:lnTo>
                    <a:pt x="1241" y="3171"/>
                  </a:lnTo>
                  <a:lnTo>
                    <a:pt x="1273" y="3156"/>
                  </a:lnTo>
                  <a:lnTo>
                    <a:pt x="1304" y="3144"/>
                  </a:lnTo>
                  <a:lnTo>
                    <a:pt x="1304" y="3144"/>
                  </a:lnTo>
                  <a:lnTo>
                    <a:pt x="1303" y="3148"/>
                  </a:lnTo>
                  <a:lnTo>
                    <a:pt x="1299" y="3160"/>
                  </a:lnTo>
                  <a:lnTo>
                    <a:pt x="1294" y="3180"/>
                  </a:lnTo>
                  <a:lnTo>
                    <a:pt x="1291" y="3203"/>
                  </a:lnTo>
                  <a:lnTo>
                    <a:pt x="1290" y="3218"/>
                  </a:lnTo>
                  <a:lnTo>
                    <a:pt x="1290" y="3232"/>
                  </a:lnTo>
                  <a:lnTo>
                    <a:pt x="1291" y="3247"/>
                  </a:lnTo>
                  <a:lnTo>
                    <a:pt x="1292" y="3264"/>
                  </a:lnTo>
                  <a:lnTo>
                    <a:pt x="1296" y="3280"/>
                  </a:lnTo>
                  <a:lnTo>
                    <a:pt x="1301" y="3296"/>
                  </a:lnTo>
                  <a:lnTo>
                    <a:pt x="1306" y="3314"/>
                  </a:lnTo>
                  <a:lnTo>
                    <a:pt x="1314" y="3331"/>
                  </a:lnTo>
                  <a:lnTo>
                    <a:pt x="1640" y="3247"/>
                  </a:lnTo>
                  <a:lnTo>
                    <a:pt x="1640" y="3247"/>
                  </a:lnTo>
                  <a:lnTo>
                    <a:pt x="1634" y="3231"/>
                  </a:lnTo>
                  <a:lnTo>
                    <a:pt x="1631" y="3215"/>
                  </a:lnTo>
                  <a:lnTo>
                    <a:pt x="1629" y="3197"/>
                  </a:lnTo>
                  <a:lnTo>
                    <a:pt x="1629" y="3180"/>
                  </a:lnTo>
                  <a:lnTo>
                    <a:pt x="1631" y="3162"/>
                  </a:lnTo>
                  <a:lnTo>
                    <a:pt x="1634" y="3145"/>
                  </a:lnTo>
                  <a:lnTo>
                    <a:pt x="1638" y="3128"/>
                  </a:lnTo>
                  <a:lnTo>
                    <a:pt x="1644" y="3109"/>
                  </a:lnTo>
                  <a:lnTo>
                    <a:pt x="1651" y="3092"/>
                  </a:lnTo>
                  <a:lnTo>
                    <a:pt x="1660" y="3073"/>
                  </a:lnTo>
                  <a:lnTo>
                    <a:pt x="1669" y="3056"/>
                  </a:lnTo>
                  <a:lnTo>
                    <a:pt x="1679" y="3039"/>
                  </a:lnTo>
                  <a:lnTo>
                    <a:pt x="1689" y="3021"/>
                  </a:lnTo>
                  <a:lnTo>
                    <a:pt x="1701" y="3004"/>
                  </a:lnTo>
                  <a:lnTo>
                    <a:pt x="1725" y="2972"/>
                  </a:lnTo>
                  <a:lnTo>
                    <a:pt x="1725" y="2972"/>
                  </a:lnTo>
                  <a:lnTo>
                    <a:pt x="1726" y="2971"/>
                  </a:lnTo>
                  <a:lnTo>
                    <a:pt x="1727" y="2971"/>
                  </a:lnTo>
                  <a:lnTo>
                    <a:pt x="1728" y="2975"/>
                  </a:lnTo>
                  <a:lnTo>
                    <a:pt x="1725" y="2997"/>
                  </a:lnTo>
                  <a:lnTo>
                    <a:pt x="1721" y="3030"/>
                  </a:lnTo>
                  <a:lnTo>
                    <a:pt x="1715" y="3072"/>
                  </a:lnTo>
                  <a:lnTo>
                    <a:pt x="1713" y="3095"/>
                  </a:lnTo>
                  <a:lnTo>
                    <a:pt x="1711" y="3118"/>
                  </a:lnTo>
                  <a:lnTo>
                    <a:pt x="1711" y="3140"/>
                  </a:lnTo>
                  <a:lnTo>
                    <a:pt x="1711" y="3161"/>
                  </a:lnTo>
                  <a:lnTo>
                    <a:pt x="1713" y="3181"/>
                  </a:lnTo>
                  <a:lnTo>
                    <a:pt x="1716" y="3198"/>
                  </a:lnTo>
                  <a:lnTo>
                    <a:pt x="1719" y="3206"/>
                  </a:lnTo>
                  <a:lnTo>
                    <a:pt x="1722" y="3213"/>
                  </a:lnTo>
                  <a:lnTo>
                    <a:pt x="1726" y="3219"/>
                  </a:lnTo>
                  <a:lnTo>
                    <a:pt x="1730" y="3224"/>
                  </a:lnTo>
                  <a:lnTo>
                    <a:pt x="2050" y="3141"/>
                  </a:lnTo>
                  <a:lnTo>
                    <a:pt x="2050" y="3141"/>
                  </a:lnTo>
                  <a:lnTo>
                    <a:pt x="2046" y="3131"/>
                  </a:lnTo>
                  <a:lnTo>
                    <a:pt x="2043" y="3119"/>
                  </a:lnTo>
                  <a:lnTo>
                    <a:pt x="2041" y="3108"/>
                  </a:lnTo>
                  <a:lnTo>
                    <a:pt x="2039" y="3096"/>
                  </a:lnTo>
                  <a:lnTo>
                    <a:pt x="2038" y="3084"/>
                  </a:lnTo>
                  <a:lnTo>
                    <a:pt x="2038" y="3071"/>
                  </a:lnTo>
                  <a:lnTo>
                    <a:pt x="2039" y="3045"/>
                  </a:lnTo>
                  <a:lnTo>
                    <a:pt x="2043" y="3018"/>
                  </a:lnTo>
                  <a:lnTo>
                    <a:pt x="2048" y="2992"/>
                  </a:lnTo>
                  <a:lnTo>
                    <a:pt x="2055" y="2965"/>
                  </a:lnTo>
                  <a:lnTo>
                    <a:pt x="2064" y="2941"/>
                  </a:lnTo>
                  <a:lnTo>
                    <a:pt x="2064" y="2941"/>
                  </a:lnTo>
                  <a:lnTo>
                    <a:pt x="2072" y="2968"/>
                  </a:lnTo>
                  <a:lnTo>
                    <a:pt x="2079" y="2997"/>
                  </a:lnTo>
                  <a:lnTo>
                    <a:pt x="2088" y="3024"/>
                  </a:lnTo>
                  <a:lnTo>
                    <a:pt x="2098" y="3052"/>
                  </a:lnTo>
                  <a:lnTo>
                    <a:pt x="2108" y="3079"/>
                  </a:lnTo>
                  <a:lnTo>
                    <a:pt x="2121" y="3105"/>
                  </a:lnTo>
                  <a:lnTo>
                    <a:pt x="2135" y="3131"/>
                  </a:lnTo>
                  <a:lnTo>
                    <a:pt x="2149" y="3156"/>
                  </a:lnTo>
                  <a:lnTo>
                    <a:pt x="2166" y="3181"/>
                  </a:lnTo>
                  <a:lnTo>
                    <a:pt x="2183" y="3203"/>
                  </a:lnTo>
                  <a:lnTo>
                    <a:pt x="2201" y="3225"/>
                  </a:lnTo>
                  <a:lnTo>
                    <a:pt x="2222" y="3245"/>
                  </a:lnTo>
                  <a:lnTo>
                    <a:pt x="2244" y="3265"/>
                  </a:lnTo>
                  <a:lnTo>
                    <a:pt x="2268" y="3281"/>
                  </a:lnTo>
                  <a:lnTo>
                    <a:pt x="2280" y="3289"/>
                  </a:lnTo>
                  <a:lnTo>
                    <a:pt x="2292" y="3296"/>
                  </a:lnTo>
                  <a:lnTo>
                    <a:pt x="2306" y="3303"/>
                  </a:lnTo>
                  <a:lnTo>
                    <a:pt x="2320" y="3310"/>
                  </a:lnTo>
                  <a:lnTo>
                    <a:pt x="2320" y="3310"/>
                  </a:lnTo>
                  <a:lnTo>
                    <a:pt x="2365" y="3329"/>
                  </a:lnTo>
                  <a:lnTo>
                    <a:pt x="2410" y="3347"/>
                  </a:lnTo>
                  <a:lnTo>
                    <a:pt x="2454" y="3364"/>
                  </a:lnTo>
                  <a:lnTo>
                    <a:pt x="2499" y="3380"/>
                  </a:lnTo>
                  <a:lnTo>
                    <a:pt x="2544" y="3395"/>
                  </a:lnTo>
                  <a:lnTo>
                    <a:pt x="2589" y="3411"/>
                  </a:lnTo>
                  <a:lnTo>
                    <a:pt x="2683" y="3440"/>
                  </a:lnTo>
                  <a:lnTo>
                    <a:pt x="2782" y="3469"/>
                  </a:lnTo>
                  <a:lnTo>
                    <a:pt x="2889" y="3500"/>
                  </a:lnTo>
                  <a:lnTo>
                    <a:pt x="3005" y="3534"/>
                  </a:lnTo>
                  <a:lnTo>
                    <a:pt x="3133" y="3570"/>
                  </a:lnTo>
                  <a:lnTo>
                    <a:pt x="3133" y="3570"/>
                  </a:lnTo>
                  <a:lnTo>
                    <a:pt x="3205" y="3593"/>
                  </a:lnTo>
                  <a:lnTo>
                    <a:pt x="3273" y="3616"/>
                  </a:lnTo>
                  <a:lnTo>
                    <a:pt x="3305" y="3628"/>
                  </a:lnTo>
                  <a:lnTo>
                    <a:pt x="3333" y="3639"/>
                  </a:lnTo>
                  <a:lnTo>
                    <a:pt x="3358" y="3649"/>
                  </a:lnTo>
                  <a:lnTo>
                    <a:pt x="3377" y="3658"/>
                  </a:lnTo>
                  <a:lnTo>
                    <a:pt x="3377" y="3658"/>
                  </a:lnTo>
                  <a:lnTo>
                    <a:pt x="3383" y="3661"/>
                  </a:lnTo>
                  <a:lnTo>
                    <a:pt x="3389" y="3665"/>
                  </a:lnTo>
                  <a:lnTo>
                    <a:pt x="3393" y="3668"/>
                  </a:lnTo>
                  <a:lnTo>
                    <a:pt x="3397" y="3673"/>
                  </a:lnTo>
                  <a:lnTo>
                    <a:pt x="3399" y="3677"/>
                  </a:lnTo>
                  <a:lnTo>
                    <a:pt x="3401" y="3682"/>
                  </a:lnTo>
                  <a:lnTo>
                    <a:pt x="3402" y="3686"/>
                  </a:lnTo>
                  <a:lnTo>
                    <a:pt x="3402" y="3690"/>
                  </a:lnTo>
                  <a:lnTo>
                    <a:pt x="3401" y="3699"/>
                  </a:lnTo>
                  <a:lnTo>
                    <a:pt x="3397" y="3708"/>
                  </a:lnTo>
                  <a:lnTo>
                    <a:pt x="3392" y="3717"/>
                  </a:lnTo>
                  <a:lnTo>
                    <a:pt x="3386" y="3726"/>
                  </a:lnTo>
                  <a:lnTo>
                    <a:pt x="3378" y="3734"/>
                  </a:lnTo>
                  <a:lnTo>
                    <a:pt x="3371" y="3742"/>
                  </a:lnTo>
                  <a:lnTo>
                    <a:pt x="3357" y="3754"/>
                  </a:lnTo>
                  <a:lnTo>
                    <a:pt x="3346" y="3764"/>
                  </a:lnTo>
                  <a:lnTo>
                    <a:pt x="3341" y="3767"/>
                  </a:lnTo>
                  <a:lnTo>
                    <a:pt x="3341" y="3767"/>
                  </a:lnTo>
                  <a:lnTo>
                    <a:pt x="3355" y="3775"/>
                  </a:lnTo>
                  <a:lnTo>
                    <a:pt x="3371" y="3783"/>
                  </a:lnTo>
                  <a:lnTo>
                    <a:pt x="3411" y="3801"/>
                  </a:lnTo>
                  <a:lnTo>
                    <a:pt x="3435" y="3814"/>
                  </a:lnTo>
                  <a:lnTo>
                    <a:pt x="3461" y="3829"/>
                  </a:lnTo>
                  <a:lnTo>
                    <a:pt x="3492" y="3848"/>
                  </a:lnTo>
                  <a:lnTo>
                    <a:pt x="3527" y="3873"/>
                  </a:lnTo>
                  <a:lnTo>
                    <a:pt x="3527" y="3873"/>
                  </a:lnTo>
                  <a:lnTo>
                    <a:pt x="3545" y="3888"/>
                  </a:lnTo>
                  <a:lnTo>
                    <a:pt x="3563" y="3906"/>
                  </a:lnTo>
                  <a:lnTo>
                    <a:pt x="3580" y="3925"/>
                  </a:lnTo>
                  <a:lnTo>
                    <a:pt x="3595" y="3946"/>
                  </a:lnTo>
                  <a:lnTo>
                    <a:pt x="3608" y="3967"/>
                  </a:lnTo>
                  <a:lnTo>
                    <a:pt x="3622" y="3991"/>
                  </a:lnTo>
                  <a:lnTo>
                    <a:pt x="3634" y="4014"/>
                  </a:lnTo>
                  <a:lnTo>
                    <a:pt x="3645" y="4040"/>
                  </a:lnTo>
                  <a:lnTo>
                    <a:pt x="3655" y="4066"/>
                  </a:lnTo>
                  <a:lnTo>
                    <a:pt x="3665" y="4094"/>
                  </a:lnTo>
                  <a:lnTo>
                    <a:pt x="3674" y="4122"/>
                  </a:lnTo>
                  <a:lnTo>
                    <a:pt x="3682" y="4151"/>
                  </a:lnTo>
                  <a:lnTo>
                    <a:pt x="3698" y="4211"/>
                  </a:lnTo>
                  <a:lnTo>
                    <a:pt x="3714" y="4274"/>
                  </a:lnTo>
                  <a:lnTo>
                    <a:pt x="3714" y="4274"/>
                  </a:lnTo>
                  <a:lnTo>
                    <a:pt x="3725" y="4324"/>
                  </a:lnTo>
                  <a:lnTo>
                    <a:pt x="3734" y="4377"/>
                  </a:lnTo>
                  <a:lnTo>
                    <a:pt x="3742" y="4430"/>
                  </a:lnTo>
                  <a:lnTo>
                    <a:pt x="3744" y="4457"/>
                  </a:lnTo>
                  <a:lnTo>
                    <a:pt x="3746" y="4481"/>
                  </a:lnTo>
                  <a:lnTo>
                    <a:pt x="3748" y="4506"/>
                  </a:lnTo>
                  <a:lnTo>
                    <a:pt x="3749" y="4529"/>
                  </a:lnTo>
                  <a:lnTo>
                    <a:pt x="3748" y="4551"/>
                  </a:lnTo>
                  <a:lnTo>
                    <a:pt x="3745" y="4571"/>
                  </a:lnTo>
                  <a:lnTo>
                    <a:pt x="3742" y="4590"/>
                  </a:lnTo>
                  <a:lnTo>
                    <a:pt x="3737" y="4606"/>
                  </a:lnTo>
                  <a:lnTo>
                    <a:pt x="3731" y="4619"/>
                  </a:lnTo>
                  <a:lnTo>
                    <a:pt x="3728" y="4625"/>
                  </a:lnTo>
                  <a:lnTo>
                    <a:pt x="3724" y="4631"/>
                  </a:lnTo>
                  <a:lnTo>
                    <a:pt x="3724" y="4631"/>
                  </a:lnTo>
                  <a:lnTo>
                    <a:pt x="3715" y="4641"/>
                  </a:lnTo>
                  <a:lnTo>
                    <a:pt x="3705" y="4651"/>
                  </a:lnTo>
                  <a:lnTo>
                    <a:pt x="3691" y="4660"/>
                  </a:lnTo>
                  <a:lnTo>
                    <a:pt x="3683" y="4665"/>
                  </a:lnTo>
                  <a:lnTo>
                    <a:pt x="3673" y="4670"/>
                  </a:lnTo>
                  <a:lnTo>
                    <a:pt x="3663" y="4676"/>
                  </a:lnTo>
                  <a:lnTo>
                    <a:pt x="3650" y="4681"/>
                  </a:lnTo>
                  <a:lnTo>
                    <a:pt x="3621" y="4690"/>
                  </a:lnTo>
                  <a:lnTo>
                    <a:pt x="3582" y="4700"/>
                  </a:lnTo>
                  <a:lnTo>
                    <a:pt x="3535" y="4710"/>
                  </a:lnTo>
                  <a:lnTo>
                    <a:pt x="3560" y="4833"/>
                  </a:lnTo>
                  <a:lnTo>
                    <a:pt x="3560" y="4833"/>
                  </a:lnTo>
                  <a:lnTo>
                    <a:pt x="3579" y="4834"/>
                  </a:lnTo>
                  <a:lnTo>
                    <a:pt x="3597" y="4834"/>
                  </a:lnTo>
                  <a:lnTo>
                    <a:pt x="3615" y="4833"/>
                  </a:lnTo>
                  <a:lnTo>
                    <a:pt x="3631" y="4831"/>
                  </a:lnTo>
                  <a:lnTo>
                    <a:pt x="3646" y="4829"/>
                  </a:lnTo>
                  <a:lnTo>
                    <a:pt x="3662" y="4826"/>
                  </a:lnTo>
                  <a:lnTo>
                    <a:pt x="3688" y="4819"/>
                  </a:lnTo>
                  <a:lnTo>
                    <a:pt x="3711" y="4812"/>
                  </a:lnTo>
                  <a:lnTo>
                    <a:pt x="3728" y="4805"/>
                  </a:lnTo>
                  <a:lnTo>
                    <a:pt x="3742" y="4799"/>
                  </a:lnTo>
                  <a:lnTo>
                    <a:pt x="3742" y="4799"/>
                  </a:lnTo>
                  <a:lnTo>
                    <a:pt x="3736" y="4805"/>
                  </a:lnTo>
                  <a:lnTo>
                    <a:pt x="3730" y="4813"/>
                  </a:lnTo>
                  <a:lnTo>
                    <a:pt x="3722" y="4823"/>
                  </a:lnTo>
                  <a:lnTo>
                    <a:pt x="3722" y="4823"/>
                  </a:lnTo>
                  <a:lnTo>
                    <a:pt x="3711" y="4839"/>
                  </a:lnTo>
                  <a:lnTo>
                    <a:pt x="3700" y="4856"/>
                  </a:lnTo>
                  <a:lnTo>
                    <a:pt x="3692" y="4871"/>
                  </a:lnTo>
                  <a:lnTo>
                    <a:pt x="3685" y="4886"/>
                  </a:lnTo>
                  <a:lnTo>
                    <a:pt x="3680" y="4902"/>
                  </a:lnTo>
                  <a:lnTo>
                    <a:pt x="3675" y="4919"/>
                  </a:lnTo>
                  <a:lnTo>
                    <a:pt x="3672" y="4936"/>
                  </a:lnTo>
                  <a:lnTo>
                    <a:pt x="3669" y="4957"/>
                  </a:lnTo>
                  <a:lnTo>
                    <a:pt x="3799" y="5041"/>
                  </a:lnTo>
                  <a:lnTo>
                    <a:pt x="3799" y="5041"/>
                  </a:lnTo>
                  <a:lnTo>
                    <a:pt x="3812" y="5000"/>
                  </a:lnTo>
                  <a:lnTo>
                    <a:pt x="3826" y="4960"/>
                  </a:lnTo>
                  <a:lnTo>
                    <a:pt x="3841" y="4924"/>
                  </a:lnTo>
                  <a:lnTo>
                    <a:pt x="3855" y="4891"/>
                  </a:lnTo>
                  <a:lnTo>
                    <a:pt x="3870" y="4864"/>
                  </a:lnTo>
                  <a:lnTo>
                    <a:pt x="3877" y="4851"/>
                  </a:lnTo>
                  <a:lnTo>
                    <a:pt x="3885" y="4841"/>
                  </a:lnTo>
                  <a:lnTo>
                    <a:pt x="3892" y="4832"/>
                  </a:lnTo>
                  <a:lnTo>
                    <a:pt x="3899" y="4825"/>
                  </a:lnTo>
                  <a:lnTo>
                    <a:pt x="3906" y="4820"/>
                  </a:lnTo>
                  <a:lnTo>
                    <a:pt x="3913" y="4816"/>
                  </a:lnTo>
                  <a:lnTo>
                    <a:pt x="3913" y="4816"/>
                  </a:lnTo>
                  <a:lnTo>
                    <a:pt x="3919" y="4814"/>
                  </a:lnTo>
                  <a:lnTo>
                    <a:pt x="3926" y="4814"/>
                  </a:lnTo>
                  <a:lnTo>
                    <a:pt x="3935" y="4814"/>
                  </a:lnTo>
                  <a:lnTo>
                    <a:pt x="3944" y="4815"/>
                  </a:lnTo>
                  <a:lnTo>
                    <a:pt x="3954" y="4817"/>
                  </a:lnTo>
                  <a:lnTo>
                    <a:pt x="3965" y="4819"/>
                  </a:lnTo>
                  <a:lnTo>
                    <a:pt x="3990" y="4828"/>
                  </a:lnTo>
                  <a:lnTo>
                    <a:pt x="4017" y="4839"/>
                  </a:lnTo>
                  <a:lnTo>
                    <a:pt x="4047" y="4854"/>
                  </a:lnTo>
                  <a:lnTo>
                    <a:pt x="4078" y="4874"/>
                  </a:lnTo>
                  <a:lnTo>
                    <a:pt x="4110" y="4895"/>
                  </a:lnTo>
                  <a:lnTo>
                    <a:pt x="4127" y="4908"/>
                  </a:lnTo>
                  <a:lnTo>
                    <a:pt x="4143" y="4921"/>
                  </a:lnTo>
                  <a:lnTo>
                    <a:pt x="4160" y="4935"/>
                  </a:lnTo>
                  <a:lnTo>
                    <a:pt x="4176" y="4950"/>
                  </a:lnTo>
                  <a:lnTo>
                    <a:pt x="4192" y="4965"/>
                  </a:lnTo>
                  <a:lnTo>
                    <a:pt x="4208" y="4981"/>
                  </a:lnTo>
                  <a:lnTo>
                    <a:pt x="4224" y="4999"/>
                  </a:lnTo>
                  <a:lnTo>
                    <a:pt x="4239" y="5017"/>
                  </a:lnTo>
                  <a:lnTo>
                    <a:pt x="4254" y="5035"/>
                  </a:lnTo>
                  <a:lnTo>
                    <a:pt x="4268" y="5055"/>
                  </a:lnTo>
                  <a:lnTo>
                    <a:pt x="4282" y="5075"/>
                  </a:lnTo>
                  <a:lnTo>
                    <a:pt x="4296" y="5097"/>
                  </a:lnTo>
                  <a:lnTo>
                    <a:pt x="4308" y="5118"/>
                  </a:lnTo>
                  <a:lnTo>
                    <a:pt x="4320" y="5141"/>
                  </a:lnTo>
                  <a:lnTo>
                    <a:pt x="4331" y="5164"/>
                  </a:lnTo>
                  <a:lnTo>
                    <a:pt x="4342" y="5189"/>
                  </a:lnTo>
                  <a:lnTo>
                    <a:pt x="4342" y="5189"/>
                  </a:lnTo>
                  <a:lnTo>
                    <a:pt x="4347" y="5203"/>
                  </a:lnTo>
                  <a:lnTo>
                    <a:pt x="4352" y="5220"/>
                  </a:lnTo>
                  <a:lnTo>
                    <a:pt x="4356" y="5236"/>
                  </a:lnTo>
                  <a:lnTo>
                    <a:pt x="4360" y="5253"/>
                  </a:lnTo>
                  <a:lnTo>
                    <a:pt x="4363" y="5272"/>
                  </a:lnTo>
                  <a:lnTo>
                    <a:pt x="4366" y="5290"/>
                  </a:lnTo>
                  <a:lnTo>
                    <a:pt x="4370" y="5329"/>
                  </a:lnTo>
                  <a:lnTo>
                    <a:pt x="4372" y="5368"/>
                  </a:lnTo>
                  <a:lnTo>
                    <a:pt x="4371" y="5409"/>
                  </a:lnTo>
                  <a:lnTo>
                    <a:pt x="4370" y="5429"/>
                  </a:lnTo>
                  <a:lnTo>
                    <a:pt x="4369" y="5449"/>
                  </a:lnTo>
                  <a:lnTo>
                    <a:pt x="4366" y="5469"/>
                  </a:lnTo>
                  <a:lnTo>
                    <a:pt x="4363" y="5488"/>
                  </a:lnTo>
                  <a:lnTo>
                    <a:pt x="4360" y="5508"/>
                  </a:lnTo>
                  <a:lnTo>
                    <a:pt x="4356" y="5526"/>
                  </a:lnTo>
                  <a:lnTo>
                    <a:pt x="4351" y="5545"/>
                  </a:lnTo>
                  <a:lnTo>
                    <a:pt x="4345" y="5562"/>
                  </a:lnTo>
                  <a:lnTo>
                    <a:pt x="4339" y="5579"/>
                  </a:lnTo>
                  <a:lnTo>
                    <a:pt x="4332" y="5595"/>
                  </a:lnTo>
                  <a:lnTo>
                    <a:pt x="4324" y="5610"/>
                  </a:lnTo>
                  <a:lnTo>
                    <a:pt x="4316" y="5624"/>
                  </a:lnTo>
                  <a:lnTo>
                    <a:pt x="4307" y="5638"/>
                  </a:lnTo>
                  <a:lnTo>
                    <a:pt x="4298" y="5650"/>
                  </a:lnTo>
                  <a:lnTo>
                    <a:pt x="4287" y="5661"/>
                  </a:lnTo>
                  <a:lnTo>
                    <a:pt x="4276" y="5670"/>
                  </a:lnTo>
                  <a:lnTo>
                    <a:pt x="4264" y="5679"/>
                  </a:lnTo>
                  <a:lnTo>
                    <a:pt x="4252" y="5686"/>
                  </a:lnTo>
                  <a:lnTo>
                    <a:pt x="4238" y="5691"/>
                  </a:lnTo>
                  <a:lnTo>
                    <a:pt x="4224" y="5694"/>
                  </a:lnTo>
                  <a:lnTo>
                    <a:pt x="4224" y="5694"/>
                  </a:lnTo>
                  <a:lnTo>
                    <a:pt x="4216" y="5695"/>
                  </a:lnTo>
                  <a:lnTo>
                    <a:pt x="4208" y="5695"/>
                  </a:lnTo>
                  <a:lnTo>
                    <a:pt x="4198" y="5694"/>
                  </a:lnTo>
                  <a:lnTo>
                    <a:pt x="4188" y="5692"/>
                  </a:lnTo>
                  <a:lnTo>
                    <a:pt x="4168" y="5687"/>
                  </a:lnTo>
                  <a:lnTo>
                    <a:pt x="4145" y="5679"/>
                  </a:lnTo>
                  <a:lnTo>
                    <a:pt x="4123" y="5668"/>
                  </a:lnTo>
                  <a:lnTo>
                    <a:pt x="4099" y="5657"/>
                  </a:lnTo>
                  <a:lnTo>
                    <a:pt x="4051" y="5635"/>
                  </a:lnTo>
                  <a:lnTo>
                    <a:pt x="4028" y="5623"/>
                  </a:lnTo>
                  <a:lnTo>
                    <a:pt x="4005" y="5614"/>
                  </a:lnTo>
                  <a:lnTo>
                    <a:pt x="3984" y="5607"/>
                  </a:lnTo>
                  <a:lnTo>
                    <a:pt x="3964" y="5602"/>
                  </a:lnTo>
                  <a:lnTo>
                    <a:pt x="3955" y="5601"/>
                  </a:lnTo>
                  <a:lnTo>
                    <a:pt x="3947" y="5600"/>
                  </a:lnTo>
                  <a:lnTo>
                    <a:pt x="3939" y="5601"/>
                  </a:lnTo>
                  <a:lnTo>
                    <a:pt x="3932" y="5602"/>
                  </a:lnTo>
                  <a:lnTo>
                    <a:pt x="3924" y="5605"/>
                  </a:lnTo>
                  <a:lnTo>
                    <a:pt x="3919" y="5609"/>
                  </a:lnTo>
                  <a:lnTo>
                    <a:pt x="3914" y="5614"/>
                  </a:lnTo>
                  <a:lnTo>
                    <a:pt x="3909" y="5620"/>
                  </a:lnTo>
                  <a:lnTo>
                    <a:pt x="3909" y="5620"/>
                  </a:lnTo>
                  <a:lnTo>
                    <a:pt x="3905" y="5627"/>
                  </a:lnTo>
                  <a:lnTo>
                    <a:pt x="3900" y="5635"/>
                  </a:lnTo>
                  <a:lnTo>
                    <a:pt x="3893" y="5641"/>
                  </a:lnTo>
                  <a:lnTo>
                    <a:pt x="3886" y="5647"/>
                  </a:lnTo>
                  <a:lnTo>
                    <a:pt x="3869" y="5658"/>
                  </a:lnTo>
                  <a:lnTo>
                    <a:pt x="3851" y="5668"/>
                  </a:lnTo>
                  <a:lnTo>
                    <a:pt x="3810" y="5690"/>
                  </a:lnTo>
                  <a:lnTo>
                    <a:pt x="3789" y="5701"/>
                  </a:lnTo>
                  <a:lnTo>
                    <a:pt x="3770" y="5714"/>
                  </a:lnTo>
                  <a:lnTo>
                    <a:pt x="3761" y="5720"/>
                  </a:lnTo>
                  <a:lnTo>
                    <a:pt x="3752" y="5729"/>
                  </a:lnTo>
                  <a:lnTo>
                    <a:pt x="3743" y="5736"/>
                  </a:lnTo>
                  <a:lnTo>
                    <a:pt x="3735" y="5745"/>
                  </a:lnTo>
                  <a:lnTo>
                    <a:pt x="3728" y="5754"/>
                  </a:lnTo>
                  <a:lnTo>
                    <a:pt x="3722" y="5764"/>
                  </a:lnTo>
                  <a:lnTo>
                    <a:pt x="3717" y="5775"/>
                  </a:lnTo>
                  <a:lnTo>
                    <a:pt x="3713" y="5787"/>
                  </a:lnTo>
                  <a:lnTo>
                    <a:pt x="3710" y="5799"/>
                  </a:lnTo>
                  <a:lnTo>
                    <a:pt x="3708" y="5813"/>
                  </a:lnTo>
                  <a:lnTo>
                    <a:pt x="3707" y="5827"/>
                  </a:lnTo>
                  <a:lnTo>
                    <a:pt x="3707" y="5843"/>
                  </a:lnTo>
                  <a:lnTo>
                    <a:pt x="3709" y="5860"/>
                  </a:lnTo>
                  <a:lnTo>
                    <a:pt x="3713" y="5877"/>
                  </a:lnTo>
                  <a:lnTo>
                    <a:pt x="3718" y="5896"/>
                  </a:lnTo>
                  <a:lnTo>
                    <a:pt x="3724" y="5917"/>
                  </a:lnTo>
                  <a:lnTo>
                    <a:pt x="3724" y="5917"/>
                  </a:lnTo>
                  <a:lnTo>
                    <a:pt x="3741" y="5896"/>
                  </a:lnTo>
                  <a:lnTo>
                    <a:pt x="3759" y="5875"/>
                  </a:lnTo>
                  <a:lnTo>
                    <a:pt x="3776" y="5856"/>
                  </a:lnTo>
                  <a:lnTo>
                    <a:pt x="3794" y="5840"/>
                  </a:lnTo>
                  <a:lnTo>
                    <a:pt x="3802" y="5833"/>
                  </a:lnTo>
                  <a:lnTo>
                    <a:pt x="3811" y="5827"/>
                  </a:lnTo>
                  <a:lnTo>
                    <a:pt x="3819" y="5821"/>
                  </a:lnTo>
                  <a:lnTo>
                    <a:pt x="3827" y="5817"/>
                  </a:lnTo>
                  <a:lnTo>
                    <a:pt x="3835" y="5815"/>
                  </a:lnTo>
                  <a:lnTo>
                    <a:pt x="3843" y="5813"/>
                  </a:lnTo>
                  <a:lnTo>
                    <a:pt x="3850" y="5813"/>
                  </a:lnTo>
                  <a:lnTo>
                    <a:pt x="3857" y="5815"/>
                  </a:lnTo>
                  <a:lnTo>
                    <a:pt x="3857" y="5815"/>
                  </a:lnTo>
                  <a:lnTo>
                    <a:pt x="3861" y="5817"/>
                  </a:lnTo>
                  <a:lnTo>
                    <a:pt x="3864" y="5819"/>
                  </a:lnTo>
                  <a:lnTo>
                    <a:pt x="3870" y="5825"/>
                  </a:lnTo>
                  <a:lnTo>
                    <a:pt x="3875" y="5833"/>
                  </a:lnTo>
                  <a:lnTo>
                    <a:pt x="3879" y="5841"/>
                  </a:lnTo>
                  <a:lnTo>
                    <a:pt x="3888" y="5862"/>
                  </a:lnTo>
                  <a:lnTo>
                    <a:pt x="3894" y="5872"/>
                  </a:lnTo>
                  <a:lnTo>
                    <a:pt x="3901" y="5882"/>
                  </a:lnTo>
                  <a:lnTo>
                    <a:pt x="3901" y="5882"/>
                  </a:lnTo>
                  <a:lnTo>
                    <a:pt x="3904" y="5885"/>
                  </a:lnTo>
                  <a:lnTo>
                    <a:pt x="3908" y="5887"/>
                  </a:lnTo>
                  <a:lnTo>
                    <a:pt x="3913" y="5889"/>
                  </a:lnTo>
                  <a:lnTo>
                    <a:pt x="3919" y="5890"/>
                  </a:lnTo>
                  <a:lnTo>
                    <a:pt x="3934" y="5892"/>
                  </a:lnTo>
                  <a:lnTo>
                    <a:pt x="3950" y="5892"/>
                  </a:lnTo>
                  <a:lnTo>
                    <a:pt x="3968" y="5891"/>
                  </a:lnTo>
                  <a:lnTo>
                    <a:pt x="3989" y="5889"/>
                  </a:lnTo>
                  <a:lnTo>
                    <a:pt x="4032" y="5885"/>
                  </a:lnTo>
                  <a:lnTo>
                    <a:pt x="4074" y="5881"/>
                  </a:lnTo>
                  <a:lnTo>
                    <a:pt x="4093" y="5879"/>
                  </a:lnTo>
                  <a:lnTo>
                    <a:pt x="4110" y="5879"/>
                  </a:lnTo>
                  <a:lnTo>
                    <a:pt x="4126" y="5879"/>
                  </a:lnTo>
                  <a:lnTo>
                    <a:pt x="4137" y="5881"/>
                  </a:lnTo>
                  <a:lnTo>
                    <a:pt x="4142" y="5883"/>
                  </a:lnTo>
                  <a:lnTo>
                    <a:pt x="4146" y="5885"/>
                  </a:lnTo>
                  <a:lnTo>
                    <a:pt x="4148" y="5887"/>
                  </a:lnTo>
                  <a:lnTo>
                    <a:pt x="4150" y="5890"/>
                  </a:lnTo>
                  <a:lnTo>
                    <a:pt x="4150" y="5890"/>
                  </a:lnTo>
                  <a:lnTo>
                    <a:pt x="4151" y="5893"/>
                  </a:lnTo>
                  <a:lnTo>
                    <a:pt x="4150" y="5896"/>
                  </a:lnTo>
                  <a:lnTo>
                    <a:pt x="4149" y="5898"/>
                  </a:lnTo>
                  <a:lnTo>
                    <a:pt x="4148" y="5900"/>
                  </a:lnTo>
                  <a:lnTo>
                    <a:pt x="4143" y="5904"/>
                  </a:lnTo>
                  <a:lnTo>
                    <a:pt x="4136" y="5905"/>
                  </a:lnTo>
                  <a:lnTo>
                    <a:pt x="4118" y="5908"/>
                  </a:lnTo>
                  <a:lnTo>
                    <a:pt x="4100" y="5910"/>
                  </a:lnTo>
                  <a:lnTo>
                    <a:pt x="4100" y="5910"/>
                  </a:lnTo>
                  <a:lnTo>
                    <a:pt x="4021" y="5924"/>
                  </a:lnTo>
                  <a:lnTo>
                    <a:pt x="3981" y="5931"/>
                  </a:lnTo>
                  <a:lnTo>
                    <a:pt x="3943" y="5939"/>
                  </a:lnTo>
                  <a:lnTo>
                    <a:pt x="3925" y="5944"/>
                  </a:lnTo>
                  <a:lnTo>
                    <a:pt x="3909" y="5950"/>
                  </a:lnTo>
                  <a:lnTo>
                    <a:pt x="3894" y="5956"/>
                  </a:lnTo>
                  <a:lnTo>
                    <a:pt x="3881" y="5962"/>
                  </a:lnTo>
                  <a:lnTo>
                    <a:pt x="3869" y="5968"/>
                  </a:lnTo>
                  <a:lnTo>
                    <a:pt x="3860" y="5976"/>
                  </a:lnTo>
                  <a:lnTo>
                    <a:pt x="3853" y="5984"/>
                  </a:lnTo>
                  <a:lnTo>
                    <a:pt x="3850" y="5988"/>
                  </a:lnTo>
                  <a:lnTo>
                    <a:pt x="3848" y="5993"/>
                  </a:lnTo>
                  <a:lnTo>
                    <a:pt x="3848" y="5993"/>
                  </a:lnTo>
                  <a:lnTo>
                    <a:pt x="3846" y="6000"/>
                  </a:lnTo>
                  <a:lnTo>
                    <a:pt x="3846" y="6004"/>
                  </a:lnTo>
                  <a:lnTo>
                    <a:pt x="3847" y="6014"/>
                  </a:lnTo>
                  <a:lnTo>
                    <a:pt x="3847" y="6019"/>
                  </a:lnTo>
                  <a:lnTo>
                    <a:pt x="3846" y="6025"/>
                  </a:lnTo>
                  <a:lnTo>
                    <a:pt x="3845" y="6033"/>
                  </a:lnTo>
                  <a:lnTo>
                    <a:pt x="3842" y="6044"/>
                  </a:lnTo>
                  <a:lnTo>
                    <a:pt x="3842" y="6044"/>
                  </a:lnTo>
                  <a:lnTo>
                    <a:pt x="3837" y="6055"/>
                  </a:lnTo>
                  <a:lnTo>
                    <a:pt x="3831" y="6064"/>
                  </a:lnTo>
                  <a:lnTo>
                    <a:pt x="3823" y="6072"/>
                  </a:lnTo>
                  <a:lnTo>
                    <a:pt x="3815" y="6080"/>
                  </a:lnTo>
                  <a:lnTo>
                    <a:pt x="3796" y="6096"/>
                  </a:lnTo>
                  <a:lnTo>
                    <a:pt x="3786" y="6104"/>
                  </a:lnTo>
                  <a:lnTo>
                    <a:pt x="3776" y="6113"/>
                  </a:lnTo>
                  <a:lnTo>
                    <a:pt x="3767" y="6122"/>
                  </a:lnTo>
                  <a:lnTo>
                    <a:pt x="3758" y="6134"/>
                  </a:lnTo>
                  <a:lnTo>
                    <a:pt x="3750" y="6147"/>
                  </a:lnTo>
                  <a:lnTo>
                    <a:pt x="3742" y="6161"/>
                  </a:lnTo>
                  <a:lnTo>
                    <a:pt x="3736" y="6179"/>
                  </a:lnTo>
                  <a:lnTo>
                    <a:pt x="3732" y="6198"/>
                  </a:lnTo>
                  <a:lnTo>
                    <a:pt x="3730" y="6220"/>
                  </a:lnTo>
                  <a:lnTo>
                    <a:pt x="3730" y="6246"/>
                  </a:lnTo>
                  <a:lnTo>
                    <a:pt x="3730" y="6246"/>
                  </a:lnTo>
                  <a:lnTo>
                    <a:pt x="3732" y="6259"/>
                  </a:lnTo>
                  <a:lnTo>
                    <a:pt x="3735" y="6272"/>
                  </a:lnTo>
                  <a:lnTo>
                    <a:pt x="3739" y="6284"/>
                  </a:lnTo>
                  <a:lnTo>
                    <a:pt x="3744" y="6296"/>
                  </a:lnTo>
                  <a:lnTo>
                    <a:pt x="3751" y="6306"/>
                  </a:lnTo>
                  <a:lnTo>
                    <a:pt x="3757" y="6318"/>
                  </a:lnTo>
                  <a:lnTo>
                    <a:pt x="3763" y="6327"/>
                  </a:lnTo>
                  <a:lnTo>
                    <a:pt x="3770" y="6336"/>
                  </a:lnTo>
                  <a:lnTo>
                    <a:pt x="3784" y="6351"/>
                  </a:lnTo>
                  <a:lnTo>
                    <a:pt x="3797" y="6363"/>
                  </a:lnTo>
                  <a:lnTo>
                    <a:pt x="3807" y="6370"/>
                  </a:lnTo>
                  <a:lnTo>
                    <a:pt x="3810" y="6372"/>
                  </a:lnTo>
                  <a:lnTo>
                    <a:pt x="3813" y="6373"/>
                  </a:lnTo>
                  <a:lnTo>
                    <a:pt x="3813" y="6373"/>
                  </a:lnTo>
                  <a:lnTo>
                    <a:pt x="3814" y="6372"/>
                  </a:lnTo>
                  <a:lnTo>
                    <a:pt x="3815" y="6371"/>
                  </a:lnTo>
                  <a:lnTo>
                    <a:pt x="3816" y="6366"/>
                  </a:lnTo>
                  <a:lnTo>
                    <a:pt x="3818" y="6358"/>
                  </a:lnTo>
                  <a:lnTo>
                    <a:pt x="3818" y="6348"/>
                  </a:lnTo>
                  <a:lnTo>
                    <a:pt x="3820" y="6324"/>
                  </a:lnTo>
                  <a:lnTo>
                    <a:pt x="3823" y="6295"/>
                  </a:lnTo>
                  <a:lnTo>
                    <a:pt x="3825" y="6281"/>
                  </a:lnTo>
                  <a:lnTo>
                    <a:pt x="3828" y="6265"/>
                  </a:lnTo>
                  <a:lnTo>
                    <a:pt x="3831" y="6252"/>
                  </a:lnTo>
                  <a:lnTo>
                    <a:pt x="3836" y="6239"/>
                  </a:lnTo>
                  <a:lnTo>
                    <a:pt x="3843" y="6228"/>
                  </a:lnTo>
                  <a:lnTo>
                    <a:pt x="3847" y="6224"/>
                  </a:lnTo>
                  <a:lnTo>
                    <a:pt x="3851" y="6218"/>
                  </a:lnTo>
                  <a:lnTo>
                    <a:pt x="3855" y="6215"/>
                  </a:lnTo>
                  <a:lnTo>
                    <a:pt x="3860" y="6212"/>
                  </a:lnTo>
                  <a:lnTo>
                    <a:pt x="3865" y="6209"/>
                  </a:lnTo>
                  <a:lnTo>
                    <a:pt x="3871" y="6208"/>
                  </a:lnTo>
                  <a:lnTo>
                    <a:pt x="3871" y="6208"/>
                  </a:lnTo>
                  <a:lnTo>
                    <a:pt x="3877" y="6207"/>
                  </a:lnTo>
                  <a:lnTo>
                    <a:pt x="3882" y="6208"/>
                  </a:lnTo>
                  <a:lnTo>
                    <a:pt x="3888" y="6210"/>
                  </a:lnTo>
                  <a:lnTo>
                    <a:pt x="3892" y="6214"/>
                  </a:lnTo>
                  <a:lnTo>
                    <a:pt x="3902" y="6223"/>
                  </a:lnTo>
                  <a:lnTo>
                    <a:pt x="3911" y="6233"/>
                  </a:lnTo>
                  <a:lnTo>
                    <a:pt x="3921" y="6243"/>
                  </a:lnTo>
                  <a:lnTo>
                    <a:pt x="3926" y="6248"/>
                  </a:lnTo>
                  <a:lnTo>
                    <a:pt x="3933" y="6252"/>
                  </a:lnTo>
                  <a:lnTo>
                    <a:pt x="3940" y="6256"/>
                  </a:lnTo>
                  <a:lnTo>
                    <a:pt x="3946" y="6259"/>
                  </a:lnTo>
                  <a:lnTo>
                    <a:pt x="3954" y="6260"/>
                  </a:lnTo>
                  <a:lnTo>
                    <a:pt x="3962" y="6261"/>
                  </a:lnTo>
                  <a:lnTo>
                    <a:pt x="3962" y="6261"/>
                  </a:lnTo>
                  <a:lnTo>
                    <a:pt x="3970" y="6260"/>
                  </a:lnTo>
                  <a:lnTo>
                    <a:pt x="3979" y="6257"/>
                  </a:lnTo>
                  <a:lnTo>
                    <a:pt x="3987" y="6254"/>
                  </a:lnTo>
                  <a:lnTo>
                    <a:pt x="3996" y="6250"/>
                  </a:lnTo>
                  <a:lnTo>
                    <a:pt x="4005" y="6244"/>
                  </a:lnTo>
                  <a:lnTo>
                    <a:pt x="4014" y="6238"/>
                  </a:lnTo>
                  <a:lnTo>
                    <a:pt x="4035" y="6221"/>
                  </a:lnTo>
                  <a:lnTo>
                    <a:pt x="4055" y="6204"/>
                  </a:lnTo>
                  <a:lnTo>
                    <a:pt x="4077" y="6184"/>
                  </a:lnTo>
                  <a:lnTo>
                    <a:pt x="4122" y="6141"/>
                  </a:lnTo>
                  <a:lnTo>
                    <a:pt x="4144" y="6119"/>
                  </a:lnTo>
                  <a:lnTo>
                    <a:pt x="4166" y="6099"/>
                  </a:lnTo>
                  <a:lnTo>
                    <a:pt x="4187" y="6079"/>
                  </a:lnTo>
                  <a:lnTo>
                    <a:pt x="4208" y="6064"/>
                  </a:lnTo>
                  <a:lnTo>
                    <a:pt x="4227" y="6051"/>
                  </a:lnTo>
                  <a:lnTo>
                    <a:pt x="4236" y="6046"/>
                  </a:lnTo>
                  <a:lnTo>
                    <a:pt x="4245" y="6042"/>
                  </a:lnTo>
                  <a:lnTo>
                    <a:pt x="4254" y="6038"/>
                  </a:lnTo>
                  <a:lnTo>
                    <a:pt x="4262" y="6036"/>
                  </a:lnTo>
                  <a:lnTo>
                    <a:pt x="4270" y="6036"/>
                  </a:lnTo>
                  <a:lnTo>
                    <a:pt x="4277" y="6037"/>
                  </a:lnTo>
                  <a:lnTo>
                    <a:pt x="4277" y="6037"/>
                  </a:lnTo>
                  <a:lnTo>
                    <a:pt x="4278" y="6038"/>
                  </a:lnTo>
                  <a:lnTo>
                    <a:pt x="4279" y="6041"/>
                  </a:lnTo>
                  <a:lnTo>
                    <a:pt x="4278" y="6044"/>
                  </a:lnTo>
                  <a:lnTo>
                    <a:pt x="4277" y="6046"/>
                  </a:lnTo>
                  <a:lnTo>
                    <a:pt x="4272" y="6053"/>
                  </a:lnTo>
                  <a:lnTo>
                    <a:pt x="4264" y="6061"/>
                  </a:lnTo>
                  <a:lnTo>
                    <a:pt x="4241" y="6082"/>
                  </a:lnTo>
                  <a:lnTo>
                    <a:pt x="4212" y="6109"/>
                  </a:lnTo>
                  <a:lnTo>
                    <a:pt x="4181" y="6139"/>
                  </a:lnTo>
                  <a:lnTo>
                    <a:pt x="4167" y="6154"/>
                  </a:lnTo>
                  <a:lnTo>
                    <a:pt x="4152" y="6170"/>
                  </a:lnTo>
                  <a:lnTo>
                    <a:pt x="4140" y="6187"/>
                  </a:lnTo>
                  <a:lnTo>
                    <a:pt x="4129" y="6204"/>
                  </a:lnTo>
                  <a:lnTo>
                    <a:pt x="4121" y="6220"/>
                  </a:lnTo>
                  <a:lnTo>
                    <a:pt x="4118" y="6229"/>
                  </a:lnTo>
                  <a:lnTo>
                    <a:pt x="4116" y="6238"/>
                  </a:lnTo>
                  <a:lnTo>
                    <a:pt x="4116" y="6238"/>
                  </a:lnTo>
                  <a:lnTo>
                    <a:pt x="4114" y="6250"/>
                  </a:lnTo>
                  <a:lnTo>
                    <a:pt x="4114" y="6261"/>
                  </a:lnTo>
                  <a:lnTo>
                    <a:pt x="4115" y="6273"/>
                  </a:lnTo>
                  <a:lnTo>
                    <a:pt x="4119" y="6282"/>
                  </a:lnTo>
                  <a:lnTo>
                    <a:pt x="4123" y="6290"/>
                  </a:lnTo>
                  <a:lnTo>
                    <a:pt x="4129" y="6298"/>
                  </a:lnTo>
                  <a:lnTo>
                    <a:pt x="4135" y="6305"/>
                  </a:lnTo>
                  <a:lnTo>
                    <a:pt x="4142" y="6311"/>
                  </a:lnTo>
                  <a:lnTo>
                    <a:pt x="4157" y="6325"/>
                  </a:lnTo>
                  <a:lnTo>
                    <a:pt x="4163" y="6331"/>
                  </a:lnTo>
                  <a:lnTo>
                    <a:pt x="4169" y="6338"/>
                  </a:lnTo>
                  <a:lnTo>
                    <a:pt x="4175" y="6345"/>
                  </a:lnTo>
                  <a:lnTo>
                    <a:pt x="4179" y="6352"/>
                  </a:lnTo>
                  <a:lnTo>
                    <a:pt x="4182" y="6361"/>
                  </a:lnTo>
                  <a:lnTo>
                    <a:pt x="4183" y="6370"/>
                  </a:lnTo>
                  <a:lnTo>
                    <a:pt x="4183" y="6370"/>
                  </a:lnTo>
                  <a:lnTo>
                    <a:pt x="4184" y="6380"/>
                  </a:lnTo>
                  <a:lnTo>
                    <a:pt x="4186" y="6391"/>
                  </a:lnTo>
                  <a:lnTo>
                    <a:pt x="4189" y="6400"/>
                  </a:lnTo>
                  <a:lnTo>
                    <a:pt x="4193" y="6411"/>
                  </a:lnTo>
                  <a:lnTo>
                    <a:pt x="4198" y="6420"/>
                  </a:lnTo>
                  <a:lnTo>
                    <a:pt x="4205" y="6429"/>
                  </a:lnTo>
                  <a:lnTo>
                    <a:pt x="4212" y="6437"/>
                  </a:lnTo>
                  <a:lnTo>
                    <a:pt x="4220" y="6445"/>
                  </a:lnTo>
                  <a:lnTo>
                    <a:pt x="4228" y="6454"/>
                  </a:lnTo>
                  <a:lnTo>
                    <a:pt x="4237" y="6461"/>
                  </a:lnTo>
                  <a:lnTo>
                    <a:pt x="4257" y="6474"/>
                  </a:lnTo>
                  <a:lnTo>
                    <a:pt x="4278" y="6486"/>
                  </a:lnTo>
                  <a:lnTo>
                    <a:pt x="4300" y="6497"/>
                  </a:lnTo>
                  <a:lnTo>
                    <a:pt x="4322" y="6506"/>
                  </a:lnTo>
                  <a:lnTo>
                    <a:pt x="4344" y="6514"/>
                  </a:lnTo>
                  <a:lnTo>
                    <a:pt x="4364" y="6519"/>
                  </a:lnTo>
                  <a:lnTo>
                    <a:pt x="4382" y="6524"/>
                  </a:lnTo>
                  <a:lnTo>
                    <a:pt x="4399" y="6526"/>
                  </a:lnTo>
                  <a:lnTo>
                    <a:pt x="4412" y="6527"/>
                  </a:lnTo>
                  <a:lnTo>
                    <a:pt x="4421" y="6527"/>
                  </a:lnTo>
                  <a:lnTo>
                    <a:pt x="4424" y="6526"/>
                  </a:lnTo>
                  <a:lnTo>
                    <a:pt x="4426" y="6525"/>
                  </a:lnTo>
                  <a:lnTo>
                    <a:pt x="4426" y="6525"/>
                  </a:lnTo>
                  <a:lnTo>
                    <a:pt x="4427" y="6523"/>
                  </a:lnTo>
                  <a:lnTo>
                    <a:pt x="4427" y="6521"/>
                  </a:lnTo>
                  <a:lnTo>
                    <a:pt x="4425" y="6515"/>
                  </a:lnTo>
                  <a:lnTo>
                    <a:pt x="4420" y="6508"/>
                  </a:lnTo>
                  <a:lnTo>
                    <a:pt x="4412" y="6498"/>
                  </a:lnTo>
                  <a:lnTo>
                    <a:pt x="4393" y="6475"/>
                  </a:lnTo>
                  <a:lnTo>
                    <a:pt x="4369" y="6448"/>
                  </a:lnTo>
                  <a:lnTo>
                    <a:pt x="4358" y="6435"/>
                  </a:lnTo>
                  <a:lnTo>
                    <a:pt x="4348" y="6421"/>
                  </a:lnTo>
                  <a:lnTo>
                    <a:pt x="4339" y="6407"/>
                  </a:lnTo>
                  <a:lnTo>
                    <a:pt x="4330" y="6393"/>
                  </a:lnTo>
                  <a:lnTo>
                    <a:pt x="4325" y="6380"/>
                  </a:lnTo>
                  <a:lnTo>
                    <a:pt x="4324" y="6374"/>
                  </a:lnTo>
                  <a:lnTo>
                    <a:pt x="4323" y="6368"/>
                  </a:lnTo>
                  <a:lnTo>
                    <a:pt x="4323" y="6362"/>
                  </a:lnTo>
                  <a:lnTo>
                    <a:pt x="4324" y="6356"/>
                  </a:lnTo>
                  <a:lnTo>
                    <a:pt x="4326" y="6351"/>
                  </a:lnTo>
                  <a:lnTo>
                    <a:pt x="4329" y="6346"/>
                  </a:lnTo>
                  <a:lnTo>
                    <a:pt x="4329" y="6346"/>
                  </a:lnTo>
                  <a:lnTo>
                    <a:pt x="4333" y="6342"/>
                  </a:lnTo>
                  <a:lnTo>
                    <a:pt x="4337" y="6339"/>
                  </a:lnTo>
                  <a:lnTo>
                    <a:pt x="4343" y="6338"/>
                  </a:lnTo>
                  <a:lnTo>
                    <a:pt x="4347" y="6337"/>
                  </a:lnTo>
                  <a:lnTo>
                    <a:pt x="4352" y="6337"/>
                  </a:lnTo>
                  <a:lnTo>
                    <a:pt x="4358" y="6338"/>
                  </a:lnTo>
                  <a:lnTo>
                    <a:pt x="4370" y="6340"/>
                  </a:lnTo>
                  <a:lnTo>
                    <a:pt x="4384" y="6343"/>
                  </a:lnTo>
                  <a:lnTo>
                    <a:pt x="4392" y="6344"/>
                  </a:lnTo>
                  <a:lnTo>
                    <a:pt x="4399" y="6344"/>
                  </a:lnTo>
                  <a:lnTo>
                    <a:pt x="4408" y="6344"/>
                  </a:lnTo>
                  <a:lnTo>
                    <a:pt x="4416" y="6343"/>
                  </a:lnTo>
                  <a:lnTo>
                    <a:pt x="4425" y="6341"/>
                  </a:lnTo>
                  <a:lnTo>
                    <a:pt x="4436" y="6337"/>
                  </a:lnTo>
                  <a:lnTo>
                    <a:pt x="4436" y="6337"/>
                  </a:lnTo>
                  <a:lnTo>
                    <a:pt x="4437" y="6335"/>
                  </a:lnTo>
                  <a:lnTo>
                    <a:pt x="4438" y="6332"/>
                  </a:lnTo>
                  <a:lnTo>
                    <a:pt x="4438" y="6325"/>
                  </a:lnTo>
                  <a:lnTo>
                    <a:pt x="4436" y="6314"/>
                  </a:lnTo>
                  <a:lnTo>
                    <a:pt x="4434" y="6299"/>
                  </a:lnTo>
                  <a:lnTo>
                    <a:pt x="4431" y="6283"/>
                  </a:lnTo>
                  <a:lnTo>
                    <a:pt x="4428" y="6264"/>
                  </a:lnTo>
                  <a:lnTo>
                    <a:pt x="4426" y="6243"/>
                  </a:lnTo>
                  <a:lnTo>
                    <a:pt x="4426" y="6219"/>
                  </a:lnTo>
                  <a:lnTo>
                    <a:pt x="4428" y="6195"/>
                  </a:lnTo>
                  <a:lnTo>
                    <a:pt x="4431" y="6182"/>
                  </a:lnTo>
                  <a:lnTo>
                    <a:pt x="4434" y="6167"/>
                  </a:lnTo>
                  <a:lnTo>
                    <a:pt x="4437" y="6154"/>
                  </a:lnTo>
                  <a:lnTo>
                    <a:pt x="4441" y="6139"/>
                  </a:lnTo>
                  <a:lnTo>
                    <a:pt x="4446" y="6124"/>
                  </a:lnTo>
                  <a:lnTo>
                    <a:pt x="4453" y="6109"/>
                  </a:lnTo>
                  <a:lnTo>
                    <a:pt x="4460" y="6094"/>
                  </a:lnTo>
                  <a:lnTo>
                    <a:pt x="4469" y="6078"/>
                  </a:lnTo>
                  <a:lnTo>
                    <a:pt x="4479" y="6062"/>
                  </a:lnTo>
                  <a:lnTo>
                    <a:pt x="4490" y="6046"/>
                  </a:lnTo>
                  <a:lnTo>
                    <a:pt x="4503" y="6029"/>
                  </a:lnTo>
                  <a:lnTo>
                    <a:pt x="4516" y="6013"/>
                  </a:lnTo>
                  <a:lnTo>
                    <a:pt x="4533" y="5996"/>
                  </a:lnTo>
                  <a:lnTo>
                    <a:pt x="4550" y="5979"/>
                  </a:lnTo>
                  <a:lnTo>
                    <a:pt x="4550" y="5979"/>
                  </a:lnTo>
                  <a:lnTo>
                    <a:pt x="4557" y="5990"/>
                  </a:lnTo>
                  <a:lnTo>
                    <a:pt x="4566" y="6002"/>
                  </a:lnTo>
                  <a:lnTo>
                    <a:pt x="4578" y="6015"/>
                  </a:lnTo>
                  <a:lnTo>
                    <a:pt x="4586" y="6022"/>
                  </a:lnTo>
                  <a:lnTo>
                    <a:pt x="4594" y="6029"/>
                  </a:lnTo>
                  <a:lnTo>
                    <a:pt x="4603" y="6035"/>
                  </a:lnTo>
                  <a:lnTo>
                    <a:pt x="4614" y="6043"/>
                  </a:lnTo>
                  <a:lnTo>
                    <a:pt x="4624" y="6048"/>
                  </a:lnTo>
                  <a:lnTo>
                    <a:pt x="4636" y="6052"/>
                  </a:lnTo>
                  <a:lnTo>
                    <a:pt x="4648" y="6056"/>
                  </a:lnTo>
                  <a:lnTo>
                    <a:pt x="4662" y="6058"/>
                  </a:lnTo>
                  <a:lnTo>
                    <a:pt x="4662" y="6058"/>
                  </a:lnTo>
                  <a:lnTo>
                    <a:pt x="4668" y="6059"/>
                  </a:lnTo>
                  <a:lnTo>
                    <a:pt x="4673" y="6061"/>
                  </a:lnTo>
                  <a:lnTo>
                    <a:pt x="4677" y="6064"/>
                  </a:lnTo>
                  <a:lnTo>
                    <a:pt x="4681" y="6067"/>
                  </a:lnTo>
                  <a:lnTo>
                    <a:pt x="4685" y="6071"/>
                  </a:lnTo>
                  <a:lnTo>
                    <a:pt x="4688" y="6075"/>
                  </a:lnTo>
                  <a:lnTo>
                    <a:pt x="4692" y="6087"/>
                  </a:lnTo>
                  <a:lnTo>
                    <a:pt x="4696" y="6099"/>
                  </a:lnTo>
                  <a:lnTo>
                    <a:pt x="4698" y="6112"/>
                  </a:lnTo>
                  <a:lnTo>
                    <a:pt x="4698" y="6125"/>
                  </a:lnTo>
                  <a:lnTo>
                    <a:pt x="4698" y="6140"/>
                  </a:lnTo>
                  <a:lnTo>
                    <a:pt x="4696" y="6168"/>
                  </a:lnTo>
                  <a:lnTo>
                    <a:pt x="4694" y="6193"/>
                  </a:lnTo>
                  <a:lnTo>
                    <a:pt x="4692" y="6210"/>
                  </a:lnTo>
                  <a:lnTo>
                    <a:pt x="4692" y="6215"/>
                  </a:lnTo>
                  <a:lnTo>
                    <a:pt x="4693" y="6216"/>
                  </a:lnTo>
                  <a:lnTo>
                    <a:pt x="4694" y="6216"/>
                  </a:lnTo>
                  <a:lnTo>
                    <a:pt x="4694" y="6216"/>
                  </a:lnTo>
                  <a:lnTo>
                    <a:pt x="4697" y="6215"/>
                  </a:lnTo>
                  <a:lnTo>
                    <a:pt x="4702" y="6212"/>
                  </a:lnTo>
                  <a:lnTo>
                    <a:pt x="4708" y="6207"/>
                  </a:lnTo>
                  <a:lnTo>
                    <a:pt x="4714" y="6200"/>
                  </a:lnTo>
                  <a:lnTo>
                    <a:pt x="4721" y="6191"/>
                  </a:lnTo>
                  <a:lnTo>
                    <a:pt x="4729" y="6181"/>
                  </a:lnTo>
                  <a:lnTo>
                    <a:pt x="4736" y="6167"/>
                  </a:lnTo>
                  <a:lnTo>
                    <a:pt x="4743" y="6154"/>
                  </a:lnTo>
                  <a:lnTo>
                    <a:pt x="4751" y="6139"/>
                  </a:lnTo>
                  <a:lnTo>
                    <a:pt x="4758" y="6121"/>
                  </a:lnTo>
                  <a:lnTo>
                    <a:pt x="4763" y="6104"/>
                  </a:lnTo>
                  <a:lnTo>
                    <a:pt x="4768" y="6084"/>
                  </a:lnTo>
                  <a:lnTo>
                    <a:pt x="4771" y="6064"/>
                  </a:lnTo>
                  <a:lnTo>
                    <a:pt x="4773" y="6044"/>
                  </a:lnTo>
                  <a:lnTo>
                    <a:pt x="4772" y="6022"/>
                  </a:lnTo>
                  <a:lnTo>
                    <a:pt x="4770" y="6000"/>
                  </a:lnTo>
                  <a:lnTo>
                    <a:pt x="4770" y="6000"/>
                  </a:lnTo>
                  <a:lnTo>
                    <a:pt x="4778" y="5992"/>
                  </a:lnTo>
                  <a:lnTo>
                    <a:pt x="4798" y="5975"/>
                  </a:lnTo>
                  <a:lnTo>
                    <a:pt x="4809" y="5964"/>
                  </a:lnTo>
                  <a:lnTo>
                    <a:pt x="4819" y="5952"/>
                  </a:lnTo>
                  <a:lnTo>
                    <a:pt x="4827" y="5938"/>
                  </a:lnTo>
                  <a:lnTo>
                    <a:pt x="4830" y="5932"/>
                  </a:lnTo>
                  <a:lnTo>
                    <a:pt x="4832" y="5926"/>
                  </a:lnTo>
                  <a:lnTo>
                    <a:pt x="4832" y="5926"/>
                  </a:lnTo>
                  <a:lnTo>
                    <a:pt x="4834" y="5917"/>
                  </a:lnTo>
                  <a:lnTo>
                    <a:pt x="4835" y="5908"/>
                  </a:lnTo>
                  <a:lnTo>
                    <a:pt x="4836" y="5899"/>
                  </a:lnTo>
                  <a:lnTo>
                    <a:pt x="4835" y="5892"/>
                  </a:lnTo>
                  <a:lnTo>
                    <a:pt x="4834" y="5886"/>
                  </a:lnTo>
                  <a:lnTo>
                    <a:pt x="4832" y="5880"/>
                  </a:lnTo>
                  <a:lnTo>
                    <a:pt x="4830" y="5875"/>
                  </a:lnTo>
                  <a:lnTo>
                    <a:pt x="4827" y="5870"/>
                  </a:lnTo>
                  <a:lnTo>
                    <a:pt x="4819" y="5861"/>
                  </a:lnTo>
                  <a:lnTo>
                    <a:pt x="4810" y="5851"/>
                  </a:lnTo>
                  <a:lnTo>
                    <a:pt x="4800" y="5842"/>
                  </a:lnTo>
                  <a:lnTo>
                    <a:pt x="4789" y="5831"/>
                  </a:lnTo>
                  <a:lnTo>
                    <a:pt x="4778" y="5818"/>
                  </a:lnTo>
                  <a:lnTo>
                    <a:pt x="4772" y="5810"/>
                  </a:lnTo>
                  <a:lnTo>
                    <a:pt x="4767" y="5801"/>
                  </a:lnTo>
                  <a:lnTo>
                    <a:pt x="4762" y="5792"/>
                  </a:lnTo>
                  <a:lnTo>
                    <a:pt x="4757" y="5782"/>
                  </a:lnTo>
                  <a:lnTo>
                    <a:pt x="4753" y="5770"/>
                  </a:lnTo>
                  <a:lnTo>
                    <a:pt x="4749" y="5757"/>
                  </a:lnTo>
                  <a:lnTo>
                    <a:pt x="4744" y="5743"/>
                  </a:lnTo>
                  <a:lnTo>
                    <a:pt x="4741" y="5727"/>
                  </a:lnTo>
                  <a:lnTo>
                    <a:pt x="4738" y="5710"/>
                  </a:lnTo>
                  <a:lnTo>
                    <a:pt x="4736" y="5691"/>
                  </a:lnTo>
                  <a:lnTo>
                    <a:pt x="4735" y="5670"/>
                  </a:lnTo>
                  <a:lnTo>
                    <a:pt x="4734" y="5648"/>
                  </a:lnTo>
                  <a:lnTo>
                    <a:pt x="4734" y="5623"/>
                  </a:lnTo>
                  <a:lnTo>
                    <a:pt x="4735" y="5597"/>
                  </a:lnTo>
                  <a:lnTo>
                    <a:pt x="4735" y="5597"/>
                  </a:lnTo>
                  <a:lnTo>
                    <a:pt x="4735" y="5579"/>
                  </a:lnTo>
                  <a:lnTo>
                    <a:pt x="4734" y="5573"/>
                  </a:lnTo>
                  <a:lnTo>
                    <a:pt x="4733" y="5568"/>
                  </a:lnTo>
                  <a:lnTo>
                    <a:pt x="4731" y="5563"/>
                  </a:lnTo>
                  <a:lnTo>
                    <a:pt x="4729" y="5559"/>
                  </a:lnTo>
                  <a:lnTo>
                    <a:pt x="4727" y="5556"/>
                  </a:lnTo>
                  <a:lnTo>
                    <a:pt x="4724" y="5553"/>
                  </a:lnTo>
                  <a:lnTo>
                    <a:pt x="4716" y="5547"/>
                  </a:lnTo>
                  <a:lnTo>
                    <a:pt x="4706" y="5540"/>
                  </a:lnTo>
                  <a:lnTo>
                    <a:pt x="4693" y="5530"/>
                  </a:lnTo>
                  <a:lnTo>
                    <a:pt x="4679" y="5518"/>
                  </a:lnTo>
                  <a:lnTo>
                    <a:pt x="4679" y="5518"/>
                  </a:lnTo>
                  <a:lnTo>
                    <a:pt x="4671" y="5508"/>
                  </a:lnTo>
                  <a:lnTo>
                    <a:pt x="4664" y="5498"/>
                  </a:lnTo>
                  <a:lnTo>
                    <a:pt x="4659" y="5487"/>
                  </a:lnTo>
                  <a:lnTo>
                    <a:pt x="4655" y="5477"/>
                  </a:lnTo>
                  <a:lnTo>
                    <a:pt x="4654" y="5469"/>
                  </a:lnTo>
                  <a:lnTo>
                    <a:pt x="4654" y="5466"/>
                  </a:lnTo>
                  <a:lnTo>
                    <a:pt x="4654" y="5464"/>
                  </a:lnTo>
                  <a:lnTo>
                    <a:pt x="4657" y="5462"/>
                  </a:lnTo>
                  <a:lnTo>
                    <a:pt x="4659" y="5461"/>
                  </a:lnTo>
                  <a:lnTo>
                    <a:pt x="4661" y="5461"/>
                  </a:lnTo>
                  <a:lnTo>
                    <a:pt x="4665" y="5462"/>
                  </a:lnTo>
                  <a:lnTo>
                    <a:pt x="4665" y="5462"/>
                  </a:lnTo>
                  <a:lnTo>
                    <a:pt x="4679" y="5468"/>
                  </a:lnTo>
                  <a:lnTo>
                    <a:pt x="4693" y="5472"/>
                  </a:lnTo>
                  <a:lnTo>
                    <a:pt x="4708" y="5475"/>
                  </a:lnTo>
                  <a:lnTo>
                    <a:pt x="4723" y="5476"/>
                  </a:lnTo>
                  <a:lnTo>
                    <a:pt x="4737" y="5477"/>
                  </a:lnTo>
                  <a:lnTo>
                    <a:pt x="4752" y="5478"/>
                  </a:lnTo>
                  <a:lnTo>
                    <a:pt x="4765" y="5477"/>
                  </a:lnTo>
                  <a:lnTo>
                    <a:pt x="4778" y="5476"/>
                  </a:lnTo>
                  <a:lnTo>
                    <a:pt x="4802" y="5473"/>
                  </a:lnTo>
                  <a:lnTo>
                    <a:pt x="4819" y="5469"/>
                  </a:lnTo>
                  <a:lnTo>
                    <a:pt x="4835" y="5465"/>
                  </a:lnTo>
                  <a:lnTo>
                    <a:pt x="4835" y="5465"/>
                  </a:lnTo>
                  <a:lnTo>
                    <a:pt x="4844" y="5369"/>
                  </a:lnTo>
                  <a:lnTo>
                    <a:pt x="4849" y="5294"/>
                  </a:lnTo>
                  <a:lnTo>
                    <a:pt x="4851" y="5239"/>
                  </a:lnTo>
                  <a:lnTo>
                    <a:pt x="4851" y="5201"/>
                  </a:lnTo>
                  <a:lnTo>
                    <a:pt x="4849" y="5176"/>
                  </a:lnTo>
                  <a:lnTo>
                    <a:pt x="4847" y="5161"/>
                  </a:lnTo>
                  <a:lnTo>
                    <a:pt x="4845" y="5155"/>
                  </a:lnTo>
                  <a:lnTo>
                    <a:pt x="4844" y="5153"/>
                  </a:lnTo>
                  <a:lnTo>
                    <a:pt x="4844" y="5153"/>
                  </a:lnTo>
                  <a:lnTo>
                    <a:pt x="4825" y="5154"/>
                  </a:lnTo>
                  <a:lnTo>
                    <a:pt x="4808" y="5153"/>
                  </a:lnTo>
                  <a:lnTo>
                    <a:pt x="4791" y="5152"/>
                  </a:lnTo>
                  <a:lnTo>
                    <a:pt x="4776" y="5151"/>
                  </a:lnTo>
                  <a:lnTo>
                    <a:pt x="4763" y="5149"/>
                  </a:lnTo>
                  <a:lnTo>
                    <a:pt x="4750" y="5146"/>
                  </a:lnTo>
                  <a:lnTo>
                    <a:pt x="4737" y="5143"/>
                  </a:lnTo>
                  <a:lnTo>
                    <a:pt x="4726" y="5139"/>
                  </a:lnTo>
                  <a:lnTo>
                    <a:pt x="4716" y="5135"/>
                  </a:lnTo>
                  <a:lnTo>
                    <a:pt x="4707" y="5131"/>
                  </a:lnTo>
                  <a:lnTo>
                    <a:pt x="4698" y="5125"/>
                  </a:lnTo>
                  <a:lnTo>
                    <a:pt x="4690" y="5120"/>
                  </a:lnTo>
                  <a:lnTo>
                    <a:pt x="4683" y="5114"/>
                  </a:lnTo>
                  <a:lnTo>
                    <a:pt x="4676" y="5109"/>
                  </a:lnTo>
                  <a:lnTo>
                    <a:pt x="4665" y="5096"/>
                  </a:lnTo>
                  <a:lnTo>
                    <a:pt x="4665" y="5096"/>
                  </a:lnTo>
                  <a:lnTo>
                    <a:pt x="4677" y="5099"/>
                  </a:lnTo>
                  <a:lnTo>
                    <a:pt x="4690" y="5101"/>
                  </a:lnTo>
                  <a:lnTo>
                    <a:pt x="4717" y="5103"/>
                  </a:lnTo>
                  <a:lnTo>
                    <a:pt x="4742" y="5103"/>
                  </a:lnTo>
                  <a:lnTo>
                    <a:pt x="4768" y="5101"/>
                  </a:lnTo>
                  <a:lnTo>
                    <a:pt x="4790" y="5097"/>
                  </a:lnTo>
                  <a:lnTo>
                    <a:pt x="4812" y="5091"/>
                  </a:lnTo>
                  <a:lnTo>
                    <a:pt x="4821" y="5088"/>
                  </a:lnTo>
                  <a:lnTo>
                    <a:pt x="4829" y="5084"/>
                  </a:lnTo>
                  <a:lnTo>
                    <a:pt x="4838" y="5078"/>
                  </a:lnTo>
                  <a:lnTo>
                    <a:pt x="4844" y="5074"/>
                  </a:lnTo>
                  <a:lnTo>
                    <a:pt x="4844" y="5074"/>
                  </a:lnTo>
                  <a:lnTo>
                    <a:pt x="4843" y="5026"/>
                  </a:lnTo>
                  <a:lnTo>
                    <a:pt x="4841" y="4978"/>
                  </a:lnTo>
                  <a:lnTo>
                    <a:pt x="4838" y="4923"/>
                  </a:lnTo>
                  <a:lnTo>
                    <a:pt x="4833" y="4868"/>
                  </a:lnTo>
                  <a:lnTo>
                    <a:pt x="4831" y="4843"/>
                  </a:lnTo>
                  <a:lnTo>
                    <a:pt x="4828" y="4821"/>
                  </a:lnTo>
                  <a:lnTo>
                    <a:pt x="4825" y="4802"/>
                  </a:lnTo>
                  <a:lnTo>
                    <a:pt x="4822" y="4788"/>
                  </a:lnTo>
                  <a:lnTo>
                    <a:pt x="4820" y="4783"/>
                  </a:lnTo>
                  <a:lnTo>
                    <a:pt x="4818" y="4780"/>
                  </a:lnTo>
                  <a:lnTo>
                    <a:pt x="4816" y="4778"/>
                  </a:lnTo>
                  <a:lnTo>
                    <a:pt x="4814" y="4778"/>
                  </a:lnTo>
                  <a:lnTo>
                    <a:pt x="4814" y="4778"/>
                  </a:lnTo>
                  <a:lnTo>
                    <a:pt x="4786" y="4785"/>
                  </a:lnTo>
                  <a:lnTo>
                    <a:pt x="4760" y="4790"/>
                  </a:lnTo>
                  <a:lnTo>
                    <a:pt x="4746" y="4791"/>
                  </a:lnTo>
                  <a:lnTo>
                    <a:pt x="4734" y="4792"/>
                  </a:lnTo>
                  <a:lnTo>
                    <a:pt x="4722" y="4792"/>
                  </a:lnTo>
                  <a:lnTo>
                    <a:pt x="4711" y="4791"/>
                  </a:lnTo>
                  <a:lnTo>
                    <a:pt x="4698" y="4789"/>
                  </a:lnTo>
                  <a:lnTo>
                    <a:pt x="4687" y="4787"/>
                  </a:lnTo>
                  <a:lnTo>
                    <a:pt x="4675" y="4784"/>
                  </a:lnTo>
                  <a:lnTo>
                    <a:pt x="4664" y="4780"/>
                  </a:lnTo>
                  <a:lnTo>
                    <a:pt x="4652" y="4775"/>
                  </a:lnTo>
                  <a:lnTo>
                    <a:pt x="4640" y="4770"/>
                  </a:lnTo>
                  <a:lnTo>
                    <a:pt x="4629" y="4762"/>
                  </a:lnTo>
                  <a:lnTo>
                    <a:pt x="4618" y="4755"/>
                  </a:lnTo>
                  <a:lnTo>
                    <a:pt x="4618" y="4755"/>
                  </a:lnTo>
                  <a:lnTo>
                    <a:pt x="4613" y="4752"/>
                  </a:lnTo>
                  <a:lnTo>
                    <a:pt x="4608" y="4748"/>
                  </a:lnTo>
                  <a:lnTo>
                    <a:pt x="4602" y="4740"/>
                  </a:lnTo>
                  <a:lnTo>
                    <a:pt x="4597" y="4731"/>
                  </a:lnTo>
                  <a:lnTo>
                    <a:pt x="4594" y="4721"/>
                  </a:lnTo>
                  <a:lnTo>
                    <a:pt x="4592" y="4709"/>
                  </a:lnTo>
                  <a:lnTo>
                    <a:pt x="4591" y="4699"/>
                  </a:lnTo>
                  <a:lnTo>
                    <a:pt x="4590" y="4677"/>
                  </a:lnTo>
                  <a:lnTo>
                    <a:pt x="4589" y="4655"/>
                  </a:lnTo>
                  <a:lnTo>
                    <a:pt x="4587" y="4646"/>
                  </a:lnTo>
                  <a:lnTo>
                    <a:pt x="4585" y="4638"/>
                  </a:lnTo>
                  <a:lnTo>
                    <a:pt x="4581" y="4631"/>
                  </a:lnTo>
                  <a:lnTo>
                    <a:pt x="4575" y="4624"/>
                  </a:lnTo>
                  <a:lnTo>
                    <a:pt x="4571" y="4621"/>
                  </a:lnTo>
                  <a:lnTo>
                    <a:pt x="4567" y="4619"/>
                  </a:lnTo>
                  <a:lnTo>
                    <a:pt x="4561" y="4618"/>
                  </a:lnTo>
                  <a:lnTo>
                    <a:pt x="4556" y="4617"/>
                  </a:lnTo>
                  <a:lnTo>
                    <a:pt x="4556" y="4617"/>
                  </a:lnTo>
                  <a:lnTo>
                    <a:pt x="4534" y="4610"/>
                  </a:lnTo>
                  <a:lnTo>
                    <a:pt x="4511" y="4603"/>
                  </a:lnTo>
                  <a:lnTo>
                    <a:pt x="4489" y="4595"/>
                  </a:lnTo>
                  <a:lnTo>
                    <a:pt x="4468" y="4585"/>
                  </a:lnTo>
                  <a:lnTo>
                    <a:pt x="4448" y="4575"/>
                  </a:lnTo>
                  <a:lnTo>
                    <a:pt x="4428" y="4564"/>
                  </a:lnTo>
                  <a:lnTo>
                    <a:pt x="4410" y="4554"/>
                  </a:lnTo>
                  <a:lnTo>
                    <a:pt x="4394" y="4543"/>
                  </a:lnTo>
                  <a:lnTo>
                    <a:pt x="4377" y="4531"/>
                  </a:lnTo>
                  <a:lnTo>
                    <a:pt x="4363" y="4521"/>
                  </a:lnTo>
                  <a:lnTo>
                    <a:pt x="4337" y="4501"/>
                  </a:lnTo>
                  <a:lnTo>
                    <a:pt x="4318" y="4482"/>
                  </a:lnTo>
                  <a:lnTo>
                    <a:pt x="4306" y="4467"/>
                  </a:lnTo>
                  <a:lnTo>
                    <a:pt x="4306" y="4467"/>
                  </a:lnTo>
                  <a:lnTo>
                    <a:pt x="4297" y="4455"/>
                  </a:lnTo>
                  <a:lnTo>
                    <a:pt x="4288" y="4442"/>
                  </a:lnTo>
                  <a:lnTo>
                    <a:pt x="4282" y="4431"/>
                  </a:lnTo>
                  <a:lnTo>
                    <a:pt x="4277" y="4420"/>
                  </a:lnTo>
                  <a:lnTo>
                    <a:pt x="4273" y="4410"/>
                  </a:lnTo>
                  <a:lnTo>
                    <a:pt x="4270" y="4401"/>
                  </a:lnTo>
                  <a:lnTo>
                    <a:pt x="4266" y="4384"/>
                  </a:lnTo>
                  <a:lnTo>
                    <a:pt x="4265" y="4371"/>
                  </a:lnTo>
                  <a:lnTo>
                    <a:pt x="4265" y="4361"/>
                  </a:lnTo>
                  <a:lnTo>
                    <a:pt x="4266" y="4352"/>
                  </a:lnTo>
                  <a:lnTo>
                    <a:pt x="4266" y="4352"/>
                  </a:lnTo>
                  <a:lnTo>
                    <a:pt x="4284" y="4362"/>
                  </a:lnTo>
                  <a:lnTo>
                    <a:pt x="4302" y="4368"/>
                  </a:lnTo>
                  <a:lnTo>
                    <a:pt x="4321" y="4373"/>
                  </a:lnTo>
                  <a:lnTo>
                    <a:pt x="4340" y="4376"/>
                  </a:lnTo>
                  <a:lnTo>
                    <a:pt x="4358" y="4378"/>
                  </a:lnTo>
                  <a:lnTo>
                    <a:pt x="4377" y="4377"/>
                  </a:lnTo>
                  <a:lnTo>
                    <a:pt x="4396" y="4374"/>
                  </a:lnTo>
                  <a:lnTo>
                    <a:pt x="4414" y="4370"/>
                  </a:lnTo>
                  <a:lnTo>
                    <a:pt x="4434" y="4130"/>
                  </a:lnTo>
                  <a:lnTo>
                    <a:pt x="4434" y="4130"/>
                  </a:lnTo>
                  <a:lnTo>
                    <a:pt x="4425" y="4129"/>
                  </a:lnTo>
                  <a:lnTo>
                    <a:pt x="4405" y="4126"/>
                  </a:lnTo>
                  <a:lnTo>
                    <a:pt x="4392" y="4123"/>
                  </a:lnTo>
                  <a:lnTo>
                    <a:pt x="4377" y="4119"/>
                  </a:lnTo>
                  <a:lnTo>
                    <a:pt x="4362" y="4115"/>
                  </a:lnTo>
                  <a:lnTo>
                    <a:pt x="4348" y="4109"/>
                  </a:lnTo>
                  <a:lnTo>
                    <a:pt x="4348" y="4109"/>
                  </a:lnTo>
                  <a:lnTo>
                    <a:pt x="4339" y="4105"/>
                  </a:lnTo>
                  <a:lnTo>
                    <a:pt x="4331" y="4100"/>
                  </a:lnTo>
                  <a:lnTo>
                    <a:pt x="4323" y="4094"/>
                  </a:lnTo>
                  <a:lnTo>
                    <a:pt x="4316" y="4088"/>
                  </a:lnTo>
                  <a:lnTo>
                    <a:pt x="4302" y="4074"/>
                  </a:lnTo>
                  <a:lnTo>
                    <a:pt x="4289" y="4061"/>
                  </a:lnTo>
                  <a:lnTo>
                    <a:pt x="4280" y="4048"/>
                  </a:lnTo>
                  <a:lnTo>
                    <a:pt x="4273" y="4038"/>
                  </a:lnTo>
                  <a:lnTo>
                    <a:pt x="4267" y="4028"/>
                  </a:lnTo>
                  <a:lnTo>
                    <a:pt x="4267" y="4028"/>
                  </a:lnTo>
                  <a:lnTo>
                    <a:pt x="4274" y="4031"/>
                  </a:lnTo>
                  <a:lnTo>
                    <a:pt x="4293" y="4039"/>
                  </a:lnTo>
                  <a:lnTo>
                    <a:pt x="4321" y="4047"/>
                  </a:lnTo>
                  <a:lnTo>
                    <a:pt x="4339" y="4051"/>
                  </a:lnTo>
                  <a:lnTo>
                    <a:pt x="4356" y="4054"/>
                  </a:lnTo>
                  <a:lnTo>
                    <a:pt x="4356" y="4054"/>
                  </a:lnTo>
                  <a:lnTo>
                    <a:pt x="4375" y="4056"/>
                  </a:lnTo>
                  <a:lnTo>
                    <a:pt x="4392" y="4057"/>
                  </a:lnTo>
                  <a:lnTo>
                    <a:pt x="4407" y="4055"/>
                  </a:lnTo>
                  <a:lnTo>
                    <a:pt x="4419" y="4053"/>
                  </a:lnTo>
                  <a:lnTo>
                    <a:pt x="4430" y="4051"/>
                  </a:lnTo>
                  <a:lnTo>
                    <a:pt x="4438" y="4049"/>
                  </a:lnTo>
                  <a:lnTo>
                    <a:pt x="4444" y="4046"/>
                  </a:lnTo>
                  <a:lnTo>
                    <a:pt x="4477" y="3775"/>
                  </a:lnTo>
                  <a:lnTo>
                    <a:pt x="4477" y="3775"/>
                  </a:lnTo>
                  <a:lnTo>
                    <a:pt x="4451" y="3776"/>
                  </a:lnTo>
                  <a:lnTo>
                    <a:pt x="4427" y="3775"/>
                  </a:lnTo>
                  <a:lnTo>
                    <a:pt x="4408" y="3773"/>
                  </a:lnTo>
                  <a:lnTo>
                    <a:pt x="4392" y="3768"/>
                  </a:lnTo>
                  <a:lnTo>
                    <a:pt x="4377" y="3762"/>
                  </a:lnTo>
                  <a:lnTo>
                    <a:pt x="4365" y="3755"/>
                  </a:lnTo>
                  <a:lnTo>
                    <a:pt x="4356" y="3747"/>
                  </a:lnTo>
                  <a:lnTo>
                    <a:pt x="4348" y="3739"/>
                  </a:lnTo>
                  <a:lnTo>
                    <a:pt x="4343" y="3731"/>
                  </a:lnTo>
                  <a:lnTo>
                    <a:pt x="4337" y="3722"/>
                  </a:lnTo>
                  <a:lnTo>
                    <a:pt x="4335" y="3713"/>
                  </a:lnTo>
                  <a:lnTo>
                    <a:pt x="4333" y="3705"/>
                  </a:lnTo>
                  <a:lnTo>
                    <a:pt x="4332" y="3697"/>
                  </a:lnTo>
                  <a:lnTo>
                    <a:pt x="4331" y="3691"/>
                  </a:lnTo>
                  <a:lnTo>
                    <a:pt x="4332" y="3682"/>
                  </a:lnTo>
                  <a:lnTo>
                    <a:pt x="4332" y="3682"/>
                  </a:lnTo>
                  <a:lnTo>
                    <a:pt x="4357" y="3677"/>
                  </a:lnTo>
                  <a:lnTo>
                    <a:pt x="4381" y="3671"/>
                  </a:lnTo>
                  <a:lnTo>
                    <a:pt x="4405" y="3663"/>
                  </a:lnTo>
                  <a:lnTo>
                    <a:pt x="4428" y="3656"/>
                  </a:lnTo>
                  <a:lnTo>
                    <a:pt x="4451" y="3647"/>
                  </a:lnTo>
                  <a:lnTo>
                    <a:pt x="4473" y="3637"/>
                  </a:lnTo>
                  <a:lnTo>
                    <a:pt x="4495" y="3626"/>
                  </a:lnTo>
                  <a:lnTo>
                    <a:pt x="4515" y="3613"/>
                  </a:lnTo>
                  <a:lnTo>
                    <a:pt x="4536" y="3601"/>
                  </a:lnTo>
                  <a:lnTo>
                    <a:pt x="4555" y="3588"/>
                  </a:lnTo>
                  <a:lnTo>
                    <a:pt x="4574" y="3573"/>
                  </a:lnTo>
                  <a:lnTo>
                    <a:pt x="4592" y="3558"/>
                  </a:lnTo>
                  <a:lnTo>
                    <a:pt x="4609" y="3543"/>
                  </a:lnTo>
                  <a:lnTo>
                    <a:pt x="4627" y="3526"/>
                  </a:lnTo>
                  <a:lnTo>
                    <a:pt x="4642" y="3510"/>
                  </a:lnTo>
                  <a:lnTo>
                    <a:pt x="4659" y="3493"/>
                  </a:lnTo>
                  <a:lnTo>
                    <a:pt x="4673" y="3474"/>
                  </a:lnTo>
                  <a:lnTo>
                    <a:pt x="4688" y="3456"/>
                  </a:lnTo>
                  <a:lnTo>
                    <a:pt x="4702" y="3437"/>
                  </a:lnTo>
                  <a:lnTo>
                    <a:pt x="4715" y="3418"/>
                  </a:lnTo>
                  <a:lnTo>
                    <a:pt x="4727" y="3399"/>
                  </a:lnTo>
                  <a:lnTo>
                    <a:pt x="4738" y="3379"/>
                  </a:lnTo>
                  <a:lnTo>
                    <a:pt x="4750" y="3360"/>
                  </a:lnTo>
                  <a:lnTo>
                    <a:pt x="4760" y="3339"/>
                  </a:lnTo>
                  <a:lnTo>
                    <a:pt x="4770" y="3319"/>
                  </a:lnTo>
                  <a:lnTo>
                    <a:pt x="4779" y="3298"/>
                  </a:lnTo>
                  <a:lnTo>
                    <a:pt x="4787" y="3278"/>
                  </a:lnTo>
                  <a:lnTo>
                    <a:pt x="4796" y="3257"/>
                  </a:lnTo>
                  <a:lnTo>
                    <a:pt x="4803" y="3237"/>
                  </a:lnTo>
                  <a:lnTo>
                    <a:pt x="4809" y="3217"/>
                  </a:lnTo>
                  <a:lnTo>
                    <a:pt x="4815" y="3196"/>
                  </a:lnTo>
                  <a:lnTo>
                    <a:pt x="4820" y="3177"/>
                  </a:lnTo>
                  <a:lnTo>
                    <a:pt x="4820" y="3177"/>
                  </a:lnTo>
                  <a:lnTo>
                    <a:pt x="4831" y="3183"/>
                  </a:lnTo>
                  <a:lnTo>
                    <a:pt x="4847" y="3189"/>
                  </a:lnTo>
                  <a:lnTo>
                    <a:pt x="4864" y="3195"/>
                  </a:lnTo>
                  <a:lnTo>
                    <a:pt x="4882" y="3200"/>
                  </a:lnTo>
                  <a:lnTo>
                    <a:pt x="4903" y="3203"/>
                  </a:lnTo>
                  <a:lnTo>
                    <a:pt x="4913" y="3204"/>
                  </a:lnTo>
                  <a:lnTo>
                    <a:pt x="4923" y="3205"/>
                  </a:lnTo>
                  <a:lnTo>
                    <a:pt x="4935" y="3204"/>
                  </a:lnTo>
                  <a:lnTo>
                    <a:pt x="4945" y="3203"/>
                  </a:lnTo>
                  <a:lnTo>
                    <a:pt x="4955" y="3201"/>
                  </a:lnTo>
                  <a:lnTo>
                    <a:pt x="4965" y="3198"/>
                  </a:lnTo>
                  <a:lnTo>
                    <a:pt x="4965" y="3198"/>
                  </a:lnTo>
                  <a:lnTo>
                    <a:pt x="4967" y="3170"/>
                  </a:lnTo>
                  <a:lnTo>
                    <a:pt x="4970" y="3103"/>
                  </a:lnTo>
                  <a:lnTo>
                    <a:pt x="4972" y="3067"/>
                  </a:lnTo>
                  <a:lnTo>
                    <a:pt x="4973" y="3033"/>
                  </a:lnTo>
                  <a:lnTo>
                    <a:pt x="4972" y="3005"/>
                  </a:lnTo>
                  <a:lnTo>
                    <a:pt x="4972" y="2995"/>
                  </a:lnTo>
                  <a:lnTo>
                    <a:pt x="4970" y="2989"/>
                  </a:lnTo>
                  <a:lnTo>
                    <a:pt x="4970" y="2989"/>
                  </a:lnTo>
                  <a:lnTo>
                    <a:pt x="4955" y="2987"/>
                  </a:lnTo>
                  <a:lnTo>
                    <a:pt x="4938" y="2984"/>
                  </a:lnTo>
                  <a:lnTo>
                    <a:pt x="4919" y="2979"/>
                  </a:lnTo>
                  <a:lnTo>
                    <a:pt x="4911" y="2976"/>
                  </a:lnTo>
                  <a:lnTo>
                    <a:pt x="4902" y="2973"/>
                  </a:lnTo>
                  <a:lnTo>
                    <a:pt x="4893" y="2968"/>
                  </a:lnTo>
                  <a:lnTo>
                    <a:pt x="4885" y="2964"/>
                  </a:lnTo>
                  <a:lnTo>
                    <a:pt x="4876" y="2958"/>
                  </a:lnTo>
                  <a:lnTo>
                    <a:pt x="4868" y="2951"/>
                  </a:lnTo>
                  <a:lnTo>
                    <a:pt x="4861" y="2944"/>
                  </a:lnTo>
                  <a:lnTo>
                    <a:pt x="4854" y="2935"/>
                  </a:lnTo>
                  <a:lnTo>
                    <a:pt x="4848" y="2926"/>
                  </a:lnTo>
                  <a:lnTo>
                    <a:pt x="4842" y="291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32" name="Freeform 30"/>
            <p:cNvSpPr>
              <a:spLocks/>
            </p:cNvSpPr>
            <p:nvPr userDrawn="1"/>
          </p:nvSpPr>
          <p:spPr bwMode="auto">
            <a:xfrm>
              <a:off x="882651" y="1427163"/>
              <a:ext cx="371475" cy="98425"/>
            </a:xfrm>
            <a:custGeom>
              <a:avLst/>
              <a:gdLst>
                <a:gd name="T0" fmla="*/ 87 w 2807"/>
                <a:gd name="T1" fmla="*/ 343 h 743"/>
                <a:gd name="T2" fmla="*/ 203 w 2807"/>
                <a:gd name="T3" fmla="*/ 417 h 743"/>
                <a:gd name="T4" fmla="*/ 319 w 2807"/>
                <a:gd name="T5" fmla="*/ 479 h 743"/>
                <a:gd name="T6" fmla="*/ 430 w 2807"/>
                <a:gd name="T7" fmla="*/ 529 h 743"/>
                <a:gd name="T8" fmla="*/ 603 w 2807"/>
                <a:gd name="T9" fmla="*/ 595 h 743"/>
                <a:gd name="T10" fmla="*/ 724 w 2807"/>
                <a:gd name="T11" fmla="*/ 633 h 743"/>
                <a:gd name="T12" fmla="*/ 857 w 2807"/>
                <a:gd name="T13" fmla="*/ 666 h 743"/>
                <a:gd name="T14" fmla="*/ 1001 w 2807"/>
                <a:gd name="T15" fmla="*/ 696 h 743"/>
                <a:gd name="T16" fmla="*/ 1157 w 2807"/>
                <a:gd name="T17" fmla="*/ 719 h 743"/>
                <a:gd name="T18" fmla="*/ 1324 w 2807"/>
                <a:gd name="T19" fmla="*/ 736 h 743"/>
                <a:gd name="T20" fmla="*/ 1502 w 2807"/>
                <a:gd name="T21" fmla="*/ 743 h 743"/>
                <a:gd name="T22" fmla="*/ 1689 w 2807"/>
                <a:gd name="T23" fmla="*/ 738 h 743"/>
                <a:gd name="T24" fmla="*/ 1819 w 2807"/>
                <a:gd name="T25" fmla="*/ 729 h 743"/>
                <a:gd name="T26" fmla="*/ 1999 w 2807"/>
                <a:gd name="T27" fmla="*/ 706 h 743"/>
                <a:gd name="T28" fmla="*/ 2159 w 2807"/>
                <a:gd name="T29" fmla="*/ 678 h 743"/>
                <a:gd name="T30" fmla="*/ 2302 w 2807"/>
                <a:gd name="T31" fmla="*/ 643 h 743"/>
                <a:gd name="T32" fmla="*/ 2426 w 2807"/>
                <a:gd name="T33" fmla="*/ 605 h 743"/>
                <a:gd name="T34" fmla="*/ 2533 w 2807"/>
                <a:gd name="T35" fmla="*/ 566 h 743"/>
                <a:gd name="T36" fmla="*/ 2672 w 2807"/>
                <a:gd name="T37" fmla="*/ 505 h 743"/>
                <a:gd name="T38" fmla="*/ 2773 w 2807"/>
                <a:gd name="T39" fmla="*/ 449 h 743"/>
                <a:gd name="T40" fmla="*/ 2807 w 2807"/>
                <a:gd name="T41" fmla="*/ 426 h 743"/>
                <a:gd name="T42" fmla="*/ 2745 w 2807"/>
                <a:gd name="T43" fmla="*/ 402 h 743"/>
                <a:gd name="T44" fmla="*/ 2688 w 2807"/>
                <a:gd name="T45" fmla="*/ 372 h 743"/>
                <a:gd name="T46" fmla="*/ 2586 w 2807"/>
                <a:gd name="T47" fmla="*/ 303 h 743"/>
                <a:gd name="T48" fmla="*/ 2529 w 2807"/>
                <a:gd name="T49" fmla="*/ 256 h 743"/>
                <a:gd name="T50" fmla="*/ 2518 w 2807"/>
                <a:gd name="T51" fmla="*/ 294 h 743"/>
                <a:gd name="T52" fmla="*/ 2507 w 2807"/>
                <a:gd name="T53" fmla="*/ 381 h 743"/>
                <a:gd name="T54" fmla="*/ 2499 w 2807"/>
                <a:gd name="T55" fmla="*/ 413 h 743"/>
                <a:gd name="T56" fmla="*/ 2443 w 2807"/>
                <a:gd name="T57" fmla="*/ 391 h 743"/>
                <a:gd name="T58" fmla="*/ 2423 w 2807"/>
                <a:gd name="T59" fmla="*/ 381 h 743"/>
                <a:gd name="T60" fmla="*/ 2392 w 2807"/>
                <a:gd name="T61" fmla="*/ 357 h 743"/>
                <a:gd name="T62" fmla="*/ 2361 w 2807"/>
                <a:gd name="T63" fmla="*/ 324 h 743"/>
                <a:gd name="T64" fmla="*/ 2334 w 2807"/>
                <a:gd name="T65" fmla="*/ 283 h 743"/>
                <a:gd name="T66" fmla="*/ 2316 w 2807"/>
                <a:gd name="T67" fmla="*/ 235 h 743"/>
                <a:gd name="T68" fmla="*/ 2310 w 2807"/>
                <a:gd name="T69" fmla="*/ 199 h 743"/>
                <a:gd name="T70" fmla="*/ 2252 w 2807"/>
                <a:gd name="T71" fmla="*/ 195 h 743"/>
                <a:gd name="T72" fmla="*/ 2110 w 2807"/>
                <a:gd name="T73" fmla="*/ 243 h 743"/>
                <a:gd name="T74" fmla="*/ 1984 w 2807"/>
                <a:gd name="T75" fmla="*/ 277 h 743"/>
                <a:gd name="T76" fmla="*/ 1843 w 2807"/>
                <a:gd name="T77" fmla="*/ 303 h 743"/>
                <a:gd name="T78" fmla="*/ 1697 w 2807"/>
                <a:gd name="T79" fmla="*/ 319 h 743"/>
                <a:gd name="T80" fmla="*/ 1558 w 2807"/>
                <a:gd name="T81" fmla="*/ 322 h 743"/>
                <a:gd name="T82" fmla="*/ 1293 w 2807"/>
                <a:gd name="T83" fmla="*/ 312 h 743"/>
                <a:gd name="T84" fmla="*/ 1030 w 2807"/>
                <a:gd name="T85" fmla="*/ 282 h 743"/>
                <a:gd name="T86" fmla="*/ 855 w 2807"/>
                <a:gd name="T87" fmla="*/ 251 h 743"/>
                <a:gd name="T88" fmla="*/ 725 w 2807"/>
                <a:gd name="T89" fmla="*/ 221 h 743"/>
                <a:gd name="T90" fmla="*/ 594 w 2807"/>
                <a:gd name="T91" fmla="*/ 185 h 743"/>
                <a:gd name="T92" fmla="*/ 465 w 2807"/>
                <a:gd name="T93" fmla="*/ 143 h 743"/>
                <a:gd name="T94" fmla="*/ 336 w 2807"/>
                <a:gd name="T95" fmla="*/ 94 h 743"/>
                <a:gd name="T96" fmla="*/ 251 w 2807"/>
                <a:gd name="T97" fmla="*/ 58 h 743"/>
                <a:gd name="T98" fmla="*/ 122 w 2807"/>
                <a:gd name="T99" fmla="*/ 0 h 743"/>
                <a:gd name="T100" fmla="*/ 119 w 2807"/>
                <a:gd name="T101" fmla="*/ 19 h 743"/>
                <a:gd name="T102" fmla="*/ 121 w 2807"/>
                <a:gd name="T103" fmla="*/ 51 h 743"/>
                <a:gd name="T104" fmla="*/ 136 w 2807"/>
                <a:gd name="T105" fmla="*/ 96 h 743"/>
                <a:gd name="T106" fmla="*/ 171 w 2807"/>
                <a:gd name="T107" fmla="*/ 156 h 743"/>
                <a:gd name="T108" fmla="*/ 207 w 2807"/>
                <a:gd name="T109" fmla="*/ 204 h 743"/>
                <a:gd name="T110" fmla="*/ 151 w 2807"/>
                <a:gd name="T111" fmla="*/ 199 h 743"/>
                <a:gd name="T112" fmla="*/ 98 w 2807"/>
                <a:gd name="T113" fmla="*/ 204 h 743"/>
                <a:gd name="T114" fmla="*/ 69 w 2807"/>
                <a:gd name="T115" fmla="*/ 215 h 743"/>
                <a:gd name="T116" fmla="*/ 32 w 2807"/>
                <a:gd name="T117" fmla="*/ 244 h 743"/>
                <a:gd name="T118" fmla="*/ 7 w 2807"/>
                <a:gd name="T119" fmla="*/ 272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807" h="743">
                  <a:moveTo>
                    <a:pt x="0" y="284"/>
                  </a:moveTo>
                  <a:lnTo>
                    <a:pt x="0" y="284"/>
                  </a:lnTo>
                  <a:lnTo>
                    <a:pt x="87" y="343"/>
                  </a:lnTo>
                  <a:lnTo>
                    <a:pt x="127" y="369"/>
                  </a:lnTo>
                  <a:lnTo>
                    <a:pt x="166" y="394"/>
                  </a:lnTo>
                  <a:lnTo>
                    <a:pt x="203" y="417"/>
                  </a:lnTo>
                  <a:lnTo>
                    <a:pt x="241" y="438"/>
                  </a:lnTo>
                  <a:lnTo>
                    <a:pt x="280" y="460"/>
                  </a:lnTo>
                  <a:lnTo>
                    <a:pt x="319" y="479"/>
                  </a:lnTo>
                  <a:lnTo>
                    <a:pt x="319" y="479"/>
                  </a:lnTo>
                  <a:lnTo>
                    <a:pt x="372" y="504"/>
                  </a:lnTo>
                  <a:lnTo>
                    <a:pt x="430" y="529"/>
                  </a:lnTo>
                  <a:lnTo>
                    <a:pt x="495" y="556"/>
                  </a:lnTo>
                  <a:lnTo>
                    <a:pt x="565" y="581"/>
                  </a:lnTo>
                  <a:lnTo>
                    <a:pt x="603" y="595"/>
                  </a:lnTo>
                  <a:lnTo>
                    <a:pt x="642" y="607"/>
                  </a:lnTo>
                  <a:lnTo>
                    <a:pt x="682" y="620"/>
                  </a:lnTo>
                  <a:lnTo>
                    <a:pt x="724" y="633"/>
                  </a:lnTo>
                  <a:lnTo>
                    <a:pt x="767" y="644"/>
                  </a:lnTo>
                  <a:lnTo>
                    <a:pt x="811" y="655"/>
                  </a:lnTo>
                  <a:lnTo>
                    <a:pt x="857" y="666"/>
                  </a:lnTo>
                  <a:lnTo>
                    <a:pt x="903" y="677"/>
                  </a:lnTo>
                  <a:lnTo>
                    <a:pt x="952" y="687"/>
                  </a:lnTo>
                  <a:lnTo>
                    <a:pt x="1001" y="696"/>
                  </a:lnTo>
                  <a:lnTo>
                    <a:pt x="1052" y="705"/>
                  </a:lnTo>
                  <a:lnTo>
                    <a:pt x="1104" y="713"/>
                  </a:lnTo>
                  <a:lnTo>
                    <a:pt x="1157" y="719"/>
                  </a:lnTo>
                  <a:lnTo>
                    <a:pt x="1212" y="727"/>
                  </a:lnTo>
                  <a:lnTo>
                    <a:pt x="1267" y="732"/>
                  </a:lnTo>
                  <a:lnTo>
                    <a:pt x="1324" y="736"/>
                  </a:lnTo>
                  <a:lnTo>
                    <a:pt x="1382" y="739"/>
                  </a:lnTo>
                  <a:lnTo>
                    <a:pt x="1442" y="741"/>
                  </a:lnTo>
                  <a:lnTo>
                    <a:pt x="1502" y="743"/>
                  </a:lnTo>
                  <a:lnTo>
                    <a:pt x="1563" y="742"/>
                  </a:lnTo>
                  <a:lnTo>
                    <a:pt x="1626" y="741"/>
                  </a:lnTo>
                  <a:lnTo>
                    <a:pt x="1689" y="738"/>
                  </a:lnTo>
                  <a:lnTo>
                    <a:pt x="1754" y="734"/>
                  </a:lnTo>
                  <a:lnTo>
                    <a:pt x="1819" y="729"/>
                  </a:lnTo>
                  <a:lnTo>
                    <a:pt x="1819" y="729"/>
                  </a:lnTo>
                  <a:lnTo>
                    <a:pt x="1881" y="723"/>
                  </a:lnTo>
                  <a:lnTo>
                    <a:pt x="1941" y="714"/>
                  </a:lnTo>
                  <a:lnTo>
                    <a:pt x="1999" y="706"/>
                  </a:lnTo>
                  <a:lnTo>
                    <a:pt x="2054" y="697"/>
                  </a:lnTo>
                  <a:lnTo>
                    <a:pt x="2108" y="688"/>
                  </a:lnTo>
                  <a:lnTo>
                    <a:pt x="2159" y="678"/>
                  </a:lnTo>
                  <a:lnTo>
                    <a:pt x="2209" y="666"/>
                  </a:lnTo>
                  <a:lnTo>
                    <a:pt x="2257" y="655"/>
                  </a:lnTo>
                  <a:lnTo>
                    <a:pt x="2302" y="643"/>
                  </a:lnTo>
                  <a:lnTo>
                    <a:pt x="2346" y="631"/>
                  </a:lnTo>
                  <a:lnTo>
                    <a:pt x="2387" y="618"/>
                  </a:lnTo>
                  <a:lnTo>
                    <a:pt x="2426" y="605"/>
                  </a:lnTo>
                  <a:lnTo>
                    <a:pt x="2464" y="593"/>
                  </a:lnTo>
                  <a:lnTo>
                    <a:pt x="2500" y="579"/>
                  </a:lnTo>
                  <a:lnTo>
                    <a:pt x="2533" y="566"/>
                  </a:lnTo>
                  <a:lnTo>
                    <a:pt x="2564" y="554"/>
                  </a:lnTo>
                  <a:lnTo>
                    <a:pt x="2622" y="528"/>
                  </a:lnTo>
                  <a:lnTo>
                    <a:pt x="2672" y="505"/>
                  </a:lnTo>
                  <a:lnTo>
                    <a:pt x="2713" y="483"/>
                  </a:lnTo>
                  <a:lnTo>
                    <a:pt x="2747" y="465"/>
                  </a:lnTo>
                  <a:lnTo>
                    <a:pt x="2773" y="449"/>
                  </a:lnTo>
                  <a:lnTo>
                    <a:pt x="2792" y="436"/>
                  </a:lnTo>
                  <a:lnTo>
                    <a:pt x="2807" y="426"/>
                  </a:lnTo>
                  <a:lnTo>
                    <a:pt x="2807" y="426"/>
                  </a:lnTo>
                  <a:lnTo>
                    <a:pt x="2786" y="419"/>
                  </a:lnTo>
                  <a:lnTo>
                    <a:pt x="2766" y="410"/>
                  </a:lnTo>
                  <a:lnTo>
                    <a:pt x="2745" y="402"/>
                  </a:lnTo>
                  <a:lnTo>
                    <a:pt x="2726" y="391"/>
                  </a:lnTo>
                  <a:lnTo>
                    <a:pt x="2706" y="382"/>
                  </a:lnTo>
                  <a:lnTo>
                    <a:pt x="2688" y="372"/>
                  </a:lnTo>
                  <a:lnTo>
                    <a:pt x="2651" y="349"/>
                  </a:lnTo>
                  <a:lnTo>
                    <a:pt x="2618" y="327"/>
                  </a:lnTo>
                  <a:lnTo>
                    <a:pt x="2586" y="303"/>
                  </a:lnTo>
                  <a:lnTo>
                    <a:pt x="2556" y="280"/>
                  </a:lnTo>
                  <a:lnTo>
                    <a:pt x="2529" y="256"/>
                  </a:lnTo>
                  <a:lnTo>
                    <a:pt x="2529" y="256"/>
                  </a:lnTo>
                  <a:lnTo>
                    <a:pt x="2524" y="266"/>
                  </a:lnTo>
                  <a:lnTo>
                    <a:pt x="2521" y="279"/>
                  </a:lnTo>
                  <a:lnTo>
                    <a:pt x="2518" y="294"/>
                  </a:lnTo>
                  <a:lnTo>
                    <a:pt x="2515" y="312"/>
                  </a:lnTo>
                  <a:lnTo>
                    <a:pt x="2515" y="312"/>
                  </a:lnTo>
                  <a:lnTo>
                    <a:pt x="2507" y="381"/>
                  </a:lnTo>
                  <a:lnTo>
                    <a:pt x="2503" y="414"/>
                  </a:lnTo>
                  <a:lnTo>
                    <a:pt x="2503" y="414"/>
                  </a:lnTo>
                  <a:lnTo>
                    <a:pt x="2499" y="413"/>
                  </a:lnTo>
                  <a:lnTo>
                    <a:pt x="2489" y="410"/>
                  </a:lnTo>
                  <a:lnTo>
                    <a:pt x="2470" y="403"/>
                  </a:lnTo>
                  <a:lnTo>
                    <a:pt x="2443" y="391"/>
                  </a:lnTo>
                  <a:lnTo>
                    <a:pt x="2443" y="391"/>
                  </a:lnTo>
                  <a:lnTo>
                    <a:pt x="2433" y="387"/>
                  </a:lnTo>
                  <a:lnTo>
                    <a:pt x="2423" y="381"/>
                  </a:lnTo>
                  <a:lnTo>
                    <a:pt x="2413" y="374"/>
                  </a:lnTo>
                  <a:lnTo>
                    <a:pt x="2403" y="366"/>
                  </a:lnTo>
                  <a:lnTo>
                    <a:pt x="2392" y="357"/>
                  </a:lnTo>
                  <a:lnTo>
                    <a:pt x="2381" y="347"/>
                  </a:lnTo>
                  <a:lnTo>
                    <a:pt x="2371" y="336"/>
                  </a:lnTo>
                  <a:lnTo>
                    <a:pt x="2361" y="324"/>
                  </a:lnTo>
                  <a:lnTo>
                    <a:pt x="2351" y="312"/>
                  </a:lnTo>
                  <a:lnTo>
                    <a:pt x="2342" y="297"/>
                  </a:lnTo>
                  <a:lnTo>
                    <a:pt x="2334" y="283"/>
                  </a:lnTo>
                  <a:lnTo>
                    <a:pt x="2326" y="268"/>
                  </a:lnTo>
                  <a:lnTo>
                    <a:pt x="2320" y="251"/>
                  </a:lnTo>
                  <a:lnTo>
                    <a:pt x="2316" y="235"/>
                  </a:lnTo>
                  <a:lnTo>
                    <a:pt x="2312" y="216"/>
                  </a:lnTo>
                  <a:lnTo>
                    <a:pt x="2310" y="199"/>
                  </a:lnTo>
                  <a:lnTo>
                    <a:pt x="2310" y="199"/>
                  </a:lnTo>
                  <a:lnTo>
                    <a:pt x="2309" y="174"/>
                  </a:lnTo>
                  <a:lnTo>
                    <a:pt x="2309" y="174"/>
                  </a:lnTo>
                  <a:lnTo>
                    <a:pt x="2252" y="195"/>
                  </a:lnTo>
                  <a:lnTo>
                    <a:pt x="2186" y="218"/>
                  </a:lnTo>
                  <a:lnTo>
                    <a:pt x="2149" y="231"/>
                  </a:lnTo>
                  <a:lnTo>
                    <a:pt x="2110" y="243"/>
                  </a:lnTo>
                  <a:lnTo>
                    <a:pt x="2069" y="254"/>
                  </a:lnTo>
                  <a:lnTo>
                    <a:pt x="2028" y="266"/>
                  </a:lnTo>
                  <a:lnTo>
                    <a:pt x="1984" y="277"/>
                  </a:lnTo>
                  <a:lnTo>
                    <a:pt x="1938" y="286"/>
                  </a:lnTo>
                  <a:lnTo>
                    <a:pt x="1892" y="295"/>
                  </a:lnTo>
                  <a:lnTo>
                    <a:pt x="1843" y="303"/>
                  </a:lnTo>
                  <a:lnTo>
                    <a:pt x="1795" y="311"/>
                  </a:lnTo>
                  <a:lnTo>
                    <a:pt x="1746" y="316"/>
                  </a:lnTo>
                  <a:lnTo>
                    <a:pt x="1697" y="319"/>
                  </a:lnTo>
                  <a:lnTo>
                    <a:pt x="1647" y="321"/>
                  </a:lnTo>
                  <a:lnTo>
                    <a:pt x="1647" y="321"/>
                  </a:lnTo>
                  <a:lnTo>
                    <a:pt x="1558" y="322"/>
                  </a:lnTo>
                  <a:lnTo>
                    <a:pt x="1470" y="321"/>
                  </a:lnTo>
                  <a:lnTo>
                    <a:pt x="1382" y="317"/>
                  </a:lnTo>
                  <a:lnTo>
                    <a:pt x="1293" y="312"/>
                  </a:lnTo>
                  <a:lnTo>
                    <a:pt x="1205" y="304"/>
                  </a:lnTo>
                  <a:lnTo>
                    <a:pt x="1118" y="294"/>
                  </a:lnTo>
                  <a:lnTo>
                    <a:pt x="1030" y="282"/>
                  </a:lnTo>
                  <a:lnTo>
                    <a:pt x="943" y="268"/>
                  </a:lnTo>
                  <a:lnTo>
                    <a:pt x="899" y="259"/>
                  </a:lnTo>
                  <a:lnTo>
                    <a:pt x="855" y="251"/>
                  </a:lnTo>
                  <a:lnTo>
                    <a:pt x="812" y="241"/>
                  </a:lnTo>
                  <a:lnTo>
                    <a:pt x="768" y="231"/>
                  </a:lnTo>
                  <a:lnTo>
                    <a:pt x="725" y="221"/>
                  </a:lnTo>
                  <a:lnTo>
                    <a:pt x="681" y="209"/>
                  </a:lnTo>
                  <a:lnTo>
                    <a:pt x="638" y="197"/>
                  </a:lnTo>
                  <a:lnTo>
                    <a:pt x="594" y="185"/>
                  </a:lnTo>
                  <a:lnTo>
                    <a:pt x="551" y="171"/>
                  </a:lnTo>
                  <a:lnTo>
                    <a:pt x="508" y="157"/>
                  </a:lnTo>
                  <a:lnTo>
                    <a:pt x="465" y="143"/>
                  </a:lnTo>
                  <a:lnTo>
                    <a:pt x="422" y="127"/>
                  </a:lnTo>
                  <a:lnTo>
                    <a:pt x="379" y="111"/>
                  </a:lnTo>
                  <a:lnTo>
                    <a:pt x="336" y="94"/>
                  </a:lnTo>
                  <a:lnTo>
                    <a:pt x="294" y="76"/>
                  </a:lnTo>
                  <a:lnTo>
                    <a:pt x="251" y="58"/>
                  </a:lnTo>
                  <a:lnTo>
                    <a:pt x="251" y="58"/>
                  </a:lnTo>
                  <a:lnTo>
                    <a:pt x="165" y="19"/>
                  </a:lnTo>
                  <a:lnTo>
                    <a:pt x="122" y="0"/>
                  </a:lnTo>
                  <a:lnTo>
                    <a:pt x="122" y="0"/>
                  </a:lnTo>
                  <a:lnTo>
                    <a:pt x="121" y="3"/>
                  </a:lnTo>
                  <a:lnTo>
                    <a:pt x="119" y="12"/>
                  </a:lnTo>
                  <a:lnTo>
                    <a:pt x="119" y="19"/>
                  </a:lnTo>
                  <a:lnTo>
                    <a:pt x="119" y="28"/>
                  </a:lnTo>
                  <a:lnTo>
                    <a:pt x="119" y="39"/>
                  </a:lnTo>
                  <a:lnTo>
                    <a:pt x="121" y="51"/>
                  </a:lnTo>
                  <a:lnTo>
                    <a:pt x="125" y="64"/>
                  </a:lnTo>
                  <a:lnTo>
                    <a:pt x="129" y="79"/>
                  </a:lnTo>
                  <a:lnTo>
                    <a:pt x="136" y="96"/>
                  </a:lnTo>
                  <a:lnTo>
                    <a:pt x="145" y="114"/>
                  </a:lnTo>
                  <a:lnTo>
                    <a:pt x="156" y="135"/>
                  </a:lnTo>
                  <a:lnTo>
                    <a:pt x="171" y="156"/>
                  </a:lnTo>
                  <a:lnTo>
                    <a:pt x="187" y="180"/>
                  </a:lnTo>
                  <a:lnTo>
                    <a:pt x="207" y="204"/>
                  </a:lnTo>
                  <a:lnTo>
                    <a:pt x="207" y="204"/>
                  </a:lnTo>
                  <a:lnTo>
                    <a:pt x="189" y="201"/>
                  </a:lnTo>
                  <a:lnTo>
                    <a:pt x="170" y="199"/>
                  </a:lnTo>
                  <a:lnTo>
                    <a:pt x="151" y="199"/>
                  </a:lnTo>
                  <a:lnTo>
                    <a:pt x="132" y="199"/>
                  </a:lnTo>
                  <a:lnTo>
                    <a:pt x="114" y="201"/>
                  </a:lnTo>
                  <a:lnTo>
                    <a:pt x="98" y="204"/>
                  </a:lnTo>
                  <a:lnTo>
                    <a:pt x="83" y="209"/>
                  </a:lnTo>
                  <a:lnTo>
                    <a:pt x="69" y="215"/>
                  </a:lnTo>
                  <a:lnTo>
                    <a:pt x="69" y="215"/>
                  </a:lnTo>
                  <a:lnTo>
                    <a:pt x="55" y="224"/>
                  </a:lnTo>
                  <a:lnTo>
                    <a:pt x="42" y="234"/>
                  </a:lnTo>
                  <a:lnTo>
                    <a:pt x="32" y="244"/>
                  </a:lnTo>
                  <a:lnTo>
                    <a:pt x="21" y="253"/>
                  </a:lnTo>
                  <a:lnTo>
                    <a:pt x="13" y="262"/>
                  </a:lnTo>
                  <a:lnTo>
                    <a:pt x="7" y="272"/>
                  </a:lnTo>
                  <a:lnTo>
                    <a:pt x="0" y="28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33" name="Freeform 31"/>
            <p:cNvSpPr>
              <a:spLocks/>
            </p:cNvSpPr>
            <p:nvPr userDrawn="1"/>
          </p:nvSpPr>
          <p:spPr bwMode="auto">
            <a:xfrm>
              <a:off x="800101" y="1114426"/>
              <a:ext cx="377825" cy="271463"/>
            </a:xfrm>
            <a:custGeom>
              <a:avLst/>
              <a:gdLst>
                <a:gd name="T0" fmla="*/ 2491 w 2863"/>
                <a:gd name="T1" fmla="*/ 103 h 2054"/>
                <a:gd name="T2" fmla="*/ 2575 w 2863"/>
                <a:gd name="T3" fmla="*/ 23 h 2054"/>
                <a:gd name="T4" fmla="*/ 2196 w 2863"/>
                <a:gd name="T5" fmla="*/ 132 h 2054"/>
                <a:gd name="T6" fmla="*/ 1671 w 2863"/>
                <a:gd name="T7" fmla="*/ 429 h 2054"/>
                <a:gd name="T8" fmla="*/ 1528 w 2863"/>
                <a:gd name="T9" fmla="*/ 462 h 2054"/>
                <a:gd name="T10" fmla="*/ 1416 w 2863"/>
                <a:gd name="T11" fmla="*/ 568 h 2054"/>
                <a:gd name="T12" fmla="*/ 1409 w 2863"/>
                <a:gd name="T13" fmla="*/ 634 h 2054"/>
                <a:gd name="T14" fmla="*/ 1479 w 2863"/>
                <a:gd name="T15" fmla="*/ 748 h 2054"/>
                <a:gd name="T16" fmla="*/ 1586 w 2863"/>
                <a:gd name="T17" fmla="*/ 787 h 2054"/>
                <a:gd name="T18" fmla="*/ 1476 w 2863"/>
                <a:gd name="T19" fmla="*/ 974 h 2054"/>
                <a:gd name="T20" fmla="*/ 1133 w 2863"/>
                <a:gd name="T21" fmla="*/ 1199 h 2054"/>
                <a:gd name="T22" fmla="*/ 799 w 2863"/>
                <a:gd name="T23" fmla="*/ 1254 h 2054"/>
                <a:gd name="T24" fmla="*/ 634 w 2863"/>
                <a:gd name="T25" fmla="*/ 1102 h 2054"/>
                <a:gd name="T26" fmla="*/ 539 w 2863"/>
                <a:gd name="T27" fmla="*/ 1015 h 2054"/>
                <a:gd name="T28" fmla="*/ 406 w 2863"/>
                <a:gd name="T29" fmla="*/ 1023 h 2054"/>
                <a:gd name="T30" fmla="*/ 231 w 2863"/>
                <a:gd name="T31" fmla="*/ 1090 h 2054"/>
                <a:gd name="T32" fmla="*/ 382 w 2863"/>
                <a:gd name="T33" fmla="*/ 1121 h 2054"/>
                <a:gd name="T34" fmla="*/ 351 w 2863"/>
                <a:gd name="T35" fmla="*/ 1168 h 2054"/>
                <a:gd name="T36" fmla="*/ 418 w 2863"/>
                <a:gd name="T37" fmla="*/ 1270 h 2054"/>
                <a:gd name="T38" fmla="*/ 608 w 2863"/>
                <a:gd name="T39" fmla="*/ 1387 h 2054"/>
                <a:gd name="T40" fmla="*/ 314 w 2863"/>
                <a:gd name="T41" fmla="*/ 1296 h 2054"/>
                <a:gd name="T42" fmla="*/ 234 w 2863"/>
                <a:gd name="T43" fmla="*/ 1324 h 2054"/>
                <a:gd name="T44" fmla="*/ 77 w 2863"/>
                <a:gd name="T45" fmla="*/ 1367 h 2054"/>
                <a:gd name="T46" fmla="*/ 0 w 2863"/>
                <a:gd name="T47" fmla="*/ 1480 h 2054"/>
                <a:gd name="T48" fmla="*/ 63 w 2863"/>
                <a:gd name="T49" fmla="*/ 1501 h 2054"/>
                <a:gd name="T50" fmla="*/ 166 w 2863"/>
                <a:gd name="T51" fmla="*/ 1461 h 2054"/>
                <a:gd name="T52" fmla="*/ 187 w 2863"/>
                <a:gd name="T53" fmla="*/ 1573 h 2054"/>
                <a:gd name="T54" fmla="*/ 354 w 2863"/>
                <a:gd name="T55" fmla="*/ 1597 h 2054"/>
                <a:gd name="T56" fmla="*/ 616 w 2863"/>
                <a:gd name="T57" fmla="*/ 1588 h 2054"/>
                <a:gd name="T58" fmla="*/ 382 w 2863"/>
                <a:gd name="T59" fmla="*/ 1636 h 2054"/>
                <a:gd name="T60" fmla="*/ 295 w 2863"/>
                <a:gd name="T61" fmla="*/ 1696 h 2054"/>
                <a:gd name="T62" fmla="*/ 254 w 2863"/>
                <a:gd name="T63" fmla="*/ 1795 h 2054"/>
                <a:gd name="T64" fmla="*/ 239 w 2863"/>
                <a:gd name="T65" fmla="*/ 1953 h 2054"/>
                <a:gd name="T66" fmla="*/ 335 w 2863"/>
                <a:gd name="T67" fmla="*/ 2045 h 2054"/>
                <a:gd name="T68" fmla="*/ 341 w 2863"/>
                <a:gd name="T69" fmla="*/ 1906 h 2054"/>
                <a:gd name="T70" fmla="*/ 417 w 2863"/>
                <a:gd name="T71" fmla="*/ 1946 h 2054"/>
                <a:gd name="T72" fmla="*/ 509 w 2863"/>
                <a:gd name="T73" fmla="*/ 1935 h 2054"/>
                <a:gd name="T74" fmla="*/ 732 w 2863"/>
                <a:gd name="T75" fmla="*/ 1733 h 2054"/>
                <a:gd name="T76" fmla="*/ 874 w 2863"/>
                <a:gd name="T77" fmla="*/ 1691 h 2054"/>
                <a:gd name="T78" fmla="*/ 870 w 2863"/>
                <a:gd name="T79" fmla="*/ 1786 h 2054"/>
                <a:gd name="T80" fmla="*/ 945 w 2863"/>
                <a:gd name="T81" fmla="*/ 1834 h 2054"/>
                <a:gd name="T82" fmla="*/ 875 w 2863"/>
                <a:gd name="T83" fmla="*/ 1948 h 2054"/>
                <a:gd name="T84" fmla="*/ 1004 w 2863"/>
                <a:gd name="T85" fmla="*/ 1919 h 2054"/>
                <a:gd name="T86" fmla="*/ 1100 w 2863"/>
                <a:gd name="T87" fmla="*/ 1787 h 2054"/>
                <a:gd name="T88" fmla="*/ 1159 w 2863"/>
                <a:gd name="T89" fmla="*/ 1734 h 2054"/>
                <a:gd name="T90" fmla="*/ 1183 w 2863"/>
                <a:gd name="T91" fmla="*/ 1628 h 2054"/>
                <a:gd name="T92" fmla="*/ 1338 w 2863"/>
                <a:gd name="T93" fmla="*/ 1564 h 2054"/>
                <a:gd name="T94" fmla="*/ 1370 w 2863"/>
                <a:gd name="T95" fmla="*/ 1465 h 2054"/>
                <a:gd name="T96" fmla="*/ 1461 w 2863"/>
                <a:gd name="T97" fmla="*/ 1462 h 2054"/>
                <a:gd name="T98" fmla="*/ 1684 w 2863"/>
                <a:gd name="T99" fmla="*/ 1556 h 2054"/>
                <a:gd name="T100" fmla="*/ 1888 w 2863"/>
                <a:gd name="T101" fmla="*/ 1440 h 2054"/>
                <a:gd name="T102" fmla="*/ 1799 w 2863"/>
                <a:gd name="T103" fmla="*/ 1308 h 2054"/>
                <a:gd name="T104" fmla="*/ 1857 w 2863"/>
                <a:gd name="T105" fmla="*/ 1327 h 2054"/>
                <a:gd name="T106" fmla="*/ 2183 w 2863"/>
                <a:gd name="T107" fmla="*/ 1273 h 2054"/>
                <a:gd name="T108" fmla="*/ 2142 w 2863"/>
                <a:gd name="T109" fmla="*/ 1164 h 2054"/>
                <a:gd name="T110" fmla="*/ 2112 w 2863"/>
                <a:gd name="T111" fmla="*/ 1069 h 2054"/>
                <a:gd name="T112" fmla="*/ 2121 w 2863"/>
                <a:gd name="T113" fmla="*/ 977 h 2054"/>
                <a:gd name="T114" fmla="*/ 2085 w 2863"/>
                <a:gd name="T115" fmla="*/ 807 h 2054"/>
                <a:gd name="T116" fmla="*/ 2859 w 2863"/>
                <a:gd name="T117" fmla="*/ 408 h 20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863" h="2054">
                  <a:moveTo>
                    <a:pt x="2759" y="252"/>
                  </a:moveTo>
                  <a:lnTo>
                    <a:pt x="2759" y="252"/>
                  </a:lnTo>
                  <a:lnTo>
                    <a:pt x="2742" y="239"/>
                  </a:lnTo>
                  <a:lnTo>
                    <a:pt x="2725" y="227"/>
                  </a:lnTo>
                  <a:lnTo>
                    <a:pt x="2708" y="214"/>
                  </a:lnTo>
                  <a:lnTo>
                    <a:pt x="2690" y="203"/>
                  </a:lnTo>
                  <a:lnTo>
                    <a:pt x="2655" y="184"/>
                  </a:lnTo>
                  <a:lnTo>
                    <a:pt x="2621" y="165"/>
                  </a:lnTo>
                  <a:lnTo>
                    <a:pt x="2586" y="148"/>
                  </a:lnTo>
                  <a:lnTo>
                    <a:pt x="2553" y="133"/>
                  </a:lnTo>
                  <a:lnTo>
                    <a:pt x="2522" y="118"/>
                  </a:lnTo>
                  <a:lnTo>
                    <a:pt x="2491" y="103"/>
                  </a:lnTo>
                  <a:lnTo>
                    <a:pt x="2491" y="103"/>
                  </a:lnTo>
                  <a:lnTo>
                    <a:pt x="2507" y="93"/>
                  </a:lnTo>
                  <a:lnTo>
                    <a:pt x="2523" y="82"/>
                  </a:lnTo>
                  <a:lnTo>
                    <a:pt x="2540" y="68"/>
                  </a:lnTo>
                  <a:lnTo>
                    <a:pt x="2556" y="54"/>
                  </a:lnTo>
                  <a:lnTo>
                    <a:pt x="2570" y="41"/>
                  </a:lnTo>
                  <a:lnTo>
                    <a:pt x="2574" y="35"/>
                  </a:lnTo>
                  <a:lnTo>
                    <a:pt x="2577" y="30"/>
                  </a:lnTo>
                  <a:lnTo>
                    <a:pt x="2577" y="26"/>
                  </a:lnTo>
                  <a:lnTo>
                    <a:pt x="2577" y="24"/>
                  </a:lnTo>
                  <a:lnTo>
                    <a:pt x="2575" y="23"/>
                  </a:lnTo>
                  <a:lnTo>
                    <a:pt x="2575" y="23"/>
                  </a:lnTo>
                  <a:lnTo>
                    <a:pt x="2562" y="16"/>
                  </a:lnTo>
                  <a:lnTo>
                    <a:pt x="2550" y="10"/>
                  </a:lnTo>
                  <a:lnTo>
                    <a:pt x="2538" y="6"/>
                  </a:lnTo>
                  <a:lnTo>
                    <a:pt x="2527" y="4"/>
                  </a:lnTo>
                  <a:lnTo>
                    <a:pt x="2508" y="1"/>
                  </a:lnTo>
                  <a:lnTo>
                    <a:pt x="2501" y="0"/>
                  </a:lnTo>
                  <a:lnTo>
                    <a:pt x="2501" y="0"/>
                  </a:lnTo>
                  <a:lnTo>
                    <a:pt x="2440" y="24"/>
                  </a:lnTo>
                  <a:lnTo>
                    <a:pt x="2377" y="50"/>
                  </a:lnTo>
                  <a:lnTo>
                    <a:pt x="2317" y="76"/>
                  </a:lnTo>
                  <a:lnTo>
                    <a:pt x="2256" y="103"/>
                  </a:lnTo>
                  <a:lnTo>
                    <a:pt x="2196" y="132"/>
                  </a:lnTo>
                  <a:lnTo>
                    <a:pt x="2138" y="160"/>
                  </a:lnTo>
                  <a:lnTo>
                    <a:pt x="2081" y="189"/>
                  </a:lnTo>
                  <a:lnTo>
                    <a:pt x="2026" y="219"/>
                  </a:lnTo>
                  <a:lnTo>
                    <a:pt x="1972" y="247"/>
                  </a:lnTo>
                  <a:lnTo>
                    <a:pt x="1921" y="276"/>
                  </a:lnTo>
                  <a:lnTo>
                    <a:pt x="1872" y="303"/>
                  </a:lnTo>
                  <a:lnTo>
                    <a:pt x="1825" y="331"/>
                  </a:lnTo>
                  <a:lnTo>
                    <a:pt x="1782" y="358"/>
                  </a:lnTo>
                  <a:lnTo>
                    <a:pt x="1741" y="383"/>
                  </a:lnTo>
                  <a:lnTo>
                    <a:pt x="1705" y="407"/>
                  </a:lnTo>
                  <a:lnTo>
                    <a:pt x="1671" y="429"/>
                  </a:lnTo>
                  <a:lnTo>
                    <a:pt x="1671" y="429"/>
                  </a:lnTo>
                  <a:lnTo>
                    <a:pt x="1666" y="432"/>
                  </a:lnTo>
                  <a:lnTo>
                    <a:pt x="1666" y="432"/>
                  </a:lnTo>
                  <a:lnTo>
                    <a:pt x="1654" y="439"/>
                  </a:lnTo>
                  <a:lnTo>
                    <a:pt x="1643" y="446"/>
                  </a:lnTo>
                  <a:lnTo>
                    <a:pt x="1632" y="451"/>
                  </a:lnTo>
                  <a:lnTo>
                    <a:pt x="1620" y="455"/>
                  </a:lnTo>
                  <a:lnTo>
                    <a:pt x="1608" y="458"/>
                  </a:lnTo>
                  <a:lnTo>
                    <a:pt x="1597" y="461"/>
                  </a:lnTo>
                  <a:lnTo>
                    <a:pt x="1585" y="462"/>
                  </a:lnTo>
                  <a:lnTo>
                    <a:pt x="1574" y="463"/>
                  </a:lnTo>
                  <a:lnTo>
                    <a:pt x="1550" y="464"/>
                  </a:lnTo>
                  <a:lnTo>
                    <a:pt x="1528" y="462"/>
                  </a:lnTo>
                  <a:lnTo>
                    <a:pt x="1505" y="459"/>
                  </a:lnTo>
                  <a:lnTo>
                    <a:pt x="1485" y="454"/>
                  </a:lnTo>
                  <a:lnTo>
                    <a:pt x="1465" y="449"/>
                  </a:lnTo>
                  <a:lnTo>
                    <a:pt x="1448" y="442"/>
                  </a:lnTo>
                  <a:lnTo>
                    <a:pt x="1433" y="436"/>
                  </a:lnTo>
                  <a:lnTo>
                    <a:pt x="1418" y="430"/>
                  </a:lnTo>
                  <a:lnTo>
                    <a:pt x="1399" y="420"/>
                  </a:lnTo>
                  <a:lnTo>
                    <a:pt x="1393" y="416"/>
                  </a:lnTo>
                  <a:lnTo>
                    <a:pt x="1372" y="544"/>
                  </a:lnTo>
                  <a:lnTo>
                    <a:pt x="1372" y="544"/>
                  </a:lnTo>
                  <a:lnTo>
                    <a:pt x="1395" y="557"/>
                  </a:lnTo>
                  <a:lnTo>
                    <a:pt x="1416" y="568"/>
                  </a:lnTo>
                  <a:lnTo>
                    <a:pt x="1437" y="577"/>
                  </a:lnTo>
                  <a:lnTo>
                    <a:pt x="1454" y="586"/>
                  </a:lnTo>
                  <a:lnTo>
                    <a:pt x="1470" y="592"/>
                  </a:lnTo>
                  <a:lnTo>
                    <a:pt x="1486" y="596"/>
                  </a:lnTo>
                  <a:lnTo>
                    <a:pt x="1499" y="600"/>
                  </a:lnTo>
                  <a:lnTo>
                    <a:pt x="1510" y="602"/>
                  </a:lnTo>
                  <a:lnTo>
                    <a:pt x="1510" y="602"/>
                  </a:lnTo>
                  <a:lnTo>
                    <a:pt x="1491" y="606"/>
                  </a:lnTo>
                  <a:lnTo>
                    <a:pt x="1470" y="611"/>
                  </a:lnTo>
                  <a:lnTo>
                    <a:pt x="1450" y="617"/>
                  </a:lnTo>
                  <a:lnTo>
                    <a:pt x="1428" y="625"/>
                  </a:lnTo>
                  <a:lnTo>
                    <a:pt x="1409" y="634"/>
                  </a:lnTo>
                  <a:lnTo>
                    <a:pt x="1391" y="645"/>
                  </a:lnTo>
                  <a:lnTo>
                    <a:pt x="1381" y="650"/>
                  </a:lnTo>
                  <a:lnTo>
                    <a:pt x="1373" y="656"/>
                  </a:lnTo>
                  <a:lnTo>
                    <a:pt x="1366" y="663"/>
                  </a:lnTo>
                  <a:lnTo>
                    <a:pt x="1360" y="670"/>
                  </a:lnTo>
                  <a:lnTo>
                    <a:pt x="1404" y="788"/>
                  </a:lnTo>
                  <a:lnTo>
                    <a:pt x="1404" y="788"/>
                  </a:lnTo>
                  <a:lnTo>
                    <a:pt x="1416" y="779"/>
                  </a:lnTo>
                  <a:lnTo>
                    <a:pt x="1432" y="770"/>
                  </a:lnTo>
                  <a:lnTo>
                    <a:pt x="1453" y="758"/>
                  </a:lnTo>
                  <a:lnTo>
                    <a:pt x="1465" y="753"/>
                  </a:lnTo>
                  <a:lnTo>
                    <a:pt x="1479" y="748"/>
                  </a:lnTo>
                  <a:lnTo>
                    <a:pt x="1494" y="743"/>
                  </a:lnTo>
                  <a:lnTo>
                    <a:pt x="1509" y="738"/>
                  </a:lnTo>
                  <a:lnTo>
                    <a:pt x="1527" y="734"/>
                  </a:lnTo>
                  <a:lnTo>
                    <a:pt x="1545" y="731"/>
                  </a:lnTo>
                  <a:lnTo>
                    <a:pt x="1564" y="729"/>
                  </a:lnTo>
                  <a:lnTo>
                    <a:pt x="1585" y="728"/>
                  </a:lnTo>
                  <a:lnTo>
                    <a:pt x="1585" y="728"/>
                  </a:lnTo>
                  <a:lnTo>
                    <a:pt x="1588" y="744"/>
                  </a:lnTo>
                  <a:lnTo>
                    <a:pt x="1588" y="744"/>
                  </a:lnTo>
                  <a:lnTo>
                    <a:pt x="1588" y="758"/>
                  </a:lnTo>
                  <a:lnTo>
                    <a:pt x="1588" y="773"/>
                  </a:lnTo>
                  <a:lnTo>
                    <a:pt x="1586" y="787"/>
                  </a:lnTo>
                  <a:lnTo>
                    <a:pt x="1583" y="802"/>
                  </a:lnTo>
                  <a:lnTo>
                    <a:pt x="1578" y="818"/>
                  </a:lnTo>
                  <a:lnTo>
                    <a:pt x="1573" y="833"/>
                  </a:lnTo>
                  <a:lnTo>
                    <a:pt x="1565" y="848"/>
                  </a:lnTo>
                  <a:lnTo>
                    <a:pt x="1557" y="864"/>
                  </a:lnTo>
                  <a:lnTo>
                    <a:pt x="1549" y="880"/>
                  </a:lnTo>
                  <a:lnTo>
                    <a:pt x="1539" y="895"/>
                  </a:lnTo>
                  <a:lnTo>
                    <a:pt x="1528" y="912"/>
                  </a:lnTo>
                  <a:lnTo>
                    <a:pt x="1516" y="927"/>
                  </a:lnTo>
                  <a:lnTo>
                    <a:pt x="1503" y="943"/>
                  </a:lnTo>
                  <a:lnTo>
                    <a:pt x="1490" y="959"/>
                  </a:lnTo>
                  <a:lnTo>
                    <a:pt x="1476" y="974"/>
                  </a:lnTo>
                  <a:lnTo>
                    <a:pt x="1461" y="989"/>
                  </a:lnTo>
                  <a:lnTo>
                    <a:pt x="1429" y="1020"/>
                  </a:lnTo>
                  <a:lnTo>
                    <a:pt x="1396" y="1049"/>
                  </a:lnTo>
                  <a:lnTo>
                    <a:pt x="1360" y="1076"/>
                  </a:lnTo>
                  <a:lnTo>
                    <a:pt x="1323" y="1102"/>
                  </a:lnTo>
                  <a:lnTo>
                    <a:pt x="1285" y="1126"/>
                  </a:lnTo>
                  <a:lnTo>
                    <a:pt x="1247" y="1148"/>
                  </a:lnTo>
                  <a:lnTo>
                    <a:pt x="1209" y="1167"/>
                  </a:lnTo>
                  <a:lnTo>
                    <a:pt x="1189" y="1177"/>
                  </a:lnTo>
                  <a:lnTo>
                    <a:pt x="1171" y="1185"/>
                  </a:lnTo>
                  <a:lnTo>
                    <a:pt x="1171" y="1185"/>
                  </a:lnTo>
                  <a:lnTo>
                    <a:pt x="1133" y="1199"/>
                  </a:lnTo>
                  <a:lnTo>
                    <a:pt x="1095" y="1211"/>
                  </a:lnTo>
                  <a:lnTo>
                    <a:pt x="1060" y="1223"/>
                  </a:lnTo>
                  <a:lnTo>
                    <a:pt x="1026" y="1232"/>
                  </a:lnTo>
                  <a:lnTo>
                    <a:pt x="993" y="1240"/>
                  </a:lnTo>
                  <a:lnTo>
                    <a:pt x="962" y="1246"/>
                  </a:lnTo>
                  <a:lnTo>
                    <a:pt x="933" y="1250"/>
                  </a:lnTo>
                  <a:lnTo>
                    <a:pt x="905" y="1254"/>
                  </a:lnTo>
                  <a:lnTo>
                    <a:pt x="879" y="1256"/>
                  </a:lnTo>
                  <a:lnTo>
                    <a:pt x="856" y="1257"/>
                  </a:lnTo>
                  <a:lnTo>
                    <a:pt x="834" y="1257"/>
                  </a:lnTo>
                  <a:lnTo>
                    <a:pt x="815" y="1256"/>
                  </a:lnTo>
                  <a:lnTo>
                    <a:pt x="799" y="1254"/>
                  </a:lnTo>
                  <a:lnTo>
                    <a:pt x="785" y="1251"/>
                  </a:lnTo>
                  <a:lnTo>
                    <a:pt x="774" y="1247"/>
                  </a:lnTo>
                  <a:lnTo>
                    <a:pt x="765" y="1243"/>
                  </a:lnTo>
                  <a:lnTo>
                    <a:pt x="765" y="1243"/>
                  </a:lnTo>
                  <a:lnTo>
                    <a:pt x="741" y="1227"/>
                  </a:lnTo>
                  <a:lnTo>
                    <a:pt x="720" y="1209"/>
                  </a:lnTo>
                  <a:lnTo>
                    <a:pt x="701" y="1191"/>
                  </a:lnTo>
                  <a:lnTo>
                    <a:pt x="685" y="1172"/>
                  </a:lnTo>
                  <a:lnTo>
                    <a:pt x="670" y="1155"/>
                  </a:lnTo>
                  <a:lnTo>
                    <a:pt x="656" y="1137"/>
                  </a:lnTo>
                  <a:lnTo>
                    <a:pt x="645" y="1119"/>
                  </a:lnTo>
                  <a:lnTo>
                    <a:pt x="634" y="1102"/>
                  </a:lnTo>
                  <a:lnTo>
                    <a:pt x="615" y="1071"/>
                  </a:lnTo>
                  <a:lnTo>
                    <a:pt x="605" y="1057"/>
                  </a:lnTo>
                  <a:lnTo>
                    <a:pt x="596" y="1045"/>
                  </a:lnTo>
                  <a:lnTo>
                    <a:pt x="587" y="1033"/>
                  </a:lnTo>
                  <a:lnTo>
                    <a:pt x="577" y="1025"/>
                  </a:lnTo>
                  <a:lnTo>
                    <a:pt x="565" y="1018"/>
                  </a:lnTo>
                  <a:lnTo>
                    <a:pt x="559" y="1015"/>
                  </a:lnTo>
                  <a:lnTo>
                    <a:pt x="553" y="1013"/>
                  </a:lnTo>
                  <a:lnTo>
                    <a:pt x="553" y="1013"/>
                  </a:lnTo>
                  <a:lnTo>
                    <a:pt x="549" y="1013"/>
                  </a:lnTo>
                  <a:lnTo>
                    <a:pt x="546" y="1013"/>
                  </a:lnTo>
                  <a:lnTo>
                    <a:pt x="539" y="1015"/>
                  </a:lnTo>
                  <a:lnTo>
                    <a:pt x="532" y="1018"/>
                  </a:lnTo>
                  <a:lnTo>
                    <a:pt x="524" y="1022"/>
                  </a:lnTo>
                  <a:lnTo>
                    <a:pt x="516" y="1026"/>
                  </a:lnTo>
                  <a:lnTo>
                    <a:pt x="507" y="1029"/>
                  </a:lnTo>
                  <a:lnTo>
                    <a:pt x="499" y="1031"/>
                  </a:lnTo>
                  <a:lnTo>
                    <a:pt x="494" y="1031"/>
                  </a:lnTo>
                  <a:lnTo>
                    <a:pt x="489" y="1031"/>
                  </a:lnTo>
                  <a:lnTo>
                    <a:pt x="489" y="1031"/>
                  </a:lnTo>
                  <a:lnTo>
                    <a:pt x="468" y="1028"/>
                  </a:lnTo>
                  <a:lnTo>
                    <a:pt x="448" y="1025"/>
                  </a:lnTo>
                  <a:lnTo>
                    <a:pt x="427" y="1024"/>
                  </a:lnTo>
                  <a:lnTo>
                    <a:pt x="406" y="1023"/>
                  </a:lnTo>
                  <a:lnTo>
                    <a:pt x="386" y="1023"/>
                  </a:lnTo>
                  <a:lnTo>
                    <a:pt x="366" y="1025"/>
                  </a:lnTo>
                  <a:lnTo>
                    <a:pt x="347" y="1027"/>
                  </a:lnTo>
                  <a:lnTo>
                    <a:pt x="327" y="1031"/>
                  </a:lnTo>
                  <a:lnTo>
                    <a:pt x="309" y="1035"/>
                  </a:lnTo>
                  <a:lnTo>
                    <a:pt x="292" y="1043"/>
                  </a:lnTo>
                  <a:lnTo>
                    <a:pt x="276" y="1050"/>
                  </a:lnTo>
                  <a:lnTo>
                    <a:pt x="262" y="1059"/>
                  </a:lnTo>
                  <a:lnTo>
                    <a:pt x="248" y="1070"/>
                  </a:lnTo>
                  <a:lnTo>
                    <a:pt x="242" y="1076"/>
                  </a:lnTo>
                  <a:lnTo>
                    <a:pt x="236" y="1082"/>
                  </a:lnTo>
                  <a:lnTo>
                    <a:pt x="231" y="1090"/>
                  </a:lnTo>
                  <a:lnTo>
                    <a:pt x="227" y="1098"/>
                  </a:lnTo>
                  <a:lnTo>
                    <a:pt x="223" y="1105"/>
                  </a:lnTo>
                  <a:lnTo>
                    <a:pt x="219" y="1114"/>
                  </a:lnTo>
                  <a:lnTo>
                    <a:pt x="219" y="1114"/>
                  </a:lnTo>
                  <a:lnTo>
                    <a:pt x="257" y="1112"/>
                  </a:lnTo>
                  <a:lnTo>
                    <a:pt x="292" y="1111"/>
                  </a:lnTo>
                  <a:lnTo>
                    <a:pt x="312" y="1111"/>
                  </a:lnTo>
                  <a:lnTo>
                    <a:pt x="331" y="1112"/>
                  </a:lnTo>
                  <a:lnTo>
                    <a:pt x="349" y="1113"/>
                  </a:lnTo>
                  <a:lnTo>
                    <a:pt x="364" y="1116"/>
                  </a:lnTo>
                  <a:lnTo>
                    <a:pt x="377" y="1119"/>
                  </a:lnTo>
                  <a:lnTo>
                    <a:pt x="382" y="1121"/>
                  </a:lnTo>
                  <a:lnTo>
                    <a:pt x="387" y="1123"/>
                  </a:lnTo>
                  <a:lnTo>
                    <a:pt x="389" y="1126"/>
                  </a:lnTo>
                  <a:lnTo>
                    <a:pt x="391" y="1130"/>
                  </a:lnTo>
                  <a:lnTo>
                    <a:pt x="391" y="1133"/>
                  </a:lnTo>
                  <a:lnTo>
                    <a:pt x="389" y="1137"/>
                  </a:lnTo>
                  <a:lnTo>
                    <a:pt x="386" y="1141"/>
                  </a:lnTo>
                  <a:lnTo>
                    <a:pt x="381" y="1146"/>
                  </a:lnTo>
                  <a:lnTo>
                    <a:pt x="374" y="1151"/>
                  </a:lnTo>
                  <a:lnTo>
                    <a:pt x="366" y="1156"/>
                  </a:lnTo>
                  <a:lnTo>
                    <a:pt x="366" y="1156"/>
                  </a:lnTo>
                  <a:lnTo>
                    <a:pt x="357" y="1162"/>
                  </a:lnTo>
                  <a:lnTo>
                    <a:pt x="351" y="1168"/>
                  </a:lnTo>
                  <a:lnTo>
                    <a:pt x="346" y="1175"/>
                  </a:lnTo>
                  <a:lnTo>
                    <a:pt x="344" y="1182"/>
                  </a:lnTo>
                  <a:lnTo>
                    <a:pt x="343" y="1189"/>
                  </a:lnTo>
                  <a:lnTo>
                    <a:pt x="344" y="1195"/>
                  </a:lnTo>
                  <a:lnTo>
                    <a:pt x="346" y="1202"/>
                  </a:lnTo>
                  <a:lnTo>
                    <a:pt x="349" y="1209"/>
                  </a:lnTo>
                  <a:lnTo>
                    <a:pt x="354" y="1217"/>
                  </a:lnTo>
                  <a:lnTo>
                    <a:pt x="360" y="1225"/>
                  </a:lnTo>
                  <a:lnTo>
                    <a:pt x="368" y="1232"/>
                  </a:lnTo>
                  <a:lnTo>
                    <a:pt x="376" y="1239"/>
                  </a:lnTo>
                  <a:lnTo>
                    <a:pt x="396" y="1254"/>
                  </a:lnTo>
                  <a:lnTo>
                    <a:pt x="418" y="1270"/>
                  </a:lnTo>
                  <a:lnTo>
                    <a:pt x="442" y="1285"/>
                  </a:lnTo>
                  <a:lnTo>
                    <a:pt x="467" y="1299"/>
                  </a:lnTo>
                  <a:lnTo>
                    <a:pt x="519" y="1327"/>
                  </a:lnTo>
                  <a:lnTo>
                    <a:pt x="565" y="1350"/>
                  </a:lnTo>
                  <a:lnTo>
                    <a:pt x="585" y="1361"/>
                  </a:lnTo>
                  <a:lnTo>
                    <a:pt x="601" y="1370"/>
                  </a:lnTo>
                  <a:lnTo>
                    <a:pt x="601" y="1370"/>
                  </a:lnTo>
                  <a:lnTo>
                    <a:pt x="608" y="1375"/>
                  </a:lnTo>
                  <a:lnTo>
                    <a:pt x="611" y="1379"/>
                  </a:lnTo>
                  <a:lnTo>
                    <a:pt x="613" y="1382"/>
                  </a:lnTo>
                  <a:lnTo>
                    <a:pt x="611" y="1385"/>
                  </a:lnTo>
                  <a:lnTo>
                    <a:pt x="608" y="1387"/>
                  </a:lnTo>
                  <a:lnTo>
                    <a:pt x="604" y="1389"/>
                  </a:lnTo>
                  <a:lnTo>
                    <a:pt x="598" y="1390"/>
                  </a:lnTo>
                  <a:lnTo>
                    <a:pt x="598" y="1390"/>
                  </a:lnTo>
                  <a:lnTo>
                    <a:pt x="588" y="1390"/>
                  </a:lnTo>
                  <a:lnTo>
                    <a:pt x="576" y="1388"/>
                  </a:lnTo>
                  <a:lnTo>
                    <a:pt x="561" y="1385"/>
                  </a:lnTo>
                  <a:lnTo>
                    <a:pt x="545" y="1380"/>
                  </a:lnTo>
                  <a:lnTo>
                    <a:pt x="509" y="1369"/>
                  </a:lnTo>
                  <a:lnTo>
                    <a:pt x="469" y="1354"/>
                  </a:lnTo>
                  <a:lnTo>
                    <a:pt x="387" y="1323"/>
                  </a:lnTo>
                  <a:lnTo>
                    <a:pt x="349" y="1307"/>
                  </a:lnTo>
                  <a:lnTo>
                    <a:pt x="314" y="1296"/>
                  </a:lnTo>
                  <a:lnTo>
                    <a:pt x="314" y="1296"/>
                  </a:lnTo>
                  <a:lnTo>
                    <a:pt x="303" y="1293"/>
                  </a:lnTo>
                  <a:lnTo>
                    <a:pt x="292" y="1291"/>
                  </a:lnTo>
                  <a:lnTo>
                    <a:pt x="283" y="1291"/>
                  </a:lnTo>
                  <a:lnTo>
                    <a:pt x="275" y="1292"/>
                  </a:lnTo>
                  <a:lnTo>
                    <a:pt x="268" y="1294"/>
                  </a:lnTo>
                  <a:lnTo>
                    <a:pt x="262" y="1297"/>
                  </a:lnTo>
                  <a:lnTo>
                    <a:pt x="257" y="1300"/>
                  </a:lnTo>
                  <a:lnTo>
                    <a:pt x="253" y="1303"/>
                  </a:lnTo>
                  <a:lnTo>
                    <a:pt x="244" y="1312"/>
                  </a:lnTo>
                  <a:lnTo>
                    <a:pt x="238" y="1319"/>
                  </a:lnTo>
                  <a:lnTo>
                    <a:pt x="234" y="1324"/>
                  </a:lnTo>
                  <a:lnTo>
                    <a:pt x="231" y="1325"/>
                  </a:lnTo>
                  <a:lnTo>
                    <a:pt x="229" y="1326"/>
                  </a:lnTo>
                  <a:lnTo>
                    <a:pt x="229" y="1326"/>
                  </a:lnTo>
                  <a:lnTo>
                    <a:pt x="220" y="1325"/>
                  </a:lnTo>
                  <a:lnTo>
                    <a:pt x="210" y="1324"/>
                  </a:lnTo>
                  <a:lnTo>
                    <a:pt x="198" y="1325"/>
                  </a:lnTo>
                  <a:lnTo>
                    <a:pt x="188" y="1325"/>
                  </a:lnTo>
                  <a:lnTo>
                    <a:pt x="166" y="1329"/>
                  </a:lnTo>
                  <a:lnTo>
                    <a:pt x="143" y="1335"/>
                  </a:lnTo>
                  <a:lnTo>
                    <a:pt x="121" y="1343"/>
                  </a:lnTo>
                  <a:lnTo>
                    <a:pt x="98" y="1353"/>
                  </a:lnTo>
                  <a:lnTo>
                    <a:pt x="77" y="1367"/>
                  </a:lnTo>
                  <a:lnTo>
                    <a:pt x="66" y="1374"/>
                  </a:lnTo>
                  <a:lnTo>
                    <a:pt x="57" y="1381"/>
                  </a:lnTo>
                  <a:lnTo>
                    <a:pt x="48" y="1389"/>
                  </a:lnTo>
                  <a:lnTo>
                    <a:pt x="40" y="1397"/>
                  </a:lnTo>
                  <a:lnTo>
                    <a:pt x="32" y="1407"/>
                  </a:lnTo>
                  <a:lnTo>
                    <a:pt x="25" y="1416"/>
                  </a:lnTo>
                  <a:lnTo>
                    <a:pt x="18" y="1426"/>
                  </a:lnTo>
                  <a:lnTo>
                    <a:pt x="12" y="1435"/>
                  </a:lnTo>
                  <a:lnTo>
                    <a:pt x="8" y="1446"/>
                  </a:lnTo>
                  <a:lnTo>
                    <a:pt x="4" y="1458"/>
                  </a:lnTo>
                  <a:lnTo>
                    <a:pt x="2" y="1469"/>
                  </a:lnTo>
                  <a:lnTo>
                    <a:pt x="0" y="1480"/>
                  </a:lnTo>
                  <a:lnTo>
                    <a:pt x="0" y="1492"/>
                  </a:lnTo>
                  <a:lnTo>
                    <a:pt x="0" y="1505"/>
                  </a:lnTo>
                  <a:lnTo>
                    <a:pt x="3" y="1518"/>
                  </a:lnTo>
                  <a:lnTo>
                    <a:pt x="6" y="1530"/>
                  </a:lnTo>
                  <a:lnTo>
                    <a:pt x="11" y="1544"/>
                  </a:lnTo>
                  <a:lnTo>
                    <a:pt x="17" y="1558"/>
                  </a:lnTo>
                  <a:lnTo>
                    <a:pt x="17" y="1558"/>
                  </a:lnTo>
                  <a:lnTo>
                    <a:pt x="20" y="1553"/>
                  </a:lnTo>
                  <a:lnTo>
                    <a:pt x="30" y="1540"/>
                  </a:lnTo>
                  <a:lnTo>
                    <a:pt x="45" y="1521"/>
                  </a:lnTo>
                  <a:lnTo>
                    <a:pt x="53" y="1511"/>
                  </a:lnTo>
                  <a:lnTo>
                    <a:pt x="63" y="1501"/>
                  </a:lnTo>
                  <a:lnTo>
                    <a:pt x="75" y="1490"/>
                  </a:lnTo>
                  <a:lnTo>
                    <a:pt x="86" y="1481"/>
                  </a:lnTo>
                  <a:lnTo>
                    <a:pt x="98" y="1473"/>
                  </a:lnTo>
                  <a:lnTo>
                    <a:pt x="111" y="1466"/>
                  </a:lnTo>
                  <a:lnTo>
                    <a:pt x="125" y="1461"/>
                  </a:lnTo>
                  <a:lnTo>
                    <a:pt x="131" y="1459"/>
                  </a:lnTo>
                  <a:lnTo>
                    <a:pt x="138" y="1458"/>
                  </a:lnTo>
                  <a:lnTo>
                    <a:pt x="145" y="1458"/>
                  </a:lnTo>
                  <a:lnTo>
                    <a:pt x="151" y="1458"/>
                  </a:lnTo>
                  <a:lnTo>
                    <a:pt x="159" y="1459"/>
                  </a:lnTo>
                  <a:lnTo>
                    <a:pt x="166" y="1461"/>
                  </a:lnTo>
                  <a:lnTo>
                    <a:pt x="166" y="1461"/>
                  </a:lnTo>
                  <a:lnTo>
                    <a:pt x="171" y="1463"/>
                  </a:lnTo>
                  <a:lnTo>
                    <a:pt x="174" y="1467"/>
                  </a:lnTo>
                  <a:lnTo>
                    <a:pt x="175" y="1473"/>
                  </a:lnTo>
                  <a:lnTo>
                    <a:pt x="176" y="1479"/>
                  </a:lnTo>
                  <a:lnTo>
                    <a:pt x="176" y="1496"/>
                  </a:lnTo>
                  <a:lnTo>
                    <a:pt x="174" y="1514"/>
                  </a:lnTo>
                  <a:lnTo>
                    <a:pt x="174" y="1524"/>
                  </a:lnTo>
                  <a:lnTo>
                    <a:pt x="174" y="1534"/>
                  </a:lnTo>
                  <a:lnTo>
                    <a:pt x="176" y="1545"/>
                  </a:lnTo>
                  <a:lnTo>
                    <a:pt x="178" y="1554"/>
                  </a:lnTo>
                  <a:lnTo>
                    <a:pt x="182" y="1564"/>
                  </a:lnTo>
                  <a:lnTo>
                    <a:pt x="187" y="1573"/>
                  </a:lnTo>
                  <a:lnTo>
                    <a:pt x="195" y="1581"/>
                  </a:lnTo>
                  <a:lnTo>
                    <a:pt x="205" y="1589"/>
                  </a:lnTo>
                  <a:lnTo>
                    <a:pt x="205" y="1589"/>
                  </a:lnTo>
                  <a:lnTo>
                    <a:pt x="213" y="1593"/>
                  </a:lnTo>
                  <a:lnTo>
                    <a:pt x="221" y="1596"/>
                  </a:lnTo>
                  <a:lnTo>
                    <a:pt x="231" y="1599"/>
                  </a:lnTo>
                  <a:lnTo>
                    <a:pt x="242" y="1600"/>
                  </a:lnTo>
                  <a:lnTo>
                    <a:pt x="254" y="1602"/>
                  </a:lnTo>
                  <a:lnTo>
                    <a:pt x="267" y="1602"/>
                  </a:lnTo>
                  <a:lnTo>
                    <a:pt x="293" y="1602"/>
                  </a:lnTo>
                  <a:lnTo>
                    <a:pt x="323" y="1600"/>
                  </a:lnTo>
                  <a:lnTo>
                    <a:pt x="354" y="1597"/>
                  </a:lnTo>
                  <a:lnTo>
                    <a:pt x="418" y="1589"/>
                  </a:lnTo>
                  <a:lnTo>
                    <a:pt x="481" y="1580"/>
                  </a:lnTo>
                  <a:lnTo>
                    <a:pt x="510" y="1576"/>
                  </a:lnTo>
                  <a:lnTo>
                    <a:pt x="538" y="1574"/>
                  </a:lnTo>
                  <a:lnTo>
                    <a:pt x="562" y="1573"/>
                  </a:lnTo>
                  <a:lnTo>
                    <a:pt x="583" y="1574"/>
                  </a:lnTo>
                  <a:lnTo>
                    <a:pt x="592" y="1575"/>
                  </a:lnTo>
                  <a:lnTo>
                    <a:pt x="600" y="1577"/>
                  </a:lnTo>
                  <a:lnTo>
                    <a:pt x="607" y="1580"/>
                  </a:lnTo>
                  <a:lnTo>
                    <a:pt x="613" y="1585"/>
                  </a:lnTo>
                  <a:lnTo>
                    <a:pt x="613" y="1585"/>
                  </a:lnTo>
                  <a:lnTo>
                    <a:pt x="616" y="1588"/>
                  </a:lnTo>
                  <a:lnTo>
                    <a:pt x="617" y="1591"/>
                  </a:lnTo>
                  <a:lnTo>
                    <a:pt x="616" y="1593"/>
                  </a:lnTo>
                  <a:lnTo>
                    <a:pt x="611" y="1596"/>
                  </a:lnTo>
                  <a:lnTo>
                    <a:pt x="607" y="1598"/>
                  </a:lnTo>
                  <a:lnTo>
                    <a:pt x="600" y="1601"/>
                  </a:lnTo>
                  <a:lnTo>
                    <a:pt x="583" y="1605"/>
                  </a:lnTo>
                  <a:lnTo>
                    <a:pt x="560" y="1609"/>
                  </a:lnTo>
                  <a:lnTo>
                    <a:pt x="535" y="1612"/>
                  </a:lnTo>
                  <a:lnTo>
                    <a:pt x="474" y="1620"/>
                  </a:lnTo>
                  <a:lnTo>
                    <a:pt x="443" y="1624"/>
                  </a:lnTo>
                  <a:lnTo>
                    <a:pt x="412" y="1629"/>
                  </a:lnTo>
                  <a:lnTo>
                    <a:pt x="382" y="1636"/>
                  </a:lnTo>
                  <a:lnTo>
                    <a:pt x="356" y="1642"/>
                  </a:lnTo>
                  <a:lnTo>
                    <a:pt x="344" y="1646"/>
                  </a:lnTo>
                  <a:lnTo>
                    <a:pt x="332" y="1650"/>
                  </a:lnTo>
                  <a:lnTo>
                    <a:pt x="322" y="1654"/>
                  </a:lnTo>
                  <a:lnTo>
                    <a:pt x="314" y="1659"/>
                  </a:lnTo>
                  <a:lnTo>
                    <a:pt x="307" y="1664"/>
                  </a:lnTo>
                  <a:lnTo>
                    <a:pt x="302" y="1669"/>
                  </a:lnTo>
                  <a:lnTo>
                    <a:pt x="298" y="1676"/>
                  </a:lnTo>
                  <a:lnTo>
                    <a:pt x="296" y="1682"/>
                  </a:lnTo>
                  <a:lnTo>
                    <a:pt x="296" y="1682"/>
                  </a:lnTo>
                  <a:lnTo>
                    <a:pt x="295" y="1687"/>
                  </a:lnTo>
                  <a:lnTo>
                    <a:pt x="295" y="1696"/>
                  </a:lnTo>
                  <a:lnTo>
                    <a:pt x="296" y="1707"/>
                  </a:lnTo>
                  <a:lnTo>
                    <a:pt x="298" y="1713"/>
                  </a:lnTo>
                  <a:lnTo>
                    <a:pt x="300" y="1718"/>
                  </a:lnTo>
                  <a:lnTo>
                    <a:pt x="300" y="1718"/>
                  </a:lnTo>
                  <a:lnTo>
                    <a:pt x="301" y="1725"/>
                  </a:lnTo>
                  <a:lnTo>
                    <a:pt x="301" y="1731"/>
                  </a:lnTo>
                  <a:lnTo>
                    <a:pt x="298" y="1737"/>
                  </a:lnTo>
                  <a:lnTo>
                    <a:pt x="293" y="1743"/>
                  </a:lnTo>
                  <a:lnTo>
                    <a:pt x="283" y="1757"/>
                  </a:lnTo>
                  <a:lnTo>
                    <a:pt x="269" y="1775"/>
                  </a:lnTo>
                  <a:lnTo>
                    <a:pt x="261" y="1785"/>
                  </a:lnTo>
                  <a:lnTo>
                    <a:pt x="254" y="1795"/>
                  </a:lnTo>
                  <a:lnTo>
                    <a:pt x="246" y="1807"/>
                  </a:lnTo>
                  <a:lnTo>
                    <a:pt x="240" y="1820"/>
                  </a:lnTo>
                  <a:lnTo>
                    <a:pt x="234" y="1834"/>
                  </a:lnTo>
                  <a:lnTo>
                    <a:pt x="230" y="1849"/>
                  </a:lnTo>
                  <a:lnTo>
                    <a:pt x="226" y="1866"/>
                  </a:lnTo>
                  <a:lnTo>
                    <a:pt x="225" y="1884"/>
                  </a:lnTo>
                  <a:lnTo>
                    <a:pt x="225" y="1884"/>
                  </a:lnTo>
                  <a:lnTo>
                    <a:pt x="225" y="1893"/>
                  </a:lnTo>
                  <a:lnTo>
                    <a:pt x="225" y="1902"/>
                  </a:lnTo>
                  <a:lnTo>
                    <a:pt x="228" y="1920"/>
                  </a:lnTo>
                  <a:lnTo>
                    <a:pt x="233" y="1937"/>
                  </a:lnTo>
                  <a:lnTo>
                    <a:pt x="239" y="1953"/>
                  </a:lnTo>
                  <a:lnTo>
                    <a:pt x="247" y="1968"/>
                  </a:lnTo>
                  <a:lnTo>
                    <a:pt x="257" y="1982"/>
                  </a:lnTo>
                  <a:lnTo>
                    <a:pt x="267" y="1995"/>
                  </a:lnTo>
                  <a:lnTo>
                    <a:pt x="277" y="2007"/>
                  </a:lnTo>
                  <a:lnTo>
                    <a:pt x="287" y="2017"/>
                  </a:lnTo>
                  <a:lnTo>
                    <a:pt x="298" y="2026"/>
                  </a:lnTo>
                  <a:lnTo>
                    <a:pt x="315" y="2042"/>
                  </a:lnTo>
                  <a:lnTo>
                    <a:pt x="327" y="2050"/>
                  </a:lnTo>
                  <a:lnTo>
                    <a:pt x="332" y="2054"/>
                  </a:lnTo>
                  <a:lnTo>
                    <a:pt x="332" y="2054"/>
                  </a:lnTo>
                  <a:lnTo>
                    <a:pt x="334" y="2050"/>
                  </a:lnTo>
                  <a:lnTo>
                    <a:pt x="335" y="2045"/>
                  </a:lnTo>
                  <a:lnTo>
                    <a:pt x="335" y="2036"/>
                  </a:lnTo>
                  <a:lnTo>
                    <a:pt x="334" y="2027"/>
                  </a:lnTo>
                  <a:lnTo>
                    <a:pt x="331" y="2006"/>
                  </a:lnTo>
                  <a:lnTo>
                    <a:pt x="328" y="1980"/>
                  </a:lnTo>
                  <a:lnTo>
                    <a:pt x="327" y="1968"/>
                  </a:lnTo>
                  <a:lnTo>
                    <a:pt x="326" y="1955"/>
                  </a:lnTo>
                  <a:lnTo>
                    <a:pt x="326" y="1943"/>
                  </a:lnTo>
                  <a:lnTo>
                    <a:pt x="328" y="1932"/>
                  </a:lnTo>
                  <a:lnTo>
                    <a:pt x="330" y="1922"/>
                  </a:lnTo>
                  <a:lnTo>
                    <a:pt x="334" y="1913"/>
                  </a:lnTo>
                  <a:lnTo>
                    <a:pt x="337" y="1910"/>
                  </a:lnTo>
                  <a:lnTo>
                    <a:pt x="341" y="1906"/>
                  </a:lnTo>
                  <a:lnTo>
                    <a:pt x="344" y="1904"/>
                  </a:lnTo>
                  <a:lnTo>
                    <a:pt x="348" y="1901"/>
                  </a:lnTo>
                  <a:lnTo>
                    <a:pt x="348" y="1901"/>
                  </a:lnTo>
                  <a:lnTo>
                    <a:pt x="353" y="1900"/>
                  </a:lnTo>
                  <a:lnTo>
                    <a:pt x="357" y="1900"/>
                  </a:lnTo>
                  <a:lnTo>
                    <a:pt x="362" y="1901"/>
                  </a:lnTo>
                  <a:lnTo>
                    <a:pt x="366" y="1905"/>
                  </a:lnTo>
                  <a:lnTo>
                    <a:pt x="375" y="1912"/>
                  </a:lnTo>
                  <a:lnTo>
                    <a:pt x="386" y="1921"/>
                  </a:lnTo>
                  <a:lnTo>
                    <a:pt x="397" y="1932"/>
                  </a:lnTo>
                  <a:lnTo>
                    <a:pt x="410" y="1941"/>
                  </a:lnTo>
                  <a:lnTo>
                    <a:pt x="417" y="1946"/>
                  </a:lnTo>
                  <a:lnTo>
                    <a:pt x="424" y="1950"/>
                  </a:lnTo>
                  <a:lnTo>
                    <a:pt x="434" y="1953"/>
                  </a:lnTo>
                  <a:lnTo>
                    <a:pt x="442" y="1955"/>
                  </a:lnTo>
                  <a:lnTo>
                    <a:pt x="442" y="1955"/>
                  </a:lnTo>
                  <a:lnTo>
                    <a:pt x="451" y="1955"/>
                  </a:lnTo>
                  <a:lnTo>
                    <a:pt x="460" y="1955"/>
                  </a:lnTo>
                  <a:lnTo>
                    <a:pt x="468" y="1954"/>
                  </a:lnTo>
                  <a:lnTo>
                    <a:pt x="478" y="1952"/>
                  </a:lnTo>
                  <a:lnTo>
                    <a:pt x="486" y="1948"/>
                  </a:lnTo>
                  <a:lnTo>
                    <a:pt x="494" y="1944"/>
                  </a:lnTo>
                  <a:lnTo>
                    <a:pt x="501" y="1940"/>
                  </a:lnTo>
                  <a:lnTo>
                    <a:pt x="509" y="1935"/>
                  </a:lnTo>
                  <a:lnTo>
                    <a:pt x="525" y="1923"/>
                  </a:lnTo>
                  <a:lnTo>
                    <a:pt x="539" y="1909"/>
                  </a:lnTo>
                  <a:lnTo>
                    <a:pt x="554" y="1892"/>
                  </a:lnTo>
                  <a:lnTo>
                    <a:pt x="571" y="1875"/>
                  </a:lnTo>
                  <a:lnTo>
                    <a:pt x="604" y="1836"/>
                  </a:lnTo>
                  <a:lnTo>
                    <a:pt x="624" y="1817"/>
                  </a:lnTo>
                  <a:lnTo>
                    <a:pt x="644" y="1797"/>
                  </a:lnTo>
                  <a:lnTo>
                    <a:pt x="667" y="1777"/>
                  </a:lnTo>
                  <a:lnTo>
                    <a:pt x="691" y="1758"/>
                  </a:lnTo>
                  <a:lnTo>
                    <a:pt x="705" y="1749"/>
                  </a:lnTo>
                  <a:lnTo>
                    <a:pt x="718" y="1741"/>
                  </a:lnTo>
                  <a:lnTo>
                    <a:pt x="732" y="1733"/>
                  </a:lnTo>
                  <a:lnTo>
                    <a:pt x="747" y="1725"/>
                  </a:lnTo>
                  <a:lnTo>
                    <a:pt x="747" y="1725"/>
                  </a:lnTo>
                  <a:lnTo>
                    <a:pt x="787" y="1706"/>
                  </a:lnTo>
                  <a:lnTo>
                    <a:pt x="819" y="1694"/>
                  </a:lnTo>
                  <a:lnTo>
                    <a:pt x="831" y="1689"/>
                  </a:lnTo>
                  <a:lnTo>
                    <a:pt x="843" y="1686"/>
                  </a:lnTo>
                  <a:lnTo>
                    <a:pt x="852" y="1685"/>
                  </a:lnTo>
                  <a:lnTo>
                    <a:pt x="859" y="1684"/>
                  </a:lnTo>
                  <a:lnTo>
                    <a:pt x="865" y="1684"/>
                  </a:lnTo>
                  <a:lnTo>
                    <a:pt x="869" y="1686"/>
                  </a:lnTo>
                  <a:lnTo>
                    <a:pt x="872" y="1688"/>
                  </a:lnTo>
                  <a:lnTo>
                    <a:pt x="874" y="1691"/>
                  </a:lnTo>
                  <a:lnTo>
                    <a:pt x="876" y="1694"/>
                  </a:lnTo>
                  <a:lnTo>
                    <a:pt x="876" y="1698"/>
                  </a:lnTo>
                  <a:lnTo>
                    <a:pt x="875" y="1708"/>
                  </a:lnTo>
                  <a:lnTo>
                    <a:pt x="872" y="1720"/>
                  </a:lnTo>
                  <a:lnTo>
                    <a:pt x="868" y="1734"/>
                  </a:lnTo>
                  <a:lnTo>
                    <a:pt x="865" y="1747"/>
                  </a:lnTo>
                  <a:lnTo>
                    <a:pt x="863" y="1759"/>
                  </a:lnTo>
                  <a:lnTo>
                    <a:pt x="863" y="1765"/>
                  </a:lnTo>
                  <a:lnTo>
                    <a:pt x="863" y="1772"/>
                  </a:lnTo>
                  <a:lnTo>
                    <a:pt x="865" y="1777"/>
                  </a:lnTo>
                  <a:lnTo>
                    <a:pt x="867" y="1782"/>
                  </a:lnTo>
                  <a:lnTo>
                    <a:pt x="870" y="1786"/>
                  </a:lnTo>
                  <a:lnTo>
                    <a:pt x="875" y="1790"/>
                  </a:lnTo>
                  <a:lnTo>
                    <a:pt x="881" y="1793"/>
                  </a:lnTo>
                  <a:lnTo>
                    <a:pt x="889" y="1795"/>
                  </a:lnTo>
                  <a:lnTo>
                    <a:pt x="889" y="1795"/>
                  </a:lnTo>
                  <a:lnTo>
                    <a:pt x="901" y="1799"/>
                  </a:lnTo>
                  <a:lnTo>
                    <a:pt x="912" y="1802"/>
                  </a:lnTo>
                  <a:lnTo>
                    <a:pt x="921" y="1807"/>
                  </a:lnTo>
                  <a:lnTo>
                    <a:pt x="928" y="1811"/>
                  </a:lnTo>
                  <a:lnTo>
                    <a:pt x="935" y="1817"/>
                  </a:lnTo>
                  <a:lnTo>
                    <a:pt x="940" y="1822"/>
                  </a:lnTo>
                  <a:lnTo>
                    <a:pt x="943" y="1828"/>
                  </a:lnTo>
                  <a:lnTo>
                    <a:pt x="945" y="1834"/>
                  </a:lnTo>
                  <a:lnTo>
                    <a:pt x="947" y="1840"/>
                  </a:lnTo>
                  <a:lnTo>
                    <a:pt x="947" y="1846"/>
                  </a:lnTo>
                  <a:lnTo>
                    <a:pt x="946" y="1853"/>
                  </a:lnTo>
                  <a:lnTo>
                    <a:pt x="945" y="1860"/>
                  </a:lnTo>
                  <a:lnTo>
                    <a:pt x="943" y="1867"/>
                  </a:lnTo>
                  <a:lnTo>
                    <a:pt x="940" y="1874"/>
                  </a:lnTo>
                  <a:lnTo>
                    <a:pt x="932" y="1887"/>
                  </a:lnTo>
                  <a:lnTo>
                    <a:pt x="922" y="1900"/>
                  </a:lnTo>
                  <a:lnTo>
                    <a:pt x="912" y="1913"/>
                  </a:lnTo>
                  <a:lnTo>
                    <a:pt x="902" y="1924"/>
                  </a:lnTo>
                  <a:lnTo>
                    <a:pt x="892" y="1934"/>
                  </a:lnTo>
                  <a:lnTo>
                    <a:pt x="875" y="1948"/>
                  </a:lnTo>
                  <a:lnTo>
                    <a:pt x="869" y="1955"/>
                  </a:lnTo>
                  <a:lnTo>
                    <a:pt x="869" y="1955"/>
                  </a:lnTo>
                  <a:lnTo>
                    <a:pt x="877" y="1959"/>
                  </a:lnTo>
                  <a:lnTo>
                    <a:pt x="888" y="1961"/>
                  </a:lnTo>
                  <a:lnTo>
                    <a:pt x="899" y="1962"/>
                  </a:lnTo>
                  <a:lnTo>
                    <a:pt x="912" y="1961"/>
                  </a:lnTo>
                  <a:lnTo>
                    <a:pt x="926" y="1958"/>
                  </a:lnTo>
                  <a:lnTo>
                    <a:pt x="941" y="1954"/>
                  </a:lnTo>
                  <a:lnTo>
                    <a:pt x="957" y="1947"/>
                  </a:lnTo>
                  <a:lnTo>
                    <a:pt x="972" y="1939"/>
                  </a:lnTo>
                  <a:lnTo>
                    <a:pt x="989" y="1930"/>
                  </a:lnTo>
                  <a:lnTo>
                    <a:pt x="1004" y="1919"/>
                  </a:lnTo>
                  <a:lnTo>
                    <a:pt x="1019" y="1906"/>
                  </a:lnTo>
                  <a:lnTo>
                    <a:pt x="1035" y="1891"/>
                  </a:lnTo>
                  <a:lnTo>
                    <a:pt x="1048" y="1874"/>
                  </a:lnTo>
                  <a:lnTo>
                    <a:pt x="1061" y="1855"/>
                  </a:lnTo>
                  <a:lnTo>
                    <a:pt x="1073" y="1835"/>
                  </a:lnTo>
                  <a:lnTo>
                    <a:pt x="1083" y="1814"/>
                  </a:lnTo>
                  <a:lnTo>
                    <a:pt x="1083" y="1814"/>
                  </a:lnTo>
                  <a:lnTo>
                    <a:pt x="1086" y="1805"/>
                  </a:lnTo>
                  <a:lnTo>
                    <a:pt x="1089" y="1799"/>
                  </a:lnTo>
                  <a:lnTo>
                    <a:pt x="1092" y="1794"/>
                  </a:lnTo>
                  <a:lnTo>
                    <a:pt x="1096" y="1790"/>
                  </a:lnTo>
                  <a:lnTo>
                    <a:pt x="1100" y="1787"/>
                  </a:lnTo>
                  <a:lnTo>
                    <a:pt x="1103" y="1784"/>
                  </a:lnTo>
                  <a:lnTo>
                    <a:pt x="1111" y="1781"/>
                  </a:lnTo>
                  <a:lnTo>
                    <a:pt x="1120" y="1778"/>
                  </a:lnTo>
                  <a:lnTo>
                    <a:pt x="1129" y="1774"/>
                  </a:lnTo>
                  <a:lnTo>
                    <a:pt x="1138" y="1768"/>
                  </a:lnTo>
                  <a:lnTo>
                    <a:pt x="1143" y="1763"/>
                  </a:lnTo>
                  <a:lnTo>
                    <a:pt x="1148" y="1758"/>
                  </a:lnTo>
                  <a:lnTo>
                    <a:pt x="1148" y="1758"/>
                  </a:lnTo>
                  <a:lnTo>
                    <a:pt x="1151" y="1752"/>
                  </a:lnTo>
                  <a:lnTo>
                    <a:pt x="1154" y="1746"/>
                  </a:lnTo>
                  <a:lnTo>
                    <a:pt x="1158" y="1740"/>
                  </a:lnTo>
                  <a:lnTo>
                    <a:pt x="1159" y="1734"/>
                  </a:lnTo>
                  <a:lnTo>
                    <a:pt x="1160" y="1719"/>
                  </a:lnTo>
                  <a:lnTo>
                    <a:pt x="1160" y="1705"/>
                  </a:lnTo>
                  <a:lnTo>
                    <a:pt x="1160" y="1690"/>
                  </a:lnTo>
                  <a:lnTo>
                    <a:pt x="1160" y="1676"/>
                  </a:lnTo>
                  <a:lnTo>
                    <a:pt x="1162" y="1661"/>
                  </a:lnTo>
                  <a:lnTo>
                    <a:pt x="1164" y="1655"/>
                  </a:lnTo>
                  <a:lnTo>
                    <a:pt x="1166" y="1649"/>
                  </a:lnTo>
                  <a:lnTo>
                    <a:pt x="1166" y="1649"/>
                  </a:lnTo>
                  <a:lnTo>
                    <a:pt x="1170" y="1643"/>
                  </a:lnTo>
                  <a:lnTo>
                    <a:pt x="1174" y="1638"/>
                  </a:lnTo>
                  <a:lnTo>
                    <a:pt x="1178" y="1633"/>
                  </a:lnTo>
                  <a:lnTo>
                    <a:pt x="1183" y="1628"/>
                  </a:lnTo>
                  <a:lnTo>
                    <a:pt x="1195" y="1620"/>
                  </a:lnTo>
                  <a:lnTo>
                    <a:pt x="1209" y="1614"/>
                  </a:lnTo>
                  <a:lnTo>
                    <a:pt x="1223" y="1609"/>
                  </a:lnTo>
                  <a:lnTo>
                    <a:pt x="1237" y="1605"/>
                  </a:lnTo>
                  <a:lnTo>
                    <a:pt x="1268" y="1597"/>
                  </a:lnTo>
                  <a:lnTo>
                    <a:pt x="1298" y="1591"/>
                  </a:lnTo>
                  <a:lnTo>
                    <a:pt x="1310" y="1587"/>
                  </a:lnTo>
                  <a:lnTo>
                    <a:pt x="1321" y="1581"/>
                  </a:lnTo>
                  <a:lnTo>
                    <a:pt x="1329" y="1575"/>
                  </a:lnTo>
                  <a:lnTo>
                    <a:pt x="1333" y="1572"/>
                  </a:lnTo>
                  <a:lnTo>
                    <a:pt x="1335" y="1568"/>
                  </a:lnTo>
                  <a:lnTo>
                    <a:pt x="1338" y="1564"/>
                  </a:lnTo>
                  <a:lnTo>
                    <a:pt x="1340" y="1559"/>
                  </a:lnTo>
                  <a:lnTo>
                    <a:pt x="1340" y="1554"/>
                  </a:lnTo>
                  <a:lnTo>
                    <a:pt x="1340" y="1549"/>
                  </a:lnTo>
                  <a:lnTo>
                    <a:pt x="1340" y="1549"/>
                  </a:lnTo>
                  <a:lnTo>
                    <a:pt x="1338" y="1534"/>
                  </a:lnTo>
                  <a:lnTo>
                    <a:pt x="1338" y="1521"/>
                  </a:lnTo>
                  <a:lnTo>
                    <a:pt x="1341" y="1509"/>
                  </a:lnTo>
                  <a:lnTo>
                    <a:pt x="1345" y="1499"/>
                  </a:lnTo>
                  <a:lnTo>
                    <a:pt x="1350" y="1488"/>
                  </a:lnTo>
                  <a:lnTo>
                    <a:pt x="1355" y="1480"/>
                  </a:lnTo>
                  <a:lnTo>
                    <a:pt x="1362" y="1472"/>
                  </a:lnTo>
                  <a:lnTo>
                    <a:pt x="1370" y="1465"/>
                  </a:lnTo>
                  <a:lnTo>
                    <a:pt x="1378" y="1459"/>
                  </a:lnTo>
                  <a:lnTo>
                    <a:pt x="1388" y="1453"/>
                  </a:lnTo>
                  <a:lnTo>
                    <a:pt x="1406" y="1443"/>
                  </a:lnTo>
                  <a:lnTo>
                    <a:pt x="1424" y="1435"/>
                  </a:lnTo>
                  <a:lnTo>
                    <a:pt x="1441" y="1428"/>
                  </a:lnTo>
                  <a:lnTo>
                    <a:pt x="1441" y="1428"/>
                  </a:lnTo>
                  <a:lnTo>
                    <a:pt x="1443" y="1428"/>
                  </a:lnTo>
                  <a:lnTo>
                    <a:pt x="1444" y="1429"/>
                  </a:lnTo>
                  <a:lnTo>
                    <a:pt x="1447" y="1431"/>
                  </a:lnTo>
                  <a:lnTo>
                    <a:pt x="1449" y="1436"/>
                  </a:lnTo>
                  <a:lnTo>
                    <a:pt x="1453" y="1443"/>
                  </a:lnTo>
                  <a:lnTo>
                    <a:pt x="1461" y="1462"/>
                  </a:lnTo>
                  <a:lnTo>
                    <a:pt x="1467" y="1473"/>
                  </a:lnTo>
                  <a:lnTo>
                    <a:pt x="1474" y="1485"/>
                  </a:lnTo>
                  <a:lnTo>
                    <a:pt x="1484" y="1498"/>
                  </a:lnTo>
                  <a:lnTo>
                    <a:pt x="1494" y="1511"/>
                  </a:lnTo>
                  <a:lnTo>
                    <a:pt x="1506" y="1525"/>
                  </a:lnTo>
                  <a:lnTo>
                    <a:pt x="1522" y="1539"/>
                  </a:lnTo>
                  <a:lnTo>
                    <a:pt x="1539" y="1552"/>
                  </a:lnTo>
                  <a:lnTo>
                    <a:pt x="1559" y="1564"/>
                  </a:lnTo>
                  <a:lnTo>
                    <a:pt x="1583" y="1576"/>
                  </a:lnTo>
                  <a:lnTo>
                    <a:pt x="1609" y="1587"/>
                  </a:lnTo>
                  <a:lnTo>
                    <a:pt x="1609" y="1587"/>
                  </a:lnTo>
                  <a:lnTo>
                    <a:pt x="1684" y="1556"/>
                  </a:lnTo>
                  <a:lnTo>
                    <a:pt x="1730" y="1534"/>
                  </a:lnTo>
                  <a:lnTo>
                    <a:pt x="1757" y="1521"/>
                  </a:lnTo>
                  <a:lnTo>
                    <a:pt x="1786" y="1506"/>
                  </a:lnTo>
                  <a:lnTo>
                    <a:pt x="1786" y="1506"/>
                  </a:lnTo>
                  <a:lnTo>
                    <a:pt x="1818" y="1489"/>
                  </a:lnTo>
                  <a:lnTo>
                    <a:pt x="1848" y="1472"/>
                  </a:lnTo>
                  <a:lnTo>
                    <a:pt x="1860" y="1464"/>
                  </a:lnTo>
                  <a:lnTo>
                    <a:pt x="1871" y="1457"/>
                  </a:lnTo>
                  <a:lnTo>
                    <a:pt x="1881" y="1449"/>
                  </a:lnTo>
                  <a:lnTo>
                    <a:pt x="1889" y="1442"/>
                  </a:lnTo>
                  <a:lnTo>
                    <a:pt x="1889" y="1442"/>
                  </a:lnTo>
                  <a:lnTo>
                    <a:pt x="1888" y="1440"/>
                  </a:lnTo>
                  <a:lnTo>
                    <a:pt x="1887" y="1438"/>
                  </a:lnTo>
                  <a:lnTo>
                    <a:pt x="1879" y="1431"/>
                  </a:lnTo>
                  <a:lnTo>
                    <a:pt x="1868" y="1420"/>
                  </a:lnTo>
                  <a:lnTo>
                    <a:pt x="1855" y="1406"/>
                  </a:lnTo>
                  <a:lnTo>
                    <a:pt x="1840" y="1388"/>
                  </a:lnTo>
                  <a:lnTo>
                    <a:pt x="1825" y="1369"/>
                  </a:lnTo>
                  <a:lnTo>
                    <a:pt x="1818" y="1358"/>
                  </a:lnTo>
                  <a:lnTo>
                    <a:pt x="1812" y="1345"/>
                  </a:lnTo>
                  <a:lnTo>
                    <a:pt x="1807" y="1334"/>
                  </a:lnTo>
                  <a:lnTo>
                    <a:pt x="1802" y="1321"/>
                  </a:lnTo>
                  <a:lnTo>
                    <a:pt x="1802" y="1321"/>
                  </a:lnTo>
                  <a:lnTo>
                    <a:pt x="1799" y="1308"/>
                  </a:lnTo>
                  <a:lnTo>
                    <a:pt x="1796" y="1297"/>
                  </a:lnTo>
                  <a:lnTo>
                    <a:pt x="1794" y="1288"/>
                  </a:lnTo>
                  <a:lnTo>
                    <a:pt x="1794" y="1279"/>
                  </a:lnTo>
                  <a:lnTo>
                    <a:pt x="1794" y="1272"/>
                  </a:lnTo>
                  <a:lnTo>
                    <a:pt x="1794" y="1267"/>
                  </a:lnTo>
                  <a:lnTo>
                    <a:pt x="1795" y="1263"/>
                  </a:lnTo>
                  <a:lnTo>
                    <a:pt x="1796" y="1261"/>
                  </a:lnTo>
                  <a:lnTo>
                    <a:pt x="1796" y="1261"/>
                  </a:lnTo>
                  <a:lnTo>
                    <a:pt x="1809" y="1278"/>
                  </a:lnTo>
                  <a:lnTo>
                    <a:pt x="1824" y="1295"/>
                  </a:lnTo>
                  <a:lnTo>
                    <a:pt x="1845" y="1316"/>
                  </a:lnTo>
                  <a:lnTo>
                    <a:pt x="1857" y="1327"/>
                  </a:lnTo>
                  <a:lnTo>
                    <a:pt x="1869" y="1338"/>
                  </a:lnTo>
                  <a:lnTo>
                    <a:pt x="1883" y="1349"/>
                  </a:lnTo>
                  <a:lnTo>
                    <a:pt x="1899" y="1361"/>
                  </a:lnTo>
                  <a:lnTo>
                    <a:pt x="1915" y="1372"/>
                  </a:lnTo>
                  <a:lnTo>
                    <a:pt x="1932" y="1381"/>
                  </a:lnTo>
                  <a:lnTo>
                    <a:pt x="1949" y="1390"/>
                  </a:lnTo>
                  <a:lnTo>
                    <a:pt x="1967" y="1398"/>
                  </a:lnTo>
                  <a:lnTo>
                    <a:pt x="1967" y="1398"/>
                  </a:lnTo>
                  <a:lnTo>
                    <a:pt x="2021" y="1370"/>
                  </a:lnTo>
                  <a:lnTo>
                    <a:pt x="2075" y="1340"/>
                  </a:lnTo>
                  <a:lnTo>
                    <a:pt x="2129" y="1307"/>
                  </a:lnTo>
                  <a:lnTo>
                    <a:pt x="2183" y="1273"/>
                  </a:lnTo>
                  <a:lnTo>
                    <a:pt x="2183" y="1273"/>
                  </a:lnTo>
                  <a:lnTo>
                    <a:pt x="2218" y="1249"/>
                  </a:lnTo>
                  <a:lnTo>
                    <a:pt x="2218" y="1249"/>
                  </a:lnTo>
                  <a:lnTo>
                    <a:pt x="2219" y="1248"/>
                  </a:lnTo>
                  <a:lnTo>
                    <a:pt x="2219" y="1248"/>
                  </a:lnTo>
                  <a:lnTo>
                    <a:pt x="2220" y="1246"/>
                  </a:lnTo>
                  <a:lnTo>
                    <a:pt x="2219" y="1244"/>
                  </a:lnTo>
                  <a:lnTo>
                    <a:pt x="2215" y="1237"/>
                  </a:lnTo>
                  <a:lnTo>
                    <a:pt x="2207" y="1228"/>
                  </a:lnTo>
                  <a:lnTo>
                    <a:pt x="2196" y="1217"/>
                  </a:lnTo>
                  <a:lnTo>
                    <a:pt x="2171" y="1193"/>
                  </a:lnTo>
                  <a:lnTo>
                    <a:pt x="2142" y="1164"/>
                  </a:lnTo>
                  <a:lnTo>
                    <a:pt x="2129" y="1150"/>
                  </a:lnTo>
                  <a:lnTo>
                    <a:pt x="2118" y="1136"/>
                  </a:lnTo>
                  <a:lnTo>
                    <a:pt x="2108" y="1121"/>
                  </a:lnTo>
                  <a:lnTo>
                    <a:pt x="2104" y="1114"/>
                  </a:lnTo>
                  <a:lnTo>
                    <a:pt x="2101" y="1108"/>
                  </a:lnTo>
                  <a:lnTo>
                    <a:pt x="2100" y="1101"/>
                  </a:lnTo>
                  <a:lnTo>
                    <a:pt x="2099" y="1095"/>
                  </a:lnTo>
                  <a:lnTo>
                    <a:pt x="2099" y="1089"/>
                  </a:lnTo>
                  <a:lnTo>
                    <a:pt x="2100" y="1084"/>
                  </a:lnTo>
                  <a:lnTo>
                    <a:pt x="2102" y="1078"/>
                  </a:lnTo>
                  <a:lnTo>
                    <a:pt x="2106" y="1073"/>
                  </a:lnTo>
                  <a:lnTo>
                    <a:pt x="2112" y="1069"/>
                  </a:lnTo>
                  <a:lnTo>
                    <a:pt x="2119" y="1065"/>
                  </a:lnTo>
                  <a:lnTo>
                    <a:pt x="2119" y="1065"/>
                  </a:lnTo>
                  <a:lnTo>
                    <a:pt x="2125" y="1061"/>
                  </a:lnTo>
                  <a:lnTo>
                    <a:pt x="2130" y="1056"/>
                  </a:lnTo>
                  <a:lnTo>
                    <a:pt x="2133" y="1051"/>
                  </a:lnTo>
                  <a:lnTo>
                    <a:pt x="2135" y="1045"/>
                  </a:lnTo>
                  <a:lnTo>
                    <a:pt x="2136" y="1039"/>
                  </a:lnTo>
                  <a:lnTo>
                    <a:pt x="2136" y="1030"/>
                  </a:lnTo>
                  <a:lnTo>
                    <a:pt x="2136" y="1023"/>
                  </a:lnTo>
                  <a:lnTo>
                    <a:pt x="2134" y="1014"/>
                  </a:lnTo>
                  <a:lnTo>
                    <a:pt x="2129" y="997"/>
                  </a:lnTo>
                  <a:lnTo>
                    <a:pt x="2121" y="977"/>
                  </a:lnTo>
                  <a:lnTo>
                    <a:pt x="2102" y="935"/>
                  </a:lnTo>
                  <a:lnTo>
                    <a:pt x="2093" y="914"/>
                  </a:lnTo>
                  <a:lnTo>
                    <a:pt x="2085" y="893"/>
                  </a:lnTo>
                  <a:lnTo>
                    <a:pt x="2078" y="873"/>
                  </a:lnTo>
                  <a:lnTo>
                    <a:pt x="2076" y="863"/>
                  </a:lnTo>
                  <a:lnTo>
                    <a:pt x="2074" y="853"/>
                  </a:lnTo>
                  <a:lnTo>
                    <a:pt x="2074" y="844"/>
                  </a:lnTo>
                  <a:lnTo>
                    <a:pt x="2074" y="836"/>
                  </a:lnTo>
                  <a:lnTo>
                    <a:pt x="2075" y="828"/>
                  </a:lnTo>
                  <a:lnTo>
                    <a:pt x="2077" y="821"/>
                  </a:lnTo>
                  <a:lnTo>
                    <a:pt x="2080" y="814"/>
                  </a:lnTo>
                  <a:lnTo>
                    <a:pt x="2085" y="807"/>
                  </a:lnTo>
                  <a:lnTo>
                    <a:pt x="2091" y="801"/>
                  </a:lnTo>
                  <a:lnTo>
                    <a:pt x="2099" y="797"/>
                  </a:lnTo>
                  <a:lnTo>
                    <a:pt x="2099" y="797"/>
                  </a:lnTo>
                  <a:lnTo>
                    <a:pt x="2200" y="744"/>
                  </a:lnTo>
                  <a:lnTo>
                    <a:pt x="2306" y="693"/>
                  </a:lnTo>
                  <a:lnTo>
                    <a:pt x="2410" y="642"/>
                  </a:lnTo>
                  <a:lnTo>
                    <a:pt x="2513" y="592"/>
                  </a:lnTo>
                  <a:lnTo>
                    <a:pt x="2705" y="501"/>
                  </a:lnTo>
                  <a:lnTo>
                    <a:pt x="2788" y="461"/>
                  </a:lnTo>
                  <a:lnTo>
                    <a:pt x="2863" y="424"/>
                  </a:lnTo>
                  <a:lnTo>
                    <a:pt x="2863" y="424"/>
                  </a:lnTo>
                  <a:lnTo>
                    <a:pt x="2859" y="408"/>
                  </a:lnTo>
                  <a:lnTo>
                    <a:pt x="2853" y="389"/>
                  </a:lnTo>
                  <a:lnTo>
                    <a:pt x="2843" y="366"/>
                  </a:lnTo>
                  <a:lnTo>
                    <a:pt x="2836" y="354"/>
                  </a:lnTo>
                  <a:lnTo>
                    <a:pt x="2829" y="339"/>
                  </a:lnTo>
                  <a:lnTo>
                    <a:pt x="2821" y="325"/>
                  </a:lnTo>
                  <a:lnTo>
                    <a:pt x="2812" y="311"/>
                  </a:lnTo>
                  <a:lnTo>
                    <a:pt x="2801" y="296"/>
                  </a:lnTo>
                  <a:lnTo>
                    <a:pt x="2788" y="281"/>
                  </a:lnTo>
                  <a:lnTo>
                    <a:pt x="2774" y="267"/>
                  </a:lnTo>
                  <a:lnTo>
                    <a:pt x="2759" y="25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35" name="Freeform 32"/>
            <p:cNvSpPr>
              <a:spLocks/>
            </p:cNvSpPr>
            <p:nvPr userDrawn="1"/>
          </p:nvSpPr>
          <p:spPr bwMode="auto">
            <a:xfrm>
              <a:off x="746126" y="1357313"/>
              <a:ext cx="161925" cy="153988"/>
            </a:xfrm>
            <a:custGeom>
              <a:avLst/>
              <a:gdLst>
                <a:gd name="T0" fmla="*/ 2 w 1226"/>
                <a:gd name="T1" fmla="*/ 386 h 1168"/>
                <a:gd name="T2" fmla="*/ 22 w 1226"/>
                <a:gd name="T3" fmla="*/ 434 h 1168"/>
                <a:gd name="T4" fmla="*/ 61 w 1226"/>
                <a:gd name="T5" fmla="*/ 466 h 1168"/>
                <a:gd name="T6" fmla="*/ 120 w 1226"/>
                <a:gd name="T7" fmla="*/ 479 h 1168"/>
                <a:gd name="T8" fmla="*/ 142 w 1226"/>
                <a:gd name="T9" fmla="*/ 469 h 1168"/>
                <a:gd name="T10" fmla="*/ 160 w 1226"/>
                <a:gd name="T11" fmla="*/ 436 h 1168"/>
                <a:gd name="T12" fmla="*/ 164 w 1226"/>
                <a:gd name="T13" fmla="*/ 370 h 1168"/>
                <a:gd name="T14" fmla="*/ 174 w 1226"/>
                <a:gd name="T15" fmla="*/ 344 h 1168"/>
                <a:gd name="T16" fmla="*/ 198 w 1226"/>
                <a:gd name="T17" fmla="*/ 331 h 1168"/>
                <a:gd name="T18" fmla="*/ 223 w 1226"/>
                <a:gd name="T19" fmla="*/ 318 h 1168"/>
                <a:gd name="T20" fmla="*/ 427 w 1226"/>
                <a:gd name="T21" fmla="*/ 416 h 1168"/>
                <a:gd name="T22" fmla="*/ 628 w 1226"/>
                <a:gd name="T23" fmla="*/ 534 h 1168"/>
                <a:gd name="T24" fmla="*/ 876 w 1226"/>
                <a:gd name="T25" fmla="*/ 703 h 1168"/>
                <a:gd name="T26" fmla="*/ 868 w 1226"/>
                <a:gd name="T27" fmla="*/ 783 h 1168"/>
                <a:gd name="T28" fmla="*/ 779 w 1226"/>
                <a:gd name="T29" fmla="*/ 957 h 1168"/>
                <a:gd name="T30" fmla="*/ 753 w 1226"/>
                <a:gd name="T31" fmla="*/ 1040 h 1168"/>
                <a:gd name="T32" fmla="*/ 754 w 1226"/>
                <a:gd name="T33" fmla="*/ 1090 h 1168"/>
                <a:gd name="T34" fmla="*/ 771 w 1226"/>
                <a:gd name="T35" fmla="*/ 1130 h 1168"/>
                <a:gd name="T36" fmla="*/ 801 w 1226"/>
                <a:gd name="T37" fmla="*/ 1157 h 1168"/>
                <a:gd name="T38" fmla="*/ 842 w 1226"/>
                <a:gd name="T39" fmla="*/ 1168 h 1168"/>
                <a:gd name="T40" fmla="*/ 880 w 1226"/>
                <a:gd name="T41" fmla="*/ 1163 h 1168"/>
                <a:gd name="T42" fmla="*/ 919 w 1226"/>
                <a:gd name="T43" fmla="*/ 1140 h 1168"/>
                <a:gd name="T44" fmla="*/ 944 w 1226"/>
                <a:gd name="T45" fmla="*/ 1107 h 1168"/>
                <a:gd name="T46" fmla="*/ 952 w 1226"/>
                <a:gd name="T47" fmla="*/ 1060 h 1168"/>
                <a:gd name="T48" fmla="*/ 930 w 1226"/>
                <a:gd name="T49" fmla="*/ 1010 h 1168"/>
                <a:gd name="T50" fmla="*/ 885 w 1226"/>
                <a:gd name="T51" fmla="*/ 989 h 1168"/>
                <a:gd name="T52" fmla="*/ 919 w 1226"/>
                <a:gd name="T53" fmla="*/ 879 h 1168"/>
                <a:gd name="T54" fmla="*/ 954 w 1226"/>
                <a:gd name="T55" fmla="*/ 807 h 1168"/>
                <a:gd name="T56" fmla="*/ 1024 w 1226"/>
                <a:gd name="T57" fmla="*/ 715 h 1168"/>
                <a:gd name="T58" fmla="*/ 1095 w 1226"/>
                <a:gd name="T59" fmla="*/ 673 h 1168"/>
                <a:gd name="T60" fmla="*/ 1125 w 1226"/>
                <a:gd name="T61" fmla="*/ 670 h 1168"/>
                <a:gd name="T62" fmla="*/ 1099 w 1226"/>
                <a:gd name="T63" fmla="*/ 633 h 1168"/>
                <a:gd name="T64" fmla="*/ 1083 w 1226"/>
                <a:gd name="T65" fmla="*/ 543 h 1168"/>
                <a:gd name="T66" fmla="*/ 1096 w 1226"/>
                <a:gd name="T67" fmla="*/ 477 h 1168"/>
                <a:gd name="T68" fmla="*/ 1132 w 1226"/>
                <a:gd name="T69" fmla="*/ 395 h 1168"/>
                <a:gd name="T70" fmla="*/ 1195 w 1226"/>
                <a:gd name="T71" fmla="*/ 258 h 1168"/>
                <a:gd name="T72" fmla="*/ 1225 w 1226"/>
                <a:gd name="T73" fmla="*/ 141 h 1168"/>
                <a:gd name="T74" fmla="*/ 1217 w 1226"/>
                <a:gd name="T75" fmla="*/ 95 h 1168"/>
                <a:gd name="T76" fmla="*/ 1187 w 1226"/>
                <a:gd name="T77" fmla="*/ 55 h 1168"/>
                <a:gd name="T78" fmla="*/ 1144 w 1226"/>
                <a:gd name="T79" fmla="*/ 34 h 1168"/>
                <a:gd name="T80" fmla="*/ 1104 w 1226"/>
                <a:gd name="T81" fmla="*/ 35 h 1168"/>
                <a:gd name="T82" fmla="*/ 1061 w 1226"/>
                <a:gd name="T83" fmla="*/ 57 h 1168"/>
                <a:gd name="T84" fmla="*/ 1033 w 1226"/>
                <a:gd name="T85" fmla="*/ 94 h 1168"/>
                <a:gd name="T86" fmla="*/ 1025 w 1226"/>
                <a:gd name="T87" fmla="*/ 139 h 1168"/>
                <a:gd name="T88" fmla="*/ 1048 w 1226"/>
                <a:gd name="T89" fmla="*/ 205 h 1168"/>
                <a:gd name="T90" fmla="*/ 1095 w 1226"/>
                <a:gd name="T91" fmla="*/ 230 h 1168"/>
                <a:gd name="T92" fmla="*/ 1107 w 1226"/>
                <a:gd name="T93" fmla="*/ 240 h 1168"/>
                <a:gd name="T94" fmla="*/ 1044 w 1226"/>
                <a:gd name="T95" fmla="*/ 390 h 1168"/>
                <a:gd name="T96" fmla="*/ 975 w 1226"/>
                <a:gd name="T97" fmla="*/ 431 h 1168"/>
                <a:gd name="T98" fmla="*/ 717 w 1226"/>
                <a:gd name="T99" fmla="*/ 289 h 1168"/>
                <a:gd name="T100" fmla="*/ 529 w 1226"/>
                <a:gd name="T101" fmla="*/ 205 h 1168"/>
                <a:gd name="T102" fmla="*/ 317 w 1226"/>
                <a:gd name="T103" fmla="*/ 140 h 1168"/>
                <a:gd name="T104" fmla="*/ 378 w 1226"/>
                <a:gd name="T105" fmla="*/ 31 h 1168"/>
                <a:gd name="T106" fmla="*/ 389 w 1226"/>
                <a:gd name="T107" fmla="*/ 0 h 1168"/>
                <a:gd name="T108" fmla="*/ 367 w 1226"/>
                <a:gd name="T109" fmla="*/ 10 h 1168"/>
                <a:gd name="T110" fmla="*/ 285 w 1226"/>
                <a:gd name="T111" fmla="*/ 57 h 1168"/>
                <a:gd name="T112" fmla="*/ 211 w 1226"/>
                <a:gd name="T113" fmla="*/ 85 h 1168"/>
                <a:gd name="T114" fmla="*/ 147 w 1226"/>
                <a:gd name="T115" fmla="*/ 85 h 1168"/>
                <a:gd name="T116" fmla="*/ 114 w 1226"/>
                <a:gd name="T117" fmla="*/ 85 h 1168"/>
                <a:gd name="T118" fmla="*/ 87 w 1226"/>
                <a:gd name="T119" fmla="*/ 134 h 1168"/>
                <a:gd name="T120" fmla="*/ 42 w 1226"/>
                <a:gd name="T121" fmla="*/ 261 h 1168"/>
                <a:gd name="T122" fmla="*/ 6 w 1226"/>
                <a:gd name="T123" fmla="*/ 327 h 1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26" h="1168">
                  <a:moveTo>
                    <a:pt x="1" y="345"/>
                  </a:moveTo>
                  <a:lnTo>
                    <a:pt x="1" y="345"/>
                  </a:lnTo>
                  <a:lnTo>
                    <a:pt x="0" y="359"/>
                  </a:lnTo>
                  <a:lnTo>
                    <a:pt x="0" y="370"/>
                  </a:lnTo>
                  <a:lnTo>
                    <a:pt x="2" y="386"/>
                  </a:lnTo>
                  <a:lnTo>
                    <a:pt x="5" y="401"/>
                  </a:lnTo>
                  <a:lnTo>
                    <a:pt x="8" y="409"/>
                  </a:lnTo>
                  <a:lnTo>
                    <a:pt x="11" y="417"/>
                  </a:lnTo>
                  <a:lnTo>
                    <a:pt x="16" y="425"/>
                  </a:lnTo>
                  <a:lnTo>
                    <a:pt x="22" y="434"/>
                  </a:lnTo>
                  <a:lnTo>
                    <a:pt x="28" y="442"/>
                  </a:lnTo>
                  <a:lnTo>
                    <a:pt x="36" y="449"/>
                  </a:lnTo>
                  <a:lnTo>
                    <a:pt x="36" y="449"/>
                  </a:lnTo>
                  <a:lnTo>
                    <a:pt x="48" y="458"/>
                  </a:lnTo>
                  <a:lnTo>
                    <a:pt x="61" y="466"/>
                  </a:lnTo>
                  <a:lnTo>
                    <a:pt x="76" y="473"/>
                  </a:lnTo>
                  <a:lnTo>
                    <a:pt x="91" y="478"/>
                  </a:lnTo>
                  <a:lnTo>
                    <a:pt x="105" y="480"/>
                  </a:lnTo>
                  <a:lnTo>
                    <a:pt x="113" y="480"/>
                  </a:lnTo>
                  <a:lnTo>
                    <a:pt x="120" y="479"/>
                  </a:lnTo>
                  <a:lnTo>
                    <a:pt x="126" y="478"/>
                  </a:lnTo>
                  <a:lnTo>
                    <a:pt x="132" y="476"/>
                  </a:lnTo>
                  <a:lnTo>
                    <a:pt x="137" y="473"/>
                  </a:lnTo>
                  <a:lnTo>
                    <a:pt x="142" y="469"/>
                  </a:lnTo>
                  <a:lnTo>
                    <a:pt x="142" y="469"/>
                  </a:lnTo>
                  <a:lnTo>
                    <a:pt x="147" y="464"/>
                  </a:lnTo>
                  <a:lnTo>
                    <a:pt x="152" y="457"/>
                  </a:lnTo>
                  <a:lnTo>
                    <a:pt x="155" y="451"/>
                  </a:lnTo>
                  <a:lnTo>
                    <a:pt x="158" y="444"/>
                  </a:lnTo>
                  <a:lnTo>
                    <a:pt x="160" y="436"/>
                  </a:lnTo>
                  <a:lnTo>
                    <a:pt x="161" y="428"/>
                  </a:lnTo>
                  <a:lnTo>
                    <a:pt x="162" y="411"/>
                  </a:lnTo>
                  <a:lnTo>
                    <a:pt x="162" y="395"/>
                  </a:lnTo>
                  <a:lnTo>
                    <a:pt x="163" y="378"/>
                  </a:lnTo>
                  <a:lnTo>
                    <a:pt x="164" y="370"/>
                  </a:lnTo>
                  <a:lnTo>
                    <a:pt x="166" y="362"/>
                  </a:lnTo>
                  <a:lnTo>
                    <a:pt x="168" y="355"/>
                  </a:lnTo>
                  <a:lnTo>
                    <a:pt x="172" y="347"/>
                  </a:lnTo>
                  <a:lnTo>
                    <a:pt x="172" y="347"/>
                  </a:lnTo>
                  <a:lnTo>
                    <a:pt x="174" y="344"/>
                  </a:lnTo>
                  <a:lnTo>
                    <a:pt x="178" y="341"/>
                  </a:lnTo>
                  <a:lnTo>
                    <a:pt x="187" y="335"/>
                  </a:lnTo>
                  <a:lnTo>
                    <a:pt x="195" y="332"/>
                  </a:lnTo>
                  <a:lnTo>
                    <a:pt x="198" y="331"/>
                  </a:lnTo>
                  <a:lnTo>
                    <a:pt x="198" y="331"/>
                  </a:lnTo>
                  <a:lnTo>
                    <a:pt x="205" y="329"/>
                  </a:lnTo>
                  <a:lnTo>
                    <a:pt x="211" y="326"/>
                  </a:lnTo>
                  <a:lnTo>
                    <a:pt x="217" y="323"/>
                  </a:lnTo>
                  <a:lnTo>
                    <a:pt x="223" y="318"/>
                  </a:lnTo>
                  <a:lnTo>
                    <a:pt x="223" y="318"/>
                  </a:lnTo>
                  <a:lnTo>
                    <a:pt x="264" y="337"/>
                  </a:lnTo>
                  <a:lnTo>
                    <a:pt x="305" y="355"/>
                  </a:lnTo>
                  <a:lnTo>
                    <a:pt x="347" y="374"/>
                  </a:lnTo>
                  <a:lnTo>
                    <a:pt x="388" y="395"/>
                  </a:lnTo>
                  <a:lnTo>
                    <a:pt x="427" y="416"/>
                  </a:lnTo>
                  <a:lnTo>
                    <a:pt x="468" y="439"/>
                  </a:lnTo>
                  <a:lnTo>
                    <a:pt x="509" y="461"/>
                  </a:lnTo>
                  <a:lnTo>
                    <a:pt x="549" y="485"/>
                  </a:lnTo>
                  <a:lnTo>
                    <a:pt x="589" y="509"/>
                  </a:lnTo>
                  <a:lnTo>
                    <a:pt x="628" y="534"/>
                  </a:lnTo>
                  <a:lnTo>
                    <a:pt x="706" y="584"/>
                  </a:lnTo>
                  <a:lnTo>
                    <a:pt x="782" y="636"/>
                  </a:lnTo>
                  <a:lnTo>
                    <a:pt x="857" y="689"/>
                  </a:lnTo>
                  <a:lnTo>
                    <a:pt x="857" y="689"/>
                  </a:lnTo>
                  <a:lnTo>
                    <a:pt x="876" y="703"/>
                  </a:lnTo>
                  <a:lnTo>
                    <a:pt x="894" y="714"/>
                  </a:lnTo>
                  <a:lnTo>
                    <a:pt x="894" y="714"/>
                  </a:lnTo>
                  <a:lnTo>
                    <a:pt x="887" y="736"/>
                  </a:lnTo>
                  <a:lnTo>
                    <a:pt x="878" y="759"/>
                  </a:lnTo>
                  <a:lnTo>
                    <a:pt x="868" y="783"/>
                  </a:lnTo>
                  <a:lnTo>
                    <a:pt x="856" y="809"/>
                  </a:lnTo>
                  <a:lnTo>
                    <a:pt x="856" y="809"/>
                  </a:lnTo>
                  <a:lnTo>
                    <a:pt x="816" y="885"/>
                  </a:lnTo>
                  <a:lnTo>
                    <a:pt x="797" y="921"/>
                  </a:lnTo>
                  <a:lnTo>
                    <a:pt x="779" y="957"/>
                  </a:lnTo>
                  <a:lnTo>
                    <a:pt x="772" y="975"/>
                  </a:lnTo>
                  <a:lnTo>
                    <a:pt x="766" y="992"/>
                  </a:lnTo>
                  <a:lnTo>
                    <a:pt x="760" y="1008"/>
                  </a:lnTo>
                  <a:lnTo>
                    <a:pt x="756" y="1025"/>
                  </a:lnTo>
                  <a:lnTo>
                    <a:pt x="753" y="1040"/>
                  </a:lnTo>
                  <a:lnTo>
                    <a:pt x="751" y="1054"/>
                  </a:lnTo>
                  <a:lnTo>
                    <a:pt x="751" y="1069"/>
                  </a:lnTo>
                  <a:lnTo>
                    <a:pt x="752" y="1081"/>
                  </a:lnTo>
                  <a:lnTo>
                    <a:pt x="752" y="1081"/>
                  </a:lnTo>
                  <a:lnTo>
                    <a:pt x="754" y="1090"/>
                  </a:lnTo>
                  <a:lnTo>
                    <a:pt x="756" y="1099"/>
                  </a:lnTo>
                  <a:lnTo>
                    <a:pt x="759" y="1107"/>
                  </a:lnTo>
                  <a:lnTo>
                    <a:pt x="762" y="1116"/>
                  </a:lnTo>
                  <a:lnTo>
                    <a:pt x="766" y="1123"/>
                  </a:lnTo>
                  <a:lnTo>
                    <a:pt x="771" y="1130"/>
                  </a:lnTo>
                  <a:lnTo>
                    <a:pt x="776" y="1136"/>
                  </a:lnTo>
                  <a:lnTo>
                    <a:pt x="781" y="1142"/>
                  </a:lnTo>
                  <a:lnTo>
                    <a:pt x="787" y="1147"/>
                  </a:lnTo>
                  <a:lnTo>
                    <a:pt x="794" y="1152"/>
                  </a:lnTo>
                  <a:lnTo>
                    <a:pt x="801" y="1157"/>
                  </a:lnTo>
                  <a:lnTo>
                    <a:pt x="808" y="1160"/>
                  </a:lnTo>
                  <a:lnTo>
                    <a:pt x="816" y="1163"/>
                  </a:lnTo>
                  <a:lnTo>
                    <a:pt x="824" y="1165"/>
                  </a:lnTo>
                  <a:lnTo>
                    <a:pt x="833" y="1167"/>
                  </a:lnTo>
                  <a:lnTo>
                    <a:pt x="842" y="1168"/>
                  </a:lnTo>
                  <a:lnTo>
                    <a:pt x="842" y="1168"/>
                  </a:lnTo>
                  <a:lnTo>
                    <a:pt x="852" y="1168"/>
                  </a:lnTo>
                  <a:lnTo>
                    <a:pt x="862" y="1167"/>
                  </a:lnTo>
                  <a:lnTo>
                    <a:pt x="871" y="1165"/>
                  </a:lnTo>
                  <a:lnTo>
                    <a:pt x="880" y="1163"/>
                  </a:lnTo>
                  <a:lnTo>
                    <a:pt x="889" y="1160"/>
                  </a:lnTo>
                  <a:lnTo>
                    <a:pt x="897" y="1155"/>
                  </a:lnTo>
                  <a:lnTo>
                    <a:pt x="905" y="1151"/>
                  </a:lnTo>
                  <a:lnTo>
                    <a:pt x="912" y="1146"/>
                  </a:lnTo>
                  <a:lnTo>
                    <a:pt x="919" y="1140"/>
                  </a:lnTo>
                  <a:lnTo>
                    <a:pt x="925" y="1135"/>
                  </a:lnTo>
                  <a:lnTo>
                    <a:pt x="931" y="1129"/>
                  </a:lnTo>
                  <a:lnTo>
                    <a:pt x="936" y="1122"/>
                  </a:lnTo>
                  <a:lnTo>
                    <a:pt x="940" y="1115"/>
                  </a:lnTo>
                  <a:lnTo>
                    <a:pt x="944" y="1107"/>
                  </a:lnTo>
                  <a:lnTo>
                    <a:pt x="947" y="1100"/>
                  </a:lnTo>
                  <a:lnTo>
                    <a:pt x="949" y="1092"/>
                  </a:lnTo>
                  <a:lnTo>
                    <a:pt x="949" y="1092"/>
                  </a:lnTo>
                  <a:lnTo>
                    <a:pt x="951" y="1076"/>
                  </a:lnTo>
                  <a:lnTo>
                    <a:pt x="952" y="1060"/>
                  </a:lnTo>
                  <a:lnTo>
                    <a:pt x="950" y="1048"/>
                  </a:lnTo>
                  <a:lnTo>
                    <a:pt x="947" y="1036"/>
                  </a:lnTo>
                  <a:lnTo>
                    <a:pt x="942" y="1027"/>
                  </a:lnTo>
                  <a:lnTo>
                    <a:pt x="937" y="1017"/>
                  </a:lnTo>
                  <a:lnTo>
                    <a:pt x="930" y="1010"/>
                  </a:lnTo>
                  <a:lnTo>
                    <a:pt x="922" y="1005"/>
                  </a:lnTo>
                  <a:lnTo>
                    <a:pt x="915" y="1000"/>
                  </a:lnTo>
                  <a:lnTo>
                    <a:pt x="908" y="996"/>
                  </a:lnTo>
                  <a:lnTo>
                    <a:pt x="894" y="991"/>
                  </a:lnTo>
                  <a:lnTo>
                    <a:pt x="885" y="989"/>
                  </a:lnTo>
                  <a:lnTo>
                    <a:pt x="880" y="989"/>
                  </a:lnTo>
                  <a:lnTo>
                    <a:pt x="880" y="989"/>
                  </a:lnTo>
                  <a:lnTo>
                    <a:pt x="896" y="944"/>
                  </a:lnTo>
                  <a:lnTo>
                    <a:pt x="908" y="908"/>
                  </a:lnTo>
                  <a:lnTo>
                    <a:pt x="919" y="879"/>
                  </a:lnTo>
                  <a:lnTo>
                    <a:pt x="919" y="879"/>
                  </a:lnTo>
                  <a:lnTo>
                    <a:pt x="927" y="859"/>
                  </a:lnTo>
                  <a:lnTo>
                    <a:pt x="937" y="841"/>
                  </a:lnTo>
                  <a:lnTo>
                    <a:pt x="945" y="823"/>
                  </a:lnTo>
                  <a:lnTo>
                    <a:pt x="954" y="807"/>
                  </a:lnTo>
                  <a:lnTo>
                    <a:pt x="962" y="792"/>
                  </a:lnTo>
                  <a:lnTo>
                    <a:pt x="971" y="777"/>
                  </a:lnTo>
                  <a:lnTo>
                    <a:pt x="989" y="753"/>
                  </a:lnTo>
                  <a:lnTo>
                    <a:pt x="1006" y="732"/>
                  </a:lnTo>
                  <a:lnTo>
                    <a:pt x="1024" y="715"/>
                  </a:lnTo>
                  <a:lnTo>
                    <a:pt x="1040" y="702"/>
                  </a:lnTo>
                  <a:lnTo>
                    <a:pt x="1055" y="690"/>
                  </a:lnTo>
                  <a:lnTo>
                    <a:pt x="1070" y="683"/>
                  </a:lnTo>
                  <a:lnTo>
                    <a:pt x="1083" y="677"/>
                  </a:lnTo>
                  <a:lnTo>
                    <a:pt x="1095" y="673"/>
                  </a:lnTo>
                  <a:lnTo>
                    <a:pt x="1105" y="671"/>
                  </a:lnTo>
                  <a:lnTo>
                    <a:pt x="1114" y="670"/>
                  </a:lnTo>
                  <a:lnTo>
                    <a:pt x="1120" y="670"/>
                  </a:lnTo>
                  <a:lnTo>
                    <a:pt x="1125" y="670"/>
                  </a:lnTo>
                  <a:lnTo>
                    <a:pt x="1125" y="670"/>
                  </a:lnTo>
                  <a:lnTo>
                    <a:pt x="1121" y="666"/>
                  </a:lnTo>
                  <a:lnTo>
                    <a:pt x="1116" y="661"/>
                  </a:lnTo>
                  <a:lnTo>
                    <a:pt x="1111" y="653"/>
                  </a:lnTo>
                  <a:lnTo>
                    <a:pt x="1104" y="644"/>
                  </a:lnTo>
                  <a:lnTo>
                    <a:pt x="1099" y="633"/>
                  </a:lnTo>
                  <a:lnTo>
                    <a:pt x="1093" y="620"/>
                  </a:lnTo>
                  <a:lnTo>
                    <a:pt x="1088" y="603"/>
                  </a:lnTo>
                  <a:lnTo>
                    <a:pt x="1085" y="586"/>
                  </a:lnTo>
                  <a:lnTo>
                    <a:pt x="1083" y="566"/>
                  </a:lnTo>
                  <a:lnTo>
                    <a:pt x="1083" y="543"/>
                  </a:lnTo>
                  <a:lnTo>
                    <a:pt x="1084" y="531"/>
                  </a:lnTo>
                  <a:lnTo>
                    <a:pt x="1086" y="519"/>
                  </a:lnTo>
                  <a:lnTo>
                    <a:pt x="1088" y="505"/>
                  </a:lnTo>
                  <a:lnTo>
                    <a:pt x="1092" y="491"/>
                  </a:lnTo>
                  <a:lnTo>
                    <a:pt x="1096" y="477"/>
                  </a:lnTo>
                  <a:lnTo>
                    <a:pt x="1101" y="461"/>
                  </a:lnTo>
                  <a:lnTo>
                    <a:pt x="1107" y="446"/>
                  </a:lnTo>
                  <a:lnTo>
                    <a:pt x="1115" y="430"/>
                  </a:lnTo>
                  <a:lnTo>
                    <a:pt x="1123" y="412"/>
                  </a:lnTo>
                  <a:lnTo>
                    <a:pt x="1132" y="395"/>
                  </a:lnTo>
                  <a:lnTo>
                    <a:pt x="1132" y="395"/>
                  </a:lnTo>
                  <a:lnTo>
                    <a:pt x="1152" y="358"/>
                  </a:lnTo>
                  <a:lnTo>
                    <a:pt x="1169" y="322"/>
                  </a:lnTo>
                  <a:lnTo>
                    <a:pt x="1184" y="289"/>
                  </a:lnTo>
                  <a:lnTo>
                    <a:pt x="1195" y="258"/>
                  </a:lnTo>
                  <a:lnTo>
                    <a:pt x="1206" y="227"/>
                  </a:lnTo>
                  <a:lnTo>
                    <a:pt x="1214" y="197"/>
                  </a:lnTo>
                  <a:lnTo>
                    <a:pt x="1220" y="169"/>
                  </a:lnTo>
                  <a:lnTo>
                    <a:pt x="1225" y="141"/>
                  </a:lnTo>
                  <a:lnTo>
                    <a:pt x="1225" y="141"/>
                  </a:lnTo>
                  <a:lnTo>
                    <a:pt x="1226" y="132"/>
                  </a:lnTo>
                  <a:lnTo>
                    <a:pt x="1225" y="123"/>
                  </a:lnTo>
                  <a:lnTo>
                    <a:pt x="1224" y="114"/>
                  </a:lnTo>
                  <a:lnTo>
                    <a:pt x="1221" y="104"/>
                  </a:lnTo>
                  <a:lnTo>
                    <a:pt x="1217" y="95"/>
                  </a:lnTo>
                  <a:lnTo>
                    <a:pt x="1213" y="87"/>
                  </a:lnTo>
                  <a:lnTo>
                    <a:pt x="1208" y="78"/>
                  </a:lnTo>
                  <a:lnTo>
                    <a:pt x="1202" y="70"/>
                  </a:lnTo>
                  <a:lnTo>
                    <a:pt x="1194" y="63"/>
                  </a:lnTo>
                  <a:lnTo>
                    <a:pt x="1187" y="55"/>
                  </a:lnTo>
                  <a:lnTo>
                    <a:pt x="1179" y="49"/>
                  </a:lnTo>
                  <a:lnTo>
                    <a:pt x="1171" y="44"/>
                  </a:lnTo>
                  <a:lnTo>
                    <a:pt x="1163" y="39"/>
                  </a:lnTo>
                  <a:lnTo>
                    <a:pt x="1153" y="36"/>
                  </a:lnTo>
                  <a:lnTo>
                    <a:pt x="1144" y="34"/>
                  </a:lnTo>
                  <a:lnTo>
                    <a:pt x="1134" y="32"/>
                  </a:lnTo>
                  <a:lnTo>
                    <a:pt x="1134" y="32"/>
                  </a:lnTo>
                  <a:lnTo>
                    <a:pt x="1124" y="32"/>
                  </a:lnTo>
                  <a:lnTo>
                    <a:pt x="1115" y="33"/>
                  </a:lnTo>
                  <a:lnTo>
                    <a:pt x="1104" y="35"/>
                  </a:lnTo>
                  <a:lnTo>
                    <a:pt x="1095" y="38"/>
                  </a:lnTo>
                  <a:lnTo>
                    <a:pt x="1086" y="42"/>
                  </a:lnTo>
                  <a:lnTo>
                    <a:pt x="1078" y="46"/>
                  </a:lnTo>
                  <a:lnTo>
                    <a:pt x="1070" y="52"/>
                  </a:lnTo>
                  <a:lnTo>
                    <a:pt x="1061" y="57"/>
                  </a:lnTo>
                  <a:lnTo>
                    <a:pt x="1054" y="65"/>
                  </a:lnTo>
                  <a:lnTo>
                    <a:pt x="1048" y="71"/>
                  </a:lnTo>
                  <a:lnTo>
                    <a:pt x="1042" y="78"/>
                  </a:lnTo>
                  <a:lnTo>
                    <a:pt x="1037" y="86"/>
                  </a:lnTo>
                  <a:lnTo>
                    <a:pt x="1033" y="94"/>
                  </a:lnTo>
                  <a:lnTo>
                    <a:pt x="1029" y="102"/>
                  </a:lnTo>
                  <a:lnTo>
                    <a:pt x="1027" y="111"/>
                  </a:lnTo>
                  <a:lnTo>
                    <a:pt x="1026" y="119"/>
                  </a:lnTo>
                  <a:lnTo>
                    <a:pt x="1026" y="119"/>
                  </a:lnTo>
                  <a:lnTo>
                    <a:pt x="1025" y="139"/>
                  </a:lnTo>
                  <a:lnTo>
                    <a:pt x="1026" y="158"/>
                  </a:lnTo>
                  <a:lnTo>
                    <a:pt x="1030" y="173"/>
                  </a:lnTo>
                  <a:lnTo>
                    <a:pt x="1035" y="185"/>
                  </a:lnTo>
                  <a:lnTo>
                    <a:pt x="1041" y="195"/>
                  </a:lnTo>
                  <a:lnTo>
                    <a:pt x="1048" y="205"/>
                  </a:lnTo>
                  <a:lnTo>
                    <a:pt x="1056" y="212"/>
                  </a:lnTo>
                  <a:lnTo>
                    <a:pt x="1065" y="217"/>
                  </a:lnTo>
                  <a:lnTo>
                    <a:pt x="1073" y="221"/>
                  </a:lnTo>
                  <a:lnTo>
                    <a:pt x="1081" y="225"/>
                  </a:lnTo>
                  <a:lnTo>
                    <a:pt x="1095" y="230"/>
                  </a:lnTo>
                  <a:lnTo>
                    <a:pt x="1101" y="232"/>
                  </a:lnTo>
                  <a:lnTo>
                    <a:pt x="1104" y="234"/>
                  </a:lnTo>
                  <a:lnTo>
                    <a:pt x="1107" y="237"/>
                  </a:lnTo>
                  <a:lnTo>
                    <a:pt x="1107" y="240"/>
                  </a:lnTo>
                  <a:lnTo>
                    <a:pt x="1107" y="240"/>
                  </a:lnTo>
                  <a:lnTo>
                    <a:pt x="1096" y="276"/>
                  </a:lnTo>
                  <a:lnTo>
                    <a:pt x="1084" y="309"/>
                  </a:lnTo>
                  <a:lnTo>
                    <a:pt x="1071" y="339"/>
                  </a:lnTo>
                  <a:lnTo>
                    <a:pt x="1057" y="365"/>
                  </a:lnTo>
                  <a:lnTo>
                    <a:pt x="1044" y="390"/>
                  </a:lnTo>
                  <a:lnTo>
                    <a:pt x="1031" y="411"/>
                  </a:lnTo>
                  <a:lnTo>
                    <a:pt x="1016" y="431"/>
                  </a:lnTo>
                  <a:lnTo>
                    <a:pt x="1002" y="447"/>
                  </a:lnTo>
                  <a:lnTo>
                    <a:pt x="1002" y="447"/>
                  </a:lnTo>
                  <a:lnTo>
                    <a:pt x="975" y="431"/>
                  </a:lnTo>
                  <a:lnTo>
                    <a:pt x="942" y="411"/>
                  </a:lnTo>
                  <a:lnTo>
                    <a:pt x="942" y="411"/>
                  </a:lnTo>
                  <a:lnTo>
                    <a:pt x="865" y="369"/>
                  </a:lnTo>
                  <a:lnTo>
                    <a:pt x="790" y="328"/>
                  </a:lnTo>
                  <a:lnTo>
                    <a:pt x="717" y="289"/>
                  </a:lnTo>
                  <a:lnTo>
                    <a:pt x="680" y="271"/>
                  </a:lnTo>
                  <a:lnTo>
                    <a:pt x="643" y="254"/>
                  </a:lnTo>
                  <a:lnTo>
                    <a:pt x="606" y="236"/>
                  </a:lnTo>
                  <a:lnTo>
                    <a:pt x="568" y="221"/>
                  </a:lnTo>
                  <a:lnTo>
                    <a:pt x="529" y="205"/>
                  </a:lnTo>
                  <a:lnTo>
                    <a:pt x="489" y="190"/>
                  </a:lnTo>
                  <a:lnTo>
                    <a:pt x="448" y="176"/>
                  </a:lnTo>
                  <a:lnTo>
                    <a:pt x="406" y="164"/>
                  </a:lnTo>
                  <a:lnTo>
                    <a:pt x="362" y="151"/>
                  </a:lnTo>
                  <a:lnTo>
                    <a:pt x="317" y="140"/>
                  </a:lnTo>
                  <a:lnTo>
                    <a:pt x="317" y="140"/>
                  </a:lnTo>
                  <a:lnTo>
                    <a:pt x="334" y="107"/>
                  </a:lnTo>
                  <a:lnTo>
                    <a:pt x="334" y="107"/>
                  </a:lnTo>
                  <a:lnTo>
                    <a:pt x="360" y="63"/>
                  </a:lnTo>
                  <a:lnTo>
                    <a:pt x="378" y="31"/>
                  </a:lnTo>
                  <a:lnTo>
                    <a:pt x="385" y="20"/>
                  </a:lnTo>
                  <a:lnTo>
                    <a:pt x="389" y="10"/>
                  </a:lnTo>
                  <a:lnTo>
                    <a:pt x="391" y="4"/>
                  </a:lnTo>
                  <a:lnTo>
                    <a:pt x="390" y="2"/>
                  </a:lnTo>
                  <a:lnTo>
                    <a:pt x="389" y="0"/>
                  </a:lnTo>
                  <a:lnTo>
                    <a:pt x="389" y="0"/>
                  </a:lnTo>
                  <a:lnTo>
                    <a:pt x="388" y="0"/>
                  </a:lnTo>
                  <a:lnTo>
                    <a:pt x="387" y="0"/>
                  </a:lnTo>
                  <a:lnTo>
                    <a:pt x="381" y="1"/>
                  </a:lnTo>
                  <a:lnTo>
                    <a:pt x="367" y="10"/>
                  </a:lnTo>
                  <a:lnTo>
                    <a:pt x="343" y="26"/>
                  </a:lnTo>
                  <a:lnTo>
                    <a:pt x="326" y="35"/>
                  </a:lnTo>
                  <a:lnTo>
                    <a:pt x="307" y="46"/>
                  </a:lnTo>
                  <a:lnTo>
                    <a:pt x="307" y="46"/>
                  </a:lnTo>
                  <a:lnTo>
                    <a:pt x="285" y="57"/>
                  </a:lnTo>
                  <a:lnTo>
                    <a:pt x="267" y="67"/>
                  </a:lnTo>
                  <a:lnTo>
                    <a:pt x="252" y="73"/>
                  </a:lnTo>
                  <a:lnTo>
                    <a:pt x="237" y="78"/>
                  </a:lnTo>
                  <a:lnTo>
                    <a:pt x="224" y="82"/>
                  </a:lnTo>
                  <a:lnTo>
                    <a:pt x="211" y="85"/>
                  </a:lnTo>
                  <a:lnTo>
                    <a:pt x="183" y="89"/>
                  </a:lnTo>
                  <a:lnTo>
                    <a:pt x="183" y="89"/>
                  </a:lnTo>
                  <a:lnTo>
                    <a:pt x="174" y="89"/>
                  </a:lnTo>
                  <a:lnTo>
                    <a:pt x="165" y="88"/>
                  </a:lnTo>
                  <a:lnTo>
                    <a:pt x="147" y="85"/>
                  </a:lnTo>
                  <a:lnTo>
                    <a:pt x="132" y="81"/>
                  </a:lnTo>
                  <a:lnTo>
                    <a:pt x="125" y="81"/>
                  </a:lnTo>
                  <a:lnTo>
                    <a:pt x="120" y="82"/>
                  </a:lnTo>
                  <a:lnTo>
                    <a:pt x="120" y="82"/>
                  </a:lnTo>
                  <a:lnTo>
                    <a:pt x="114" y="85"/>
                  </a:lnTo>
                  <a:lnTo>
                    <a:pt x="107" y="91"/>
                  </a:lnTo>
                  <a:lnTo>
                    <a:pt x="102" y="98"/>
                  </a:lnTo>
                  <a:lnTo>
                    <a:pt x="97" y="107"/>
                  </a:lnTo>
                  <a:lnTo>
                    <a:pt x="92" y="120"/>
                  </a:lnTo>
                  <a:lnTo>
                    <a:pt x="87" y="134"/>
                  </a:lnTo>
                  <a:lnTo>
                    <a:pt x="74" y="171"/>
                  </a:lnTo>
                  <a:lnTo>
                    <a:pt x="74" y="171"/>
                  </a:lnTo>
                  <a:lnTo>
                    <a:pt x="49" y="242"/>
                  </a:lnTo>
                  <a:lnTo>
                    <a:pt x="42" y="261"/>
                  </a:lnTo>
                  <a:lnTo>
                    <a:pt x="42" y="261"/>
                  </a:lnTo>
                  <a:lnTo>
                    <a:pt x="34" y="279"/>
                  </a:lnTo>
                  <a:lnTo>
                    <a:pt x="27" y="293"/>
                  </a:lnTo>
                  <a:lnTo>
                    <a:pt x="14" y="312"/>
                  </a:lnTo>
                  <a:lnTo>
                    <a:pt x="10" y="320"/>
                  </a:lnTo>
                  <a:lnTo>
                    <a:pt x="6" y="327"/>
                  </a:lnTo>
                  <a:lnTo>
                    <a:pt x="3" y="335"/>
                  </a:lnTo>
                  <a:lnTo>
                    <a:pt x="1" y="34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36" name="Freeform 33"/>
            <p:cNvSpPr>
              <a:spLocks/>
            </p:cNvSpPr>
            <p:nvPr userDrawn="1"/>
          </p:nvSpPr>
          <p:spPr bwMode="auto">
            <a:xfrm>
              <a:off x="741363" y="709613"/>
              <a:ext cx="39688" cy="46038"/>
            </a:xfrm>
            <a:custGeom>
              <a:avLst/>
              <a:gdLst>
                <a:gd name="T0" fmla="*/ 103 w 296"/>
                <a:gd name="T1" fmla="*/ 350 h 350"/>
                <a:gd name="T2" fmla="*/ 103 w 296"/>
                <a:gd name="T3" fmla="*/ 350 h 350"/>
                <a:gd name="T4" fmla="*/ 132 w 296"/>
                <a:gd name="T5" fmla="*/ 349 h 350"/>
                <a:gd name="T6" fmla="*/ 164 w 296"/>
                <a:gd name="T7" fmla="*/ 346 h 350"/>
                <a:gd name="T8" fmla="*/ 196 w 296"/>
                <a:gd name="T9" fmla="*/ 343 h 350"/>
                <a:gd name="T10" fmla="*/ 226 w 296"/>
                <a:gd name="T11" fmla="*/ 339 h 350"/>
                <a:gd name="T12" fmla="*/ 276 w 296"/>
                <a:gd name="T13" fmla="*/ 333 h 350"/>
                <a:gd name="T14" fmla="*/ 296 w 296"/>
                <a:gd name="T15" fmla="*/ 329 h 350"/>
                <a:gd name="T16" fmla="*/ 293 w 296"/>
                <a:gd name="T17" fmla="*/ 25 h 350"/>
                <a:gd name="T18" fmla="*/ 293 w 296"/>
                <a:gd name="T19" fmla="*/ 25 h 350"/>
                <a:gd name="T20" fmla="*/ 244 w 296"/>
                <a:gd name="T21" fmla="*/ 18 h 350"/>
                <a:gd name="T22" fmla="*/ 142 w 296"/>
                <a:gd name="T23" fmla="*/ 2 h 350"/>
                <a:gd name="T24" fmla="*/ 142 w 296"/>
                <a:gd name="T25" fmla="*/ 2 h 350"/>
                <a:gd name="T26" fmla="*/ 129 w 296"/>
                <a:gd name="T27" fmla="*/ 1 h 350"/>
                <a:gd name="T28" fmla="*/ 117 w 296"/>
                <a:gd name="T29" fmla="*/ 0 h 350"/>
                <a:gd name="T30" fmla="*/ 105 w 296"/>
                <a:gd name="T31" fmla="*/ 0 h 350"/>
                <a:gd name="T32" fmla="*/ 94 w 296"/>
                <a:gd name="T33" fmla="*/ 1 h 350"/>
                <a:gd name="T34" fmla="*/ 84 w 296"/>
                <a:gd name="T35" fmla="*/ 3 h 350"/>
                <a:gd name="T36" fmla="*/ 75 w 296"/>
                <a:gd name="T37" fmla="*/ 6 h 350"/>
                <a:gd name="T38" fmla="*/ 66 w 296"/>
                <a:gd name="T39" fmla="*/ 9 h 350"/>
                <a:gd name="T40" fmla="*/ 59 w 296"/>
                <a:gd name="T41" fmla="*/ 13 h 350"/>
                <a:gd name="T42" fmla="*/ 51 w 296"/>
                <a:gd name="T43" fmla="*/ 17 h 350"/>
                <a:gd name="T44" fmla="*/ 44 w 296"/>
                <a:gd name="T45" fmla="*/ 22 h 350"/>
                <a:gd name="T46" fmla="*/ 38 w 296"/>
                <a:gd name="T47" fmla="*/ 27 h 350"/>
                <a:gd name="T48" fmla="*/ 33 w 296"/>
                <a:gd name="T49" fmla="*/ 32 h 350"/>
                <a:gd name="T50" fmla="*/ 24 w 296"/>
                <a:gd name="T51" fmla="*/ 45 h 350"/>
                <a:gd name="T52" fmla="*/ 17 w 296"/>
                <a:gd name="T53" fmla="*/ 57 h 350"/>
                <a:gd name="T54" fmla="*/ 11 w 296"/>
                <a:gd name="T55" fmla="*/ 70 h 350"/>
                <a:gd name="T56" fmla="*/ 6 w 296"/>
                <a:gd name="T57" fmla="*/ 83 h 350"/>
                <a:gd name="T58" fmla="*/ 3 w 296"/>
                <a:gd name="T59" fmla="*/ 96 h 350"/>
                <a:gd name="T60" fmla="*/ 1 w 296"/>
                <a:gd name="T61" fmla="*/ 106 h 350"/>
                <a:gd name="T62" fmla="*/ 0 w 296"/>
                <a:gd name="T63" fmla="*/ 123 h 350"/>
                <a:gd name="T64" fmla="*/ 0 w 296"/>
                <a:gd name="T65" fmla="*/ 129 h 350"/>
                <a:gd name="T66" fmla="*/ 4 w 296"/>
                <a:gd name="T67" fmla="*/ 213 h 350"/>
                <a:gd name="T68" fmla="*/ 4 w 296"/>
                <a:gd name="T69" fmla="*/ 213 h 350"/>
                <a:gd name="T70" fmla="*/ 4 w 296"/>
                <a:gd name="T71" fmla="*/ 219 h 350"/>
                <a:gd name="T72" fmla="*/ 6 w 296"/>
                <a:gd name="T73" fmla="*/ 235 h 350"/>
                <a:gd name="T74" fmla="*/ 11 w 296"/>
                <a:gd name="T75" fmla="*/ 256 h 350"/>
                <a:gd name="T76" fmla="*/ 15 w 296"/>
                <a:gd name="T77" fmla="*/ 268 h 350"/>
                <a:gd name="T78" fmla="*/ 19 w 296"/>
                <a:gd name="T79" fmla="*/ 282 h 350"/>
                <a:gd name="T80" fmla="*/ 24 w 296"/>
                <a:gd name="T81" fmla="*/ 294 h 350"/>
                <a:gd name="T82" fmla="*/ 31 w 296"/>
                <a:gd name="T83" fmla="*/ 306 h 350"/>
                <a:gd name="T84" fmla="*/ 39 w 296"/>
                <a:gd name="T85" fmla="*/ 319 h 350"/>
                <a:gd name="T86" fmla="*/ 48 w 296"/>
                <a:gd name="T87" fmla="*/ 329 h 350"/>
                <a:gd name="T88" fmla="*/ 53 w 296"/>
                <a:gd name="T89" fmla="*/ 333 h 350"/>
                <a:gd name="T90" fmla="*/ 60 w 296"/>
                <a:gd name="T91" fmla="*/ 337 h 350"/>
                <a:gd name="T92" fmla="*/ 66 w 296"/>
                <a:gd name="T93" fmla="*/ 341 h 350"/>
                <a:gd name="T94" fmla="*/ 72 w 296"/>
                <a:gd name="T95" fmla="*/ 344 h 350"/>
                <a:gd name="T96" fmla="*/ 79 w 296"/>
                <a:gd name="T97" fmla="*/ 346 h 350"/>
                <a:gd name="T98" fmla="*/ 86 w 296"/>
                <a:gd name="T99" fmla="*/ 348 h 350"/>
                <a:gd name="T100" fmla="*/ 94 w 296"/>
                <a:gd name="T101" fmla="*/ 349 h 350"/>
                <a:gd name="T102" fmla="*/ 103 w 296"/>
                <a:gd name="T103" fmla="*/ 35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96" h="350">
                  <a:moveTo>
                    <a:pt x="103" y="350"/>
                  </a:moveTo>
                  <a:lnTo>
                    <a:pt x="103" y="350"/>
                  </a:lnTo>
                  <a:lnTo>
                    <a:pt x="132" y="349"/>
                  </a:lnTo>
                  <a:lnTo>
                    <a:pt x="164" y="346"/>
                  </a:lnTo>
                  <a:lnTo>
                    <a:pt x="196" y="343"/>
                  </a:lnTo>
                  <a:lnTo>
                    <a:pt x="226" y="339"/>
                  </a:lnTo>
                  <a:lnTo>
                    <a:pt x="276" y="333"/>
                  </a:lnTo>
                  <a:lnTo>
                    <a:pt x="296" y="329"/>
                  </a:lnTo>
                  <a:lnTo>
                    <a:pt x="293" y="25"/>
                  </a:lnTo>
                  <a:lnTo>
                    <a:pt x="293" y="25"/>
                  </a:lnTo>
                  <a:lnTo>
                    <a:pt x="244" y="18"/>
                  </a:lnTo>
                  <a:lnTo>
                    <a:pt x="142" y="2"/>
                  </a:lnTo>
                  <a:lnTo>
                    <a:pt x="142" y="2"/>
                  </a:lnTo>
                  <a:lnTo>
                    <a:pt x="129" y="1"/>
                  </a:lnTo>
                  <a:lnTo>
                    <a:pt x="117" y="0"/>
                  </a:lnTo>
                  <a:lnTo>
                    <a:pt x="105" y="0"/>
                  </a:lnTo>
                  <a:lnTo>
                    <a:pt x="94" y="1"/>
                  </a:lnTo>
                  <a:lnTo>
                    <a:pt x="84" y="3"/>
                  </a:lnTo>
                  <a:lnTo>
                    <a:pt x="75" y="6"/>
                  </a:lnTo>
                  <a:lnTo>
                    <a:pt x="66" y="9"/>
                  </a:lnTo>
                  <a:lnTo>
                    <a:pt x="59" y="13"/>
                  </a:lnTo>
                  <a:lnTo>
                    <a:pt x="51" y="17"/>
                  </a:lnTo>
                  <a:lnTo>
                    <a:pt x="44" y="22"/>
                  </a:lnTo>
                  <a:lnTo>
                    <a:pt x="38" y="27"/>
                  </a:lnTo>
                  <a:lnTo>
                    <a:pt x="33" y="32"/>
                  </a:lnTo>
                  <a:lnTo>
                    <a:pt x="24" y="45"/>
                  </a:lnTo>
                  <a:lnTo>
                    <a:pt x="17" y="57"/>
                  </a:lnTo>
                  <a:lnTo>
                    <a:pt x="11" y="70"/>
                  </a:lnTo>
                  <a:lnTo>
                    <a:pt x="6" y="83"/>
                  </a:lnTo>
                  <a:lnTo>
                    <a:pt x="3" y="96"/>
                  </a:lnTo>
                  <a:lnTo>
                    <a:pt x="1" y="106"/>
                  </a:lnTo>
                  <a:lnTo>
                    <a:pt x="0" y="123"/>
                  </a:lnTo>
                  <a:lnTo>
                    <a:pt x="0" y="129"/>
                  </a:lnTo>
                  <a:lnTo>
                    <a:pt x="4" y="213"/>
                  </a:lnTo>
                  <a:lnTo>
                    <a:pt x="4" y="213"/>
                  </a:lnTo>
                  <a:lnTo>
                    <a:pt x="4" y="219"/>
                  </a:lnTo>
                  <a:lnTo>
                    <a:pt x="6" y="235"/>
                  </a:lnTo>
                  <a:lnTo>
                    <a:pt x="11" y="256"/>
                  </a:lnTo>
                  <a:lnTo>
                    <a:pt x="15" y="268"/>
                  </a:lnTo>
                  <a:lnTo>
                    <a:pt x="19" y="282"/>
                  </a:lnTo>
                  <a:lnTo>
                    <a:pt x="24" y="294"/>
                  </a:lnTo>
                  <a:lnTo>
                    <a:pt x="31" y="306"/>
                  </a:lnTo>
                  <a:lnTo>
                    <a:pt x="39" y="319"/>
                  </a:lnTo>
                  <a:lnTo>
                    <a:pt x="48" y="329"/>
                  </a:lnTo>
                  <a:lnTo>
                    <a:pt x="53" y="333"/>
                  </a:lnTo>
                  <a:lnTo>
                    <a:pt x="60" y="337"/>
                  </a:lnTo>
                  <a:lnTo>
                    <a:pt x="66" y="341"/>
                  </a:lnTo>
                  <a:lnTo>
                    <a:pt x="72" y="344"/>
                  </a:lnTo>
                  <a:lnTo>
                    <a:pt x="79" y="346"/>
                  </a:lnTo>
                  <a:lnTo>
                    <a:pt x="86" y="348"/>
                  </a:lnTo>
                  <a:lnTo>
                    <a:pt x="94" y="349"/>
                  </a:lnTo>
                  <a:lnTo>
                    <a:pt x="103" y="35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37" name="Freeform 34"/>
            <p:cNvSpPr>
              <a:spLocks/>
            </p:cNvSpPr>
            <p:nvPr userDrawn="1"/>
          </p:nvSpPr>
          <p:spPr bwMode="auto">
            <a:xfrm>
              <a:off x="788988" y="698501"/>
              <a:ext cx="60325" cy="57150"/>
            </a:xfrm>
            <a:custGeom>
              <a:avLst/>
              <a:gdLst>
                <a:gd name="T0" fmla="*/ 450 w 450"/>
                <a:gd name="T1" fmla="*/ 290 h 425"/>
                <a:gd name="T2" fmla="*/ 450 w 450"/>
                <a:gd name="T3" fmla="*/ 225 h 425"/>
                <a:gd name="T4" fmla="*/ 449 w 450"/>
                <a:gd name="T5" fmla="*/ 54 h 425"/>
                <a:gd name="T6" fmla="*/ 444 w 450"/>
                <a:gd name="T7" fmla="*/ 20 h 425"/>
                <a:gd name="T8" fmla="*/ 436 w 450"/>
                <a:gd name="T9" fmla="*/ 3 h 425"/>
                <a:gd name="T10" fmla="*/ 429 w 450"/>
                <a:gd name="T11" fmla="*/ 0 h 425"/>
                <a:gd name="T12" fmla="*/ 367 w 450"/>
                <a:gd name="T13" fmla="*/ 2 h 425"/>
                <a:gd name="T14" fmla="*/ 362 w 450"/>
                <a:gd name="T15" fmla="*/ 14 h 425"/>
                <a:gd name="T16" fmla="*/ 347 w 450"/>
                <a:gd name="T17" fmla="*/ 59 h 425"/>
                <a:gd name="T18" fmla="*/ 325 w 450"/>
                <a:gd name="T19" fmla="*/ 2 h 425"/>
                <a:gd name="T20" fmla="*/ 261 w 450"/>
                <a:gd name="T21" fmla="*/ 2 h 425"/>
                <a:gd name="T22" fmla="*/ 242 w 450"/>
                <a:gd name="T23" fmla="*/ 16 h 425"/>
                <a:gd name="T24" fmla="*/ 224 w 450"/>
                <a:gd name="T25" fmla="*/ 64 h 425"/>
                <a:gd name="T26" fmla="*/ 192 w 450"/>
                <a:gd name="T27" fmla="*/ 4 h 425"/>
                <a:gd name="T28" fmla="*/ 135 w 450"/>
                <a:gd name="T29" fmla="*/ 6 h 425"/>
                <a:gd name="T30" fmla="*/ 127 w 450"/>
                <a:gd name="T31" fmla="*/ 11 h 425"/>
                <a:gd name="T32" fmla="*/ 110 w 450"/>
                <a:gd name="T33" fmla="*/ 53 h 425"/>
                <a:gd name="T34" fmla="*/ 86 w 450"/>
                <a:gd name="T35" fmla="*/ 6 h 425"/>
                <a:gd name="T36" fmla="*/ 38 w 450"/>
                <a:gd name="T37" fmla="*/ 6 h 425"/>
                <a:gd name="T38" fmla="*/ 25 w 450"/>
                <a:gd name="T39" fmla="*/ 10 h 425"/>
                <a:gd name="T40" fmla="*/ 10 w 450"/>
                <a:gd name="T41" fmla="*/ 28 h 425"/>
                <a:gd name="T42" fmla="*/ 1 w 450"/>
                <a:gd name="T43" fmla="*/ 55 h 425"/>
                <a:gd name="T44" fmla="*/ 1 w 450"/>
                <a:gd name="T45" fmla="*/ 141 h 425"/>
                <a:gd name="T46" fmla="*/ 5 w 450"/>
                <a:gd name="T47" fmla="*/ 324 h 425"/>
                <a:gd name="T48" fmla="*/ 27 w 450"/>
                <a:gd name="T49" fmla="*/ 401 h 425"/>
                <a:gd name="T50" fmla="*/ 54 w 450"/>
                <a:gd name="T51" fmla="*/ 396 h 425"/>
                <a:gd name="T52" fmla="*/ 74 w 450"/>
                <a:gd name="T53" fmla="*/ 384 h 425"/>
                <a:gd name="T54" fmla="*/ 83 w 450"/>
                <a:gd name="T55" fmla="*/ 374 h 425"/>
                <a:gd name="T56" fmla="*/ 100 w 450"/>
                <a:gd name="T57" fmla="*/ 341 h 425"/>
                <a:gd name="T58" fmla="*/ 105 w 450"/>
                <a:gd name="T59" fmla="*/ 317 h 425"/>
                <a:gd name="T60" fmla="*/ 105 w 450"/>
                <a:gd name="T61" fmla="*/ 367 h 425"/>
                <a:gd name="T62" fmla="*/ 108 w 450"/>
                <a:gd name="T63" fmla="*/ 420 h 425"/>
                <a:gd name="T64" fmla="*/ 116 w 450"/>
                <a:gd name="T65" fmla="*/ 424 h 425"/>
                <a:gd name="T66" fmla="*/ 150 w 450"/>
                <a:gd name="T67" fmla="*/ 423 h 425"/>
                <a:gd name="T68" fmla="*/ 176 w 450"/>
                <a:gd name="T69" fmla="*/ 412 h 425"/>
                <a:gd name="T70" fmla="*/ 189 w 450"/>
                <a:gd name="T71" fmla="*/ 402 h 425"/>
                <a:gd name="T72" fmla="*/ 209 w 450"/>
                <a:gd name="T73" fmla="*/ 368 h 425"/>
                <a:gd name="T74" fmla="*/ 224 w 450"/>
                <a:gd name="T75" fmla="*/ 317 h 425"/>
                <a:gd name="T76" fmla="*/ 225 w 450"/>
                <a:gd name="T77" fmla="*/ 381 h 425"/>
                <a:gd name="T78" fmla="*/ 229 w 450"/>
                <a:gd name="T79" fmla="*/ 419 h 425"/>
                <a:gd name="T80" fmla="*/ 237 w 450"/>
                <a:gd name="T81" fmla="*/ 421 h 425"/>
                <a:gd name="T82" fmla="*/ 266 w 450"/>
                <a:gd name="T83" fmla="*/ 418 h 425"/>
                <a:gd name="T84" fmla="*/ 300 w 450"/>
                <a:gd name="T85" fmla="*/ 405 h 425"/>
                <a:gd name="T86" fmla="*/ 309 w 450"/>
                <a:gd name="T87" fmla="*/ 397 h 425"/>
                <a:gd name="T88" fmla="*/ 331 w 450"/>
                <a:gd name="T89" fmla="*/ 367 h 425"/>
                <a:gd name="T90" fmla="*/ 342 w 450"/>
                <a:gd name="T91" fmla="*/ 334 h 425"/>
                <a:gd name="T92" fmla="*/ 345 w 450"/>
                <a:gd name="T93" fmla="*/ 346 h 425"/>
                <a:gd name="T94" fmla="*/ 348 w 450"/>
                <a:gd name="T95" fmla="*/ 391 h 425"/>
                <a:gd name="T96" fmla="*/ 379 w 450"/>
                <a:gd name="T97" fmla="*/ 386 h 425"/>
                <a:gd name="T98" fmla="*/ 404 w 450"/>
                <a:gd name="T99" fmla="*/ 375 h 425"/>
                <a:gd name="T100" fmla="*/ 425 w 450"/>
                <a:gd name="T101" fmla="*/ 360 h 425"/>
                <a:gd name="T102" fmla="*/ 439 w 450"/>
                <a:gd name="T103" fmla="*/ 342 h 425"/>
                <a:gd name="T104" fmla="*/ 448 w 450"/>
                <a:gd name="T105" fmla="*/ 311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50" h="425">
                  <a:moveTo>
                    <a:pt x="448" y="311"/>
                  </a:moveTo>
                  <a:lnTo>
                    <a:pt x="448" y="311"/>
                  </a:lnTo>
                  <a:lnTo>
                    <a:pt x="450" y="290"/>
                  </a:lnTo>
                  <a:lnTo>
                    <a:pt x="450" y="268"/>
                  </a:lnTo>
                  <a:lnTo>
                    <a:pt x="450" y="225"/>
                  </a:lnTo>
                  <a:lnTo>
                    <a:pt x="450" y="225"/>
                  </a:lnTo>
                  <a:lnTo>
                    <a:pt x="449" y="64"/>
                  </a:lnTo>
                  <a:lnTo>
                    <a:pt x="449" y="64"/>
                  </a:lnTo>
                  <a:lnTo>
                    <a:pt x="449" y="54"/>
                  </a:lnTo>
                  <a:lnTo>
                    <a:pt x="448" y="44"/>
                  </a:lnTo>
                  <a:lnTo>
                    <a:pt x="447" y="33"/>
                  </a:lnTo>
                  <a:lnTo>
                    <a:pt x="444" y="20"/>
                  </a:lnTo>
                  <a:lnTo>
                    <a:pt x="441" y="10"/>
                  </a:lnTo>
                  <a:lnTo>
                    <a:pt x="439" y="6"/>
                  </a:lnTo>
                  <a:lnTo>
                    <a:pt x="436" y="3"/>
                  </a:lnTo>
                  <a:lnTo>
                    <a:pt x="433" y="1"/>
                  </a:lnTo>
                  <a:lnTo>
                    <a:pt x="429" y="0"/>
                  </a:lnTo>
                  <a:lnTo>
                    <a:pt x="429" y="0"/>
                  </a:lnTo>
                  <a:lnTo>
                    <a:pt x="396" y="0"/>
                  </a:lnTo>
                  <a:lnTo>
                    <a:pt x="378" y="1"/>
                  </a:lnTo>
                  <a:lnTo>
                    <a:pt x="367" y="2"/>
                  </a:lnTo>
                  <a:lnTo>
                    <a:pt x="367" y="2"/>
                  </a:lnTo>
                  <a:lnTo>
                    <a:pt x="364" y="7"/>
                  </a:lnTo>
                  <a:lnTo>
                    <a:pt x="362" y="14"/>
                  </a:lnTo>
                  <a:lnTo>
                    <a:pt x="356" y="33"/>
                  </a:lnTo>
                  <a:lnTo>
                    <a:pt x="350" y="52"/>
                  </a:lnTo>
                  <a:lnTo>
                    <a:pt x="347" y="59"/>
                  </a:lnTo>
                  <a:lnTo>
                    <a:pt x="345" y="64"/>
                  </a:lnTo>
                  <a:lnTo>
                    <a:pt x="325" y="2"/>
                  </a:lnTo>
                  <a:lnTo>
                    <a:pt x="325" y="2"/>
                  </a:lnTo>
                  <a:lnTo>
                    <a:pt x="309" y="1"/>
                  </a:lnTo>
                  <a:lnTo>
                    <a:pt x="286" y="1"/>
                  </a:lnTo>
                  <a:lnTo>
                    <a:pt x="261" y="2"/>
                  </a:lnTo>
                  <a:lnTo>
                    <a:pt x="247" y="4"/>
                  </a:lnTo>
                  <a:lnTo>
                    <a:pt x="247" y="4"/>
                  </a:lnTo>
                  <a:lnTo>
                    <a:pt x="242" y="16"/>
                  </a:lnTo>
                  <a:lnTo>
                    <a:pt x="236" y="34"/>
                  </a:lnTo>
                  <a:lnTo>
                    <a:pt x="229" y="52"/>
                  </a:lnTo>
                  <a:lnTo>
                    <a:pt x="224" y="64"/>
                  </a:lnTo>
                  <a:lnTo>
                    <a:pt x="205" y="5"/>
                  </a:lnTo>
                  <a:lnTo>
                    <a:pt x="205" y="5"/>
                  </a:lnTo>
                  <a:lnTo>
                    <a:pt x="192" y="4"/>
                  </a:lnTo>
                  <a:lnTo>
                    <a:pt x="168" y="4"/>
                  </a:lnTo>
                  <a:lnTo>
                    <a:pt x="144" y="5"/>
                  </a:lnTo>
                  <a:lnTo>
                    <a:pt x="135" y="6"/>
                  </a:lnTo>
                  <a:lnTo>
                    <a:pt x="131" y="6"/>
                  </a:lnTo>
                  <a:lnTo>
                    <a:pt x="131" y="6"/>
                  </a:lnTo>
                  <a:lnTo>
                    <a:pt x="127" y="11"/>
                  </a:lnTo>
                  <a:lnTo>
                    <a:pt x="124" y="18"/>
                  </a:lnTo>
                  <a:lnTo>
                    <a:pt x="117" y="36"/>
                  </a:lnTo>
                  <a:lnTo>
                    <a:pt x="110" y="53"/>
                  </a:lnTo>
                  <a:lnTo>
                    <a:pt x="105" y="64"/>
                  </a:lnTo>
                  <a:lnTo>
                    <a:pt x="86" y="6"/>
                  </a:lnTo>
                  <a:lnTo>
                    <a:pt x="86" y="6"/>
                  </a:lnTo>
                  <a:lnTo>
                    <a:pt x="69" y="6"/>
                  </a:lnTo>
                  <a:lnTo>
                    <a:pt x="38" y="6"/>
                  </a:lnTo>
                  <a:lnTo>
                    <a:pt x="38" y="6"/>
                  </a:lnTo>
                  <a:lnTo>
                    <a:pt x="33" y="7"/>
                  </a:lnTo>
                  <a:lnTo>
                    <a:pt x="29" y="8"/>
                  </a:lnTo>
                  <a:lnTo>
                    <a:pt x="25" y="10"/>
                  </a:lnTo>
                  <a:lnTo>
                    <a:pt x="21" y="12"/>
                  </a:lnTo>
                  <a:lnTo>
                    <a:pt x="15" y="19"/>
                  </a:lnTo>
                  <a:lnTo>
                    <a:pt x="10" y="28"/>
                  </a:lnTo>
                  <a:lnTo>
                    <a:pt x="5" y="36"/>
                  </a:lnTo>
                  <a:lnTo>
                    <a:pt x="2" y="46"/>
                  </a:lnTo>
                  <a:lnTo>
                    <a:pt x="1" y="55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1" y="141"/>
                  </a:lnTo>
                  <a:lnTo>
                    <a:pt x="2" y="220"/>
                  </a:lnTo>
                  <a:lnTo>
                    <a:pt x="2" y="220"/>
                  </a:lnTo>
                  <a:lnTo>
                    <a:pt x="5" y="324"/>
                  </a:lnTo>
                  <a:lnTo>
                    <a:pt x="8" y="402"/>
                  </a:lnTo>
                  <a:lnTo>
                    <a:pt x="8" y="402"/>
                  </a:lnTo>
                  <a:lnTo>
                    <a:pt x="27" y="401"/>
                  </a:lnTo>
                  <a:lnTo>
                    <a:pt x="37" y="399"/>
                  </a:lnTo>
                  <a:lnTo>
                    <a:pt x="45" y="398"/>
                  </a:lnTo>
                  <a:lnTo>
                    <a:pt x="54" y="396"/>
                  </a:lnTo>
                  <a:lnTo>
                    <a:pt x="62" y="393"/>
                  </a:lnTo>
                  <a:lnTo>
                    <a:pt x="68" y="388"/>
                  </a:lnTo>
                  <a:lnTo>
                    <a:pt x="74" y="384"/>
                  </a:lnTo>
                  <a:lnTo>
                    <a:pt x="74" y="384"/>
                  </a:lnTo>
                  <a:lnTo>
                    <a:pt x="79" y="379"/>
                  </a:lnTo>
                  <a:lnTo>
                    <a:pt x="83" y="374"/>
                  </a:lnTo>
                  <a:lnTo>
                    <a:pt x="90" y="363"/>
                  </a:lnTo>
                  <a:lnTo>
                    <a:pt x="95" y="352"/>
                  </a:lnTo>
                  <a:lnTo>
                    <a:pt x="100" y="341"/>
                  </a:lnTo>
                  <a:lnTo>
                    <a:pt x="103" y="331"/>
                  </a:lnTo>
                  <a:lnTo>
                    <a:pt x="104" y="324"/>
                  </a:lnTo>
                  <a:lnTo>
                    <a:pt x="105" y="317"/>
                  </a:lnTo>
                  <a:lnTo>
                    <a:pt x="105" y="317"/>
                  </a:lnTo>
                  <a:lnTo>
                    <a:pt x="105" y="337"/>
                  </a:lnTo>
                  <a:lnTo>
                    <a:pt x="105" y="367"/>
                  </a:lnTo>
                  <a:lnTo>
                    <a:pt x="106" y="397"/>
                  </a:lnTo>
                  <a:lnTo>
                    <a:pt x="108" y="420"/>
                  </a:lnTo>
                  <a:lnTo>
                    <a:pt x="108" y="420"/>
                  </a:lnTo>
                  <a:lnTo>
                    <a:pt x="108" y="421"/>
                  </a:lnTo>
                  <a:lnTo>
                    <a:pt x="110" y="422"/>
                  </a:lnTo>
                  <a:lnTo>
                    <a:pt x="116" y="424"/>
                  </a:lnTo>
                  <a:lnTo>
                    <a:pt x="125" y="425"/>
                  </a:lnTo>
                  <a:lnTo>
                    <a:pt x="136" y="425"/>
                  </a:lnTo>
                  <a:lnTo>
                    <a:pt x="150" y="423"/>
                  </a:lnTo>
                  <a:lnTo>
                    <a:pt x="163" y="418"/>
                  </a:lnTo>
                  <a:lnTo>
                    <a:pt x="169" y="415"/>
                  </a:lnTo>
                  <a:lnTo>
                    <a:pt x="176" y="412"/>
                  </a:lnTo>
                  <a:lnTo>
                    <a:pt x="182" y="407"/>
                  </a:lnTo>
                  <a:lnTo>
                    <a:pt x="189" y="402"/>
                  </a:lnTo>
                  <a:lnTo>
                    <a:pt x="189" y="402"/>
                  </a:lnTo>
                  <a:lnTo>
                    <a:pt x="197" y="392"/>
                  </a:lnTo>
                  <a:lnTo>
                    <a:pt x="204" y="380"/>
                  </a:lnTo>
                  <a:lnTo>
                    <a:pt x="209" y="368"/>
                  </a:lnTo>
                  <a:lnTo>
                    <a:pt x="213" y="356"/>
                  </a:lnTo>
                  <a:lnTo>
                    <a:pt x="220" y="333"/>
                  </a:lnTo>
                  <a:lnTo>
                    <a:pt x="224" y="317"/>
                  </a:lnTo>
                  <a:lnTo>
                    <a:pt x="224" y="317"/>
                  </a:lnTo>
                  <a:lnTo>
                    <a:pt x="224" y="348"/>
                  </a:lnTo>
                  <a:lnTo>
                    <a:pt x="225" y="381"/>
                  </a:lnTo>
                  <a:lnTo>
                    <a:pt x="227" y="408"/>
                  </a:lnTo>
                  <a:lnTo>
                    <a:pt x="228" y="417"/>
                  </a:lnTo>
                  <a:lnTo>
                    <a:pt x="229" y="419"/>
                  </a:lnTo>
                  <a:lnTo>
                    <a:pt x="230" y="420"/>
                  </a:lnTo>
                  <a:lnTo>
                    <a:pt x="230" y="420"/>
                  </a:lnTo>
                  <a:lnTo>
                    <a:pt x="237" y="421"/>
                  </a:lnTo>
                  <a:lnTo>
                    <a:pt x="245" y="421"/>
                  </a:lnTo>
                  <a:lnTo>
                    <a:pt x="255" y="420"/>
                  </a:lnTo>
                  <a:lnTo>
                    <a:pt x="266" y="418"/>
                  </a:lnTo>
                  <a:lnTo>
                    <a:pt x="277" y="415"/>
                  </a:lnTo>
                  <a:lnTo>
                    <a:pt x="289" y="411"/>
                  </a:lnTo>
                  <a:lnTo>
                    <a:pt x="300" y="405"/>
                  </a:lnTo>
                  <a:lnTo>
                    <a:pt x="305" y="401"/>
                  </a:lnTo>
                  <a:lnTo>
                    <a:pt x="309" y="397"/>
                  </a:lnTo>
                  <a:lnTo>
                    <a:pt x="309" y="397"/>
                  </a:lnTo>
                  <a:lnTo>
                    <a:pt x="317" y="387"/>
                  </a:lnTo>
                  <a:lnTo>
                    <a:pt x="325" y="377"/>
                  </a:lnTo>
                  <a:lnTo>
                    <a:pt x="331" y="367"/>
                  </a:lnTo>
                  <a:lnTo>
                    <a:pt x="336" y="356"/>
                  </a:lnTo>
                  <a:lnTo>
                    <a:pt x="339" y="345"/>
                  </a:lnTo>
                  <a:lnTo>
                    <a:pt x="342" y="334"/>
                  </a:lnTo>
                  <a:lnTo>
                    <a:pt x="345" y="317"/>
                  </a:lnTo>
                  <a:lnTo>
                    <a:pt x="345" y="317"/>
                  </a:lnTo>
                  <a:lnTo>
                    <a:pt x="345" y="346"/>
                  </a:lnTo>
                  <a:lnTo>
                    <a:pt x="346" y="370"/>
                  </a:lnTo>
                  <a:lnTo>
                    <a:pt x="348" y="391"/>
                  </a:lnTo>
                  <a:lnTo>
                    <a:pt x="348" y="391"/>
                  </a:lnTo>
                  <a:lnTo>
                    <a:pt x="362" y="390"/>
                  </a:lnTo>
                  <a:lnTo>
                    <a:pt x="371" y="388"/>
                  </a:lnTo>
                  <a:lnTo>
                    <a:pt x="379" y="386"/>
                  </a:lnTo>
                  <a:lnTo>
                    <a:pt x="379" y="386"/>
                  </a:lnTo>
                  <a:lnTo>
                    <a:pt x="393" y="380"/>
                  </a:lnTo>
                  <a:lnTo>
                    <a:pt x="404" y="375"/>
                  </a:lnTo>
                  <a:lnTo>
                    <a:pt x="415" y="368"/>
                  </a:lnTo>
                  <a:lnTo>
                    <a:pt x="415" y="368"/>
                  </a:lnTo>
                  <a:lnTo>
                    <a:pt x="425" y="360"/>
                  </a:lnTo>
                  <a:lnTo>
                    <a:pt x="430" y="355"/>
                  </a:lnTo>
                  <a:lnTo>
                    <a:pt x="435" y="349"/>
                  </a:lnTo>
                  <a:lnTo>
                    <a:pt x="439" y="342"/>
                  </a:lnTo>
                  <a:lnTo>
                    <a:pt x="443" y="333"/>
                  </a:lnTo>
                  <a:lnTo>
                    <a:pt x="446" y="323"/>
                  </a:lnTo>
                  <a:lnTo>
                    <a:pt x="448" y="311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38" name="Freeform 35"/>
            <p:cNvSpPr>
              <a:spLocks/>
            </p:cNvSpPr>
            <p:nvPr userDrawn="1"/>
          </p:nvSpPr>
          <p:spPr bwMode="auto">
            <a:xfrm>
              <a:off x="796926" y="701676"/>
              <a:ext cx="73025" cy="80963"/>
            </a:xfrm>
            <a:custGeom>
              <a:avLst/>
              <a:gdLst>
                <a:gd name="T0" fmla="*/ 554 w 554"/>
                <a:gd name="T1" fmla="*/ 356 h 620"/>
                <a:gd name="T2" fmla="*/ 549 w 554"/>
                <a:gd name="T3" fmla="*/ 350 h 620"/>
                <a:gd name="T4" fmla="*/ 535 w 554"/>
                <a:gd name="T5" fmla="*/ 331 h 620"/>
                <a:gd name="T6" fmla="*/ 525 w 554"/>
                <a:gd name="T7" fmla="*/ 306 h 620"/>
                <a:gd name="T8" fmla="*/ 520 w 554"/>
                <a:gd name="T9" fmla="*/ 285 h 620"/>
                <a:gd name="T10" fmla="*/ 516 w 554"/>
                <a:gd name="T11" fmla="*/ 258 h 620"/>
                <a:gd name="T12" fmla="*/ 515 w 554"/>
                <a:gd name="T13" fmla="*/ 243 h 620"/>
                <a:gd name="T14" fmla="*/ 516 w 554"/>
                <a:gd name="T15" fmla="*/ 222 h 620"/>
                <a:gd name="T16" fmla="*/ 520 w 554"/>
                <a:gd name="T17" fmla="*/ 202 h 620"/>
                <a:gd name="T18" fmla="*/ 532 w 554"/>
                <a:gd name="T19" fmla="*/ 167 h 620"/>
                <a:gd name="T20" fmla="*/ 546 w 554"/>
                <a:gd name="T21" fmla="*/ 142 h 620"/>
                <a:gd name="T22" fmla="*/ 551 w 554"/>
                <a:gd name="T23" fmla="*/ 43 h 620"/>
                <a:gd name="T24" fmla="*/ 542 w 554"/>
                <a:gd name="T25" fmla="*/ 36 h 620"/>
                <a:gd name="T26" fmla="*/ 504 w 554"/>
                <a:gd name="T27" fmla="*/ 13 h 620"/>
                <a:gd name="T28" fmla="*/ 482 w 554"/>
                <a:gd name="T29" fmla="*/ 2 h 620"/>
                <a:gd name="T30" fmla="*/ 470 w 554"/>
                <a:gd name="T31" fmla="*/ 0 h 620"/>
                <a:gd name="T32" fmla="*/ 465 w 554"/>
                <a:gd name="T33" fmla="*/ 327 h 620"/>
                <a:gd name="T34" fmla="*/ 465 w 554"/>
                <a:gd name="T35" fmla="*/ 339 h 620"/>
                <a:gd name="T36" fmla="*/ 458 w 554"/>
                <a:gd name="T37" fmla="*/ 360 h 620"/>
                <a:gd name="T38" fmla="*/ 444 w 554"/>
                <a:gd name="T39" fmla="*/ 382 h 620"/>
                <a:gd name="T40" fmla="*/ 426 w 554"/>
                <a:gd name="T41" fmla="*/ 402 h 620"/>
                <a:gd name="T42" fmla="*/ 405 w 554"/>
                <a:gd name="T43" fmla="*/ 421 h 620"/>
                <a:gd name="T44" fmla="*/ 380 w 554"/>
                <a:gd name="T45" fmla="*/ 437 h 620"/>
                <a:gd name="T46" fmla="*/ 353 w 554"/>
                <a:gd name="T47" fmla="*/ 449 h 620"/>
                <a:gd name="T48" fmla="*/ 327 w 554"/>
                <a:gd name="T49" fmla="*/ 458 h 620"/>
                <a:gd name="T50" fmla="*/ 314 w 554"/>
                <a:gd name="T51" fmla="*/ 461 h 620"/>
                <a:gd name="T52" fmla="*/ 255 w 554"/>
                <a:gd name="T53" fmla="*/ 471 h 620"/>
                <a:gd name="T54" fmla="*/ 199 w 554"/>
                <a:gd name="T55" fmla="*/ 477 h 620"/>
                <a:gd name="T56" fmla="*/ 98 w 554"/>
                <a:gd name="T57" fmla="*/ 482 h 620"/>
                <a:gd name="T58" fmla="*/ 27 w 554"/>
                <a:gd name="T59" fmla="*/ 482 h 620"/>
                <a:gd name="T60" fmla="*/ 0 w 554"/>
                <a:gd name="T61" fmla="*/ 481 h 620"/>
                <a:gd name="T62" fmla="*/ 4 w 554"/>
                <a:gd name="T63" fmla="*/ 508 h 620"/>
                <a:gd name="T64" fmla="*/ 13 w 554"/>
                <a:gd name="T65" fmla="*/ 550 h 620"/>
                <a:gd name="T66" fmla="*/ 18 w 554"/>
                <a:gd name="T67" fmla="*/ 566 h 620"/>
                <a:gd name="T68" fmla="*/ 29 w 554"/>
                <a:gd name="T69" fmla="*/ 586 h 620"/>
                <a:gd name="T70" fmla="*/ 44 w 554"/>
                <a:gd name="T71" fmla="*/ 604 h 620"/>
                <a:gd name="T72" fmla="*/ 62 w 554"/>
                <a:gd name="T73" fmla="*/ 620 h 620"/>
                <a:gd name="T74" fmla="*/ 554 w 554"/>
                <a:gd name="T75" fmla="*/ 450 h 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54" h="620">
                  <a:moveTo>
                    <a:pt x="554" y="450"/>
                  </a:moveTo>
                  <a:lnTo>
                    <a:pt x="554" y="356"/>
                  </a:lnTo>
                  <a:lnTo>
                    <a:pt x="554" y="356"/>
                  </a:lnTo>
                  <a:lnTo>
                    <a:pt x="549" y="350"/>
                  </a:lnTo>
                  <a:lnTo>
                    <a:pt x="543" y="342"/>
                  </a:lnTo>
                  <a:lnTo>
                    <a:pt x="535" y="331"/>
                  </a:lnTo>
                  <a:lnTo>
                    <a:pt x="528" y="315"/>
                  </a:lnTo>
                  <a:lnTo>
                    <a:pt x="525" y="306"/>
                  </a:lnTo>
                  <a:lnTo>
                    <a:pt x="522" y="296"/>
                  </a:lnTo>
                  <a:lnTo>
                    <a:pt x="520" y="285"/>
                  </a:lnTo>
                  <a:lnTo>
                    <a:pt x="517" y="271"/>
                  </a:lnTo>
                  <a:lnTo>
                    <a:pt x="516" y="258"/>
                  </a:lnTo>
                  <a:lnTo>
                    <a:pt x="515" y="243"/>
                  </a:lnTo>
                  <a:lnTo>
                    <a:pt x="515" y="243"/>
                  </a:lnTo>
                  <a:lnTo>
                    <a:pt x="515" y="232"/>
                  </a:lnTo>
                  <a:lnTo>
                    <a:pt x="516" y="222"/>
                  </a:lnTo>
                  <a:lnTo>
                    <a:pt x="517" y="212"/>
                  </a:lnTo>
                  <a:lnTo>
                    <a:pt x="520" y="202"/>
                  </a:lnTo>
                  <a:lnTo>
                    <a:pt x="526" y="183"/>
                  </a:lnTo>
                  <a:lnTo>
                    <a:pt x="532" y="167"/>
                  </a:lnTo>
                  <a:lnTo>
                    <a:pt x="540" y="154"/>
                  </a:lnTo>
                  <a:lnTo>
                    <a:pt x="546" y="142"/>
                  </a:lnTo>
                  <a:lnTo>
                    <a:pt x="552" y="133"/>
                  </a:lnTo>
                  <a:lnTo>
                    <a:pt x="551" y="43"/>
                  </a:lnTo>
                  <a:lnTo>
                    <a:pt x="551" y="43"/>
                  </a:lnTo>
                  <a:lnTo>
                    <a:pt x="542" y="36"/>
                  </a:lnTo>
                  <a:lnTo>
                    <a:pt x="518" y="21"/>
                  </a:lnTo>
                  <a:lnTo>
                    <a:pt x="504" y="13"/>
                  </a:lnTo>
                  <a:lnTo>
                    <a:pt x="489" y="5"/>
                  </a:lnTo>
                  <a:lnTo>
                    <a:pt x="482" y="2"/>
                  </a:lnTo>
                  <a:lnTo>
                    <a:pt x="476" y="1"/>
                  </a:lnTo>
                  <a:lnTo>
                    <a:pt x="470" y="0"/>
                  </a:lnTo>
                  <a:lnTo>
                    <a:pt x="464" y="0"/>
                  </a:lnTo>
                  <a:lnTo>
                    <a:pt x="465" y="327"/>
                  </a:lnTo>
                  <a:lnTo>
                    <a:pt x="465" y="327"/>
                  </a:lnTo>
                  <a:lnTo>
                    <a:pt x="465" y="339"/>
                  </a:lnTo>
                  <a:lnTo>
                    <a:pt x="462" y="349"/>
                  </a:lnTo>
                  <a:lnTo>
                    <a:pt x="458" y="360"/>
                  </a:lnTo>
                  <a:lnTo>
                    <a:pt x="452" y="370"/>
                  </a:lnTo>
                  <a:lnTo>
                    <a:pt x="444" y="382"/>
                  </a:lnTo>
                  <a:lnTo>
                    <a:pt x="436" y="392"/>
                  </a:lnTo>
                  <a:lnTo>
                    <a:pt x="426" y="402"/>
                  </a:lnTo>
                  <a:lnTo>
                    <a:pt x="416" y="411"/>
                  </a:lnTo>
                  <a:lnTo>
                    <a:pt x="405" y="421"/>
                  </a:lnTo>
                  <a:lnTo>
                    <a:pt x="392" y="429"/>
                  </a:lnTo>
                  <a:lnTo>
                    <a:pt x="380" y="437"/>
                  </a:lnTo>
                  <a:lnTo>
                    <a:pt x="367" y="443"/>
                  </a:lnTo>
                  <a:lnTo>
                    <a:pt x="353" y="449"/>
                  </a:lnTo>
                  <a:lnTo>
                    <a:pt x="340" y="454"/>
                  </a:lnTo>
                  <a:lnTo>
                    <a:pt x="327" y="458"/>
                  </a:lnTo>
                  <a:lnTo>
                    <a:pt x="314" y="461"/>
                  </a:lnTo>
                  <a:lnTo>
                    <a:pt x="314" y="461"/>
                  </a:lnTo>
                  <a:lnTo>
                    <a:pt x="284" y="467"/>
                  </a:lnTo>
                  <a:lnTo>
                    <a:pt x="255" y="471"/>
                  </a:lnTo>
                  <a:lnTo>
                    <a:pt x="227" y="474"/>
                  </a:lnTo>
                  <a:lnTo>
                    <a:pt x="199" y="477"/>
                  </a:lnTo>
                  <a:lnTo>
                    <a:pt x="146" y="480"/>
                  </a:lnTo>
                  <a:lnTo>
                    <a:pt x="98" y="482"/>
                  </a:lnTo>
                  <a:lnTo>
                    <a:pt x="58" y="482"/>
                  </a:lnTo>
                  <a:lnTo>
                    <a:pt x="27" y="482"/>
                  </a:lnTo>
                  <a:lnTo>
                    <a:pt x="0" y="481"/>
                  </a:lnTo>
                  <a:lnTo>
                    <a:pt x="0" y="481"/>
                  </a:lnTo>
                  <a:lnTo>
                    <a:pt x="1" y="488"/>
                  </a:lnTo>
                  <a:lnTo>
                    <a:pt x="4" y="508"/>
                  </a:lnTo>
                  <a:lnTo>
                    <a:pt x="10" y="535"/>
                  </a:lnTo>
                  <a:lnTo>
                    <a:pt x="13" y="550"/>
                  </a:lnTo>
                  <a:lnTo>
                    <a:pt x="18" y="566"/>
                  </a:lnTo>
                  <a:lnTo>
                    <a:pt x="18" y="566"/>
                  </a:lnTo>
                  <a:lnTo>
                    <a:pt x="23" y="576"/>
                  </a:lnTo>
                  <a:lnTo>
                    <a:pt x="29" y="586"/>
                  </a:lnTo>
                  <a:lnTo>
                    <a:pt x="36" y="595"/>
                  </a:lnTo>
                  <a:lnTo>
                    <a:pt x="44" y="604"/>
                  </a:lnTo>
                  <a:lnTo>
                    <a:pt x="57" y="616"/>
                  </a:lnTo>
                  <a:lnTo>
                    <a:pt x="62" y="620"/>
                  </a:lnTo>
                  <a:lnTo>
                    <a:pt x="451" y="620"/>
                  </a:lnTo>
                  <a:lnTo>
                    <a:pt x="554" y="45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39" name="Freeform 36"/>
            <p:cNvSpPr>
              <a:spLocks/>
            </p:cNvSpPr>
            <p:nvPr userDrawn="1"/>
          </p:nvSpPr>
          <p:spPr bwMode="auto">
            <a:xfrm>
              <a:off x="803276" y="793751"/>
              <a:ext cx="57150" cy="17463"/>
            </a:xfrm>
            <a:custGeom>
              <a:avLst/>
              <a:gdLst>
                <a:gd name="T0" fmla="*/ 20 w 435"/>
                <a:gd name="T1" fmla="*/ 142 h 142"/>
                <a:gd name="T2" fmla="*/ 411 w 435"/>
                <a:gd name="T3" fmla="*/ 142 h 142"/>
                <a:gd name="T4" fmla="*/ 411 w 435"/>
                <a:gd name="T5" fmla="*/ 142 h 142"/>
                <a:gd name="T6" fmla="*/ 422 w 435"/>
                <a:gd name="T7" fmla="*/ 109 h 142"/>
                <a:gd name="T8" fmla="*/ 430 w 435"/>
                <a:gd name="T9" fmla="*/ 83 h 142"/>
                <a:gd name="T10" fmla="*/ 433 w 435"/>
                <a:gd name="T11" fmla="*/ 72 h 142"/>
                <a:gd name="T12" fmla="*/ 435 w 435"/>
                <a:gd name="T13" fmla="*/ 63 h 142"/>
                <a:gd name="T14" fmla="*/ 417 w 435"/>
                <a:gd name="T15" fmla="*/ 0 h 142"/>
                <a:gd name="T16" fmla="*/ 22 w 435"/>
                <a:gd name="T17" fmla="*/ 0 h 142"/>
                <a:gd name="T18" fmla="*/ 0 w 435"/>
                <a:gd name="T19" fmla="*/ 65 h 142"/>
                <a:gd name="T20" fmla="*/ 20 w 435"/>
                <a:gd name="T21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35" h="142">
                  <a:moveTo>
                    <a:pt x="20" y="142"/>
                  </a:moveTo>
                  <a:lnTo>
                    <a:pt x="411" y="142"/>
                  </a:lnTo>
                  <a:lnTo>
                    <a:pt x="411" y="142"/>
                  </a:lnTo>
                  <a:lnTo>
                    <a:pt x="422" y="109"/>
                  </a:lnTo>
                  <a:lnTo>
                    <a:pt x="430" y="83"/>
                  </a:lnTo>
                  <a:lnTo>
                    <a:pt x="433" y="72"/>
                  </a:lnTo>
                  <a:lnTo>
                    <a:pt x="435" y="63"/>
                  </a:lnTo>
                  <a:lnTo>
                    <a:pt x="417" y="0"/>
                  </a:lnTo>
                  <a:lnTo>
                    <a:pt x="22" y="0"/>
                  </a:lnTo>
                  <a:lnTo>
                    <a:pt x="0" y="65"/>
                  </a:lnTo>
                  <a:lnTo>
                    <a:pt x="20" y="14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40" name="Freeform 37"/>
            <p:cNvSpPr>
              <a:spLocks/>
            </p:cNvSpPr>
            <p:nvPr userDrawn="1"/>
          </p:nvSpPr>
          <p:spPr bwMode="auto">
            <a:xfrm>
              <a:off x="806451" y="822326"/>
              <a:ext cx="57150" cy="66675"/>
            </a:xfrm>
            <a:custGeom>
              <a:avLst/>
              <a:gdLst>
                <a:gd name="T0" fmla="*/ 384 w 436"/>
                <a:gd name="T1" fmla="*/ 0 h 514"/>
                <a:gd name="T2" fmla="*/ 2 w 436"/>
                <a:gd name="T3" fmla="*/ 0 h 514"/>
                <a:gd name="T4" fmla="*/ 0 w 436"/>
                <a:gd name="T5" fmla="*/ 505 h 514"/>
                <a:gd name="T6" fmla="*/ 331 w 436"/>
                <a:gd name="T7" fmla="*/ 514 h 514"/>
                <a:gd name="T8" fmla="*/ 436 w 436"/>
                <a:gd name="T9" fmla="*/ 431 h 514"/>
                <a:gd name="T10" fmla="*/ 384 w 436"/>
                <a:gd name="T11" fmla="*/ 0 h 5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36" h="514">
                  <a:moveTo>
                    <a:pt x="384" y="0"/>
                  </a:moveTo>
                  <a:lnTo>
                    <a:pt x="2" y="0"/>
                  </a:lnTo>
                  <a:lnTo>
                    <a:pt x="0" y="505"/>
                  </a:lnTo>
                  <a:lnTo>
                    <a:pt x="331" y="514"/>
                  </a:lnTo>
                  <a:lnTo>
                    <a:pt x="436" y="431"/>
                  </a:lnTo>
                  <a:lnTo>
                    <a:pt x="38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41" name="Freeform 38"/>
            <p:cNvSpPr>
              <a:spLocks/>
            </p:cNvSpPr>
            <p:nvPr userDrawn="1"/>
          </p:nvSpPr>
          <p:spPr bwMode="auto">
            <a:xfrm>
              <a:off x="803276" y="887413"/>
              <a:ext cx="77788" cy="68263"/>
            </a:xfrm>
            <a:custGeom>
              <a:avLst/>
              <a:gdLst>
                <a:gd name="T0" fmla="*/ 586 w 586"/>
                <a:gd name="T1" fmla="*/ 139 h 523"/>
                <a:gd name="T2" fmla="*/ 586 w 586"/>
                <a:gd name="T3" fmla="*/ 139 h 523"/>
                <a:gd name="T4" fmla="*/ 552 w 586"/>
                <a:gd name="T5" fmla="*/ 115 h 523"/>
                <a:gd name="T6" fmla="*/ 527 w 586"/>
                <a:gd name="T7" fmla="*/ 97 h 523"/>
                <a:gd name="T8" fmla="*/ 519 w 586"/>
                <a:gd name="T9" fmla="*/ 90 h 523"/>
                <a:gd name="T10" fmla="*/ 514 w 586"/>
                <a:gd name="T11" fmla="*/ 85 h 523"/>
                <a:gd name="T12" fmla="*/ 514 w 586"/>
                <a:gd name="T13" fmla="*/ 85 h 523"/>
                <a:gd name="T14" fmla="*/ 512 w 586"/>
                <a:gd name="T15" fmla="*/ 79 h 523"/>
                <a:gd name="T16" fmla="*/ 510 w 586"/>
                <a:gd name="T17" fmla="*/ 69 h 523"/>
                <a:gd name="T18" fmla="*/ 506 w 586"/>
                <a:gd name="T19" fmla="*/ 40 h 523"/>
                <a:gd name="T20" fmla="*/ 503 w 586"/>
                <a:gd name="T21" fmla="*/ 0 h 523"/>
                <a:gd name="T22" fmla="*/ 381 w 586"/>
                <a:gd name="T23" fmla="*/ 98 h 523"/>
                <a:gd name="T24" fmla="*/ 8 w 586"/>
                <a:gd name="T25" fmla="*/ 97 h 523"/>
                <a:gd name="T26" fmla="*/ 8 w 586"/>
                <a:gd name="T27" fmla="*/ 97 h 523"/>
                <a:gd name="T28" fmla="*/ 8 w 586"/>
                <a:gd name="T29" fmla="*/ 98 h 523"/>
                <a:gd name="T30" fmla="*/ 7 w 586"/>
                <a:gd name="T31" fmla="*/ 100 h 523"/>
                <a:gd name="T32" fmla="*/ 5 w 586"/>
                <a:gd name="T33" fmla="*/ 108 h 523"/>
                <a:gd name="T34" fmla="*/ 3 w 586"/>
                <a:gd name="T35" fmla="*/ 139 h 523"/>
                <a:gd name="T36" fmla="*/ 2 w 586"/>
                <a:gd name="T37" fmla="*/ 183 h 523"/>
                <a:gd name="T38" fmla="*/ 1 w 586"/>
                <a:gd name="T39" fmla="*/ 233 h 523"/>
                <a:gd name="T40" fmla="*/ 0 w 586"/>
                <a:gd name="T41" fmla="*/ 327 h 523"/>
                <a:gd name="T42" fmla="*/ 0 w 586"/>
                <a:gd name="T43" fmla="*/ 369 h 523"/>
                <a:gd name="T44" fmla="*/ 0 w 586"/>
                <a:gd name="T45" fmla="*/ 369 h 523"/>
                <a:gd name="T46" fmla="*/ 29 w 586"/>
                <a:gd name="T47" fmla="*/ 395 h 523"/>
                <a:gd name="T48" fmla="*/ 95 w 586"/>
                <a:gd name="T49" fmla="*/ 448 h 523"/>
                <a:gd name="T50" fmla="*/ 131 w 586"/>
                <a:gd name="T51" fmla="*/ 477 h 523"/>
                <a:gd name="T52" fmla="*/ 162 w 586"/>
                <a:gd name="T53" fmla="*/ 501 h 523"/>
                <a:gd name="T54" fmla="*/ 186 w 586"/>
                <a:gd name="T55" fmla="*/ 517 h 523"/>
                <a:gd name="T56" fmla="*/ 193 w 586"/>
                <a:gd name="T57" fmla="*/ 522 h 523"/>
                <a:gd name="T58" fmla="*/ 195 w 586"/>
                <a:gd name="T59" fmla="*/ 523 h 523"/>
                <a:gd name="T60" fmla="*/ 197 w 586"/>
                <a:gd name="T61" fmla="*/ 523 h 523"/>
                <a:gd name="T62" fmla="*/ 448 w 586"/>
                <a:gd name="T63" fmla="*/ 206 h 523"/>
                <a:gd name="T64" fmla="*/ 586 w 586"/>
                <a:gd name="T65" fmla="*/ 139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86" h="523">
                  <a:moveTo>
                    <a:pt x="586" y="139"/>
                  </a:moveTo>
                  <a:lnTo>
                    <a:pt x="586" y="139"/>
                  </a:lnTo>
                  <a:lnTo>
                    <a:pt x="552" y="115"/>
                  </a:lnTo>
                  <a:lnTo>
                    <a:pt x="527" y="97"/>
                  </a:lnTo>
                  <a:lnTo>
                    <a:pt x="519" y="90"/>
                  </a:lnTo>
                  <a:lnTo>
                    <a:pt x="514" y="85"/>
                  </a:lnTo>
                  <a:lnTo>
                    <a:pt x="514" y="85"/>
                  </a:lnTo>
                  <a:lnTo>
                    <a:pt x="512" y="79"/>
                  </a:lnTo>
                  <a:lnTo>
                    <a:pt x="510" y="69"/>
                  </a:lnTo>
                  <a:lnTo>
                    <a:pt x="506" y="40"/>
                  </a:lnTo>
                  <a:lnTo>
                    <a:pt x="503" y="0"/>
                  </a:lnTo>
                  <a:lnTo>
                    <a:pt x="381" y="98"/>
                  </a:lnTo>
                  <a:lnTo>
                    <a:pt x="8" y="97"/>
                  </a:lnTo>
                  <a:lnTo>
                    <a:pt x="8" y="97"/>
                  </a:lnTo>
                  <a:lnTo>
                    <a:pt x="8" y="98"/>
                  </a:lnTo>
                  <a:lnTo>
                    <a:pt x="7" y="100"/>
                  </a:lnTo>
                  <a:lnTo>
                    <a:pt x="5" y="108"/>
                  </a:lnTo>
                  <a:lnTo>
                    <a:pt x="3" y="139"/>
                  </a:lnTo>
                  <a:lnTo>
                    <a:pt x="2" y="183"/>
                  </a:lnTo>
                  <a:lnTo>
                    <a:pt x="1" y="233"/>
                  </a:lnTo>
                  <a:lnTo>
                    <a:pt x="0" y="327"/>
                  </a:lnTo>
                  <a:lnTo>
                    <a:pt x="0" y="369"/>
                  </a:lnTo>
                  <a:lnTo>
                    <a:pt x="0" y="369"/>
                  </a:lnTo>
                  <a:lnTo>
                    <a:pt x="29" y="395"/>
                  </a:lnTo>
                  <a:lnTo>
                    <a:pt x="95" y="448"/>
                  </a:lnTo>
                  <a:lnTo>
                    <a:pt x="131" y="477"/>
                  </a:lnTo>
                  <a:lnTo>
                    <a:pt x="162" y="501"/>
                  </a:lnTo>
                  <a:lnTo>
                    <a:pt x="186" y="517"/>
                  </a:lnTo>
                  <a:lnTo>
                    <a:pt x="193" y="522"/>
                  </a:lnTo>
                  <a:lnTo>
                    <a:pt x="195" y="523"/>
                  </a:lnTo>
                  <a:lnTo>
                    <a:pt x="197" y="523"/>
                  </a:lnTo>
                  <a:lnTo>
                    <a:pt x="448" y="206"/>
                  </a:lnTo>
                  <a:lnTo>
                    <a:pt x="586" y="139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42" name="Freeform 39"/>
            <p:cNvSpPr>
              <a:spLocks/>
            </p:cNvSpPr>
            <p:nvPr userDrawn="1"/>
          </p:nvSpPr>
          <p:spPr bwMode="auto">
            <a:xfrm>
              <a:off x="839788" y="912813"/>
              <a:ext cx="115888" cy="66675"/>
            </a:xfrm>
            <a:custGeom>
              <a:avLst/>
              <a:gdLst>
                <a:gd name="T0" fmla="*/ 226 w 879"/>
                <a:gd name="T1" fmla="*/ 65 h 509"/>
                <a:gd name="T2" fmla="*/ 0 w 879"/>
                <a:gd name="T3" fmla="*/ 355 h 509"/>
                <a:gd name="T4" fmla="*/ 369 w 879"/>
                <a:gd name="T5" fmla="*/ 509 h 509"/>
                <a:gd name="T6" fmla="*/ 369 w 879"/>
                <a:gd name="T7" fmla="*/ 509 h 509"/>
                <a:gd name="T8" fmla="*/ 409 w 879"/>
                <a:gd name="T9" fmla="*/ 487 h 509"/>
                <a:gd name="T10" fmla="*/ 452 w 879"/>
                <a:gd name="T11" fmla="*/ 464 h 509"/>
                <a:gd name="T12" fmla="*/ 495 w 879"/>
                <a:gd name="T13" fmla="*/ 439 h 509"/>
                <a:gd name="T14" fmla="*/ 538 w 879"/>
                <a:gd name="T15" fmla="*/ 413 h 509"/>
                <a:gd name="T16" fmla="*/ 623 w 879"/>
                <a:gd name="T17" fmla="*/ 361 h 509"/>
                <a:gd name="T18" fmla="*/ 703 w 879"/>
                <a:gd name="T19" fmla="*/ 311 h 509"/>
                <a:gd name="T20" fmla="*/ 773 w 879"/>
                <a:gd name="T21" fmla="*/ 266 h 509"/>
                <a:gd name="T22" fmla="*/ 829 w 879"/>
                <a:gd name="T23" fmla="*/ 229 h 509"/>
                <a:gd name="T24" fmla="*/ 879 w 879"/>
                <a:gd name="T25" fmla="*/ 196 h 509"/>
                <a:gd name="T26" fmla="*/ 359 w 879"/>
                <a:gd name="T27" fmla="*/ 0 h 509"/>
                <a:gd name="T28" fmla="*/ 226 w 879"/>
                <a:gd name="T29" fmla="*/ 65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79" h="509">
                  <a:moveTo>
                    <a:pt x="226" y="65"/>
                  </a:moveTo>
                  <a:lnTo>
                    <a:pt x="0" y="355"/>
                  </a:lnTo>
                  <a:lnTo>
                    <a:pt x="369" y="509"/>
                  </a:lnTo>
                  <a:lnTo>
                    <a:pt x="369" y="509"/>
                  </a:lnTo>
                  <a:lnTo>
                    <a:pt x="409" y="487"/>
                  </a:lnTo>
                  <a:lnTo>
                    <a:pt x="452" y="464"/>
                  </a:lnTo>
                  <a:lnTo>
                    <a:pt x="495" y="439"/>
                  </a:lnTo>
                  <a:lnTo>
                    <a:pt x="538" y="413"/>
                  </a:lnTo>
                  <a:lnTo>
                    <a:pt x="623" y="361"/>
                  </a:lnTo>
                  <a:lnTo>
                    <a:pt x="703" y="311"/>
                  </a:lnTo>
                  <a:lnTo>
                    <a:pt x="773" y="266"/>
                  </a:lnTo>
                  <a:lnTo>
                    <a:pt x="829" y="229"/>
                  </a:lnTo>
                  <a:lnTo>
                    <a:pt x="879" y="196"/>
                  </a:lnTo>
                  <a:lnTo>
                    <a:pt x="359" y="0"/>
                  </a:lnTo>
                  <a:lnTo>
                    <a:pt x="226" y="6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43" name="Freeform 40"/>
            <p:cNvSpPr>
              <a:spLocks/>
            </p:cNvSpPr>
            <p:nvPr userDrawn="1"/>
          </p:nvSpPr>
          <p:spPr bwMode="auto">
            <a:xfrm>
              <a:off x="874713" y="668338"/>
              <a:ext cx="26988" cy="123825"/>
            </a:xfrm>
            <a:custGeom>
              <a:avLst/>
              <a:gdLst>
                <a:gd name="T0" fmla="*/ 170 w 211"/>
                <a:gd name="T1" fmla="*/ 388 h 928"/>
                <a:gd name="T2" fmla="*/ 169 w 211"/>
                <a:gd name="T3" fmla="*/ 133 h 928"/>
                <a:gd name="T4" fmla="*/ 171 w 211"/>
                <a:gd name="T5" fmla="*/ 84 h 928"/>
                <a:gd name="T6" fmla="*/ 172 w 211"/>
                <a:gd name="T7" fmla="*/ 79 h 928"/>
                <a:gd name="T8" fmla="*/ 182 w 211"/>
                <a:gd name="T9" fmla="*/ 64 h 928"/>
                <a:gd name="T10" fmla="*/ 188 w 211"/>
                <a:gd name="T11" fmla="*/ 53 h 928"/>
                <a:gd name="T12" fmla="*/ 192 w 211"/>
                <a:gd name="T13" fmla="*/ 36 h 928"/>
                <a:gd name="T14" fmla="*/ 191 w 211"/>
                <a:gd name="T15" fmla="*/ 18 h 928"/>
                <a:gd name="T16" fmla="*/ 188 w 211"/>
                <a:gd name="T17" fmla="*/ 0 h 928"/>
                <a:gd name="T18" fmla="*/ 6 w 211"/>
                <a:gd name="T19" fmla="*/ 0 h 928"/>
                <a:gd name="T20" fmla="*/ 4 w 211"/>
                <a:gd name="T21" fmla="*/ 8 h 928"/>
                <a:gd name="T22" fmla="*/ 5 w 211"/>
                <a:gd name="T23" fmla="*/ 33 h 928"/>
                <a:gd name="T24" fmla="*/ 7 w 211"/>
                <a:gd name="T25" fmla="*/ 43 h 928"/>
                <a:gd name="T26" fmla="*/ 17 w 211"/>
                <a:gd name="T27" fmla="*/ 65 h 928"/>
                <a:gd name="T28" fmla="*/ 28 w 211"/>
                <a:gd name="T29" fmla="*/ 80 h 928"/>
                <a:gd name="T30" fmla="*/ 33 w 211"/>
                <a:gd name="T31" fmla="*/ 388 h 928"/>
                <a:gd name="T32" fmla="*/ 29 w 211"/>
                <a:gd name="T33" fmla="*/ 395 h 928"/>
                <a:gd name="T34" fmla="*/ 19 w 211"/>
                <a:gd name="T35" fmla="*/ 412 h 928"/>
                <a:gd name="T36" fmla="*/ 9 w 211"/>
                <a:gd name="T37" fmla="*/ 443 h 928"/>
                <a:gd name="T38" fmla="*/ 0 w 211"/>
                <a:gd name="T39" fmla="*/ 487 h 928"/>
                <a:gd name="T40" fmla="*/ 0 w 211"/>
                <a:gd name="T41" fmla="*/ 498 h 928"/>
                <a:gd name="T42" fmla="*/ 1 w 211"/>
                <a:gd name="T43" fmla="*/ 518 h 928"/>
                <a:gd name="T44" fmla="*/ 10 w 211"/>
                <a:gd name="T45" fmla="*/ 546 h 928"/>
                <a:gd name="T46" fmla="*/ 23 w 211"/>
                <a:gd name="T47" fmla="*/ 576 h 928"/>
                <a:gd name="T48" fmla="*/ 35 w 211"/>
                <a:gd name="T49" fmla="*/ 594 h 928"/>
                <a:gd name="T50" fmla="*/ 31 w 211"/>
                <a:gd name="T51" fmla="*/ 850 h 928"/>
                <a:gd name="T52" fmla="*/ 23 w 211"/>
                <a:gd name="T53" fmla="*/ 859 h 928"/>
                <a:gd name="T54" fmla="*/ 18 w 211"/>
                <a:gd name="T55" fmla="*/ 871 h 928"/>
                <a:gd name="T56" fmla="*/ 14 w 211"/>
                <a:gd name="T57" fmla="*/ 888 h 928"/>
                <a:gd name="T58" fmla="*/ 14 w 211"/>
                <a:gd name="T59" fmla="*/ 898 h 928"/>
                <a:gd name="T60" fmla="*/ 15 w 211"/>
                <a:gd name="T61" fmla="*/ 919 h 928"/>
                <a:gd name="T62" fmla="*/ 18 w 211"/>
                <a:gd name="T63" fmla="*/ 928 h 928"/>
                <a:gd name="T64" fmla="*/ 188 w 211"/>
                <a:gd name="T65" fmla="*/ 928 h 928"/>
                <a:gd name="T66" fmla="*/ 191 w 211"/>
                <a:gd name="T67" fmla="*/ 906 h 928"/>
                <a:gd name="T68" fmla="*/ 190 w 211"/>
                <a:gd name="T69" fmla="*/ 881 h 928"/>
                <a:gd name="T70" fmla="*/ 188 w 211"/>
                <a:gd name="T71" fmla="*/ 873 h 928"/>
                <a:gd name="T72" fmla="*/ 179 w 211"/>
                <a:gd name="T73" fmla="*/ 857 h 928"/>
                <a:gd name="T74" fmla="*/ 169 w 211"/>
                <a:gd name="T75" fmla="*/ 846 h 928"/>
                <a:gd name="T76" fmla="*/ 168 w 211"/>
                <a:gd name="T77" fmla="*/ 594 h 928"/>
                <a:gd name="T78" fmla="*/ 190 w 211"/>
                <a:gd name="T79" fmla="*/ 561 h 928"/>
                <a:gd name="T80" fmla="*/ 202 w 211"/>
                <a:gd name="T81" fmla="*/ 537 h 928"/>
                <a:gd name="T82" fmla="*/ 210 w 211"/>
                <a:gd name="T83" fmla="*/ 507 h 928"/>
                <a:gd name="T84" fmla="*/ 211 w 211"/>
                <a:gd name="T85" fmla="*/ 491 h 928"/>
                <a:gd name="T86" fmla="*/ 211 w 211"/>
                <a:gd name="T87" fmla="*/ 482 h 928"/>
                <a:gd name="T88" fmla="*/ 206 w 211"/>
                <a:gd name="T89" fmla="*/ 458 h 928"/>
                <a:gd name="T90" fmla="*/ 195 w 211"/>
                <a:gd name="T91" fmla="*/ 428 h 928"/>
                <a:gd name="T92" fmla="*/ 181 w 211"/>
                <a:gd name="T93" fmla="*/ 405 h 9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11" h="928">
                  <a:moveTo>
                    <a:pt x="170" y="388"/>
                  </a:moveTo>
                  <a:lnTo>
                    <a:pt x="170" y="388"/>
                  </a:lnTo>
                  <a:lnTo>
                    <a:pt x="169" y="238"/>
                  </a:lnTo>
                  <a:lnTo>
                    <a:pt x="169" y="133"/>
                  </a:lnTo>
                  <a:lnTo>
                    <a:pt x="170" y="96"/>
                  </a:lnTo>
                  <a:lnTo>
                    <a:pt x="171" y="84"/>
                  </a:lnTo>
                  <a:lnTo>
                    <a:pt x="172" y="79"/>
                  </a:lnTo>
                  <a:lnTo>
                    <a:pt x="172" y="79"/>
                  </a:lnTo>
                  <a:lnTo>
                    <a:pt x="177" y="71"/>
                  </a:lnTo>
                  <a:lnTo>
                    <a:pt x="182" y="64"/>
                  </a:lnTo>
                  <a:lnTo>
                    <a:pt x="188" y="53"/>
                  </a:lnTo>
                  <a:lnTo>
                    <a:pt x="188" y="53"/>
                  </a:lnTo>
                  <a:lnTo>
                    <a:pt x="191" y="45"/>
                  </a:lnTo>
                  <a:lnTo>
                    <a:pt x="192" y="36"/>
                  </a:lnTo>
                  <a:lnTo>
                    <a:pt x="192" y="28"/>
                  </a:lnTo>
                  <a:lnTo>
                    <a:pt x="191" y="18"/>
                  </a:lnTo>
                  <a:lnTo>
                    <a:pt x="189" y="5"/>
                  </a:lnTo>
                  <a:lnTo>
                    <a:pt x="18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5" y="4"/>
                  </a:lnTo>
                  <a:lnTo>
                    <a:pt x="4" y="8"/>
                  </a:lnTo>
                  <a:lnTo>
                    <a:pt x="4" y="20"/>
                  </a:lnTo>
                  <a:lnTo>
                    <a:pt x="5" y="33"/>
                  </a:lnTo>
                  <a:lnTo>
                    <a:pt x="7" y="43"/>
                  </a:lnTo>
                  <a:lnTo>
                    <a:pt x="7" y="43"/>
                  </a:lnTo>
                  <a:lnTo>
                    <a:pt x="11" y="54"/>
                  </a:lnTo>
                  <a:lnTo>
                    <a:pt x="17" y="65"/>
                  </a:lnTo>
                  <a:lnTo>
                    <a:pt x="24" y="76"/>
                  </a:lnTo>
                  <a:lnTo>
                    <a:pt x="28" y="80"/>
                  </a:lnTo>
                  <a:lnTo>
                    <a:pt x="33" y="83"/>
                  </a:lnTo>
                  <a:lnTo>
                    <a:pt x="33" y="388"/>
                  </a:lnTo>
                  <a:lnTo>
                    <a:pt x="33" y="388"/>
                  </a:lnTo>
                  <a:lnTo>
                    <a:pt x="29" y="395"/>
                  </a:lnTo>
                  <a:lnTo>
                    <a:pt x="24" y="402"/>
                  </a:lnTo>
                  <a:lnTo>
                    <a:pt x="19" y="412"/>
                  </a:lnTo>
                  <a:lnTo>
                    <a:pt x="14" y="426"/>
                  </a:lnTo>
                  <a:lnTo>
                    <a:pt x="9" y="443"/>
                  </a:lnTo>
                  <a:lnTo>
                    <a:pt x="4" y="463"/>
                  </a:lnTo>
                  <a:lnTo>
                    <a:pt x="0" y="487"/>
                  </a:lnTo>
                  <a:lnTo>
                    <a:pt x="0" y="487"/>
                  </a:lnTo>
                  <a:lnTo>
                    <a:pt x="0" y="498"/>
                  </a:lnTo>
                  <a:lnTo>
                    <a:pt x="0" y="508"/>
                  </a:lnTo>
                  <a:lnTo>
                    <a:pt x="1" y="518"/>
                  </a:lnTo>
                  <a:lnTo>
                    <a:pt x="4" y="529"/>
                  </a:lnTo>
                  <a:lnTo>
                    <a:pt x="10" y="546"/>
                  </a:lnTo>
                  <a:lnTo>
                    <a:pt x="16" y="562"/>
                  </a:lnTo>
                  <a:lnTo>
                    <a:pt x="23" y="576"/>
                  </a:lnTo>
                  <a:lnTo>
                    <a:pt x="29" y="585"/>
                  </a:lnTo>
                  <a:lnTo>
                    <a:pt x="35" y="594"/>
                  </a:lnTo>
                  <a:lnTo>
                    <a:pt x="31" y="850"/>
                  </a:lnTo>
                  <a:lnTo>
                    <a:pt x="31" y="850"/>
                  </a:lnTo>
                  <a:lnTo>
                    <a:pt x="29" y="852"/>
                  </a:lnTo>
                  <a:lnTo>
                    <a:pt x="23" y="859"/>
                  </a:lnTo>
                  <a:lnTo>
                    <a:pt x="20" y="864"/>
                  </a:lnTo>
                  <a:lnTo>
                    <a:pt x="18" y="871"/>
                  </a:lnTo>
                  <a:lnTo>
                    <a:pt x="15" y="879"/>
                  </a:lnTo>
                  <a:lnTo>
                    <a:pt x="14" y="888"/>
                  </a:lnTo>
                  <a:lnTo>
                    <a:pt x="14" y="888"/>
                  </a:lnTo>
                  <a:lnTo>
                    <a:pt x="14" y="898"/>
                  </a:lnTo>
                  <a:lnTo>
                    <a:pt x="14" y="906"/>
                  </a:lnTo>
                  <a:lnTo>
                    <a:pt x="15" y="919"/>
                  </a:lnTo>
                  <a:lnTo>
                    <a:pt x="17" y="926"/>
                  </a:lnTo>
                  <a:lnTo>
                    <a:pt x="18" y="928"/>
                  </a:lnTo>
                  <a:lnTo>
                    <a:pt x="188" y="928"/>
                  </a:lnTo>
                  <a:lnTo>
                    <a:pt x="188" y="928"/>
                  </a:lnTo>
                  <a:lnTo>
                    <a:pt x="190" y="920"/>
                  </a:lnTo>
                  <a:lnTo>
                    <a:pt x="191" y="906"/>
                  </a:lnTo>
                  <a:lnTo>
                    <a:pt x="190" y="889"/>
                  </a:lnTo>
                  <a:lnTo>
                    <a:pt x="190" y="881"/>
                  </a:lnTo>
                  <a:lnTo>
                    <a:pt x="188" y="873"/>
                  </a:lnTo>
                  <a:lnTo>
                    <a:pt x="188" y="873"/>
                  </a:lnTo>
                  <a:lnTo>
                    <a:pt x="185" y="864"/>
                  </a:lnTo>
                  <a:lnTo>
                    <a:pt x="179" y="857"/>
                  </a:lnTo>
                  <a:lnTo>
                    <a:pt x="174" y="851"/>
                  </a:lnTo>
                  <a:lnTo>
                    <a:pt x="169" y="846"/>
                  </a:lnTo>
                  <a:lnTo>
                    <a:pt x="168" y="594"/>
                  </a:lnTo>
                  <a:lnTo>
                    <a:pt x="168" y="594"/>
                  </a:lnTo>
                  <a:lnTo>
                    <a:pt x="181" y="573"/>
                  </a:lnTo>
                  <a:lnTo>
                    <a:pt x="190" y="561"/>
                  </a:lnTo>
                  <a:lnTo>
                    <a:pt x="196" y="550"/>
                  </a:lnTo>
                  <a:lnTo>
                    <a:pt x="202" y="537"/>
                  </a:lnTo>
                  <a:lnTo>
                    <a:pt x="207" y="522"/>
                  </a:lnTo>
                  <a:lnTo>
                    <a:pt x="210" y="507"/>
                  </a:lnTo>
                  <a:lnTo>
                    <a:pt x="211" y="499"/>
                  </a:lnTo>
                  <a:lnTo>
                    <a:pt x="211" y="491"/>
                  </a:lnTo>
                  <a:lnTo>
                    <a:pt x="211" y="491"/>
                  </a:lnTo>
                  <a:lnTo>
                    <a:pt x="211" y="482"/>
                  </a:lnTo>
                  <a:lnTo>
                    <a:pt x="210" y="473"/>
                  </a:lnTo>
                  <a:lnTo>
                    <a:pt x="206" y="458"/>
                  </a:lnTo>
                  <a:lnTo>
                    <a:pt x="201" y="443"/>
                  </a:lnTo>
                  <a:lnTo>
                    <a:pt x="195" y="428"/>
                  </a:lnTo>
                  <a:lnTo>
                    <a:pt x="189" y="416"/>
                  </a:lnTo>
                  <a:lnTo>
                    <a:pt x="181" y="405"/>
                  </a:lnTo>
                  <a:lnTo>
                    <a:pt x="170" y="38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44" name="Freeform 41"/>
            <p:cNvSpPr>
              <a:spLocks/>
            </p:cNvSpPr>
            <p:nvPr userDrawn="1"/>
          </p:nvSpPr>
          <p:spPr bwMode="auto">
            <a:xfrm>
              <a:off x="903288" y="704851"/>
              <a:ext cx="80963" cy="58738"/>
            </a:xfrm>
            <a:custGeom>
              <a:avLst/>
              <a:gdLst>
                <a:gd name="T0" fmla="*/ 617 w 617"/>
                <a:gd name="T1" fmla="*/ 73 h 442"/>
                <a:gd name="T2" fmla="*/ 433 w 617"/>
                <a:gd name="T3" fmla="*/ 70 h 442"/>
                <a:gd name="T4" fmla="*/ 202 w 617"/>
                <a:gd name="T5" fmla="*/ 68 h 442"/>
                <a:gd name="T6" fmla="*/ 195 w 617"/>
                <a:gd name="T7" fmla="*/ 67 h 442"/>
                <a:gd name="T8" fmla="*/ 174 w 617"/>
                <a:gd name="T9" fmla="*/ 61 h 442"/>
                <a:gd name="T10" fmla="*/ 137 w 617"/>
                <a:gd name="T11" fmla="*/ 44 h 442"/>
                <a:gd name="T12" fmla="*/ 84 w 617"/>
                <a:gd name="T13" fmla="*/ 16 h 442"/>
                <a:gd name="T14" fmla="*/ 53 w 617"/>
                <a:gd name="T15" fmla="*/ 2 h 442"/>
                <a:gd name="T16" fmla="*/ 40 w 617"/>
                <a:gd name="T17" fmla="*/ 0 h 442"/>
                <a:gd name="T18" fmla="*/ 37 w 617"/>
                <a:gd name="T19" fmla="*/ 2 h 442"/>
                <a:gd name="T20" fmla="*/ 22 w 617"/>
                <a:gd name="T21" fmla="*/ 38 h 442"/>
                <a:gd name="T22" fmla="*/ 1 w 617"/>
                <a:gd name="T23" fmla="*/ 91 h 442"/>
                <a:gd name="T24" fmla="*/ 19 w 617"/>
                <a:gd name="T25" fmla="*/ 113 h 442"/>
                <a:gd name="T26" fmla="*/ 38 w 617"/>
                <a:gd name="T27" fmla="*/ 147 h 442"/>
                <a:gd name="T28" fmla="*/ 47 w 617"/>
                <a:gd name="T29" fmla="*/ 169 h 442"/>
                <a:gd name="T30" fmla="*/ 52 w 617"/>
                <a:gd name="T31" fmla="*/ 191 h 442"/>
                <a:gd name="T32" fmla="*/ 55 w 617"/>
                <a:gd name="T33" fmla="*/ 216 h 442"/>
                <a:gd name="T34" fmla="*/ 53 w 617"/>
                <a:gd name="T35" fmla="*/ 235 h 442"/>
                <a:gd name="T36" fmla="*/ 48 w 617"/>
                <a:gd name="T37" fmla="*/ 265 h 442"/>
                <a:gd name="T38" fmla="*/ 42 w 617"/>
                <a:gd name="T39" fmla="*/ 283 h 442"/>
                <a:gd name="T40" fmla="*/ 32 w 617"/>
                <a:gd name="T41" fmla="*/ 304 h 442"/>
                <a:gd name="T42" fmla="*/ 19 w 617"/>
                <a:gd name="T43" fmla="*/ 324 h 442"/>
                <a:gd name="T44" fmla="*/ 0 w 617"/>
                <a:gd name="T45" fmla="*/ 345 h 442"/>
                <a:gd name="T46" fmla="*/ 23 w 617"/>
                <a:gd name="T47" fmla="*/ 391 h 442"/>
                <a:gd name="T48" fmla="*/ 47 w 617"/>
                <a:gd name="T49" fmla="*/ 435 h 442"/>
                <a:gd name="T50" fmla="*/ 52 w 617"/>
                <a:gd name="T51" fmla="*/ 442 h 442"/>
                <a:gd name="T52" fmla="*/ 84 w 617"/>
                <a:gd name="T53" fmla="*/ 423 h 442"/>
                <a:gd name="T54" fmla="*/ 129 w 617"/>
                <a:gd name="T55" fmla="*/ 400 h 442"/>
                <a:gd name="T56" fmla="*/ 183 w 617"/>
                <a:gd name="T57" fmla="*/ 378 h 442"/>
                <a:gd name="T58" fmla="*/ 211 w 617"/>
                <a:gd name="T59" fmla="*/ 371 h 442"/>
                <a:gd name="T60" fmla="*/ 224 w 617"/>
                <a:gd name="T61" fmla="*/ 369 h 442"/>
                <a:gd name="T62" fmla="*/ 330 w 617"/>
                <a:gd name="T63" fmla="*/ 363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617" h="442">
                  <a:moveTo>
                    <a:pt x="330" y="363"/>
                  </a:moveTo>
                  <a:lnTo>
                    <a:pt x="617" y="73"/>
                  </a:lnTo>
                  <a:lnTo>
                    <a:pt x="617" y="73"/>
                  </a:lnTo>
                  <a:lnTo>
                    <a:pt x="433" y="70"/>
                  </a:lnTo>
                  <a:lnTo>
                    <a:pt x="324" y="69"/>
                  </a:lnTo>
                  <a:lnTo>
                    <a:pt x="202" y="68"/>
                  </a:lnTo>
                  <a:lnTo>
                    <a:pt x="202" y="68"/>
                  </a:lnTo>
                  <a:lnTo>
                    <a:pt x="195" y="67"/>
                  </a:lnTo>
                  <a:lnTo>
                    <a:pt x="185" y="65"/>
                  </a:lnTo>
                  <a:lnTo>
                    <a:pt x="174" y="61"/>
                  </a:lnTo>
                  <a:lnTo>
                    <a:pt x="163" y="56"/>
                  </a:lnTo>
                  <a:lnTo>
                    <a:pt x="137" y="44"/>
                  </a:lnTo>
                  <a:lnTo>
                    <a:pt x="110" y="30"/>
                  </a:lnTo>
                  <a:lnTo>
                    <a:pt x="84" y="16"/>
                  </a:lnTo>
                  <a:lnTo>
                    <a:pt x="63" y="6"/>
                  </a:lnTo>
                  <a:lnTo>
                    <a:pt x="53" y="2"/>
                  </a:lnTo>
                  <a:lnTo>
                    <a:pt x="45" y="1"/>
                  </a:lnTo>
                  <a:lnTo>
                    <a:pt x="40" y="0"/>
                  </a:lnTo>
                  <a:lnTo>
                    <a:pt x="38" y="1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22" y="38"/>
                  </a:lnTo>
                  <a:lnTo>
                    <a:pt x="1" y="91"/>
                  </a:lnTo>
                  <a:lnTo>
                    <a:pt x="1" y="91"/>
                  </a:lnTo>
                  <a:lnTo>
                    <a:pt x="10" y="101"/>
                  </a:lnTo>
                  <a:lnTo>
                    <a:pt x="19" y="113"/>
                  </a:lnTo>
                  <a:lnTo>
                    <a:pt x="29" y="129"/>
                  </a:lnTo>
                  <a:lnTo>
                    <a:pt x="38" y="147"/>
                  </a:lnTo>
                  <a:lnTo>
                    <a:pt x="43" y="157"/>
                  </a:lnTo>
                  <a:lnTo>
                    <a:pt x="47" y="169"/>
                  </a:lnTo>
                  <a:lnTo>
                    <a:pt x="50" y="180"/>
                  </a:lnTo>
                  <a:lnTo>
                    <a:pt x="52" y="191"/>
                  </a:lnTo>
                  <a:lnTo>
                    <a:pt x="55" y="203"/>
                  </a:lnTo>
                  <a:lnTo>
                    <a:pt x="55" y="216"/>
                  </a:lnTo>
                  <a:lnTo>
                    <a:pt x="55" y="216"/>
                  </a:lnTo>
                  <a:lnTo>
                    <a:pt x="53" y="235"/>
                  </a:lnTo>
                  <a:lnTo>
                    <a:pt x="51" y="248"/>
                  </a:lnTo>
                  <a:lnTo>
                    <a:pt x="48" y="265"/>
                  </a:lnTo>
                  <a:lnTo>
                    <a:pt x="45" y="274"/>
                  </a:lnTo>
                  <a:lnTo>
                    <a:pt x="42" y="283"/>
                  </a:lnTo>
                  <a:lnTo>
                    <a:pt x="38" y="293"/>
                  </a:lnTo>
                  <a:lnTo>
                    <a:pt x="32" y="304"/>
                  </a:lnTo>
                  <a:lnTo>
                    <a:pt x="26" y="313"/>
                  </a:lnTo>
                  <a:lnTo>
                    <a:pt x="19" y="324"/>
                  </a:lnTo>
                  <a:lnTo>
                    <a:pt x="11" y="334"/>
                  </a:lnTo>
                  <a:lnTo>
                    <a:pt x="0" y="345"/>
                  </a:lnTo>
                  <a:lnTo>
                    <a:pt x="0" y="345"/>
                  </a:lnTo>
                  <a:lnTo>
                    <a:pt x="23" y="391"/>
                  </a:lnTo>
                  <a:lnTo>
                    <a:pt x="40" y="423"/>
                  </a:lnTo>
                  <a:lnTo>
                    <a:pt x="47" y="435"/>
                  </a:lnTo>
                  <a:lnTo>
                    <a:pt x="52" y="442"/>
                  </a:lnTo>
                  <a:lnTo>
                    <a:pt x="52" y="442"/>
                  </a:lnTo>
                  <a:lnTo>
                    <a:pt x="67" y="433"/>
                  </a:lnTo>
                  <a:lnTo>
                    <a:pt x="84" y="423"/>
                  </a:lnTo>
                  <a:lnTo>
                    <a:pt x="105" y="412"/>
                  </a:lnTo>
                  <a:lnTo>
                    <a:pt x="129" y="400"/>
                  </a:lnTo>
                  <a:lnTo>
                    <a:pt x="156" y="388"/>
                  </a:lnTo>
                  <a:lnTo>
                    <a:pt x="183" y="378"/>
                  </a:lnTo>
                  <a:lnTo>
                    <a:pt x="198" y="374"/>
                  </a:lnTo>
                  <a:lnTo>
                    <a:pt x="211" y="371"/>
                  </a:lnTo>
                  <a:lnTo>
                    <a:pt x="211" y="371"/>
                  </a:lnTo>
                  <a:lnTo>
                    <a:pt x="224" y="369"/>
                  </a:lnTo>
                  <a:lnTo>
                    <a:pt x="248" y="367"/>
                  </a:lnTo>
                  <a:lnTo>
                    <a:pt x="330" y="36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45" name="Freeform 42"/>
            <p:cNvSpPr>
              <a:spLocks/>
            </p:cNvSpPr>
            <p:nvPr userDrawn="1"/>
          </p:nvSpPr>
          <p:spPr bwMode="auto">
            <a:xfrm>
              <a:off x="1004888" y="627063"/>
              <a:ext cx="158750" cy="127000"/>
            </a:xfrm>
            <a:custGeom>
              <a:avLst/>
              <a:gdLst>
                <a:gd name="T0" fmla="*/ 1179 w 1207"/>
                <a:gd name="T1" fmla="*/ 480 h 962"/>
                <a:gd name="T2" fmla="*/ 1115 w 1207"/>
                <a:gd name="T3" fmla="*/ 496 h 962"/>
                <a:gd name="T4" fmla="*/ 1079 w 1207"/>
                <a:gd name="T5" fmla="*/ 532 h 962"/>
                <a:gd name="T6" fmla="*/ 1057 w 1207"/>
                <a:gd name="T7" fmla="*/ 600 h 962"/>
                <a:gd name="T8" fmla="*/ 1046 w 1207"/>
                <a:gd name="T9" fmla="*/ 585 h 962"/>
                <a:gd name="T10" fmla="*/ 1007 w 1207"/>
                <a:gd name="T11" fmla="*/ 556 h 962"/>
                <a:gd name="T12" fmla="*/ 935 w 1207"/>
                <a:gd name="T13" fmla="*/ 562 h 962"/>
                <a:gd name="T14" fmla="*/ 930 w 1207"/>
                <a:gd name="T15" fmla="*/ 613 h 962"/>
                <a:gd name="T16" fmla="*/ 935 w 1207"/>
                <a:gd name="T17" fmla="*/ 696 h 962"/>
                <a:gd name="T18" fmla="*/ 890 w 1207"/>
                <a:gd name="T19" fmla="*/ 725 h 962"/>
                <a:gd name="T20" fmla="*/ 842 w 1207"/>
                <a:gd name="T21" fmla="*/ 709 h 962"/>
                <a:gd name="T22" fmla="*/ 816 w 1207"/>
                <a:gd name="T23" fmla="*/ 658 h 962"/>
                <a:gd name="T24" fmla="*/ 805 w 1207"/>
                <a:gd name="T25" fmla="*/ 643 h 962"/>
                <a:gd name="T26" fmla="*/ 749 w 1207"/>
                <a:gd name="T27" fmla="*/ 659 h 962"/>
                <a:gd name="T28" fmla="*/ 701 w 1207"/>
                <a:gd name="T29" fmla="*/ 634 h 962"/>
                <a:gd name="T30" fmla="*/ 694 w 1207"/>
                <a:gd name="T31" fmla="*/ 581 h 962"/>
                <a:gd name="T32" fmla="*/ 754 w 1207"/>
                <a:gd name="T33" fmla="*/ 540 h 962"/>
                <a:gd name="T34" fmla="*/ 824 w 1207"/>
                <a:gd name="T35" fmla="*/ 520 h 962"/>
                <a:gd name="T36" fmla="*/ 805 w 1207"/>
                <a:gd name="T37" fmla="*/ 460 h 962"/>
                <a:gd name="T38" fmla="*/ 764 w 1207"/>
                <a:gd name="T39" fmla="*/ 421 h 962"/>
                <a:gd name="T40" fmla="*/ 698 w 1207"/>
                <a:gd name="T41" fmla="*/ 414 h 962"/>
                <a:gd name="T42" fmla="*/ 672 w 1207"/>
                <a:gd name="T43" fmla="*/ 415 h 962"/>
                <a:gd name="T44" fmla="*/ 712 w 1207"/>
                <a:gd name="T45" fmla="*/ 360 h 962"/>
                <a:gd name="T46" fmla="*/ 709 w 1207"/>
                <a:gd name="T47" fmla="*/ 285 h 962"/>
                <a:gd name="T48" fmla="*/ 668 w 1207"/>
                <a:gd name="T49" fmla="*/ 214 h 962"/>
                <a:gd name="T50" fmla="*/ 606 w 1207"/>
                <a:gd name="T51" fmla="*/ 224 h 962"/>
                <a:gd name="T52" fmla="*/ 535 w 1207"/>
                <a:gd name="T53" fmla="*/ 272 h 962"/>
                <a:gd name="T54" fmla="*/ 516 w 1207"/>
                <a:gd name="T55" fmla="*/ 334 h 962"/>
                <a:gd name="T56" fmla="*/ 508 w 1207"/>
                <a:gd name="T57" fmla="*/ 341 h 962"/>
                <a:gd name="T58" fmla="*/ 458 w 1207"/>
                <a:gd name="T59" fmla="*/ 287 h 962"/>
                <a:gd name="T60" fmla="*/ 404 w 1207"/>
                <a:gd name="T61" fmla="*/ 278 h 962"/>
                <a:gd name="T62" fmla="*/ 345 w 1207"/>
                <a:gd name="T63" fmla="*/ 300 h 962"/>
                <a:gd name="T64" fmla="*/ 362 w 1207"/>
                <a:gd name="T65" fmla="*/ 357 h 962"/>
                <a:gd name="T66" fmla="*/ 382 w 1207"/>
                <a:gd name="T67" fmla="*/ 432 h 962"/>
                <a:gd name="T68" fmla="*/ 347 w 1207"/>
                <a:gd name="T69" fmla="*/ 472 h 962"/>
                <a:gd name="T70" fmla="*/ 292 w 1207"/>
                <a:gd name="T71" fmla="*/ 462 h 962"/>
                <a:gd name="T72" fmla="*/ 262 w 1207"/>
                <a:gd name="T73" fmla="*/ 417 h 962"/>
                <a:gd name="T74" fmla="*/ 249 w 1207"/>
                <a:gd name="T75" fmla="*/ 398 h 962"/>
                <a:gd name="T76" fmla="*/ 194 w 1207"/>
                <a:gd name="T77" fmla="*/ 421 h 962"/>
                <a:gd name="T78" fmla="*/ 147 w 1207"/>
                <a:gd name="T79" fmla="*/ 404 h 962"/>
                <a:gd name="T80" fmla="*/ 128 w 1207"/>
                <a:gd name="T81" fmla="*/ 354 h 962"/>
                <a:gd name="T82" fmla="*/ 178 w 1207"/>
                <a:gd name="T83" fmla="*/ 300 h 962"/>
                <a:gd name="T84" fmla="*/ 233 w 1207"/>
                <a:gd name="T85" fmla="*/ 262 h 962"/>
                <a:gd name="T86" fmla="*/ 195 w 1207"/>
                <a:gd name="T87" fmla="*/ 203 h 962"/>
                <a:gd name="T88" fmla="*/ 145 w 1207"/>
                <a:gd name="T89" fmla="*/ 185 h 962"/>
                <a:gd name="T90" fmla="*/ 115 w 1207"/>
                <a:gd name="T91" fmla="*/ 191 h 962"/>
                <a:gd name="T92" fmla="*/ 153 w 1207"/>
                <a:gd name="T93" fmla="*/ 136 h 962"/>
                <a:gd name="T94" fmla="*/ 157 w 1207"/>
                <a:gd name="T95" fmla="*/ 76 h 962"/>
                <a:gd name="T96" fmla="*/ 134 w 1207"/>
                <a:gd name="T97" fmla="*/ 28 h 962"/>
                <a:gd name="T98" fmla="*/ 269 w 1207"/>
                <a:gd name="T99" fmla="*/ 712 h 962"/>
                <a:gd name="T100" fmla="*/ 354 w 1207"/>
                <a:gd name="T101" fmla="*/ 656 h 962"/>
                <a:gd name="T102" fmla="*/ 437 w 1207"/>
                <a:gd name="T103" fmla="*/ 636 h 962"/>
                <a:gd name="T104" fmla="*/ 517 w 1207"/>
                <a:gd name="T105" fmla="*/ 643 h 962"/>
                <a:gd name="T106" fmla="*/ 610 w 1207"/>
                <a:gd name="T107" fmla="*/ 683 h 962"/>
                <a:gd name="T108" fmla="*/ 658 w 1207"/>
                <a:gd name="T109" fmla="*/ 735 h 962"/>
                <a:gd name="T110" fmla="*/ 673 w 1207"/>
                <a:gd name="T111" fmla="*/ 793 h 962"/>
                <a:gd name="T112" fmla="*/ 646 w 1207"/>
                <a:gd name="T113" fmla="*/ 877 h 9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207" h="962">
                  <a:moveTo>
                    <a:pt x="841" y="962"/>
                  </a:moveTo>
                  <a:lnTo>
                    <a:pt x="1207" y="484"/>
                  </a:lnTo>
                  <a:lnTo>
                    <a:pt x="1207" y="484"/>
                  </a:lnTo>
                  <a:lnTo>
                    <a:pt x="1200" y="482"/>
                  </a:lnTo>
                  <a:lnTo>
                    <a:pt x="1190" y="481"/>
                  </a:lnTo>
                  <a:lnTo>
                    <a:pt x="1179" y="480"/>
                  </a:lnTo>
                  <a:lnTo>
                    <a:pt x="1166" y="480"/>
                  </a:lnTo>
                  <a:lnTo>
                    <a:pt x="1149" y="483"/>
                  </a:lnTo>
                  <a:lnTo>
                    <a:pt x="1141" y="485"/>
                  </a:lnTo>
                  <a:lnTo>
                    <a:pt x="1133" y="488"/>
                  </a:lnTo>
                  <a:lnTo>
                    <a:pt x="1124" y="492"/>
                  </a:lnTo>
                  <a:lnTo>
                    <a:pt x="1115" y="496"/>
                  </a:lnTo>
                  <a:lnTo>
                    <a:pt x="1115" y="496"/>
                  </a:lnTo>
                  <a:lnTo>
                    <a:pt x="1106" y="502"/>
                  </a:lnTo>
                  <a:lnTo>
                    <a:pt x="1097" y="508"/>
                  </a:lnTo>
                  <a:lnTo>
                    <a:pt x="1090" y="515"/>
                  </a:lnTo>
                  <a:lnTo>
                    <a:pt x="1084" y="523"/>
                  </a:lnTo>
                  <a:lnTo>
                    <a:pt x="1079" y="532"/>
                  </a:lnTo>
                  <a:lnTo>
                    <a:pt x="1074" y="540"/>
                  </a:lnTo>
                  <a:lnTo>
                    <a:pt x="1070" y="548"/>
                  </a:lnTo>
                  <a:lnTo>
                    <a:pt x="1067" y="557"/>
                  </a:lnTo>
                  <a:lnTo>
                    <a:pt x="1062" y="574"/>
                  </a:lnTo>
                  <a:lnTo>
                    <a:pt x="1058" y="589"/>
                  </a:lnTo>
                  <a:lnTo>
                    <a:pt x="1057" y="600"/>
                  </a:lnTo>
                  <a:lnTo>
                    <a:pt x="1058" y="605"/>
                  </a:lnTo>
                  <a:lnTo>
                    <a:pt x="1059" y="608"/>
                  </a:lnTo>
                  <a:lnTo>
                    <a:pt x="1059" y="608"/>
                  </a:lnTo>
                  <a:lnTo>
                    <a:pt x="1055" y="599"/>
                  </a:lnTo>
                  <a:lnTo>
                    <a:pt x="1051" y="592"/>
                  </a:lnTo>
                  <a:lnTo>
                    <a:pt x="1046" y="585"/>
                  </a:lnTo>
                  <a:lnTo>
                    <a:pt x="1041" y="579"/>
                  </a:lnTo>
                  <a:lnTo>
                    <a:pt x="1036" y="574"/>
                  </a:lnTo>
                  <a:lnTo>
                    <a:pt x="1031" y="568"/>
                  </a:lnTo>
                  <a:lnTo>
                    <a:pt x="1025" y="564"/>
                  </a:lnTo>
                  <a:lnTo>
                    <a:pt x="1020" y="561"/>
                  </a:lnTo>
                  <a:lnTo>
                    <a:pt x="1007" y="556"/>
                  </a:lnTo>
                  <a:lnTo>
                    <a:pt x="994" y="554"/>
                  </a:lnTo>
                  <a:lnTo>
                    <a:pt x="982" y="553"/>
                  </a:lnTo>
                  <a:lnTo>
                    <a:pt x="970" y="554"/>
                  </a:lnTo>
                  <a:lnTo>
                    <a:pt x="957" y="556"/>
                  </a:lnTo>
                  <a:lnTo>
                    <a:pt x="946" y="558"/>
                  </a:lnTo>
                  <a:lnTo>
                    <a:pt x="935" y="562"/>
                  </a:lnTo>
                  <a:lnTo>
                    <a:pt x="927" y="565"/>
                  </a:lnTo>
                  <a:lnTo>
                    <a:pt x="913" y="572"/>
                  </a:lnTo>
                  <a:lnTo>
                    <a:pt x="908" y="574"/>
                  </a:lnTo>
                  <a:lnTo>
                    <a:pt x="908" y="574"/>
                  </a:lnTo>
                  <a:lnTo>
                    <a:pt x="920" y="594"/>
                  </a:lnTo>
                  <a:lnTo>
                    <a:pt x="930" y="613"/>
                  </a:lnTo>
                  <a:lnTo>
                    <a:pt x="936" y="632"/>
                  </a:lnTo>
                  <a:lnTo>
                    <a:pt x="940" y="647"/>
                  </a:lnTo>
                  <a:lnTo>
                    <a:pt x="941" y="663"/>
                  </a:lnTo>
                  <a:lnTo>
                    <a:pt x="941" y="675"/>
                  </a:lnTo>
                  <a:lnTo>
                    <a:pt x="939" y="687"/>
                  </a:lnTo>
                  <a:lnTo>
                    <a:pt x="935" y="696"/>
                  </a:lnTo>
                  <a:lnTo>
                    <a:pt x="930" y="705"/>
                  </a:lnTo>
                  <a:lnTo>
                    <a:pt x="924" y="712"/>
                  </a:lnTo>
                  <a:lnTo>
                    <a:pt x="915" y="718"/>
                  </a:lnTo>
                  <a:lnTo>
                    <a:pt x="907" y="722"/>
                  </a:lnTo>
                  <a:lnTo>
                    <a:pt x="899" y="724"/>
                  </a:lnTo>
                  <a:lnTo>
                    <a:pt x="890" y="725"/>
                  </a:lnTo>
                  <a:lnTo>
                    <a:pt x="881" y="725"/>
                  </a:lnTo>
                  <a:lnTo>
                    <a:pt x="871" y="724"/>
                  </a:lnTo>
                  <a:lnTo>
                    <a:pt x="871" y="724"/>
                  </a:lnTo>
                  <a:lnTo>
                    <a:pt x="859" y="720"/>
                  </a:lnTo>
                  <a:lnTo>
                    <a:pt x="850" y="715"/>
                  </a:lnTo>
                  <a:lnTo>
                    <a:pt x="842" y="709"/>
                  </a:lnTo>
                  <a:lnTo>
                    <a:pt x="835" y="702"/>
                  </a:lnTo>
                  <a:lnTo>
                    <a:pt x="829" y="695"/>
                  </a:lnTo>
                  <a:lnTo>
                    <a:pt x="825" y="688"/>
                  </a:lnTo>
                  <a:lnTo>
                    <a:pt x="821" y="680"/>
                  </a:lnTo>
                  <a:lnTo>
                    <a:pt x="819" y="673"/>
                  </a:lnTo>
                  <a:lnTo>
                    <a:pt x="816" y="658"/>
                  </a:lnTo>
                  <a:lnTo>
                    <a:pt x="816" y="646"/>
                  </a:lnTo>
                  <a:lnTo>
                    <a:pt x="816" y="638"/>
                  </a:lnTo>
                  <a:lnTo>
                    <a:pt x="816" y="635"/>
                  </a:lnTo>
                  <a:lnTo>
                    <a:pt x="816" y="635"/>
                  </a:lnTo>
                  <a:lnTo>
                    <a:pt x="813" y="637"/>
                  </a:lnTo>
                  <a:lnTo>
                    <a:pt x="805" y="643"/>
                  </a:lnTo>
                  <a:lnTo>
                    <a:pt x="793" y="650"/>
                  </a:lnTo>
                  <a:lnTo>
                    <a:pt x="785" y="653"/>
                  </a:lnTo>
                  <a:lnTo>
                    <a:pt x="777" y="656"/>
                  </a:lnTo>
                  <a:lnTo>
                    <a:pt x="768" y="658"/>
                  </a:lnTo>
                  <a:lnTo>
                    <a:pt x="759" y="659"/>
                  </a:lnTo>
                  <a:lnTo>
                    <a:pt x="749" y="659"/>
                  </a:lnTo>
                  <a:lnTo>
                    <a:pt x="739" y="658"/>
                  </a:lnTo>
                  <a:lnTo>
                    <a:pt x="729" y="655"/>
                  </a:lnTo>
                  <a:lnTo>
                    <a:pt x="720" y="650"/>
                  </a:lnTo>
                  <a:lnTo>
                    <a:pt x="710" y="643"/>
                  </a:lnTo>
                  <a:lnTo>
                    <a:pt x="701" y="634"/>
                  </a:lnTo>
                  <a:lnTo>
                    <a:pt x="701" y="634"/>
                  </a:lnTo>
                  <a:lnTo>
                    <a:pt x="694" y="625"/>
                  </a:lnTo>
                  <a:lnTo>
                    <a:pt x="690" y="616"/>
                  </a:lnTo>
                  <a:lnTo>
                    <a:pt x="688" y="607"/>
                  </a:lnTo>
                  <a:lnTo>
                    <a:pt x="689" y="598"/>
                  </a:lnTo>
                  <a:lnTo>
                    <a:pt x="690" y="589"/>
                  </a:lnTo>
                  <a:lnTo>
                    <a:pt x="694" y="581"/>
                  </a:lnTo>
                  <a:lnTo>
                    <a:pt x="701" y="572"/>
                  </a:lnTo>
                  <a:lnTo>
                    <a:pt x="708" y="564"/>
                  </a:lnTo>
                  <a:lnTo>
                    <a:pt x="717" y="557"/>
                  </a:lnTo>
                  <a:lnTo>
                    <a:pt x="727" y="550"/>
                  </a:lnTo>
                  <a:lnTo>
                    <a:pt x="740" y="544"/>
                  </a:lnTo>
                  <a:lnTo>
                    <a:pt x="754" y="540"/>
                  </a:lnTo>
                  <a:lnTo>
                    <a:pt x="769" y="536"/>
                  </a:lnTo>
                  <a:lnTo>
                    <a:pt x="786" y="533"/>
                  </a:lnTo>
                  <a:lnTo>
                    <a:pt x="804" y="532"/>
                  </a:lnTo>
                  <a:lnTo>
                    <a:pt x="823" y="531"/>
                  </a:lnTo>
                  <a:lnTo>
                    <a:pt x="823" y="531"/>
                  </a:lnTo>
                  <a:lnTo>
                    <a:pt x="824" y="520"/>
                  </a:lnTo>
                  <a:lnTo>
                    <a:pt x="823" y="509"/>
                  </a:lnTo>
                  <a:lnTo>
                    <a:pt x="820" y="494"/>
                  </a:lnTo>
                  <a:lnTo>
                    <a:pt x="817" y="486"/>
                  </a:lnTo>
                  <a:lnTo>
                    <a:pt x="814" y="477"/>
                  </a:lnTo>
                  <a:lnTo>
                    <a:pt x="810" y="469"/>
                  </a:lnTo>
                  <a:lnTo>
                    <a:pt x="805" y="460"/>
                  </a:lnTo>
                  <a:lnTo>
                    <a:pt x="799" y="451"/>
                  </a:lnTo>
                  <a:lnTo>
                    <a:pt x="792" y="443"/>
                  </a:lnTo>
                  <a:lnTo>
                    <a:pt x="782" y="435"/>
                  </a:lnTo>
                  <a:lnTo>
                    <a:pt x="772" y="426"/>
                  </a:lnTo>
                  <a:lnTo>
                    <a:pt x="772" y="426"/>
                  </a:lnTo>
                  <a:lnTo>
                    <a:pt x="764" y="421"/>
                  </a:lnTo>
                  <a:lnTo>
                    <a:pt x="755" y="417"/>
                  </a:lnTo>
                  <a:lnTo>
                    <a:pt x="745" y="415"/>
                  </a:lnTo>
                  <a:lnTo>
                    <a:pt x="735" y="413"/>
                  </a:lnTo>
                  <a:lnTo>
                    <a:pt x="725" y="412"/>
                  </a:lnTo>
                  <a:lnTo>
                    <a:pt x="716" y="412"/>
                  </a:lnTo>
                  <a:lnTo>
                    <a:pt x="698" y="414"/>
                  </a:lnTo>
                  <a:lnTo>
                    <a:pt x="681" y="418"/>
                  </a:lnTo>
                  <a:lnTo>
                    <a:pt x="668" y="421"/>
                  </a:lnTo>
                  <a:lnTo>
                    <a:pt x="657" y="425"/>
                  </a:lnTo>
                  <a:lnTo>
                    <a:pt x="657" y="425"/>
                  </a:lnTo>
                  <a:lnTo>
                    <a:pt x="664" y="421"/>
                  </a:lnTo>
                  <a:lnTo>
                    <a:pt x="672" y="415"/>
                  </a:lnTo>
                  <a:lnTo>
                    <a:pt x="681" y="408"/>
                  </a:lnTo>
                  <a:lnTo>
                    <a:pt x="691" y="397"/>
                  </a:lnTo>
                  <a:lnTo>
                    <a:pt x="701" y="384"/>
                  </a:lnTo>
                  <a:lnTo>
                    <a:pt x="705" y="376"/>
                  </a:lnTo>
                  <a:lnTo>
                    <a:pt x="709" y="369"/>
                  </a:lnTo>
                  <a:lnTo>
                    <a:pt x="712" y="360"/>
                  </a:lnTo>
                  <a:lnTo>
                    <a:pt x="714" y="351"/>
                  </a:lnTo>
                  <a:lnTo>
                    <a:pt x="714" y="351"/>
                  </a:lnTo>
                  <a:lnTo>
                    <a:pt x="716" y="336"/>
                  </a:lnTo>
                  <a:lnTo>
                    <a:pt x="715" y="320"/>
                  </a:lnTo>
                  <a:lnTo>
                    <a:pt x="713" y="303"/>
                  </a:lnTo>
                  <a:lnTo>
                    <a:pt x="709" y="285"/>
                  </a:lnTo>
                  <a:lnTo>
                    <a:pt x="702" y="267"/>
                  </a:lnTo>
                  <a:lnTo>
                    <a:pt x="693" y="249"/>
                  </a:lnTo>
                  <a:lnTo>
                    <a:pt x="682" y="232"/>
                  </a:lnTo>
                  <a:lnTo>
                    <a:pt x="676" y="223"/>
                  </a:lnTo>
                  <a:lnTo>
                    <a:pt x="669" y="216"/>
                  </a:lnTo>
                  <a:lnTo>
                    <a:pt x="668" y="214"/>
                  </a:lnTo>
                  <a:lnTo>
                    <a:pt x="665" y="214"/>
                  </a:lnTo>
                  <a:lnTo>
                    <a:pt x="665" y="214"/>
                  </a:lnTo>
                  <a:lnTo>
                    <a:pt x="655" y="214"/>
                  </a:lnTo>
                  <a:lnTo>
                    <a:pt x="644" y="215"/>
                  </a:lnTo>
                  <a:lnTo>
                    <a:pt x="624" y="219"/>
                  </a:lnTo>
                  <a:lnTo>
                    <a:pt x="606" y="224"/>
                  </a:lnTo>
                  <a:lnTo>
                    <a:pt x="587" y="232"/>
                  </a:lnTo>
                  <a:lnTo>
                    <a:pt x="572" y="240"/>
                  </a:lnTo>
                  <a:lnTo>
                    <a:pt x="557" y="250"/>
                  </a:lnTo>
                  <a:lnTo>
                    <a:pt x="545" y="261"/>
                  </a:lnTo>
                  <a:lnTo>
                    <a:pt x="535" y="272"/>
                  </a:lnTo>
                  <a:lnTo>
                    <a:pt x="535" y="272"/>
                  </a:lnTo>
                  <a:lnTo>
                    <a:pt x="530" y="280"/>
                  </a:lnTo>
                  <a:lnTo>
                    <a:pt x="526" y="288"/>
                  </a:lnTo>
                  <a:lnTo>
                    <a:pt x="523" y="297"/>
                  </a:lnTo>
                  <a:lnTo>
                    <a:pt x="520" y="305"/>
                  </a:lnTo>
                  <a:lnTo>
                    <a:pt x="517" y="320"/>
                  </a:lnTo>
                  <a:lnTo>
                    <a:pt x="516" y="334"/>
                  </a:lnTo>
                  <a:lnTo>
                    <a:pt x="516" y="347"/>
                  </a:lnTo>
                  <a:lnTo>
                    <a:pt x="517" y="357"/>
                  </a:lnTo>
                  <a:lnTo>
                    <a:pt x="519" y="365"/>
                  </a:lnTo>
                  <a:lnTo>
                    <a:pt x="519" y="365"/>
                  </a:lnTo>
                  <a:lnTo>
                    <a:pt x="513" y="354"/>
                  </a:lnTo>
                  <a:lnTo>
                    <a:pt x="508" y="341"/>
                  </a:lnTo>
                  <a:lnTo>
                    <a:pt x="499" y="327"/>
                  </a:lnTo>
                  <a:lnTo>
                    <a:pt x="488" y="313"/>
                  </a:lnTo>
                  <a:lnTo>
                    <a:pt x="482" y="306"/>
                  </a:lnTo>
                  <a:lnTo>
                    <a:pt x="475" y="299"/>
                  </a:lnTo>
                  <a:lnTo>
                    <a:pt x="467" y="292"/>
                  </a:lnTo>
                  <a:lnTo>
                    <a:pt x="458" y="287"/>
                  </a:lnTo>
                  <a:lnTo>
                    <a:pt x="450" y="283"/>
                  </a:lnTo>
                  <a:lnTo>
                    <a:pt x="440" y="281"/>
                  </a:lnTo>
                  <a:lnTo>
                    <a:pt x="440" y="281"/>
                  </a:lnTo>
                  <a:lnTo>
                    <a:pt x="428" y="278"/>
                  </a:lnTo>
                  <a:lnTo>
                    <a:pt x="415" y="278"/>
                  </a:lnTo>
                  <a:lnTo>
                    <a:pt x="404" y="278"/>
                  </a:lnTo>
                  <a:lnTo>
                    <a:pt x="393" y="279"/>
                  </a:lnTo>
                  <a:lnTo>
                    <a:pt x="384" y="281"/>
                  </a:lnTo>
                  <a:lnTo>
                    <a:pt x="374" y="284"/>
                  </a:lnTo>
                  <a:lnTo>
                    <a:pt x="365" y="287"/>
                  </a:lnTo>
                  <a:lnTo>
                    <a:pt x="358" y="291"/>
                  </a:lnTo>
                  <a:lnTo>
                    <a:pt x="345" y="300"/>
                  </a:lnTo>
                  <a:lnTo>
                    <a:pt x="336" y="307"/>
                  </a:lnTo>
                  <a:lnTo>
                    <a:pt x="328" y="314"/>
                  </a:lnTo>
                  <a:lnTo>
                    <a:pt x="328" y="314"/>
                  </a:lnTo>
                  <a:lnTo>
                    <a:pt x="342" y="328"/>
                  </a:lnTo>
                  <a:lnTo>
                    <a:pt x="353" y="343"/>
                  </a:lnTo>
                  <a:lnTo>
                    <a:pt x="362" y="357"/>
                  </a:lnTo>
                  <a:lnTo>
                    <a:pt x="369" y="371"/>
                  </a:lnTo>
                  <a:lnTo>
                    <a:pt x="375" y="384"/>
                  </a:lnTo>
                  <a:lnTo>
                    <a:pt x="380" y="398"/>
                  </a:lnTo>
                  <a:lnTo>
                    <a:pt x="382" y="410"/>
                  </a:lnTo>
                  <a:lnTo>
                    <a:pt x="383" y="421"/>
                  </a:lnTo>
                  <a:lnTo>
                    <a:pt x="382" y="432"/>
                  </a:lnTo>
                  <a:lnTo>
                    <a:pt x="380" y="442"/>
                  </a:lnTo>
                  <a:lnTo>
                    <a:pt x="375" y="451"/>
                  </a:lnTo>
                  <a:lnTo>
                    <a:pt x="370" y="458"/>
                  </a:lnTo>
                  <a:lnTo>
                    <a:pt x="363" y="464"/>
                  </a:lnTo>
                  <a:lnTo>
                    <a:pt x="356" y="469"/>
                  </a:lnTo>
                  <a:lnTo>
                    <a:pt x="347" y="472"/>
                  </a:lnTo>
                  <a:lnTo>
                    <a:pt x="337" y="473"/>
                  </a:lnTo>
                  <a:lnTo>
                    <a:pt x="337" y="473"/>
                  </a:lnTo>
                  <a:lnTo>
                    <a:pt x="322" y="473"/>
                  </a:lnTo>
                  <a:lnTo>
                    <a:pt x="311" y="471"/>
                  </a:lnTo>
                  <a:lnTo>
                    <a:pt x="301" y="467"/>
                  </a:lnTo>
                  <a:lnTo>
                    <a:pt x="292" y="462"/>
                  </a:lnTo>
                  <a:lnTo>
                    <a:pt x="283" y="456"/>
                  </a:lnTo>
                  <a:lnTo>
                    <a:pt x="277" y="449"/>
                  </a:lnTo>
                  <a:lnTo>
                    <a:pt x="272" y="441"/>
                  </a:lnTo>
                  <a:lnTo>
                    <a:pt x="268" y="432"/>
                  </a:lnTo>
                  <a:lnTo>
                    <a:pt x="264" y="424"/>
                  </a:lnTo>
                  <a:lnTo>
                    <a:pt x="262" y="417"/>
                  </a:lnTo>
                  <a:lnTo>
                    <a:pt x="259" y="403"/>
                  </a:lnTo>
                  <a:lnTo>
                    <a:pt x="257" y="393"/>
                  </a:lnTo>
                  <a:lnTo>
                    <a:pt x="257" y="390"/>
                  </a:lnTo>
                  <a:lnTo>
                    <a:pt x="257" y="390"/>
                  </a:lnTo>
                  <a:lnTo>
                    <a:pt x="255" y="392"/>
                  </a:lnTo>
                  <a:lnTo>
                    <a:pt x="249" y="398"/>
                  </a:lnTo>
                  <a:lnTo>
                    <a:pt x="239" y="405"/>
                  </a:lnTo>
                  <a:lnTo>
                    <a:pt x="227" y="413"/>
                  </a:lnTo>
                  <a:lnTo>
                    <a:pt x="220" y="416"/>
                  </a:lnTo>
                  <a:lnTo>
                    <a:pt x="212" y="419"/>
                  </a:lnTo>
                  <a:lnTo>
                    <a:pt x="204" y="420"/>
                  </a:lnTo>
                  <a:lnTo>
                    <a:pt x="194" y="421"/>
                  </a:lnTo>
                  <a:lnTo>
                    <a:pt x="185" y="421"/>
                  </a:lnTo>
                  <a:lnTo>
                    <a:pt x="175" y="419"/>
                  </a:lnTo>
                  <a:lnTo>
                    <a:pt x="165" y="415"/>
                  </a:lnTo>
                  <a:lnTo>
                    <a:pt x="155" y="409"/>
                  </a:lnTo>
                  <a:lnTo>
                    <a:pt x="155" y="409"/>
                  </a:lnTo>
                  <a:lnTo>
                    <a:pt x="147" y="404"/>
                  </a:lnTo>
                  <a:lnTo>
                    <a:pt x="140" y="397"/>
                  </a:lnTo>
                  <a:lnTo>
                    <a:pt x="135" y="390"/>
                  </a:lnTo>
                  <a:lnTo>
                    <a:pt x="131" y="381"/>
                  </a:lnTo>
                  <a:lnTo>
                    <a:pt x="129" y="372"/>
                  </a:lnTo>
                  <a:lnTo>
                    <a:pt x="128" y="363"/>
                  </a:lnTo>
                  <a:lnTo>
                    <a:pt x="128" y="354"/>
                  </a:lnTo>
                  <a:lnTo>
                    <a:pt x="131" y="345"/>
                  </a:lnTo>
                  <a:lnTo>
                    <a:pt x="136" y="334"/>
                  </a:lnTo>
                  <a:lnTo>
                    <a:pt x="142" y="325"/>
                  </a:lnTo>
                  <a:lnTo>
                    <a:pt x="153" y="316"/>
                  </a:lnTo>
                  <a:lnTo>
                    <a:pt x="164" y="308"/>
                  </a:lnTo>
                  <a:lnTo>
                    <a:pt x="178" y="300"/>
                  </a:lnTo>
                  <a:lnTo>
                    <a:pt x="195" y="292"/>
                  </a:lnTo>
                  <a:lnTo>
                    <a:pt x="216" y="286"/>
                  </a:lnTo>
                  <a:lnTo>
                    <a:pt x="239" y="280"/>
                  </a:lnTo>
                  <a:lnTo>
                    <a:pt x="239" y="280"/>
                  </a:lnTo>
                  <a:lnTo>
                    <a:pt x="238" y="275"/>
                  </a:lnTo>
                  <a:lnTo>
                    <a:pt x="233" y="262"/>
                  </a:lnTo>
                  <a:lnTo>
                    <a:pt x="230" y="253"/>
                  </a:lnTo>
                  <a:lnTo>
                    <a:pt x="225" y="242"/>
                  </a:lnTo>
                  <a:lnTo>
                    <a:pt x="220" y="232"/>
                  </a:lnTo>
                  <a:lnTo>
                    <a:pt x="213" y="222"/>
                  </a:lnTo>
                  <a:lnTo>
                    <a:pt x="205" y="213"/>
                  </a:lnTo>
                  <a:lnTo>
                    <a:pt x="195" y="203"/>
                  </a:lnTo>
                  <a:lnTo>
                    <a:pt x="185" y="196"/>
                  </a:lnTo>
                  <a:lnTo>
                    <a:pt x="173" y="190"/>
                  </a:lnTo>
                  <a:lnTo>
                    <a:pt x="167" y="188"/>
                  </a:lnTo>
                  <a:lnTo>
                    <a:pt x="161" y="187"/>
                  </a:lnTo>
                  <a:lnTo>
                    <a:pt x="154" y="186"/>
                  </a:lnTo>
                  <a:lnTo>
                    <a:pt x="145" y="185"/>
                  </a:lnTo>
                  <a:lnTo>
                    <a:pt x="138" y="186"/>
                  </a:lnTo>
                  <a:lnTo>
                    <a:pt x="129" y="187"/>
                  </a:lnTo>
                  <a:lnTo>
                    <a:pt x="121" y="190"/>
                  </a:lnTo>
                  <a:lnTo>
                    <a:pt x="112" y="193"/>
                  </a:lnTo>
                  <a:lnTo>
                    <a:pt x="112" y="193"/>
                  </a:lnTo>
                  <a:lnTo>
                    <a:pt x="115" y="191"/>
                  </a:lnTo>
                  <a:lnTo>
                    <a:pt x="119" y="188"/>
                  </a:lnTo>
                  <a:lnTo>
                    <a:pt x="127" y="180"/>
                  </a:lnTo>
                  <a:lnTo>
                    <a:pt x="136" y="168"/>
                  </a:lnTo>
                  <a:lnTo>
                    <a:pt x="144" y="153"/>
                  </a:lnTo>
                  <a:lnTo>
                    <a:pt x="148" y="144"/>
                  </a:lnTo>
                  <a:lnTo>
                    <a:pt x="153" y="136"/>
                  </a:lnTo>
                  <a:lnTo>
                    <a:pt x="156" y="127"/>
                  </a:lnTo>
                  <a:lnTo>
                    <a:pt x="158" y="117"/>
                  </a:lnTo>
                  <a:lnTo>
                    <a:pt x="159" y="106"/>
                  </a:lnTo>
                  <a:lnTo>
                    <a:pt x="160" y="97"/>
                  </a:lnTo>
                  <a:lnTo>
                    <a:pt x="159" y="86"/>
                  </a:lnTo>
                  <a:lnTo>
                    <a:pt x="157" y="76"/>
                  </a:lnTo>
                  <a:lnTo>
                    <a:pt x="157" y="76"/>
                  </a:lnTo>
                  <a:lnTo>
                    <a:pt x="155" y="66"/>
                  </a:lnTo>
                  <a:lnTo>
                    <a:pt x="150" y="57"/>
                  </a:lnTo>
                  <a:lnTo>
                    <a:pt x="147" y="49"/>
                  </a:lnTo>
                  <a:lnTo>
                    <a:pt x="143" y="41"/>
                  </a:lnTo>
                  <a:lnTo>
                    <a:pt x="134" y="28"/>
                  </a:lnTo>
                  <a:lnTo>
                    <a:pt x="125" y="17"/>
                  </a:lnTo>
                  <a:lnTo>
                    <a:pt x="117" y="9"/>
                  </a:lnTo>
                  <a:lnTo>
                    <a:pt x="110" y="4"/>
                  </a:lnTo>
                  <a:lnTo>
                    <a:pt x="103" y="0"/>
                  </a:lnTo>
                  <a:lnTo>
                    <a:pt x="0" y="593"/>
                  </a:lnTo>
                  <a:lnTo>
                    <a:pt x="269" y="712"/>
                  </a:lnTo>
                  <a:lnTo>
                    <a:pt x="269" y="712"/>
                  </a:lnTo>
                  <a:lnTo>
                    <a:pt x="293" y="693"/>
                  </a:lnTo>
                  <a:lnTo>
                    <a:pt x="315" y="677"/>
                  </a:lnTo>
                  <a:lnTo>
                    <a:pt x="336" y="665"/>
                  </a:lnTo>
                  <a:lnTo>
                    <a:pt x="354" y="656"/>
                  </a:lnTo>
                  <a:lnTo>
                    <a:pt x="354" y="656"/>
                  </a:lnTo>
                  <a:lnTo>
                    <a:pt x="367" y="650"/>
                  </a:lnTo>
                  <a:lnTo>
                    <a:pt x="382" y="646"/>
                  </a:lnTo>
                  <a:lnTo>
                    <a:pt x="396" y="642"/>
                  </a:lnTo>
                  <a:lnTo>
                    <a:pt x="409" y="639"/>
                  </a:lnTo>
                  <a:lnTo>
                    <a:pt x="423" y="637"/>
                  </a:lnTo>
                  <a:lnTo>
                    <a:pt x="437" y="636"/>
                  </a:lnTo>
                  <a:lnTo>
                    <a:pt x="450" y="635"/>
                  </a:lnTo>
                  <a:lnTo>
                    <a:pt x="464" y="635"/>
                  </a:lnTo>
                  <a:lnTo>
                    <a:pt x="478" y="636"/>
                  </a:lnTo>
                  <a:lnTo>
                    <a:pt x="491" y="638"/>
                  </a:lnTo>
                  <a:lnTo>
                    <a:pt x="504" y="640"/>
                  </a:lnTo>
                  <a:lnTo>
                    <a:pt x="517" y="643"/>
                  </a:lnTo>
                  <a:lnTo>
                    <a:pt x="542" y="650"/>
                  </a:lnTo>
                  <a:lnTo>
                    <a:pt x="566" y="658"/>
                  </a:lnTo>
                  <a:lnTo>
                    <a:pt x="566" y="658"/>
                  </a:lnTo>
                  <a:lnTo>
                    <a:pt x="582" y="667"/>
                  </a:lnTo>
                  <a:lnTo>
                    <a:pt x="596" y="675"/>
                  </a:lnTo>
                  <a:lnTo>
                    <a:pt x="610" y="683"/>
                  </a:lnTo>
                  <a:lnTo>
                    <a:pt x="621" y="691"/>
                  </a:lnTo>
                  <a:lnTo>
                    <a:pt x="631" y="699"/>
                  </a:lnTo>
                  <a:lnTo>
                    <a:pt x="639" y="709"/>
                  </a:lnTo>
                  <a:lnTo>
                    <a:pt x="646" y="717"/>
                  </a:lnTo>
                  <a:lnTo>
                    <a:pt x="653" y="726"/>
                  </a:lnTo>
                  <a:lnTo>
                    <a:pt x="658" y="735"/>
                  </a:lnTo>
                  <a:lnTo>
                    <a:pt x="662" y="743"/>
                  </a:lnTo>
                  <a:lnTo>
                    <a:pt x="665" y="753"/>
                  </a:lnTo>
                  <a:lnTo>
                    <a:pt x="668" y="761"/>
                  </a:lnTo>
                  <a:lnTo>
                    <a:pt x="671" y="778"/>
                  </a:lnTo>
                  <a:lnTo>
                    <a:pt x="673" y="793"/>
                  </a:lnTo>
                  <a:lnTo>
                    <a:pt x="673" y="793"/>
                  </a:lnTo>
                  <a:lnTo>
                    <a:pt x="672" y="804"/>
                  </a:lnTo>
                  <a:lnTo>
                    <a:pt x="670" y="815"/>
                  </a:lnTo>
                  <a:lnTo>
                    <a:pt x="667" y="827"/>
                  </a:lnTo>
                  <a:lnTo>
                    <a:pt x="663" y="839"/>
                  </a:lnTo>
                  <a:lnTo>
                    <a:pt x="654" y="863"/>
                  </a:lnTo>
                  <a:lnTo>
                    <a:pt x="646" y="877"/>
                  </a:lnTo>
                  <a:lnTo>
                    <a:pt x="841" y="96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46" name="Freeform 43"/>
            <p:cNvSpPr>
              <a:spLocks/>
            </p:cNvSpPr>
            <p:nvPr userDrawn="1"/>
          </p:nvSpPr>
          <p:spPr bwMode="auto">
            <a:xfrm>
              <a:off x="1133476" y="714376"/>
              <a:ext cx="193675" cy="33338"/>
            </a:xfrm>
            <a:custGeom>
              <a:avLst/>
              <a:gdLst>
                <a:gd name="T0" fmla="*/ 1228 w 1463"/>
                <a:gd name="T1" fmla="*/ 227 h 256"/>
                <a:gd name="T2" fmla="*/ 1463 w 1463"/>
                <a:gd name="T3" fmla="*/ 113 h 256"/>
                <a:gd name="T4" fmla="*/ 1225 w 1463"/>
                <a:gd name="T5" fmla="*/ 14 h 256"/>
                <a:gd name="T6" fmla="*/ 1225 w 1463"/>
                <a:gd name="T7" fmla="*/ 14 h 256"/>
                <a:gd name="T8" fmla="*/ 1152 w 1463"/>
                <a:gd name="T9" fmla="*/ 15 h 256"/>
                <a:gd name="T10" fmla="*/ 1060 w 1463"/>
                <a:gd name="T11" fmla="*/ 16 h 256"/>
                <a:gd name="T12" fmla="*/ 949 w 1463"/>
                <a:gd name="T13" fmla="*/ 15 h 256"/>
                <a:gd name="T14" fmla="*/ 824 w 1463"/>
                <a:gd name="T15" fmla="*/ 13 h 256"/>
                <a:gd name="T16" fmla="*/ 531 w 1463"/>
                <a:gd name="T17" fmla="*/ 7 h 256"/>
                <a:gd name="T18" fmla="*/ 197 w 1463"/>
                <a:gd name="T19" fmla="*/ 0 h 256"/>
                <a:gd name="T20" fmla="*/ 0 w 1463"/>
                <a:gd name="T21" fmla="*/ 256 h 256"/>
                <a:gd name="T22" fmla="*/ 0 w 1463"/>
                <a:gd name="T23" fmla="*/ 256 h 256"/>
                <a:gd name="T24" fmla="*/ 734 w 1463"/>
                <a:gd name="T25" fmla="*/ 240 h 256"/>
                <a:gd name="T26" fmla="*/ 1024 w 1463"/>
                <a:gd name="T27" fmla="*/ 234 h 256"/>
                <a:gd name="T28" fmla="*/ 1228 w 1463"/>
                <a:gd name="T29" fmla="*/ 227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63" h="256">
                  <a:moveTo>
                    <a:pt x="1228" y="227"/>
                  </a:moveTo>
                  <a:lnTo>
                    <a:pt x="1463" y="113"/>
                  </a:lnTo>
                  <a:lnTo>
                    <a:pt x="1225" y="14"/>
                  </a:lnTo>
                  <a:lnTo>
                    <a:pt x="1225" y="14"/>
                  </a:lnTo>
                  <a:lnTo>
                    <a:pt x="1152" y="15"/>
                  </a:lnTo>
                  <a:lnTo>
                    <a:pt x="1060" y="16"/>
                  </a:lnTo>
                  <a:lnTo>
                    <a:pt x="949" y="15"/>
                  </a:lnTo>
                  <a:lnTo>
                    <a:pt x="824" y="13"/>
                  </a:lnTo>
                  <a:lnTo>
                    <a:pt x="531" y="7"/>
                  </a:lnTo>
                  <a:lnTo>
                    <a:pt x="197" y="0"/>
                  </a:lnTo>
                  <a:lnTo>
                    <a:pt x="0" y="256"/>
                  </a:lnTo>
                  <a:lnTo>
                    <a:pt x="0" y="256"/>
                  </a:lnTo>
                  <a:lnTo>
                    <a:pt x="734" y="240"/>
                  </a:lnTo>
                  <a:lnTo>
                    <a:pt x="1024" y="234"/>
                  </a:lnTo>
                  <a:lnTo>
                    <a:pt x="1228" y="22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47" name="Freeform 44"/>
            <p:cNvSpPr>
              <a:spLocks/>
            </p:cNvSpPr>
            <p:nvPr userDrawn="1"/>
          </p:nvSpPr>
          <p:spPr bwMode="auto">
            <a:xfrm>
              <a:off x="1195388" y="796926"/>
              <a:ext cx="114300" cy="112713"/>
            </a:xfrm>
            <a:custGeom>
              <a:avLst/>
              <a:gdLst>
                <a:gd name="T0" fmla="*/ 386 w 869"/>
                <a:gd name="T1" fmla="*/ 818 h 851"/>
                <a:gd name="T2" fmla="*/ 235 w 869"/>
                <a:gd name="T3" fmla="*/ 737 h 851"/>
                <a:gd name="T4" fmla="*/ 156 w 869"/>
                <a:gd name="T5" fmla="*/ 685 h 851"/>
                <a:gd name="T6" fmla="*/ 90 w 869"/>
                <a:gd name="T7" fmla="*/ 626 h 851"/>
                <a:gd name="T8" fmla="*/ 37 w 869"/>
                <a:gd name="T9" fmla="*/ 557 h 851"/>
                <a:gd name="T10" fmla="*/ 24 w 869"/>
                <a:gd name="T11" fmla="*/ 531 h 851"/>
                <a:gd name="T12" fmla="*/ 10 w 869"/>
                <a:gd name="T13" fmla="*/ 487 h 851"/>
                <a:gd name="T14" fmla="*/ 2 w 869"/>
                <a:gd name="T15" fmla="*/ 439 h 851"/>
                <a:gd name="T16" fmla="*/ 0 w 869"/>
                <a:gd name="T17" fmla="*/ 389 h 851"/>
                <a:gd name="T18" fmla="*/ 5 w 869"/>
                <a:gd name="T19" fmla="*/ 336 h 851"/>
                <a:gd name="T20" fmla="*/ 15 w 869"/>
                <a:gd name="T21" fmla="*/ 283 h 851"/>
                <a:gd name="T22" fmla="*/ 34 w 869"/>
                <a:gd name="T23" fmla="*/ 231 h 851"/>
                <a:gd name="T24" fmla="*/ 59 w 869"/>
                <a:gd name="T25" fmla="*/ 182 h 851"/>
                <a:gd name="T26" fmla="*/ 93 w 869"/>
                <a:gd name="T27" fmla="*/ 136 h 851"/>
                <a:gd name="T28" fmla="*/ 134 w 869"/>
                <a:gd name="T29" fmla="*/ 94 h 851"/>
                <a:gd name="T30" fmla="*/ 183 w 869"/>
                <a:gd name="T31" fmla="*/ 59 h 851"/>
                <a:gd name="T32" fmla="*/ 198 w 869"/>
                <a:gd name="T33" fmla="*/ 75 h 851"/>
                <a:gd name="T34" fmla="*/ 217 w 869"/>
                <a:gd name="T35" fmla="*/ 106 h 851"/>
                <a:gd name="T36" fmla="*/ 227 w 869"/>
                <a:gd name="T37" fmla="*/ 141 h 851"/>
                <a:gd name="T38" fmla="*/ 247 w 869"/>
                <a:gd name="T39" fmla="*/ 150 h 851"/>
                <a:gd name="T40" fmla="*/ 379 w 869"/>
                <a:gd name="T41" fmla="*/ 144 h 851"/>
                <a:gd name="T42" fmla="*/ 424 w 869"/>
                <a:gd name="T43" fmla="*/ 143 h 851"/>
                <a:gd name="T44" fmla="*/ 424 w 869"/>
                <a:gd name="T45" fmla="*/ 94 h 851"/>
                <a:gd name="T46" fmla="*/ 414 w 869"/>
                <a:gd name="T47" fmla="*/ 37 h 851"/>
                <a:gd name="T48" fmla="*/ 397 w 869"/>
                <a:gd name="T49" fmla="*/ 0 h 851"/>
                <a:gd name="T50" fmla="*/ 431 w 869"/>
                <a:gd name="T51" fmla="*/ 27 h 851"/>
                <a:gd name="T52" fmla="*/ 459 w 869"/>
                <a:gd name="T53" fmla="*/ 55 h 851"/>
                <a:gd name="T54" fmla="*/ 475 w 869"/>
                <a:gd name="T55" fmla="*/ 82 h 851"/>
                <a:gd name="T56" fmla="*/ 487 w 869"/>
                <a:gd name="T57" fmla="*/ 116 h 851"/>
                <a:gd name="T58" fmla="*/ 493 w 869"/>
                <a:gd name="T59" fmla="*/ 143 h 851"/>
                <a:gd name="T60" fmla="*/ 671 w 869"/>
                <a:gd name="T61" fmla="*/ 133 h 851"/>
                <a:gd name="T62" fmla="*/ 662 w 869"/>
                <a:gd name="T63" fmla="*/ 88 h 851"/>
                <a:gd name="T64" fmla="*/ 643 w 869"/>
                <a:gd name="T65" fmla="*/ 50 h 851"/>
                <a:gd name="T66" fmla="*/ 651 w 869"/>
                <a:gd name="T67" fmla="*/ 46 h 851"/>
                <a:gd name="T68" fmla="*/ 699 w 869"/>
                <a:gd name="T69" fmla="*/ 73 h 851"/>
                <a:gd name="T70" fmla="*/ 740 w 869"/>
                <a:gd name="T71" fmla="*/ 104 h 851"/>
                <a:gd name="T72" fmla="*/ 775 w 869"/>
                <a:gd name="T73" fmla="*/ 138 h 851"/>
                <a:gd name="T74" fmla="*/ 803 w 869"/>
                <a:gd name="T75" fmla="*/ 175 h 851"/>
                <a:gd name="T76" fmla="*/ 837 w 869"/>
                <a:gd name="T77" fmla="*/ 238 h 851"/>
                <a:gd name="T78" fmla="*/ 861 w 869"/>
                <a:gd name="T79" fmla="*/ 312 h 851"/>
                <a:gd name="T80" fmla="*/ 869 w 869"/>
                <a:gd name="T81" fmla="*/ 379 h 851"/>
                <a:gd name="T82" fmla="*/ 869 w 869"/>
                <a:gd name="T83" fmla="*/ 423 h 851"/>
                <a:gd name="T84" fmla="*/ 859 w 869"/>
                <a:gd name="T85" fmla="*/ 499 h 851"/>
                <a:gd name="T86" fmla="*/ 834 w 869"/>
                <a:gd name="T87" fmla="*/ 569 h 851"/>
                <a:gd name="T88" fmla="*/ 796 w 869"/>
                <a:gd name="T89" fmla="*/ 631 h 851"/>
                <a:gd name="T90" fmla="*/ 749 w 869"/>
                <a:gd name="T91" fmla="*/ 684 h 851"/>
                <a:gd name="T92" fmla="*/ 693 w 869"/>
                <a:gd name="T93" fmla="*/ 727 h 851"/>
                <a:gd name="T94" fmla="*/ 626 w 869"/>
                <a:gd name="T95" fmla="*/ 766 h 851"/>
                <a:gd name="T96" fmla="*/ 506 w 869"/>
                <a:gd name="T97" fmla="*/ 826 h 8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869" h="851">
                  <a:moveTo>
                    <a:pt x="452" y="851"/>
                  </a:moveTo>
                  <a:lnTo>
                    <a:pt x="452" y="851"/>
                  </a:lnTo>
                  <a:lnTo>
                    <a:pt x="386" y="818"/>
                  </a:lnTo>
                  <a:lnTo>
                    <a:pt x="323" y="785"/>
                  </a:lnTo>
                  <a:lnTo>
                    <a:pt x="264" y="754"/>
                  </a:lnTo>
                  <a:lnTo>
                    <a:pt x="235" y="737"/>
                  </a:lnTo>
                  <a:lnTo>
                    <a:pt x="207" y="720"/>
                  </a:lnTo>
                  <a:lnTo>
                    <a:pt x="181" y="703"/>
                  </a:lnTo>
                  <a:lnTo>
                    <a:pt x="156" y="685"/>
                  </a:lnTo>
                  <a:lnTo>
                    <a:pt x="133" y="666"/>
                  </a:lnTo>
                  <a:lnTo>
                    <a:pt x="110" y="646"/>
                  </a:lnTo>
                  <a:lnTo>
                    <a:pt x="90" y="626"/>
                  </a:lnTo>
                  <a:lnTo>
                    <a:pt x="70" y="605"/>
                  </a:lnTo>
                  <a:lnTo>
                    <a:pt x="53" y="581"/>
                  </a:lnTo>
                  <a:lnTo>
                    <a:pt x="37" y="557"/>
                  </a:lnTo>
                  <a:lnTo>
                    <a:pt x="37" y="557"/>
                  </a:lnTo>
                  <a:lnTo>
                    <a:pt x="31" y="544"/>
                  </a:lnTo>
                  <a:lnTo>
                    <a:pt x="24" y="531"/>
                  </a:lnTo>
                  <a:lnTo>
                    <a:pt x="19" y="517"/>
                  </a:lnTo>
                  <a:lnTo>
                    <a:pt x="14" y="502"/>
                  </a:lnTo>
                  <a:lnTo>
                    <a:pt x="10" y="487"/>
                  </a:lnTo>
                  <a:lnTo>
                    <a:pt x="7" y="472"/>
                  </a:lnTo>
                  <a:lnTo>
                    <a:pt x="4" y="455"/>
                  </a:lnTo>
                  <a:lnTo>
                    <a:pt x="2" y="439"/>
                  </a:lnTo>
                  <a:lnTo>
                    <a:pt x="1" y="423"/>
                  </a:lnTo>
                  <a:lnTo>
                    <a:pt x="0" y="405"/>
                  </a:lnTo>
                  <a:lnTo>
                    <a:pt x="0" y="389"/>
                  </a:lnTo>
                  <a:lnTo>
                    <a:pt x="1" y="371"/>
                  </a:lnTo>
                  <a:lnTo>
                    <a:pt x="2" y="353"/>
                  </a:lnTo>
                  <a:lnTo>
                    <a:pt x="5" y="336"/>
                  </a:lnTo>
                  <a:lnTo>
                    <a:pt x="7" y="318"/>
                  </a:lnTo>
                  <a:lnTo>
                    <a:pt x="11" y="301"/>
                  </a:lnTo>
                  <a:lnTo>
                    <a:pt x="15" y="283"/>
                  </a:lnTo>
                  <a:lnTo>
                    <a:pt x="21" y="266"/>
                  </a:lnTo>
                  <a:lnTo>
                    <a:pt x="26" y="249"/>
                  </a:lnTo>
                  <a:lnTo>
                    <a:pt x="34" y="231"/>
                  </a:lnTo>
                  <a:lnTo>
                    <a:pt x="42" y="215"/>
                  </a:lnTo>
                  <a:lnTo>
                    <a:pt x="50" y="199"/>
                  </a:lnTo>
                  <a:lnTo>
                    <a:pt x="59" y="182"/>
                  </a:lnTo>
                  <a:lnTo>
                    <a:pt x="69" y="166"/>
                  </a:lnTo>
                  <a:lnTo>
                    <a:pt x="81" y="151"/>
                  </a:lnTo>
                  <a:lnTo>
                    <a:pt x="93" y="136"/>
                  </a:lnTo>
                  <a:lnTo>
                    <a:pt x="105" y="122"/>
                  </a:lnTo>
                  <a:lnTo>
                    <a:pt x="120" y="108"/>
                  </a:lnTo>
                  <a:lnTo>
                    <a:pt x="134" y="94"/>
                  </a:lnTo>
                  <a:lnTo>
                    <a:pt x="149" y="82"/>
                  </a:lnTo>
                  <a:lnTo>
                    <a:pt x="166" y="70"/>
                  </a:lnTo>
                  <a:lnTo>
                    <a:pt x="183" y="59"/>
                  </a:lnTo>
                  <a:lnTo>
                    <a:pt x="183" y="59"/>
                  </a:lnTo>
                  <a:lnTo>
                    <a:pt x="191" y="67"/>
                  </a:lnTo>
                  <a:lnTo>
                    <a:pt x="198" y="75"/>
                  </a:lnTo>
                  <a:lnTo>
                    <a:pt x="203" y="82"/>
                  </a:lnTo>
                  <a:lnTo>
                    <a:pt x="208" y="90"/>
                  </a:lnTo>
                  <a:lnTo>
                    <a:pt x="217" y="106"/>
                  </a:lnTo>
                  <a:lnTo>
                    <a:pt x="222" y="120"/>
                  </a:lnTo>
                  <a:lnTo>
                    <a:pt x="225" y="132"/>
                  </a:lnTo>
                  <a:lnTo>
                    <a:pt x="227" y="141"/>
                  </a:lnTo>
                  <a:lnTo>
                    <a:pt x="227" y="150"/>
                  </a:lnTo>
                  <a:lnTo>
                    <a:pt x="227" y="150"/>
                  </a:lnTo>
                  <a:lnTo>
                    <a:pt x="247" y="150"/>
                  </a:lnTo>
                  <a:lnTo>
                    <a:pt x="272" y="150"/>
                  </a:lnTo>
                  <a:lnTo>
                    <a:pt x="325" y="146"/>
                  </a:lnTo>
                  <a:lnTo>
                    <a:pt x="379" y="144"/>
                  </a:lnTo>
                  <a:lnTo>
                    <a:pt x="404" y="143"/>
                  </a:lnTo>
                  <a:lnTo>
                    <a:pt x="424" y="143"/>
                  </a:lnTo>
                  <a:lnTo>
                    <a:pt x="424" y="143"/>
                  </a:lnTo>
                  <a:lnTo>
                    <a:pt x="425" y="129"/>
                  </a:lnTo>
                  <a:lnTo>
                    <a:pt x="425" y="112"/>
                  </a:lnTo>
                  <a:lnTo>
                    <a:pt x="424" y="94"/>
                  </a:lnTo>
                  <a:lnTo>
                    <a:pt x="422" y="76"/>
                  </a:lnTo>
                  <a:lnTo>
                    <a:pt x="419" y="56"/>
                  </a:lnTo>
                  <a:lnTo>
                    <a:pt x="414" y="37"/>
                  </a:lnTo>
                  <a:lnTo>
                    <a:pt x="407" y="19"/>
                  </a:lnTo>
                  <a:lnTo>
                    <a:pt x="402" y="9"/>
                  </a:lnTo>
                  <a:lnTo>
                    <a:pt x="397" y="0"/>
                  </a:lnTo>
                  <a:lnTo>
                    <a:pt x="397" y="0"/>
                  </a:lnTo>
                  <a:lnTo>
                    <a:pt x="415" y="14"/>
                  </a:lnTo>
                  <a:lnTo>
                    <a:pt x="431" y="27"/>
                  </a:lnTo>
                  <a:lnTo>
                    <a:pt x="446" y="40"/>
                  </a:lnTo>
                  <a:lnTo>
                    <a:pt x="453" y="47"/>
                  </a:lnTo>
                  <a:lnTo>
                    <a:pt x="459" y="55"/>
                  </a:lnTo>
                  <a:lnTo>
                    <a:pt x="465" y="64"/>
                  </a:lnTo>
                  <a:lnTo>
                    <a:pt x="470" y="73"/>
                  </a:lnTo>
                  <a:lnTo>
                    <a:pt x="475" y="82"/>
                  </a:lnTo>
                  <a:lnTo>
                    <a:pt x="479" y="92"/>
                  </a:lnTo>
                  <a:lnTo>
                    <a:pt x="484" y="104"/>
                  </a:lnTo>
                  <a:lnTo>
                    <a:pt x="487" y="116"/>
                  </a:lnTo>
                  <a:lnTo>
                    <a:pt x="490" y="129"/>
                  </a:lnTo>
                  <a:lnTo>
                    <a:pt x="493" y="143"/>
                  </a:lnTo>
                  <a:lnTo>
                    <a:pt x="493" y="143"/>
                  </a:lnTo>
                  <a:lnTo>
                    <a:pt x="671" y="150"/>
                  </a:lnTo>
                  <a:lnTo>
                    <a:pt x="671" y="150"/>
                  </a:lnTo>
                  <a:lnTo>
                    <a:pt x="671" y="133"/>
                  </a:lnTo>
                  <a:lnTo>
                    <a:pt x="670" y="118"/>
                  </a:lnTo>
                  <a:lnTo>
                    <a:pt x="667" y="103"/>
                  </a:lnTo>
                  <a:lnTo>
                    <a:pt x="662" y="88"/>
                  </a:lnTo>
                  <a:lnTo>
                    <a:pt x="657" y="75"/>
                  </a:lnTo>
                  <a:lnTo>
                    <a:pt x="651" y="62"/>
                  </a:lnTo>
                  <a:lnTo>
                    <a:pt x="643" y="50"/>
                  </a:lnTo>
                  <a:lnTo>
                    <a:pt x="634" y="38"/>
                  </a:lnTo>
                  <a:lnTo>
                    <a:pt x="634" y="38"/>
                  </a:lnTo>
                  <a:lnTo>
                    <a:pt x="651" y="46"/>
                  </a:lnTo>
                  <a:lnTo>
                    <a:pt x="669" y="54"/>
                  </a:lnTo>
                  <a:lnTo>
                    <a:pt x="684" y="64"/>
                  </a:lnTo>
                  <a:lnTo>
                    <a:pt x="699" y="73"/>
                  </a:lnTo>
                  <a:lnTo>
                    <a:pt x="714" y="83"/>
                  </a:lnTo>
                  <a:lnTo>
                    <a:pt x="728" y="93"/>
                  </a:lnTo>
                  <a:lnTo>
                    <a:pt x="740" y="104"/>
                  </a:lnTo>
                  <a:lnTo>
                    <a:pt x="752" y="115"/>
                  </a:lnTo>
                  <a:lnTo>
                    <a:pt x="764" y="126"/>
                  </a:lnTo>
                  <a:lnTo>
                    <a:pt x="775" y="138"/>
                  </a:lnTo>
                  <a:lnTo>
                    <a:pt x="785" y="151"/>
                  </a:lnTo>
                  <a:lnTo>
                    <a:pt x="794" y="163"/>
                  </a:lnTo>
                  <a:lnTo>
                    <a:pt x="803" y="175"/>
                  </a:lnTo>
                  <a:lnTo>
                    <a:pt x="811" y="187"/>
                  </a:lnTo>
                  <a:lnTo>
                    <a:pt x="825" y="213"/>
                  </a:lnTo>
                  <a:lnTo>
                    <a:pt x="837" y="238"/>
                  </a:lnTo>
                  <a:lnTo>
                    <a:pt x="848" y="263"/>
                  </a:lnTo>
                  <a:lnTo>
                    <a:pt x="855" y="289"/>
                  </a:lnTo>
                  <a:lnTo>
                    <a:pt x="861" y="312"/>
                  </a:lnTo>
                  <a:lnTo>
                    <a:pt x="865" y="336"/>
                  </a:lnTo>
                  <a:lnTo>
                    <a:pt x="868" y="358"/>
                  </a:lnTo>
                  <a:lnTo>
                    <a:pt x="869" y="379"/>
                  </a:lnTo>
                  <a:lnTo>
                    <a:pt x="869" y="397"/>
                  </a:lnTo>
                  <a:lnTo>
                    <a:pt x="869" y="397"/>
                  </a:lnTo>
                  <a:lnTo>
                    <a:pt x="869" y="423"/>
                  </a:lnTo>
                  <a:lnTo>
                    <a:pt x="868" y="449"/>
                  </a:lnTo>
                  <a:lnTo>
                    <a:pt x="864" y="474"/>
                  </a:lnTo>
                  <a:lnTo>
                    <a:pt x="859" y="499"/>
                  </a:lnTo>
                  <a:lnTo>
                    <a:pt x="852" y="523"/>
                  </a:lnTo>
                  <a:lnTo>
                    <a:pt x="843" y="546"/>
                  </a:lnTo>
                  <a:lnTo>
                    <a:pt x="834" y="569"/>
                  </a:lnTo>
                  <a:lnTo>
                    <a:pt x="823" y="590"/>
                  </a:lnTo>
                  <a:lnTo>
                    <a:pt x="811" y="612"/>
                  </a:lnTo>
                  <a:lnTo>
                    <a:pt x="796" y="631"/>
                  </a:lnTo>
                  <a:lnTo>
                    <a:pt x="782" y="651"/>
                  </a:lnTo>
                  <a:lnTo>
                    <a:pt x="766" y="668"/>
                  </a:lnTo>
                  <a:lnTo>
                    <a:pt x="749" y="684"/>
                  </a:lnTo>
                  <a:lnTo>
                    <a:pt x="731" y="700"/>
                  </a:lnTo>
                  <a:lnTo>
                    <a:pt x="713" y="714"/>
                  </a:lnTo>
                  <a:lnTo>
                    <a:pt x="693" y="727"/>
                  </a:lnTo>
                  <a:lnTo>
                    <a:pt x="693" y="727"/>
                  </a:lnTo>
                  <a:lnTo>
                    <a:pt x="658" y="748"/>
                  </a:lnTo>
                  <a:lnTo>
                    <a:pt x="626" y="766"/>
                  </a:lnTo>
                  <a:lnTo>
                    <a:pt x="594" y="783"/>
                  </a:lnTo>
                  <a:lnTo>
                    <a:pt x="563" y="799"/>
                  </a:lnTo>
                  <a:lnTo>
                    <a:pt x="506" y="826"/>
                  </a:lnTo>
                  <a:lnTo>
                    <a:pt x="452" y="851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48" name="Freeform 45"/>
            <p:cNvSpPr>
              <a:spLocks/>
            </p:cNvSpPr>
            <p:nvPr userDrawn="1"/>
          </p:nvSpPr>
          <p:spPr bwMode="auto">
            <a:xfrm>
              <a:off x="1228726" y="1074738"/>
              <a:ext cx="1588" cy="0"/>
            </a:xfrm>
            <a:custGeom>
              <a:avLst/>
              <a:gdLst>
                <a:gd name="T0" fmla="*/ 22 w 22"/>
                <a:gd name="T1" fmla="*/ 9 h 9"/>
                <a:gd name="T2" fmla="*/ 22 w 22"/>
                <a:gd name="T3" fmla="*/ 9 h 9"/>
                <a:gd name="T4" fmla="*/ 3 w 22"/>
                <a:gd name="T5" fmla="*/ 2 h 9"/>
                <a:gd name="T6" fmla="*/ 3 w 22"/>
                <a:gd name="T7" fmla="*/ 2 h 9"/>
                <a:gd name="T8" fmla="*/ 0 w 22"/>
                <a:gd name="T9" fmla="*/ 0 h 9"/>
                <a:gd name="T10" fmla="*/ 0 w 22"/>
                <a:gd name="T11" fmla="*/ 0 h 9"/>
                <a:gd name="T12" fmla="*/ 22 w 22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9">
                  <a:moveTo>
                    <a:pt x="22" y="9"/>
                  </a:moveTo>
                  <a:lnTo>
                    <a:pt x="22" y="9"/>
                  </a:lnTo>
                  <a:lnTo>
                    <a:pt x="3" y="2"/>
                  </a:lnTo>
                  <a:lnTo>
                    <a:pt x="3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22" y="9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49" name="Freeform 46"/>
            <p:cNvSpPr>
              <a:spLocks/>
            </p:cNvSpPr>
            <p:nvPr userDrawn="1"/>
          </p:nvSpPr>
          <p:spPr bwMode="auto">
            <a:xfrm>
              <a:off x="981076" y="757238"/>
              <a:ext cx="20638" cy="12700"/>
            </a:xfrm>
            <a:custGeom>
              <a:avLst/>
              <a:gdLst>
                <a:gd name="T0" fmla="*/ 166 w 166"/>
                <a:gd name="T1" fmla="*/ 69 h 96"/>
                <a:gd name="T2" fmla="*/ 166 w 166"/>
                <a:gd name="T3" fmla="*/ 69 h 96"/>
                <a:gd name="T4" fmla="*/ 166 w 166"/>
                <a:gd name="T5" fmla="*/ 70 h 96"/>
                <a:gd name="T6" fmla="*/ 165 w 166"/>
                <a:gd name="T7" fmla="*/ 72 h 96"/>
                <a:gd name="T8" fmla="*/ 161 w 166"/>
                <a:gd name="T9" fmla="*/ 74 h 96"/>
                <a:gd name="T10" fmla="*/ 155 w 166"/>
                <a:gd name="T11" fmla="*/ 77 h 96"/>
                <a:gd name="T12" fmla="*/ 145 w 166"/>
                <a:gd name="T13" fmla="*/ 79 h 96"/>
                <a:gd name="T14" fmla="*/ 123 w 166"/>
                <a:gd name="T15" fmla="*/ 85 h 96"/>
                <a:gd name="T16" fmla="*/ 95 w 166"/>
                <a:gd name="T17" fmla="*/ 90 h 96"/>
                <a:gd name="T18" fmla="*/ 68 w 166"/>
                <a:gd name="T19" fmla="*/ 94 h 96"/>
                <a:gd name="T20" fmla="*/ 42 w 166"/>
                <a:gd name="T21" fmla="*/ 96 h 96"/>
                <a:gd name="T22" fmla="*/ 24 w 166"/>
                <a:gd name="T23" fmla="*/ 96 h 96"/>
                <a:gd name="T24" fmla="*/ 17 w 166"/>
                <a:gd name="T25" fmla="*/ 95 h 96"/>
                <a:gd name="T26" fmla="*/ 13 w 166"/>
                <a:gd name="T27" fmla="*/ 94 h 96"/>
                <a:gd name="T28" fmla="*/ 13 w 166"/>
                <a:gd name="T29" fmla="*/ 94 h 96"/>
                <a:gd name="T30" fmla="*/ 10 w 166"/>
                <a:gd name="T31" fmla="*/ 92 h 96"/>
                <a:gd name="T32" fmla="*/ 8 w 166"/>
                <a:gd name="T33" fmla="*/ 88 h 96"/>
                <a:gd name="T34" fmla="*/ 5 w 166"/>
                <a:gd name="T35" fmla="*/ 77 h 96"/>
                <a:gd name="T36" fmla="*/ 2 w 166"/>
                <a:gd name="T37" fmla="*/ 65 h 96"/>
                <a:gd name="T38" fmla="*/ 0 w 166"/>
                <a:gd name="T39" fmla="*/ 51 h 96"/>
                <a:gd name="T40" fmla="*/ 0 w 166"/>
                <a:gd name="T41" fmla="*/ 36 h 96"/>
                <a:gd name="T42" fmla="*/ 0 w 166"/>
                <a:gd name="T43" fmla="*/ 23 h 96"/>
                <a:gd name="T44" fmla="*/ 1 w 166"/>
                <a:gd name="T45" fmla="*/ 13 h 96"/>
                <a:gd name="T46" fmla="*/ 2 w 166"/>
                <a:gd name="T47" fmla="*/ 8 h 96"/>
                <a:gd name="T48" fmla="*/ 4 w 166"/>
                <a:gd name="T49" fmla="*/ 5 h 96"/>
                <a:gd name="T50" fmla="*/ 4 w 166"/>
                <a:gd name="T51" fmla="*/ 5 h 96"/>
                <a:gd name="T52" fmla="*/ 5 w 166"/>
                <a:gd name="T53" fmla="*/ 4 h 96"/>
                <a:gd name="T54" fmla="*/ 7 w 166"/>
                <a:gd name="T55" fmla="*/ 2 h 96"/>
                <a:gd name="T56" fmla="*/ 13 w 166"/>
                <a:gd name="T57" fmla="*/ 1 h 96"/>
                <a:gd name="T58" fmla="*/ 22 w 166"/>
                <a:gd name="T59" fmla="*/ 0 h 96"/>
                <a:gd name="T60" fmla="*/ 32 w 166"/>
                <a:gd name="T61" fmla="*/ 0 h 96"/>
                <a:gd name="T62" fmla="*/ 43 w 166"/>
                <a:gd name="T63" fmla="*/ 1 h 96"/>
                <a:gd name="T64" fmla="*/ 55 w 166"/>
                <a:gd name="T65" fmla="*/ 3 h 96"/>
                <a:gd name="T66" fmla="*/ 69 w 166"/>
                <a:gd name="T67" fmla="*/ 6 h 96"/>
                <a:gd name="T68" fmla="*/ 83 w 166"/>
                <a:gd name="T69" fmla="*/ 10 h 96"/>
                <a:gd name="T70" fmla="*/ 96 w 166"/>
                <a:gd name="T71" fmla="*/ 15 h 96"/>
                <a:gd name="T72" fmla="*/ 110 w 166"/>
                <a:gd name="T73" fmla="*/ 20 h 96"/>
                <a:gd name="T74" fmla="*/ 123 w 166"/>
                <a:gd name="T75" fmla="*/ 27 h 96"/>
                <a:gd name="T76" fmla="*/ 135 w 166"/>
                <a:gd name="T77" fmla="*/ 34 h 96"/>
                <a:gd name="T78" fmla="*/ 145 w 166"/>
                <a:gd name="T79" fmla="*/ 42 h 96"/>
                <a:gd name="T80" fmla="*/ 155 w 166"/>
                <a:gd name="T81" fmla="*/ 51 h 96"/>
                <a:gd name="T82" fmla="*/ 162 w 166"/>
                <a:gd name="T83" fmla="*/ 60 h 96"/>
                <a:gd name="T84" fmla="*/ 164 w 166"/>
                <a:gd name="T85" fmla="*/ 64 h 96"/>
                <a:gd name="T86" fmla="*/ 166 w 166"/>
                <a:gd name="T87" fmla="*/ 6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66" h="96">
                  <a:moveTo>
                    <a:pt x="166" y="69"/>
                  </a:moveTo>
                  <a:lnTo>
                    <a:pt x="166" y="69"/>
                  </a:lnTo>
                  <a:lnTo>
                    <a:pt x="166" y="70"/>
                  </a:lnTo>
                  <a:lnTo>
                    <a:pt x="165" y="72"/>
                  </a:lnTo>
                  <a:lnTo>
                    <a:pt x="161" y="74"/>
                  </a:lnTo>
                  <a:lnTo>
                    <a:pt x="155" y="77"/>
                  </a:lnTo>
                  <a:lnTo>
                    <a:pt x="145" y="79"/>
                  </a:lnTo>
                  <a:lnTo>
                    <a:pt x="123" y="85"/>
                  </a:lnTo>
                  <a:lnTo>
                    <a:pt x="95" y="90"/>
                  </a:lnTo>
                  <a:lnTo>
                    <a:pt x="68" y="94"/>
                  </a:lnTo>
                  <a:lnTo>
                    <a:pt x="42" y="96"/>
                  </a:lnTo>
                  <a:lnTo>
                    <a:pt x="24" y="96"/>
                  </a:lnTo>
                  <a:lnTo>
                    <a:pt x="17" y="95"/>
                  </a:lnTo>
                  <a:lnTo>
                    <a:pt x="13" y="94"/>
                  </a:lnTo>
                  <a:lnTo>
                    <a:pt x="13" y="94"/>
                  </a:lnTo>
                  <a:lnTo>
                    <a:pt x="10" y="92"/>
                  </a:lnTo>
                  <a:lnTo>
                    <a:pt x="8" y="88"/>
                  </a:lnTo>
                  <a:lnTo>
                    <a:pt x="5" y="77"/>
                  </a:lnTo>
                  <a:lnTo>
                    <a:pt x="2" y="65"/>
                  </a:lnTo>
                  <a:lnTo>
                    <a:pt x="0" y="51"/>
                  </a:lnTo>
                  <a:lnTo>
                    <a:pt x="0" y="36"/>
                  </a:lnTo>
                  <a:lnTo>
                    <a:pt x="0" y="23"/>
                  </a:lnTo>
                  <a:lnTo>
                    <a:pt x="1" y="13"/>
                  </a:lnTo>
                  <a:lnTo>
                    <a:pt x="2" y="8"/>
                  </a:lnTo>
                  <a:lnTo>
                    <a:pt x="4" y="5"/>
                  </a:lnTo>
                  <a:lnTo>
                    <a:pt x="4" y="5"/>
                  </a:lnTo>
                  <a:lnTo>
                    <a:pt x="5" y="4"/>
                  </a:lnTo>
                  <a:lnTo>
                    <a:pt x="7" y="2"/>
                  </a:lnTo>
                  <a:lnTo>
                    <a:pt x="13" y="1"/>
                  </a:lnTo>
                  <a:lnTo>
                    <a:pt x="22" y="0"/>
                  </a:lnTo>
                  <a:lnTo>
                    <a:pt x="32" y="0"/>
                  </a:lnTo>
                  <a:lnTo>
                    <a:pt x="43" y="1"/>
                  </a:lnTo>
                  <a:lnTo>
                    <a:pt x="55" y="3"/>
                  </a:lnTo>
                  <a:lnTo>
                    <a:pt x="69" y="6"/>
                  </a:lnTo>
                  <a:lnTo>
                    <a:pt x="83" y="10"/>
                  </a:lnTo>
                  <a:lnTo>
                    <a:pt x="96" y="15"/>
                  </a:lnTo>
                  <a:lnTo>
                    <a:pt x="110" y="20"/>
                  </a:lnTo>
                  <a:lnTo>
                    <a:pt x="123" y="27"/>
                  </a:lnTo>
                  <a:lnTo>
                    <a:pt x="135" y="34"/>
                  </a:lnTo>
                  <a:lnTo>
                    <a:pt x="145" y="42"/>
                  </a:lnTo>
                  <a:lnTo>
                    <a:pt x="155" y="51"/>
                  </a:lnTo>
                  <a:lnTo>
                    <a:pt x="162" y="60"/>
                  </a:lnTo>
                  <a:lnTo>
                    <a:pt x="164" y="64"/>
                  </a:lnTo>
                  <a:lnTo>
                    <a:pt x="166" y="69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50" name="Freeform 47"/>
            <p:cNvSpPr>
              <a:spLocks/>
            </p:cNvSpPr>
            <p:nvPr userDrawn="1"/>
          </p:nvSpPr>
          <p:spPr bwMode="auto">
            <a:xfrm>
              <a:off x="703263" y="714376"/>
              <a:ext cx="657225" cy="776288"/>
            </a:xfrm>
            <a:custGeom>
              <a:avLst/>
              <a:gdLst>
                <a:gd name="T0" fmla="*/ 4703 w 4973"/>
                <a:gd name="T1" fmla="*/ 1877 h 5865"/>
                <a:gd name="T2" fmla="*/ 4733 w 4973"/>
                <a:gd name="T3" fmla="*/ 1183 h 5865"/>
                <a:gd name="T4" fmla="*/ 4302 w 4973"/>
                <a:gd name="T5" fmla="*/ 476 h 5865"/>
                <a:gd name="T6" fmla="*/ 3581 w 4973"/>
                <a:gd name="T7" fmla="*/ 813 h 5865"/>
                <a:gd name="T8" fmla="*/ 3899 w 4973"/>
                <a:gd name="T9" fmla="*/ 1529 h 5865"/>
                <a:gd name="T10" fmla="*/ 3757 w 4973"/>
                <a:gd name="T11" fmla="*/ 2227 h 5865"/>
                <a:gd name="T12" fmla="*/ 3939 w 4973"/>
                <a:gd name="T13" fmla="*/ 2068 h 5865"/>
                <a:gd name="T14" fmla="*/ 4069 w 4973"/>
                <a:gd name="T15" fmla="*/ 1928 h 5865"/>
                <a:gd name="T16" fmla="*/ 4545 w 4973"/>
                <a:gd name="T17" fmla="*/ 1985 h 5865"/>
                <a:gd name="T18" fmla="*/ 4487 w 4973"/>
                <a:gd name="T19" fmla="*/ 2697 h 5865"/>
                <a:gd name="T20" fmla="*/ 3601 w 4973"/>
                <a:gd name="T21" fmla="*/ 2477 h 5865"/>
                <a:gd name="T22" fmla="*/ 3285 w 4973"/>
                <a:gd name="T23" fmla="*/ 1581 h 5865"/>
                <a:gd name="T24" fmla="*/ 3364 w 4973"/>
                <a:gd name="T25" fmla="*/ 1421 h 5865"/>
                <a:gd name="T26" fmla="*/ 3101 w 4973"/>
                <a:gd name="T27" fmla="*/ 996 h 5865"/>
                <a:gd name="T28" fmla="*/ 3251 w 4973"/>
                <a:gd name="T29" fmla="*/ 599 h 5865"/>
                <a:gd name="T30" fmla="*/ 2863 w 4973"/>
                <a:gd name="T31" fmla="*/ 144 h 5865"/>
                <a:gd name="T32" fmla="*/ 1960 w 4973"/>
                <a:gd name="T33" fmla="*/ 304 h 5865"/>
                <a:gd name="T34" fmla="*/ 1819 w 4973"/>
                <a:gd name="T35" fmla="*/ 748 h 5865"/>
                <a:gd name="T36" fmla="*/ 2202 w 4973"/>
                <a:gd name="T37" fmla="*/ 626 h 5865"/>
                <a:gd name="T38" fmla="*/ 2215 w 4973"/>
                <a:gd name="T39" fmla="*/ 803 h 5865"/>
                <a:gd name="T40" fmla="*/ 1623 w 4973"/>
                <a:gd name="T41" fmla="*/ 851 h 5865"/>
                <a:gd name="T42" fmla="*/ 1602 w 4973"/>
                <a:gd name="T43" fmla="*/ 1055 h 5865"/>
                <a:gd name="T44" fmla="*/ 2246 w 4973"/>
                <a:gd name="T45" fmla="*/ 924 h 5865"/>
                <a:gd name="T46" fmla="*/ 2036 w 4973"/>
                <a:gd name="T47" fmla="*/ 981 h 5865"/>
                <a:gd name="T48" fmla="*/ 1754 w 4973"/>
                <a:gd name="T49" fmla="*/ 1278 h 5865"/>
                <a:gd name="T50" fmla="*/ 2105 w 4973"/>
                <a:gd name="T51" fmla="*/ 1619 h 5865"/>
                <a:gd name="T52" fmla="*/ 863 w 4973"/>
                <a:gd name="T53" fmla="*/ 2239 h 5865"/>
                <a:gd name="T54" fmla="*/ 310 w 4973"/>
                <a:gd name="T55" fmla="*/ 2027 h 5865"/>
                <a:gd name="T56" fmla="*/ 319 w 4973"/>
                <a:gd name="T57" fmla="*/ 2172 h 5865"/>
                <a:gd name="T58" fmla="*/ 380 w 4973"/>
                <a:gd name="T59" fmla="*/ 2295 h 5865"/>
                <a:gd name="T60" fmla="*/ 39 w 4973"/>
                <a:gd name="T61" fmla="*/ 2396 h 5865"/>
                <a:gd name="T62" fmla="*/ 189 w 4973"/>
                <a:gd name="T63" fmla="*/ 2511 h 5865"/>
                <a:gd name="T64" fmla="*/ 322 w 4973"/>
                <a:gd name="T65" fmla="*/ 2588 h 5865"/>
                <a:gd name="T66" fmla="*/ 272 w 4973"/>
                <a:gd name="T67" fmla="*/ 2893 h 5865"/>
                <a:gd name="T68" fmla="*/ 630 w 4973"/>
                <a:gd name="T69" fmla="*/ 2730 h 5865"/>
                <a:gd name="T70" fmla="*/ 811 w 4973"/>
                <a:gd name="T71" fmla="*/ 2843 h 5865"/>
                <a:gd name="T72" fmla="*/ 1024 w 4973"/>
                <a:gd name="T73" fmla="*/ 2773 h 5865"/>
                <a:gd name="T74" fmla="*/ 1290 w 4973"/>
                <a:gd name="T75" fmla="*/ 2556 h 5865"/>
                <a:gd name="T76" fmla="*/ 1713 w 4973"/>
                <a:gd name="T77" fmla="*/ 2519 h 5865"/>
                <a:gd name="T78" fmla="*/ 2306 w 4973"/>
                <a:gd name="T79" fmla="*/ 2641 h 5865"/>
                <a:gd name="T80" fmla="*/ 3357 w 4973"/>
                <a:gd name="T81" fmla="*/ 3092 h 5865"/>
                <a:gd name="T82" fmla="*/ 3742 w 4973"/>
                <a:gd name="T83" fmla="*/ 3928 h 5865"/>
                <a:gd name="T84" fmla="*/ 3685 w 4973"/>
                <a:gd name="T85" fmla="*/ 4224 h 5865"/>
                <a:gd name="T86" fmla="*/ 4224 w 4973"/>
                <a:gd name="T87" fmla="*/ 4337 h 5865"/>
                <a:gd name="T88" fmla="*/ 4264 w 4973"/>
                <a:gd name="T89" fmla="*/ 5017 h 5865"/>
                <a:gd name="T90" fmla="*/ 3761 w 4973"/>
                <a:gd name="T91" fmla="*/ 5058 h 5865"/>
                <a:gd name="T92" fmla="*/ 3894 w 4973"/>
                <a:gd name="T93" fmla="*/ 5210 h 5865"/>
                <a:gd name="T94" fmla="*/ 3894 w 4973"/>
                <a:gd name="T95" fmla="*/ 5294 h 5865"/>
                <a:gd name="T96" fmla="*/ 3751 w 4973"/>
                <a:gd name="T97" fmla="*/ 5644 h 5865"/>
                <a:gd name="T98" fmla="*/ 3926 w 4973"/>
                <a:gd name="T99" fmla="*/ 5586 h 5865"/>
                <a:gd name="T100" fmla="*/ 4212 w 4973"/>
                <a:gd name="T101" fmla="*/ 5447 h 5865"/>
                <a:gd name="T102" fmla="*/ 4257 w 4973"/>
                <a:gd name="T103" fmla="*/ 5812 h 5865"/>
                <a:gd name="T104" fmla="*/ 4352 w 4973"/>
                <a:gd name="T105" fmla="*/ 5675 h 5865"/>
                <a:gd name="T106" fmla="*/ 4557 w 4973"/>
                <a:gd name="T107" fmla="*/ 5328 h 5865"/>
                <a:gd name="T108" fmla="*/ 4736 w 4973"/>
                <a:gd name="T109" fmla="*/ 5505 h 5865"/>
                <a:gd name="T110" fmla="*/ 4753 w 4973"/>
                <a:gd name="T111" fmla="*/ 5108 h 5865"/>
                <a:gd name="T112" fmla="*/ 4693 w 4973"/>
                <a:gd name="T113" fmla="*/ 4810 h 5865"/>
                <a:gd name="T114" fmla="*/ 4677 w 4973"/>
                <a:gd name="T115" fmla="*/ 4437 h 5865"/>
                <a:gd name="T116" fmla="*/ 4640 w 4973"/>
                <a:gd name="T117" fmla="*/ 4108 h 5865"/>
                <a:gd name="T118" fmla="*/ 4297 w 4973"/>
                <a:gd name="T119" fmla="*/ 3793 h 5865"/>
                <a:gd name="T120" fmla="*/ 4267 w 4973"/>
                <a:gd name="T121" fmla="*/ 3366 h 5865"/>
                <a:gd name="T122" fmla="*/ 4428 w 4973"/>
                <a:gd name="T123" fmla="*/ 2994 h 5865"/>
                <a:gd name="T124" fmla="*/ 4923 w 4973"/>
                <a:gd name="T125" fmla="*/ 2543 h 58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973" h="5865">
                  <a:moveTo>
                    <a:pt x="4842" y="2253"/>
                  </a:moveTo>
                  <a:lnTo>
                    <a:pt x="4842" y="2253"/>
                  </a:lnTo>
                  <a:lnTo>
                    <a:pt x="4862" y="2257"/>
                  </a:lnTo>
                  <a:lnTo>
                    <a:pt x="4881" y="2259"/>
                  </a:lnTo>
                  <a:lnTo>
                    <a:pt x="4900" y="2260"/>
                  </a:lnTo>
                  <a:lnTo>
                    <a:pt x="4916" y="2259"/>
                  </a:lnTo>
                  <a:lnTo>
                    <a:pt x="4932" y="2257"/>
                  </a:lnTo>
                  <a:lnTo>
                    <a:pt x="4946" y="2254"/>
                  </a:lnTo>
                  <a:lnTo>
                    <a:pt x="4958" y="2249"/>
                  </a:lnTo>
                  <a:lnTo>
                    <a:pt x="4969" y="2243"/>
                  </a:lnTo>
                  <a:lnTo>
                    <a:pt x="4969" y="2243"/>
                  </a:lnTo>
                  <a:lnTo>
                    <a:pt x="4967" y="2217"/>
                  </a:lnTo>
                  <a:lnTo>
                    <a:pt x="4960" y="2157"/>
                  </a:lnTo>
                  <a:lnTo>
                    <a:pt x="4951" y="2084"/>
                  </a:lnTo>
                  <a:lnTo>
                    <a:pt x="4946" y="2052"/>
                  </a:lnTo>
                  <a:lnTo>
                    <a:pt x="4940" y="2024"/>
                  </a:lnTo>
                  <a:lnTo>
                    <a:pt x="4940" y="2024"/>
                  </a:lnTo>
                  <a:lnTo>
                    <a:pt x="4922" y="2027"/>
                  </a:lnTo>
                  <a:lnTo>
                    <a:pt x="4902" y="2030"/>
                  </a:lnTo>
                  <a:lnTo>
                    <a:pt x="4891" y="2030"/>
                  </a:lnTo>
                  <a:lnTo>
                    <a:pt x="4879" y="2030"/>
                  </a:lnTo>
                  <a:lnTo>
                    <a:pt x="4867" y="2029"/>
                  </a:lnTo>
                  <a:lnTo>
                    <a:pt x="4855" y="2027"/>
                  </a:lnTo>
                  <a:lnTo>
                    <a:pt x="4843" y="2024"/>
                  </a:lnTo>
                  <a:lnTo>
                    <a:pt x="4830" y="2020"/>
                  </a:lnTo>
                  <a:lnTo>
                    <a:pt x="4818" y="2015"/>
                  </a:lnTo>
                  <a:lnTo>
                    <a:pt x="4806" y="2008"/>
                  </a:lnTo>
                  <a:lnTo>
                    <a:pt x="4794" y="1998"/>
                  </a:lnTo>
                  <a:lnTo>
                    <a:pt x="4782" y="1988"/>
                  </a:lnTo>
                  <a:lnTo>
                    <a:pt x="4771" y="1976"/>
                  </a:lnTo>
                  <a:lnTo>
                    <a:pt x="4761" y="1962"/>
                  </a:lnTo>
                  <a:lnTo>
                    <a:pt x="4761" y="1962"/>
                  </a:lnTo>
                  <a:lnTo>
                    <a:pt x="4743" y="1933"/>
                  </a:lnTo>
                  <a:lnTo>
                    <a:pt x="4724" y="1905"/>
                  </a:lnTo>
                  <a:lnTo>
                    <a:pt x="4724" y="1905"/>
                  </a:lnTo>
                  <a:lnTo>
                    <a:pt x="4703" y="1877"/>
                  </a:lnTo>
                  <a:lnTo>
                    <a:pt x="4680" y="1849"/>
                  </a:lnTo>
                  <a:lnTo>
                    <a:pt x="4658" y="1823"/>
                  </a:lnTo>
                  <a:lnTo>
                    <a:pt x="4634" y="1797"/>
                  </a:lnTo>
                  <a:lnTo>
                    <a:pt x="4611" y="1773"/>
                  </a:lnTo>
                  <a:lnTo>
                    <a:pt x="4586" y="1750"/>
                  </a:lnTo>
                  <a:lnTo>
                    <a:pt x="4562" y="1727"/>
                  </a:lnTo>
                  <a:lnTo>
                    <a:pt x="4538" y="1707"/>
                  </a:lnTo>
                  <a:lnTo>
                    <a:pt x="4513" y="1687"/>
                  </a:lnTo>
                  <a:lnTo>
                    <a:pt x="4489" y="1667"/>
                  </a:lnTo>
                  <a:lnTo>
                    <a:pt x="4463" y="1649"/>
                  </a:lnTo>
                  <a:lnTo>
                    <a:pt x="4439" y="1630"/>
                  </a:lnTo>
                  <a:lnTo>
                    <a:pt x="4413" y="1614"/>
                  </a:lnTo>
                  <a:lnTo>
                    <a:pt x="4389" y="1598"/>
                  </a:lnTo>
                  <a:lnTo>
                    <a:pt x="4337" y="1566"/>
                  </a:lnTo>
                  <a:lnTo>
                    <a:pt x="4337" y="1566"/>
                  </a:lnTo>
                  <a:lnTo>
                    <a:pt x="4381" y="1543"/>
                  </a:lnTo>
                  <a:lnTo>
                    <a:pt x="4422" y="1521"/>
                  </a:lnTo>
                  <a:lnTo>
                    <a:pt x="4459" y="1498"/>
                  </a:lnTo>
                  <a:lnTo>
                    <a:pt x="4492" y="1477"/>
                  </a:lnTo>
                  <a:lnTo>
                    <a:pt x="4523" y="1455"/>
                  </a:lnTo>
                  <a:lnTo>
                    <a:pt x="4549" y="1434"/>
                  </a:lnTo>
                  <a:lnTo>
                    <a:pt x="4574" y="1414"/>
                  </a:lnTo>
                  <a:lnTo>
                    <a:pt x="4595" y="1393"/>
                  </a:lnTo>
                  <a:lnTo>
                    <a:pt x="4615" y="1374"/>
                  </a:lnTo>
                  <a:lnTo>
                    <a:pt x="4632" y="1355"/>
                  </a:lnTo>
                  <a:lnTo>
                    <a:pt x="4647" y="1337"/>
                  </a:lnTo>
                  <a:lnTo>
                    <a:pt x="4661" y="1319"/>
                  </a:lnTo>
                  <a:lnTo>
                    <a:pt x="4673" y="1303"/>
                  </a:lnTo>
                  <a:lnTo>
                    <a:pt x="4683" y="1288"/>
                  </a:lnTo>
                  <a:lnTo>
                    <a:pt x="4700" y="1260"/>
                  </a:lnTo>
                  <a:lnTo>
                    <a:pt x="4700" y="1260"/>
                  </a:lnTo>
                  <a:lnTo>
                    <a:pt x="4708" y="1248"/>
                  </a:lnTo>
                  <a:lnTo>
                    <a:pt x="4714" y="1234"/>
                  </a:lnTo>
                  <a:lnTo>
                    <a:pt x="4721" y="1218"/>
                  </a:lnTo>
                  <a:lnTo>
                    <a:pt x="4727" y="1202"/>
                  </a:lnTo>
                  <a:lnTo>
                    <a:pt x="4733" y="1183"/>
                  </a:lnTo>
                  <a:lnTo>
                    <a:pt x="4739" y="1164"/>
                  </a:lnTo>
                  <a:lnTo>
                    <a:pt x="4743" y="1144"/>
                  </a:lnTo>
                  <a:lnTo>
                    <a:pt x="4749" y="1123"/>
                  </a:lnTo>
                  <a:lnTo>
                    <a:pt x="4753" y="1101"/>
                  </a:lnTo>
                  <a:lnTo>
                    <a:pt x="4756" y="1078"/>
                  </a:lnTo>
                  <a:lnTo>
                    <a:pt x="4758" y="1054"/>
                  </a:lnTo>
                  <a:lnTo>
                    <a:pt x="4759" y="1030"/>
                  </a:lnTo>
                  <a:lnTo>
                    <a:pt x="4760" y="1005"/>
                  </a:lnTo>
                  <a:lnTo>
                    <a:pt x="4759" y="980"/>
                  </a:lnTo>
                  <a:lnTo>
                    <a:pt x="4758" y="954"/>
                  </a:lnTo>
                  <a:lnTo>
                    <a:pt x="4755" y="928"/>
                  </a:lnTo>
                  <a:lnTo>
                    <a:pt x="4751" y="902"/>
                  </a:lnTo>
                  <a:lnTo>
                    <a:pt x="4745" y="876"/>
                  </a:lnTo>
                  <a:lnTo>
                    <a:pt x="4738" y="849"/>
                  </a:lnTo>
                  <a:lnTo>
                    <a:pt x="4730" y="824"/>
                  </a:lnTo>
                  <a:lnTo>
                    <a:pt x="4720" y="797"/>
                  </a:lnTo>
                  <a:lnTo>
                    <a:pt x="4709" y="771"/>
                  </a:lnTo>
                  <a:lnTo>
                    <a:pt x="4695" y="746"/>
                  </a:lnTo>
                  <a:lnTo>
                    <a:pt x="4681" y="721"/>
                  </a:lnTo>
                  <a:lnTo>
                    <a:pt x="4665" y="697"/>
                  </a:lnTo>
                  <a:lnTo>
                    <a:pt x="4646" y="672"/>
                  </a:lnTo>
                  <a:lnTo>
                    <a:pt x="4625" y="649"/>
                  </a:lnTo>
                  <a:lnTo>
                    <a:pt x="4602" y="626"/>
                  </a:lnTo>
                  <a:lnTo>
                    <a:pt x="4578" y="605"/>
                  </a:lnTo>
                  <a:lnTo>
                    <a:pt x="4551" y="584"/>
                  </a:lnTo>
                  <a:lnTo>
                    <a:pt x="4522" y="565"/>
                  </a:lnTo>
                  <a:lnTo>
                    <a:pt x="4490" y="545"/>
                  </a:lnTo>
                  <a:lnTo>
                    <a:pt x="4490" y="545"/>
                  </a:lnTo>
                  <a:lnTo>
                    <a:pt x="4466" y="533"/>
                  </a:lnTo>
                  <a:lnTo>
                    <a:pt x="4443" y="522"/>
                  </a:lnTo>
                  <a:lnTo>
                    <a:pt x="4419" y="512"/>
                  </a:lnTo>
                  <a:lnTo>
                    <a:pt x="4396" y="503"/>
                  </a:lnTo>
                  <a:lnTo>
                    <a:pt x="4372" y="494"/>
                  </a:lnTo>
                  <a:lnTo>
                    <a:pt x="4348" y="487"/>
                  </a:lnTo>
                  <a:lnTo>
                    <a:pt x="4325" y="481"/>
                  </a:lnTo>
                  <a:lnTo>
                    <a:pt x="4302" y="476"/>
                  </a:lnTo>
                  <a:lnTo>
                    <a:pt x="4278" y="471"/>
                  </a:lnTo>
                  <a:lnTo>
                    <a:pt x="4256" y="468"/>
                  </a:lnTo>
                  <a:lnTo>
                    <a:pt x="4233" y="465"/>
                  </a:lnTo>
                  <a:lnTo>
                    <a:pt x="4211" y="463"/>
                  </a:lnTo>
                  <a:lnTo>
                    <a:pt x="4188" y="461"/>
                  </a:lnTo>
                  <a:lnTo>
                    <a:pt x="4167" y="461"/>
                  </a:lnTo>
                  <a:lnTo>
                    <a:pt x="4145" y="461"/>
                  </a:lnTo>
                  <a:lnTo>
                    <a:pt x="4124" y="461"/>
                  </a:lnTo>
                  <a:lnTo>
                    <a:pt x="4083" y="464"/>
                  </a:lnTo>
                  <a:lnTo>
                    <a:pt x="4044" y="468"/>
                  </a:lnTo>
                  <a:lnTo>
                    <a:pt x="4007" y="474"/>
                  </a:lnTo>
                  <a:lnTo>
                    <a:pt x="3973" y="482"/>
                  </a:lnTo>
                  <a:lnTo>
                    <a:pt x="3941" y="490"/>
                  </a:lnTo>
                  <a:lnTo>
                    <a:pt x="3912" y="499"/>
                  </a:lnTo>
                  <a:lnTo>
                    <a:pt x="3887" y="510"/>
                  </a:lnTo>
                  <a:lnTo>
                    <a:pt x="3864" y="519"/>
                  </a:lnTo>
                  <a:lnTo>
                    <a:pt x="3864" y="519"/>
                  </a:lnTo>
                  <a:lnTo>
                    <a:pt x="3844" y="529"/>
                  </a:lnTo>
                  <a:lnTo>
                    <a:pt x="3824" y="539"/>
                  </a:lnTo>
                  <a:lnTo>
                    <a:pt x="3806" y="551"/>
                  </a:lnTo>
                  <a:lnTo>
                    <a:pt x="3787" y="562"/>
                  </a:lnTo>
                  <a:lnTo>
                    <a:pt x="3769" y="575"/>
                  </a:lnTo>
                  <a:lnTo>
                    <a:pt x="3752" y="587"/>
                  </a:lnTo>
                  <a:lnTo>
                    <a:pt x="3735" y="602"/>
                  </a:lnTo>
                  <a:lnTo>
                    <a:pt x="3719" y="616"/>
                  </a:lnTo>
                  <a:lnTo>
                    <a:pt x="3703" y="631"/>
                  </a:lnTo>
                  <a:lnTo>
                    <a:pt x="3687" y="647"/>
                  </a:lnTo>
                  <a:lnTo>
                    <a:pt x="3673" y="663"/>
                  </a:lnTo>
                  <a:lnTo>
                    <a:pt x="3659" y="679"/>
                  </a:lnTo>
                  <a:lnTo>
                    <a:pt x="3645" y="697"/>
                  </a:lnTo>
                  <a:lnTo>
                    <a:pt x="3633" y="715"/>
                  </a:lnTo>
                  <a:lnTo>
                    <a:pt x="3621" y="734"/>
                  </a:lnTo>
                  <a:lnTo>
                    <a:pt x="3609" y="753"/>
                  </a:lnTo>
                  <a:lnTo>
                    <a:pt x="3599" y="772"/>
                  </a:lnTo>
                  <a:lnTo>
                    <a:pt x="3589" y="793"/>
                  </a:lnTo>
                  <a:lnTo>
                    <a:pt x="3581" y="813"/>
                  </a:lnTo>
                  <a:lnTo>
                    <a:pt x="3573" y="835"/>
                  </a:lnTo>
                  <a:lnTo>
                    <a:pt x="3565" y="856"/>
                  </a:lnTo>
                  <a:lnTo>
                    <a:pt x="3559" y="879"/>
                  </a:lnTo>
                  <a:lnTo>
                    <a:pt x="3554" y="901"/>
                  </a:lnTo>
                  <a:lnTo>
                    <a:pt x="3550" y="924"/>
                  </a:lnTo>
                  <a:lnTo>
                    <a:pt x="3547" y="947"/>
                  </a:lnTo>
                  <a:lnTo>
                    <a:pt x="3545" y="972"/>
                  </a:lnTo>
                  <a:lnTo>
                    <a:pt x="3544" y="996"/>
                  </a:lnTo>
                  <a:lnTo>
                    <a:pt x="3543" y="1021"/>
                  </a:lnTo>
                  <a:lnTo>
                    <a:pt x="3544" y="1046"/>
                  </a:lnTo>
                  <a:lnTo>
                    <a:pt x="3546" y="1072"/>
                  </a:lnTo>
                  <a:lnTo>
                    <a:pt x="3550" y="1098"/>
                  </a:lnTo>
                  <a:lnTo>
                    <a:pt x="3554" y="1124"/>
                  </a:lnTo>
                  <a:lnTo>
                    <a:pt x="3554" y="1124"/>
                  </a:lnTo>
                  <a:lnTo>
                    <a:pt x="3559" y="1148"/>
                  </a:lnTo>
                  <a:lnTo>
                    <a:pt x="3564" y="1169"/>
                  </a:lnTo>
                  <a:lnTo>
                    <a:pt x="3571" y="1191"/>
                  </a:lnTo>
                  <a:lnTo>
                    <a:pt x="3577" y="1211"/>
                  </a:lnTo>
                  <a:lnTo>
                    <a:pt x="3585" y="1231"/>
                  </a:lnTo>
                  <a:lnTo>
                    <a:pt x="3592" y="1249"/>
                  </a:lnTo>
                  <a:lnTo>
                    <a:pt x="3601" y="1267"/>
                  </a:lnTo>
                  <a:lnTo>
                    <a:pt x="3610" y="1285"/>
                  </a:lnTo>
                  <a:lnTo>
                    <a:pt x="3620" y="1301"/>
                  </a:lnTo>
                  <a:lnTo>
                    <a:pt x="3631" y="1316"/>
                  </a:lnTo>
                  <a:lnTo>
                    <a:pt x="3641" y="1332"/>
                  </a:lnTo>
                  <a:lnTo>
                    <a:pt x="3652" y="1347"/>
                  </a:lnTo>
                  <a:lnTo>
                    <a:pt x="3665" y="1361"/>
                  </a:lnTo>
                  <a:lnTo>
                    <a:pt x="3677" y="1375"/>
                  </a:lnTo>
                  <a:lnTo>
                    <a:pt x="3690" y="1388"/>
                  </a:lnTo>
                  <a:lnTo>
                    <a:pt x="3704" y="1400"/>
                  </a:lnTo>
                  <a:lnTo>
                    <a:pt x="3732" y="1425"/>
                  </a:lnTo>
                  <a:lnTo>
                    <a:pt x="3763" y="1447"/>
                  </a:lnTo>
                  <a:lnTo>
                    <a:pt x="3795" y="1469"/>
                  </a:lnTo>
                  <a:lnTo>
                    <a:pt x="3828" y="1489"/>
                  </a:lnTo>
                  <a:lnTo>
                    <a:pt x="3863" y="1510"/>
                  </a:lnTo>
                  <a:lnTo>
                    <a:pt x="3899" y="1529"/>
                  </a:lnTo>
                  <a:lnTo>
                    <a:pt x="3976" y="1567"/>
                  </a:lnTo>
                  <a:lnTo>
                    <a:pt x="3976" y="1567"/>
                  </a:lnTo>
                  <a:lnTo>
                    <a:pt x="3945" y="1584"/>
                  </a:lnTo>
                  <a:lnTo>
                    <a:pt x="3916" y="1601"/>
                  </a:lnTo>
                  <a:lnTo>
                    <a:pt x="3890" y="1618"/>
                  </a:lnTo>
                  <a:lnTo>
                    <a:pt x="3864" y="1636"/>
                  </a:lnTo>
                  <a:lnTo>
                    <a:pt x="3840" y="1656"/>
                  </a:lnTo>
                  <a:lnTo>
                    <a:pt x="3817" y="1675"/>
                  </a:lnTo>
                  <a:lnTo>
                    <a:pt x="3797" y="1696"/>
                  </a:lnTo>
                  <a:lnTo>
                    <a:pt x="3778" y="1717"/>
                  </a:lnTo>
                  <a:lnTo>
                    <a:pt x="3761" y="1741"/>
                  </a:lnTo>
                  <a:lnTo>
                    <a:pt x="3754" y="1753"/>
                  </a:lnTo>
                  <a:lnTo>
                    <a:pt x="3746" y="1765"/>
                  </a:lnTo>
                  <a:lnTo>
                    <a:pt x="3739" y="1778"/>
                  </a:lnTo>
                  <a:lnTo>
                    <a:pt x="3733" y="1791"/>
                  </a:lnTo>
                  <a:lnTo>
                    <a:pt x="3728" y="1804"/>
                  </a:lnTo>
                  <a:lnTo>
                    <a:pt x="3723" y="1818"/>
                  </a:lnTo>
                  <a:lnTo>
                    <a:pt x="3718" y="1833"/>
                  </a:lnTo>
                  <a:lnTo>
                    <a:pt x="3714" y="1848"/>
                  </a:lnTo>
                  <a:lnTo>
                    <a:pt x="3711" y="1863"/>
                  </a:lnTo>
                  <a:lnTo>
                    <a:pt x="3708" y="1879"/>
                  </a:lnTo>
                  <a:lnTo>
                    <a:pt x="3706" y="1895"/>
                  </a:lnTo>
                  <a:lnTo>
                    <a:pt x="3705" y="1912"/>
                  </a:lnTo>
                  <a:lnTo>
                    <a:pt x="3704" y="1930"/>
                  </a:lnTo>
                  <a:lnTo>
                    <a:pt x="3703" y="1947"/>
                  </a:lnTo>
                  <a:lnTo>
                    <a:pt x="3703" y="1947"/>
                  </a:lnTo>
                  <a:lnTo>
                    <a:pt x="3704" y="1970"/>
                  </a:lnTo>
                  <a:lnTo>
                    <a:pt x="3707" y="1993"/>
                  </a:lnTo>
                  <a:lnTo>
                    <a:pt x="3711" y="2016"/>
                  </a:lnTo>
                  <a:lnTo>
                    <a:pt x="3716" y="2039"/>
                  </a:lnTo>
                  <a:lnTo>
                    <a:pt x="3729" y="2087"/>
                  </a:lnTo>
                  <a:lnTo>
                    <a:pt x="3736" y="2113"/>
                  </a:lnTo>
                  <a:lnTo>
                    <a:pt x="3742" y="2139"/>
                  </a:lnTo>
                  <a:lnTo>
                    <a:pt x="3749" y="2168"/>
                  </a:lnTo>
                  <a:lnTo>
                    <a:pt x="3753" y="2197"/>
                  </a:lnTo>
                  <a:lnTo>
                    <a:pt x="3757" y="2227"/>
                  </a:lnTo>
                  <a:lnTo>
                    <a:pt x="3758" y="2260"/>
                  </a:lnTo>
                  <a:lnTo>
                    <a:pt x="3758" y="2295"/>
                  </a:lnTo>
                  <a:lnTo>
                    <a:pt x="3757" y="2313"/>
                  </a:lnTo>
                  <a:lnTo>
                    <a:pt x="3755" y="2332"/>
                  </a:lnTo>
                  <a:lnTo>
                    <a:pt x="3753" y="2350"/>
                  </a:lnTo>
                  <a:lnTo>
                    <a:pt x="3750" y="2371"/>
                  </a:lnTo>
                  <a:lnTo>
                    <a:pt x="3745" y="2391"/>
                  </a:lnTo>
                  <a:lnTo>
                    <a:pt x="3741" y="2411"/>
                  </a:lnTo>
                  <a:lnTo>
                    <a:pt x="3741" y="2411"/>
                  </a:lnTo>
                  <a:lnTo>
                    <a:pt x="3741" y="2413"/>
                  </a:lnTo>
                  <a:lnTo>
                    <a:pt x="3741" y="2414"/>
                  </a:lnTo>
                  <a:lnTo>
                    <a:pt x="3743" y="2414"/>
                  </a:lnTo>
                  <a:lnTo>
                    <a:pt x="3745" y="2416"/>
                  </a:lnTo>
                  <a:lnTo>
                    <a:pt x="3753" y="2413"/>
                  </a:lnTo>
                  <a:lnTo>
                    <a:pt x="3762" y="2411"/>
                  </a:lnTo>
                  <a:lnTo>
                    <a:pt x="3785" y="2401"/>
                  </a:lnTo>
                  <a:lnTo>
                    <a:pt x="3814" y="2389"/>
                  </a:lnTo>
                  <a:lnTo>
                    <a:pt x="3842" y="2374"/>
                  </a:lnTo>
                  <a:lnTo>
                    <a:pt x="3867" y="2360"/>
                  </a:lnTo>
                  <a:lnTo>
                    <a:pt x="3886" y="2349"/>
                  </a:lnTo>
                  <a:lnTo>
                    <a:pt x="3891" y="2345"/>
                  </a:lnTo>
                  <a:lnTo>
                    <a:pt x="3894" y="2343"/>
                  </a:lnTo>
                  <a:lnTo>
                    <a:pt x="3894" y="2343"/>
                  </a:lnTo>
                  <a:lnTo>
                    <a:pt x="3903" y="2319"/>
                  </a:lnTo>
                  <a:lnTo>
                    <a:pt x="3910" y="2296"/>
                  </a:lnTo>
                  <a:lnTo>
                    <a:pt x="3916" y="2272"/>
                  </a:lnTo>
                  <a:lnTo>
                    <a:pt x="3921" y="2248"/>
                  </a:lnTo>
                  <a:lnTo>
                    <a:pt x="3925" y="2224"/>
                  </a:lnTo>
                  <a:lnTo>
                    <a:pt x="3928" y="2201"/>
                  </a:lnTo>
                  <a:lnTo>
                    <a:pt x="3930" y="2178"/>
                  </a:lnTo>
                  <a:lnTo>
                    <a:pt x="3932" y="2156"/>
                  </a:lnTo>
                  <a:lnTo>
                    <a:pt x="3932" y="2117"/>
                  </a:lnTo>
                  <a:lnTo>
                    <a:pt x="3931" y="2086"/>
                  </a:lnTo>
                  <a:lnTo>
                    <a:pt x="3928" y="2059"/>
                  </a:lnTo>
                  <a:lnTo>
                    <a:pt x="3928" y="2059"/>
                  </a:lnTo>
                  <a:lnTo>
                    <a:pt x="3939" y="2068"/>
                  </a:lnTo>
                  <a:lnTo>
                    <a:pt x="3947" y="2079"/>
                  </a:lnTo>
                  <a:lnTo>
                    <a:pt x="3954" y="2091"/>
                  </a:lnTo>
                  <a:lnTo>
                    <a:pt x="3960" y="2105"/>
                  </a:lnTo>
                  <a:lnTo>
                    <a:pt x="3964" y="2120"/>
                  </a:lnTo>
                  <a:lnTo>
                    <a:pt x="3968" y="2135"/>
                  </a:lnTo>
                  <a:lnTo>
                    <a:pt x="3971" y="2152"/>
                  </a:lnTo>
                  <a:lnTo>
                    <a:pt x="3973" y="2168"/>
                  </a:lnTo>
                  <a:lnTo>
                    <a:pt x="3975" y="2185"/>
                  </a:lnTo>
                  <a:lnTo>
                    <a:pt x="3976" y="2203"/>
                  </a:lnTo>
                  <a:lnTo>
                    <a:pt x="3976" y="2219"/>
                  </a:lnTo>
                  <a:lnTo>
                    <a:pt x="3975" y="2237"/>
                  </a:lnTo>
                  <a:lnTo>
                    <a:pt x="3971" y="2268"/>
                  </a:lnTo>
                  <a:lnTo>
                    <a:pt x="3965" y="2297"/>
                  </a:lnTo>
                  <a:lnTo>
                    <a:pt x="3965" y="2297"/>
                  </a:lnTo>
                  <a:lnTo>
                    <a:pt x="3982" y="2288"/>
                  </a:lnTo>
                  <a:lnTo>
                    <a:pt x="3998" y="2276"/>
                  </a:lnTo>
                  <a:lnTo>
                    <a:pt x="4016" y="2263"/>
                  </a:lnTo>
                  <a:lnTo>
                    <a:pt x="4036" y="2249"/>
                  </a:lnTo>
                  <a:lnTo>
                    <a:pt x="4053" y="2234"/>
                  </a:lnTo>
                  <a:lnTo>
                    <a:pt x="4061" y="2226"/>
                  </a:lnTo>
                  <a:lnTo>
                    <a:pt x="4068" y="2219"/>
                  </a:lnTo>
                  <a:lnTo>
                    <a:pt x="4072" y="2212"/>
                  </a:lnTo>
                  <a:lnTo>
                    <a:pt x="4075" y="2206"/>
                  </a:lnTo>
                  <a:lnTo>
                    <a:pt x="4075" y="2206"/>
                  </a:lnTo>
                  <a:lnTo>
                    <a:pt x="4083" y="2176"/>
                  </a:lnTo>
                  <a:lnTo>
                    <a:pt x="4090" y="2148"/>
                  </a:lnTo>
                  <a:lnTo>
                    <a:pt x="4094" y="2121"/>
                  </a:lnTo>
                  <a:lnTo>
                    <a:pt x="4096" y="2095"/>
                  </a:lnTo>
                  <a:lnTo>
                    <a:pt x="4096" y="2071"/>
                  </a:lnTo>
                  <a:lnTo>
                    <a:pt x="4095" y="2047"/>
                  </a:lnTo>
                  <a:lnTo>
                    <a:pt x="4093" y="2025"/>
                  </a:lnTo>
                  <a:lnTo>
                    <a:pt x="4090" y="2003"/>
                  </a:lnTo>
                  <a:lnTo>
                    <a:pt x="4085" y="1983"/>
                  </a:lnTo>
                  <a:lnTo>
                    <a:pt x="4080" y="1964"/>
                  </a:lnTo>
                  <a:lnTo>
                    <a:pt x="4075" y="1945"/>
                  </a:lnTo>
                  <a:lnTo>
                    <a:pt x="4069" y="1928"/>
                  </a:lnTo>
                  <a:lnTo>
                    <a:pt x="4055" y="1894"/>
                  </a:lnTo>
                  <a:lnTo>
                    <a:pt x="4043" y="1862"/>
                  </a:lnTo>
                  <a:lnTo>
                    <a:pt x="4043" y="1862"/>
                  </a:lnTo>
                  <a:lnTo>
                    <a:pt x="4038" y="1847"/>
                  </a:lnTo>
                  <a:lnTo>
                    <a:pt x="4035" y="1832"/>
                  </a:lnTo>
                  <a:lnTo>
                    <a:pt x="4034" y="1817"/>
                  </a:lnTo>
                  <a:lnTo>
                    <a:pt x="4035" y="1802"/>
                  </a:lnTo>
                  <a:lnTo>
                    <a:pt x="4037" y="1788"/>
                  </a:lnTo>
                  <a:lnTo>
                    <a:pt x="4041" y="1773"/>
                  </a:lnTo>
                  <a:lnTo>
                    <a:pt x="4046" y="1759"/>
                  </a:lnTo>
                  <a:lnTo>
                    <a:pt x="4053" y="1746"/>
                  </a:lnTo>
                  <a:lnTo>
                    <a:pt x="4061" y="1733"/>
                  </a:lnTo>
                  <a:lnTo>
                    <a:pt x="4071" y="1719"/>
                  </a:lnTo>
                  <a:lnTo>
                    <a:pt x="4081" y="1707"/>
                  </a:lnTo>
                  <a:lnTo>
                    <a:pt x="4092" y="1696"/>
                  </a:lnTo>
                  <a:lnTo>
                    <a:pt x="4103" y="1684"/>
                  </a:lnTo>
                  <a:lnTo>
                    <a:pt x="4117" y="1673"/>
                  </a:lnTo>
                  <a:lnTo>
                    <a:pt x="4130" y="1664"/>
                  </a:lnTo>
                  <a:lnTo>
                    <a:pt x="4145" y="1655"/>
                  </a:lnTo>
                  <a:lnTo>
                    <a:pt x="4145" y="1655"/>
                  </a:lnTo>
                  <a:lnTo>
                    <a:pt x="4180" y="1674"/>
                  </a:lnTo>
                  <a:lnTo>
                    <a:pt x="4215" y="1695"/>
                  </a:lnTo>
                  <a:lnTo>
                    <a:pt x="4251" y="1716"/>
                  </a:lnTo>
                  <a:lnTo>
                    <a:pt x="4286" y="1740"/>
                  </a:lnTo>
                  <a:lnTo>
                    <a:pt x="4286" y="1740"/>
                  </a:lnTo>
                  <a:lnTo>
                    <a:pt x="4307" y="1754"/>
                  </a:lnTo>
                  <a:lnTo>
                    <a:pt x="4341" y="1779"/>
                  </a:lnTo>
                  <a:lnTo>
                    <a:pt x="4361" y="1794"/>
                  </a:lnTo>
                  <a:lnTo>
                    <a:pt x="4382" y="1812"/>
                  </a:lnTo>
                  <a:lnTo>
                    <a:pt x="4405" y="1832"/>
                  </a:lnTo>
                  <a:lnTo>
                    <a:pt x="4430" y="1853"/>
                  </a:lnTo>
                  <a:lnTo>
                    <a:pt x="4453" y="1877"/>
                  </a:lnTo>
                  <a:lnTo>
                    <a:pt x="4478" y="1901"/>
                  </a:lnTo>
                  <a:lnTo>
                    <a:pt x="4501" y="1928"/>
                  </a:lnTo>
                  <a:lnTo>
                    <a:pt x="4524" y="1956"/>
                  </a:lnTo>
                  <a:lnTo>
                    <a:pt x="4545" y="1985"/>
                  </a:lnTo>
                  <a:lnTo>
                    <a:pt x="4564" y="2016"/>
                  </a:lnTo>
                  <a:lnTo>
                    <a:pt x="4574" y="2031"/>
                  </a:lnTo>
                  <a:lnTo>
                    <a:pt x="4582" y="2047"/>
                  </a:lnTo>
                  <a:lnTo>
                    <a:pt x="4590" y="2064"/>
                  </a:lnTo>
                  <a:lnTo>
                    <a:pt x="4596" y="2080"/>
                  </a:lnTo>
                  <a:lnTo>
                    <a:pt x="4596" y="2080"/>
                  </a:lnTo>
                  <a:lnTo>
                    <a:pt x="4606" y="2106"/>
                  </a:lnTo>
                  <a:lnTo>
                    <a:pt x="4616" y="2130"/>
                  </a:lnTo>
                  <a:lnTo>
                    <a:pt x="4624" y="2155"/>
                  </a:lnTo>
                  <a:lnTo>
                    <a:pt x="4630" y="2178"/>
                  </a:lnTo>
                  <a:lnTo>
                    <a:pt x="4636" y="2202"/>
                  </a:lnTo>
                  <a:lnTo>
                    <a:pt x="4641" y="2224"/>
                  </a:lnTo>
                  <a:lnTo>
                    <a:pt x="4645" y="2246"/>
                  </a:lnTo>
                  <a:lnTo>
                    <a:pt x="4649" y="2266"/>
                  </a:lnTo>
                  <a:lnTo>
                    <a:pt x="4651" y="2287"/>
                  </a:lnTo>
                  <a:lnTo>
                    <a:pt x="4653" y="2306"/>
                  </a:lnTo>
                  <a:lnTo>
                    <a:pt x="4654" y="2325"/>
                  </a:lnTo>
                  <a:lnTo>
                    <a:pt x="4655" y="2343"/>
                  </a:lnTo>
                  <a:lnTo>
                    <a:pt x="4654" y="2377"/>
                  </a:lnTo>
                  <a:lnTo>
                    <a:pt x="4652" y="2408"/>
                  </a:lnTo>
                  <a:lnTo>
                    <a:pt x="4648" y="2437"/>
                  </a:lnTo>
                  <a:lnTo>
                    <a:pt x="4642" y="2464"/>
                  </a:lnTo>
                  <a:lnTo>
                    <a:pt x="4635" y="2487"/>
                  </a:lnTo>
                  <a:lnTo>
                    <a:pt x="4628" y="2509"/>
                  </a:lnTo>
                  <a:lnTo>
                    <a:pt x="4620" y="2527"/>
                  </a:lnTo>
                  <a:lnTo>
                    <a:pt x="4612" y="2544"/>
                  </a:lnTo>
                  <a:lnTo>
                    <a:pt x="4603" y="2559"/>
                  </a:lnTo>
                  <a:lnTo>
                    <a:pt x="4596" y="2570"/>
                  </a:lnTo>
                  <a:lnTo>
                    <a:pt x="4596" y="2570"/>
                  </a:lnTo>
                  <a:lnTo>
                    <a:pt x="4582" y="2590"/>
                  </a:lnTo>
                  <a:lnTo>
                    <a:pt x="4568" y="2611"/>
                  </a:lnTo>
                  <a:lnTo>
                    <a:pt x="4553" y="2629"/>
                  </a:lnTo>
                  <a:lnTo>
                    <a:pt x="4538" y="2648"/>
                  </a:lnTo>
                  <a:lnTo>
                    <a:pt x="4522" y="2665"/>
                  </a:lnTo>
                  <a:lnTo>
                    <a:pt x="4505" y="2681"/>
                  </a:lnTo>
                  <a:lnTo>
                    <a:pt x="4487" y="2697"/>
                  </a:lnTo>
                  <a:lnTo>
                    <a:pt x="4469" y="2711"/>
                  </a:lnTo>
                  <a:lnTo>
                    <a:pt x="4450" y="2724"/>
                  </a:lnTo>
                  <a:lnTo>
                    <a:pt x="4430" y="2736"/>
                  </a:lnTo>
                  <a:lnTo>
                    <a:pt x="4409" y="2747"/>
                  </a:lnTo>
                  <a:lnTo>
                    <a:pt x="4388" y="2756"/>
                  </a:lnTo>
                  <a:lnTo>
                    <a:pt x="4364" y="2764"/>
                  </a:lnTo>
                  <a:lnTo>
                    <a:pt x="4341" y="2771"/>
                  </a:lnTo>
                  <a:lnTo>
                    <a:pt x="4316" y="2776"/>
                  </a:lnTo>
                  <a:lnTo>
                    <a:pt x="4290" y="2779"/>
                  </a:lnTo>
                  <a:lnTo>
                    <a:pt x="4290" y="2779"/>
                  </a:lnTo>
                  <a:lnTo>
                    <a:pt x="4283" y="2778"/>
                  </a:lnTo>
                  <a:lnTo>
                    <a:pt x="4275" y="2778"/>
                  </a:lnTo>
                  <a:lnTo>
                    <a:pt x="4275" y="2778"/>
                  </a:lnTo>
                  <a:lnTo>
                    <a:pt x="4242" y="2779"/>
                  </a:lnTo>
                  <a:lnTo>
                    <a:pt x="4213" y="2779"/>
                  </a:lnTo>
                  <a:lnTo>
                    <a:pt x="4185" y="2778"/>
                  </a:lnTo>
                  <a:lnTo>
                    <a:pt x="4159" y="2775"/>
                  </a:lnTo>
                  <a:lnTo>
                    <a:pt x="4159" y="2775"/>
                  </a:lnTo>
                  <a:lnTo>
                    <a:pt x="4131" y="2770"/>
                  </a:lnTo>
                  <a:lnTo>
                    <a:pt x="4103" y="2765"/>
                  </a:lnTo>
                  <a:lnTo>
                    <a:pt x="4077" y="2758"/>
                  </a:lnTo>
                  <a:lnTo>
                    <a:pt x="4052" y="2751"/>
                  </a:lnTo>
                  <a:lnTo>
                    <a:pt x="4052" y="2751"/>
                  </a:lnTo>
                  <a:lnTo>
                    <a:pt x="4009" y="2736"/>
                  </a:lnTo>
                  <a:lnTo>
                    <a:pt x="3965" y="2717"/>
                  </a:lnTo>
                  <a:lnTo>
                    <a:pt x="3965" y="2717"/>
                  </a:lnTo>
                  <a:lnTo>
                    <a:pt x="3925" y="2697"/>
                  </a:lnTo>
                  <a:lnTo>
                    <a:pt x="3874" y="2669"/>
                  </a:lnTo>
                  <a:lnTo>
                    <a:pt x="3846" y="2652"/>
                  </a:lnTo>
                  <a:lnTo>
                    <a:pt x="3815" y="2632"/>
                  </a:lnTo>
                  <a:lnTo>
                    <a:pt x="3782" y="2612"/>
                  </a:lnTo>
                  <a:lnTo>
                    <a:pt x="3748" y="2588"/>
                  </a:lnTo>
                  <a:lnTo>
                    <a:pt x="3712" y="2564"/>
                  </a:lnTo>
                  <a:lnTo>
                    <a:pt x="3676" y="2536"/>
                  </a:lnTo>
                  <a:lnTo>
                    <a:pt x="3638" y="2508"/>
                  </a:lnTo>
                  <a:lnTo>
                    <a:pt x="3601" y="2477"/>
                  </a:lnTo>
                  <a:lnTo>
                    <a:pt x="3563" y="2444"/>
                  </a:lnTo>
                  <a:lnTo>
                    <a:pt x="3526" y="2409"/>
                  </a:lnTo>
                  <a:lnTo>
                    <a:pt x="3488" y="2373"/>
                  </a:lnTo>
                  <a:lnTo>
                    <a:pt x="3451" y="2335"/>
                  </a:lnTo>
                  <a:lnTo>
                    <a:pt x="3451" y="2335"/>
                  </a:lnTo>
                  <a:lnTo>
                    <a:pt x="3394" y="2271"/>
                  </a:lnTo>
                  <a:lnTo>
                    <a:pt x="3342" y="2212"/>
                  </a:lnTo>
                  <a:lnTo>
                    <a:pt x="3295" y="2157"/>
                  </a:lnTo>
                  <a:lnTo>
                    <a:pt x="3253" y="2107"/>
                  </a:lnTo>
                  <a:lnTo>
                    <a:pt x="3215" y="2060"/>
                  </a:lnTo>
                  <a:lnTo>
                    <a:pt x="3180" y="2017"/>
                  </a:lnTo>
                  <a:lnTo>
                    <a:pt x="3120" y="1940"/>
                  </a:lnTo>
                  <a:lnTo>
                    <a:pt x="3120" y="1940"/>
                  </a:lnTo>
                  <a:lnTo>
                    <a:pt x="3138" y="1947"/>
                  </a:lnTo>
                  <a:lnTo>
                    <a:pt x="3156" y="1953"/>
                  </a:lnTo>
                  <a:lnTo>
                    <a:pt x="3175" y="1958"/>
                  </a:lnTo>
                  <a:lnTo>
                    <a:pt x="3193" y="1963"/>
                  </a:lnTo>
                  <a:lnTo>
                    <a:pt x="3211" y="1966"/>
                  </a:lnTo>
                  <a:lnTo>
                    <a:pt x="3229" y="1968"/>
                  </a:lnTo>
                  <a:lnTo>
                    <a:pt x="3262" y="1971"/>
                  </a:lnTo>
                  <a:lnTo>
                    <a:pt x="3289" y="1971"/>
                  </a:lnTo>
                  <a:lnTo>
                    <a:pt x="3312" y="1970"/>
                  </a:lnTo>
                  <a:lnTo>
                    <a:pt x="3332" y="1968"/>
                  </a:lnTo>
                  <a:lnTo>
                    <a:pt x="3332" y="1968"/>
                  </a:lnTo>
                  <a:lnTo>
                    <a:pt x="3336" y="1918"/>
                  </a:lnTo>
                  <a:lnTo>
                    <a:pt x="3338" y="1873"/>
                  </a:lnTo>
                  <a:lnTo>
                    <a:pt x="3340" y="1833"/>
                  </a:lnTo>
                  <a:lnTo>
                    <a:pt x="3346" y="1698"/>
                  </a:lnTo>
                  <a:lnTo>
                    <a:pt x="3346" y="1698"/>
                  </a:lnTo>
                  <a:lnTo>
                    <a:pt x="3349" y="1661"/>
                  </a:lnTo>
                  <a:lnTo>
                    <a:pt x="3351" y="1626"/>
                  </a:lnTo>
                  <a:lnTo>
                    <a:pt x="3352" y="1589"/>
                  </a:lnTo>
                  <a:lnTo>
                    <a:pt x="3352" y="1589"/>
                  </a:lnTo>
                  <a:lnTo>
                    <a:pt x="3340" y="1588"/>
                  </a:lnTo>
                  <a:lnTo>
                    <a:pt x="3307" y="1584"/>
                  </a:lnTo>
                  <a:lnTo>
                    <a:pt x="3285" y="1581"/>
                  </a:lnTo>
                  <a:lnTo>
                    <a:pt x="3260" y="1576"/>
                  </a:lnTo>
                  <a:lnTo>
                    <a:pt x="3233" y="1571"/>
                  </a:lnTo>
                  <a:lnTo>
                    <a:pt x="3206" y="1564"/>
                  </a:lnTo>
                  <a:lnTo>
                    <a:pt x="3176" y="1555"/>
                  </a:lnTo>
                  <a:lnTo>
                    <a:pt x="3147" y="1544"/>
                  </a:lnTo>
                  <a:lnTo>
                    <a:pt x="3120" y="1532"/>
                  </a:lnTo>
                  <a:lnTo>
                    <a:pt x="3106" y="1526"/>
                  </a:lnTo>
                  <a:lnTo>
                    <a:pt x="3093" y="1519"/>
                  </a:lnTo>
                  <a:lnTo>
                    <a:pt x="3081" y="1511"/>
                  </a:lnTo>
                  <a:lnTo>
                    <a:pt x="3070" y="1502"/>
                  </a:lnTo>
                  <a:lnTo>
                    <a:pt x="3058" y="1493"/>
                  </a:lnTo>
                  <a:lnTo>
                    <a:pt x="3049" y="1484"/>
                  </a:lnTo>
                  <a:lnTo>
                    <a:pt x="3040" y="1474"/>
                  </a:lnTo>
                  <a:lnTo>
                    <a:pt x="3032" y="1463"/>
                  </a:lnTo>
                  <a:lnTo>
                    <a:pt x="3025" y="1451"/>
                  </a:lnTo>
                  <a:lnTo>
                    <a:pt x="3019" y="1439"/>
                  </a:lnTo>
                  <a:lnTo>
                    <a:pt x="3019" y="1439"/>
                  </a:lnTo>
                  <a:lnTo>
                    <a:pt x="3030" y="1445"/>
                  </a:lnTo>
                  <a:lnTo>
                    <a:pt x="3042" y="1450"/>
                  </a:lnTo>
                  <a:lnTo>
                    <a:pt x="3059" y="1457"/>
                  </a:lnTo>
                  <a:lnTo>
                    <a:pt x="3081" y="1465"/>
                  </a:lnTo>
                  <a:lnTo>
                    <a:pt x="3106" y="1472"/>
                  </a:lnTo>
                  <a:lnTo>
                    <a:pt x="3136" y="1477"/>
                  </a:lnTo>
                  <a:lnTo>
                    <a:pt x="3152" y="1479"/>
                  </a:lnTo>
                  <a:lnTo>
                    <a:pt x="3169" y="1480"/>
                  </a:lnTo>
                  <a:lnTo>
                    <a:pt x="3169" y="1480"/>
                  </a:lnTo>
                  <a:lnTo>
                    <a:pt x="3201" y="1481"/>
                  </a:lnTo>
                  <a:lnTo>
                    <a:pt x="3234" y="1481"/>
                  </a:lnTo>
                  <a:lnTo>
                    <a:pt x="3266" y="1479"/>
                  </a:lnTo>
                  <a:lnTo>
                    <a:pt x="3295" y="1477"/>
                  </a:lnTo>
                  <a:lnTo>
                    <a:pt x="3340" y="1471"/>
                  </a:lnTo>
                  <a:lnTo>
                    <a:pt x="3357" y="1469"/>
                  </a:lnTo>
                  <a:lnTo>
                    <a:pt x="3357" y="1469"/>
                  </a:lnTo>
                  <a:lnTo>
                    <a:pt x="3359" y="1463"/>
                  </a:lnTo>
                  <a:lnTo>
                    <a:pt x="3361" y="1451"/>
                  </a:lnTo>
                  <a:lnTo>
                    <a:pt x="3364" y="1421"/>
                  </a:lnTo>
                  <a:lnTo>
                    <a:pt x="3367" y="1381"/>
                  </a:lnTo>
                  <a:lnTo>
                    <a:pt x="3369" y="1337"/>
                  </a:lnTo>
                  <a:lnTo>
                    <a:pt x="3373" y="1257"/>
                  </a:lnTo>
                  <a:lnTo>
                    <a:pt x="3375" y="1222"/>
                  </a:lnTo>
                  <a:lnTo>
                    <a:pt x="3375" y="1222"/>
                  </a:lnTo>
                  <a:lnTo>
                    <a:pt x="3376" y="1194"/>
                  </a:lnTo>
                  <a:lnTo>
                    <a:pt x="3377" y="1154"/>
                  </a:lnTo>
                  <a:lnTo>
                    <a:pt x="3377" y="1105"/>
                  </a:lnTo>
                  <a:lnTo>
                    <a:pt x="3377" y="1105"/>
                  </a:lnTo>
                  <a:lnTo>
                    <a:pt x="3369" y="1107"/>
                  </a:lnTo>
                  <a:lnTo>
                    <a:pt x="3359" y="1108"/>
                  </a:lnTo>
                  <a:lnTo>
                    <a:pt x="3338" y="1110"/>
                  </a:lnTo>
                  <a:lnTo>
                    <a:pt x="3315" y="1109"/>
                  </a:lnTo>
                  <a:lnTo>
                    <a:pt x="3290" y="1107"/>
                  </a:lnTo>
                  <a:lnTo>
                    <a:pt x="3264" y="1104"/>
                  </a:lnTo>
                  <a:lnTo>
                    <a:pt x="3236" y="1100"/>
                  </a:lnTo>
                  <a:lnTo>
                    <a:pt x="3208" y="1094"/>
                  </a:lnTo>
                  <a:lnTo>
                    <a:pt x="3178" y="1086"/>
                  </a:lnTo>
                  <a:lnTo>
                    <a:pt x="3178" y="1086"/>
                  </a:lnTo>
                  <a:lnTo>
                    <a:pt x="3158" y="1080"/>
                  </a:lnTo>
                  <a:lnTo>
                    <a:pt x="3135" y="1071"/>
                  </a:lnTo>
                  <a:lnTo>
                    <a:pt x="3112" y="1059"/>
                  </a:lnTo>
                  <a:lnTo>
                    <a:pt x="3088" y="1044"/>
                  </a:lnTo>
                  <a:lnTo>
                    <a:pt x="3064" y="1028"/>
                  </a:lnTo>
                  <a:lnTo>
                    <a:pt x="3053" y="1019"/>
                  </a:lnTo>
                  <a:lnTo>
                    <a:pt x="3043" y="1010"/>
                  </a:lnTo>
                  <a:lnTo>
                    <a:pt x="3034" y="999"/>
                  </a:lnTo>
                  <a:lnTo>
                    <a:pt x="3025" y="990"/>
                  </a:lnTo>
                  <a:lnTo>
                    <a:pt x="3017" y="980"/>
                  </a:lnTo>
                  <a:lnTo>
                    <a:pt x="3010" y="969"/>
                  </a:lnTo>
                  <a:lnTo>
                    <a:pt x="3010" y="969"/>
                  </a:lnTo>
                  <a:lnTo>
                    <a:pt x="3022" y="974"/>
                  </a:lnTo>
                  <a:lnTo>
                    <a:pt x="3035" y="978"/>
                  </a:lnTo>
                  <a:lnTo>
                    <a:pt x="3052" y="984"/>
                  </a:lnTo>
                  <a:lnTo>
                    <a:pt x="3075" y="990"/>
                  </a:lnTo>
                  <a:lnTo>
                    <a:pt x="3101" y="996"/>
                  </a:lnTo>
                  <a:lnTo>
                    <a:pt x="3132" y="1003"/>
                  </a:lnTo>
                  <a:lnTo>
                    <a:pt x="3167" y="1008"/>
                  </a:lnTo>
                  <a:lnTo>
                    <a:pt x="3167" y="1008"/>
                  </a:lnTo>
                  <a:lnTo>
                    <a:pt x="3187" y="1010"/>
                  </a:lnTo>
                  <a:lnTo>
                    <a:pt x="3207" y="1011"/>
                  </a:lnTo>
                  <a:lnTo>
                    <a:pt x="3226" y="1012"/>
                  </a:lnTo>
                  <a:lnTo>
                    <a:pt x="3245" y="1012"/>
                  </a:lnTo>
                  <a:lnTo>
                    <a:pt x="3283" y="1010"/>
                  </a:lnTo>
                  <a:lnTo>
                    <a:pt x="3317" y="1007"/>
                  </a:lnTo>
                  <a:lnTo>
                    <a:pt x="3346" y="1001"/>
                  </a:lnTo>
                  <a:lnTo>
                    <a:pt x="3369" y="996"/>
                  </a:lnTo>
                  <a:lnTo>
                    <a:pt x="3377" y="993"/>
                  </a:lnTo>
                  <a:lnTo>
                    <a:pt x="3383" y="991"/>
                  </a:lnTo>
                  <a:lnTo>
                    <a:pt x="3388" y="988"/>
                  </a:lnTo>
                  <a:lnTo>
                    <a:pt x="3390" y="985"/>
                  </a:lnTo>
                  <a:lnTo>
                    <a:pt x="3390" y="985"/>
                  </a:lnTo>
                  <a:lnTo>
                    <a:pt x="3392" y="959"/>
                  </a:lnTo>
                  <a:lnTo>
                    <a:pt x="3393" y="925"/>
                  </a:lnTo>
                  <a:lnTo>
                    <a:pt x="3394" y="848"/>
                  </a:lnTo>
                  <a:lnTo>
                    <a:pt x="3394" y="750"/>
                  </a:lnTo>
                  <a:lnTo>
                    <a:pt x="3394" y="750"/>
                  </a:lnTo>
                  <a:lnTo>
                    <a:pt x="3399" y="686"/>
                  </a:lnTo>
                  <a:lnTo>
                    <a:pt x="3400" y="642"/>
                  </a:lnTo>
                  <a:lnTo>
                    <a:pt x="3400" y="627"/>
                  </a:lnTo>
                  <a:lnTo>
                    <a:pt x="3399" y="623"/>
                  </a:lnTo>
                  <a:lnTo>
                    <a:pt x="3398" y="622"/>
                  </a:lnTo>
                  <a:lnTo>
                    <a:pt x="3398" y="622"/>
                  </a:lnTo>
                  <a:lnTo>
                    <a:pt x="3392" y="622"/>
                  </a:lnTo>
                  <a:lnTo>
                    <a:pt x="3381" y="623"/>
                  </a:lnTo>
                  <a:lnTo>
                    <a:pt x="3368" y="623"/>
                  </a:lnTo>
                  <a:lnTo>
                    <a:pt x="3354" y="622"/>
                  </a:lnTo>
                  <a:lnTo>
                    <a:pt x="3336" y="620"/>
                  </a:lnTo>
                  <a:lnTo>
                    <a:pt x="3317" y="617"/>
                  </a:lnTo>
                  <a:lnTo>
                    <a:pt x="3297" y="612"/>
                  </a:lnTo>
                  <a:lnTo>
                    <a:pt x="3274" y="607"/>
                  </a:lnTo>
                  <a:lnTo>
                    <a:pt x="3251" y="599"/>
                  </a:lnTo>
                  <a:lnTo>
                    <a:pt x="3226" y="589"/>
                  </a:lnTo>
                  <a:lnTo>
                    <a:pt x="3200" y="578"/>
                  </a:lnTo>
                  <a:lnTo>
                    <a:pt x="3175" y="564"/>
                  </a:lnTo>
                  <a:lnTo>
                    <a:pt x="3149" y="548"/>
                  </a:lnTo>
                  <a:lnTo>
                    <a:pt x="3123" y="529"/>
                  </a:lnTo>
                  <a:lnTo>
                    <a:pt x="3110" y="519"/>
                  </a:lnTo>
                  <a:lnTo>
                    <a:pt x="3097" y="508"/>
                  </a:lnTo>
                  <a:lnTo>
                    <a:pt x="3085" y="495"/>
                  </a:lnTo>
                  <a:lnTo>
                    <a:pt x="3073" y="483"/>
                  </a:lnTo>
                  <a:lnTo>
                    <a:pt x="3073" y="483"/>
                  </a:lnTo>
                  <a:lnTo>
                    <a:pt x="3071" y="481"/>
                  </a:lnTo>
                  <a:lnTo>
                    <a:pt x="3065" y="476"/>
                  </a:lnTo>
                  <a:lnTo>
                    <a:pt x="3059" y="467"/>
                  </a:lnTo>
                  <a:lnTo>
                    <a:pt x="3056" y="461"/>
                  </a:lnTo>
                  <a:lnTo>
                    <a:pt x="3053" y="454"/>
                  </a:lnTo>
                  <a:lnTo>
                    <a:pt x="3051" y="447"/>
                  </a:lnTo>
                  <a:lnTo>
                    <a:pt x="3050" y="439"/>
                  </a:lnTo>
                  <a:lnTo>
                    <a:pt x="3049" y="430"/>
                  </a:lnTo>
                  <a:lnTo>
                    <a:pt x="3050" y="420"/>
                  </a:lnTo>
                  <a:lnTo>
                    <a:pt x="3053" y="410"/>
                  </a:lnTo>
                  <a:lnTo>
                    <a:pt x="3056" y="398"/>
                  </a:lnTo>
                  <a:lnTo>
                    <a:pt x="3062" y="386"/>
                  </a:lnTo>
                  <a:lnTo>
                    <a:pt x="3071" y="373"/>
                  </a:lnTo>
                  <a:lnTo>
                    <a:pt x="3071" y="373"/>
                  </a:lnTo>
                  <a:lnTo>
                    <a:pt x="2806" y="254"/>
                  </a:lnTo>
                  <a:lnTo>
                    <a:pt x="2806" y="254"/>
                  </a:lnTo>
                  <a:lnTo>
                    <a:pt x="2815" y="245"/>
                  </a:lnTo>
                  <a:lnTo>
                    <a:pt x="2824" y="234"/>
                  </a:lnTo>
                  <a:lnTo>
                    <a:pt x="2834" y="219"/>
                  </a:lnTo>
                  <a:lnTo>
                    <a:pt x="2845" y="203"/>
                  </a:lnTo>
                  <a:lnTo>
                    <a:pt x="2850" y="194"/>
                  </a:lnTo>
                  <a:lnTo>
                    <a:pt x="2854" y="185"/>
                  </a:lnTo>
                  <a:lnTo>
                    <a:pt x="2858" y="174"/>
                  </a:lnTo>
                  <a:lnTo>
                    <a:pt x="2861" y="164"/>
                  </a:lnTo>
                  <a:lnTo>
                    <a:pt x="2863" y="154"/>
                  </a:lnTo>
                  <a:lnTo>
                    <a:pt x="2863" y="144"/>
                  </a:lnTo>
                  <a:lnTo>
                    <a:pt x="2863" y="144"/>
                  </a:lnTo>
                  <a:lnTo>
                    <a:pt x="2863" y="132"/>
                  </a:lnTo>
                  <a:lnTo>
                    <a:pt x="2860" y="122"/>
                  </a:lnTo>
                  <a:lnTo>
                    <a:pt x="2855" y="112"/>
                  </a:lnTo>
                  <a:lnTo>
                    <a:pt x="2849" y="103"/>
                  </a:lnTo>
                  <a:lnTo>
                    <a:pt x="2841" y="94"/>
                  </a:lnTo>
                  <a:lnTo>
                    <a:pt x="2830" y="86"/>
                  </a:lnTo>
                  <a:lnTo>
                    <a:pt x="2820" y="79"/>
                  </a:lnTo>
                  <a:lnTo>
                    <a:pt x="2808" y="73"/>
                  </a:lnTo>
                  <a:lnTo>
                    <a:pt x="2795" y="68"/>
                  </a:lnTo>
                  <a:lnTo>
                    <a:pt x="2781" y="64"/>
                  </a:lnTo>
                  <a:lnTo>
                    <a:pt x="2767" y="60"/>
                  </a:lnTo>
                  <a:lnTo>
                    <a:pt x="2753" y="58"/>
                  </a:lnTo>
                  <a:lnTo>
                    <a:pt x="2738" y="56"/>
                  </a:lnTo>
                  <a:lnTo>
                    <a:pt x="2723" y="56"/>
                  </a:lnTo>
                  <a:lnTo>
                    <a:pt x="2709" y="57"/>
                  </a:lnTo>
                  <a:lnTo>
                    <a:pt x="2694" y="59"/>
                  </a:lnTo>
                  <a:lnTo>
                    <a:pt x="2694" y="59"/>
                  </a:lnTo>
                  <a:lnTo>
                    <a:pt x="2681" y="62"/>
                  </a:lnTo>
                  <a:lnTo>
                    <a:pt x="2669" y="66"/>
                  </a:lnTo>
                  <a:lnTo>
                    <a:pt x="2656" y="71"/>
                  </a:lnTo>
                  <a:lnTo>
                    <a:pt x="2644" y="77"/>
                  </a:lnTo>
                  <a:lnTo>
                    <a:pt x="2634" y="84"/>
                  </a:lnTo>
                  <a:lnTo>
                    <a:pt x="2623" y="92"/>
                  </a:lnTo>
                  <a:lnTo>
                    <a:pt x="2604" y="107"/>
                  </a:lnTo>
                  <a:lnTo>
                    <a:pt x="2589" y="122"/>
                  </a:lnTo>
                  <a:lnTo>
                    <a:pt x="2578" y="134"/>
                  </a:lnTo>
                  <a:lnTo>
                    <a:pt x="2569" y="147"/>
                  </a:lnTo>
                  <a:lnTo>
                    <a:pt x="2238" y="0"/>
                  </a:lnTo>
                  <a:lnTo>
                    <a:pt x="1977" y="263"/>
                  </a:lnTo>
                  <a:lnTo>
                    <a:pt x="1977" y="263"/>
                  </a:lnTo>
                  <a:lnTo>
                    <a:pt x="1972" y="268"/>
                  </a:lnTo>
                  <a:lnTo>
                    <a:pt x="1966" y="280"/>
                  </a:lnTo>
                  <a:lnTo>
                    <a:pt x="1963" y="287"/>
                  </a:lnTo>
                  <a:lnTo>
                    <a:pt x="1961" y="295"/>
                  </a:lnTo>
                  <a:lnTo>
                    <a:pt x="1960" y="304"/>
                  </a:lnTo>
                  <a:lnTo>
                    <a:pt x="1960" y="313"/>
                  </a:lnTo>
                  <a:lnTo>
                    <a:pt x="1964" y="337"/>
                  </a:lnTo>
                  <a:lnTo>
                    <a:pt x="1964" y="337"/>
                  </a:lnTo>
                  <a:lnTo>
                    <a:pt x="1964" y="343"/>
                  </a:lnTo>
                  <a:lnTo>
                    <a:pt x="1963" y="349"/>
                  </a:lnTo>
                  <a:lnTo>
                    <a:pt x="1962" y="354"/>
                  </a:lnTo>
                  <a:lnTo>
                    <a:pt x="1961" y="358"/>
                  </a:lnTo>
                  <a:lnTo>
                    <a:pt x="1957" y="366"/>
                  </a:lnTo>
                  <a:lnTo>
                    <a:pt x="1955" y="370"/>
                  </a:lnTo>
                  <a:lnTo>
                    <a:pt x="1955" y="370"/>
                  </a:lnTo>
                  <a:lnTo>
                    <a:pt x="1936" y="392"/>
                  </a:lnTo>
                  <a:lnTo>
                    <a:pt x="1916" y="416"/>
                  </a:lnTo>
                  <a:lnTo>
                    <a:pt x="1896" y="438"/>
                  </a:lnTo>
                  <a:lnTo>
                    <a:pt x="1876" y="461"/>
                  </a:lnTo>
                  <a:lnTo>
                    <a:pt x="1876" y="461"/>
                  </a:lnTo>
                  <a:lnTo>
                    <a:pt x="1847" y="499"/>
                  </a:lnTo>
                  <a:lnTo>
                    <a:pt x="1836" y="515"/>
                  </a:lnTo>
                  <a:lnTo>
                    <a:pt x="1828" y="527"/>
                  </a:lnTo>
                  <a:lnTo>
                    <a:pt x="1828" y="527"/>
                  </a:lnTo>
                  <a:lnTo>
                    <a:pt x="1819" y="542"/>
                  </a:lnTo>
                  <a:lnTo>
                    <a:pt x="1811" y="558"/>
                  </a:lnTo>
                  <a:lnTo>
                    <a:pt x="1799" y="583"/>
                  </a:lnTo>
                  <a:lnTo>
                    <a:pt x="1789" y="607"/>
                  </a:lnTo>
                  <a:lnTo>
                    <a:pt x="1781" y="628"/>
                  </a:lnTo>
                  <a:lnTo>
                    <a:pt x="1781" y="628"/>
                  </a:lnTo>
                  <a:lnTo>
                    <a:pt x="1780" y="631"/>
                  </a:lnTo>
                  <a:lnTo>
                    <a:pt x="1778" y="642"/>
                  </a:lnTo>
                  <a:lnTo>
                    <a:pt x="1778" y="649"/>
                  </a:lnTo>
                  <a:lnTo>
                    <a:pt x="1777" y="657"/>
                  </a:lnTo>
                  <a:lnTo>
                    <a:pt x="1778" y="666"/>
                  </a:lnTo>
                  <a:lnTo>
                    <a:pt x="1780" y="677"/>
                  </a:lnTo>
                  <a:lnTo>
                    <a:pt x="1784" y="690"/>
                  </a:lnTo>
                  <a:lnTo>
                    <a:pt x="1789" y="703"/>
                  </a:lnTo>
                  <a:lnTo>
                    <a:pt x="1797" y="716"/>
                  </a:lnTo>
                  <a:lnTo>
                    <a:pt x="1807" y="732"/>
                  </a:lnTo>
                  <a:lnTo>
                    <a:pt x="1819" y="748"/>
                  </a:lnTo>
                  <a:lnTo>
                    <a:pt x="1833" y="764"/>
                  </a:lnTo>
                  <a:lnTo>
                    <a:pt x="1852" y="782"/>
                  </a:lnTo>
                  <a:lnTo>
                    <a:pt x="1874" y="800"/>
                  </a:lnTo>
                  <a:lnTo>
                    <a:pt x="1881" y="806"/>
                  </a:lnTo>
                  <a:lnTo>
                    <a:pt x="1881" y="806"/>
                  </a:lnTo>
                  <a:lnTo>
                    <a:pt x="1894" y="789"/>
                  </a:lnTo>
                  <a:lnTo>
                    <a:pt x="1905" y="800"/>
                  </a:lnTo>
                  <a:lnTo>
                    <a:pt x="1905" y="800"/>
                  </a:lnTo>
                  <a:lnTo>
                    <a:pt x="1914" y="809"/>
                  </a:lnTo>
                  <a:lnTo>
                    <a:pt x="1926" y="820"/>
                  </a:lnTo>
                  <a:lnTo>
                    <a:pt x="1941" y="832"/>
                  </a:lnTo>
                  <a:lnTo>
                    <a:pt x="1957" y="842"/>
                  </a:lnTo>
                  <a:lnTo>
                    <a:pt x="1957" y="842"/>
                  </a:lnTo>
                  <a:lnTo>
                    <a:pt x="1959" y="835"/>
                  </a:lnTo>
                  <a:lnTo>
                    <a:pt x="1964" y="815"/>
                  </a:lnTo>
                  <a:lnTo>
                    <a:pt x="1969" y="802"/>
                  </a:lnTo>
                  <a:lnTo>
                    <a:pt x="1975" y="789"/>
                  </a:lnTo>
                  <a:lnTo>
                    <a:pt x="1983" y="775"/>
                  </a:lnTo>
                  <a:lnTo>
                    <a:pt x="1991" y="760"/>
                  </a:lnTo>
                  <a:lnTo>
                    <a:pt x="1991" y="760"/>
                  </a:lnTo>
                  <a:lnTo>
                    <a:pt x="2000" y="748"/>
                  </a:lnTo>
                  <a:lnTo>
                    <a:pt x="2011" y="736"/>
                  </a:lnTo>
                  <a:lnTo>
                    <a:pt x="2025" y="722"/>
                  </a:lnTo>
                  <a:lnTo>
                    <a:pt x="2038" y="709"/>
                  </a:lnTo>
                  <a:lnTo>
                    <a:pt x="2052" y="697"/>
                  </a:lnTo>
                  <a:lnTo>
                    <a:pt x="2065" y="686"/>
                  </a:lnTo>
                  <a:lnTo>
                    <a:pt x="2080" y="675"/>
                  </a:lnTo>
                  <a:lnTo>
                    <a:pt x="2092" y="667"/>
                  </a:lnTo>
                  <a:lnTo>
                    <a:pt x="2092" y="667"/>
                  </a:lnTo>
                  <a:lnTo>
                    <a:pt x="2107" y="658"/>
                  </a:lnTo>
                  <a:lnTo>
                    <a:pt x="2123" y="650"/>
                  </a:lnTo>
                  <a:lnTo>
                    <a:pt x="2138" y="643"/>
                  </a:lnTo>
                  <a:lnTo>
                    <a:pt x="2154" y="636"/>
                  </a:lnTo>
                  <a:lnTo>
                    <a:pt x="2170" y="632"/>
                  </a:lnTo>
                  <a:lnTo>
                    <a:pt x="2186" y="629"/>
                  </a:lnTo>
                  <a:lnTo>
                    <a:pt x="2202" y="626"/>
                  </a:lnTo>
                  <a:lnTo>
                    <a:pt x="2220" y="625"/>
                  </a:lnTo>
                  <a:lnTo>
                    <a:pt x="2220" y="625"/>
                  </a:lnTo>
                  <a:lnTo>
                    <a:pt x="2234" y="626"/>
                  </a:lnTo>
                  <a:lnTo>
                    <a:pt x="2247" y="627"/>
                  </a:lnTo>
                  <a:lnTo>
                    <a:pt x="2261" y="630"/>
                  </a:lnTo>
                  <a:lnTo>
                    <a:pt x="2272" y="635"/>
                  </a:lnTo>
                  <a:lnTo>
                    <a:pt x="2283" y="642"/>
                  </a:lnTo>
                  <a:lnTo>
                    <a:pt x="2295" y="649"/>
                  </a:lnTo>
                  <a:lnTo>
                    <a:pt x="2305" y="658"/>
                  </a:lnTo>
                  <a:lnTo>
                    <a:pt x="2316" y="668"/>
                  </a:lnTo>
                  <a:lnTo>
                    <a:pt x="2316" y="668"/>
                  </a:lnTo>
                  <a:lnTo>
                    <a:pt x="2323" y="676"/>
                  </a:lnTo>
                  <a:lnTo>
                    <a:pt x="2330" y="687"/>
                  </a:lnTo>
                  <a:lnTo>
                    <a:pt x="2336" y="698"/>
                  </a:lnTo>
                  <a:lnTo>
                    <a:pt x="2342" y="710"/>
                  </a:lnTo>
                  <a:lnTo>
                    <a:pt x="2347" y="722"/>
                  </a:lnTo>
                  <a:lnTo>
                    <a:pt x="2351" y="736"/>
                  </a:lnTo>
                  <a:lnTo>
                    <a:pt x="2355" y="750"/>
                  </a:lnTo>
                  <a:lnTo>
                    <a:pt x="2358" y="764"/>
                  </a:lnTo>
                  <a:lnTo>
                    <a:pt x="2360" y="778"/>
                  </a:lnTo>
                  <a:lnTo>
                    <a:pt x="2362" y="792"/>
                  </a:lnTo>
                  <a:lnTo>
                    <a:pt x="2363" y="805"/>
                  </a:lnTo>
                  <a:lnTo>
                    <a:pt x="2364" y="818"/>
                  </a:lnTo>
                  <a:lnTo>
                    <a:pt x="2364" y="831"/>
                  </a:lnTo>
                  <a:lnTo>
                    <a:pt x="2363" y="842"/>
                  </a:lnTo>
                  <a:lnTo>
                    <a:pt x="2361" y="852"/>
                  </a:lnTo>
                  <a:lnTo>
                    <a:pt x="2359" y="861"/>
                  </a:lnTo>
                  <a:lnTo>
                    <a:pt x="2359" y="861"/>
                  </a:lnTo>
                  <a:lnTo>
                    <a:pt x="2330" y="843"/>
                  </a:lnTo>
                  <a:lnTo>
                    <a:pt x="2330" y="843"/>
                  </a:lnTo>
                  <a:lnTo>
                    <a:pt x="2309" y="832"/>
                  </a:lnTo>
                  <a:lnTo>
                    <a:pt x="2281" y="822"/>
                  </a:lnTo>
                  <a:lnTo>
                    <a:pt x="2266" y="815"/>
                  </a:lnTo>
                  <a:lnTo>
                    <a:pt x="2251" y="811"/>
                  </a:lnTo>
                  <a:lnTo>
                    <a:pt x="2233" y="807"/>
                  </a:lnTo>
                  <a:lnTo>
                    <a:pt x="2215" y="803"/>
                  </a:lnTo>
                  <a:lnTo>
                    <a:pt x="2195" y="801"/>
                  </a:lnTo>
                  <a:lnTo>
                    <a:pt x="2175" y="800"/>
                  </a:lnTo>
                  <a:lnTo>
                    <a:pt x="2154" y="800"/>
                  </a:lnTo>
                  <a:lnTo>
                    <a:pt x="2132" y="802"/>
                  </a:lnTo>
                  <a:lnTo>
                    <a:pt x="2109" y="805"/>
                  </a:lnTo>
                  <a:lnTo>
                    <a:pt x="2086" y="810"/>
                  </a:lnTo>
                  <a:lnTo>
                    <a:pt x="2062" y="818"/>
                  </a:lnTo>
                  <a:lnTo>
                    <a:pt x="2037" y="829"/>
                  </a:lnTo>
                  <a:lnTo>
                    <a:pt x="2037" y="829"/>
                  </a:lnTo>
                  <a:lnTo>
                    <a:pt x="1995" y="847"/>
                  </a:lnTo>
                  <a:lnTo>
                    <a:pt x="1967" y="859"/>
                  </a:lnTo>
                  <a:lnTo>
                    <a:pt x="1936" y="872"/>
                  </a:lnTo>
                  <a:lnTo>
                    <a:pt x="1900" y="886"/>
                  </a:lnTo>
                  <a:lnTo>
                    <a:pt x="1860" y="900"/>
                  </a:lnTo>
                  <a:lnTo>
                    <a:pt x="1814" y="916"/>
                  </a:lnTo>
                  <a:lnTo>
                    <a:pt x="1764" y="931"/>
                  </a:lnTo>
                  <a:lnTo>
                    <a:pt x="1764" y="931"/>
                  </a:lnTo>
                  <a:lnTo>
                    <a:pt x="1737" y="938"/>
                  </a:lnTo>
                  <a:lnTo>
                    <a:pt x="1725" y="940"/>
                  </a:lnTo>
                  <a:lnTo>
                    <a:pt x="1713" y="941"/>
                  </a:lnTo>
                  <a:lnTo>
                    <a:pt x="1701" y="941"/>
                  </a:lnTo>
                  <a:lnTo>
                    <a:pt x="1691" y="941"/>
                  </a:lnTo>
                  <a:lnTo>
                    <a:pt x="1681" y="940"/>
                  </a:lnTo>
                  <a:lnTo>
                    <a:pt x="1672" y="938"/>
                  </a:lnTo>
                  <a:lnTo>
                    <a:pt x="1664" y="935"/>
                  </a:lnTo>
                  <a:lnTo>
                    <a:pt x="1655" y="930"/>
                  </a:lnTo>
                  <a:lnTo>
                    <a:pt x="1649" y="925"/>
                  </a:lnTo>
                  <a:lnTo>
                    <a:pt x="1642" y="919"/>
                  </a:lnTo>
                  <a:lnTo>
                    <a:pt x="1637" y="912"/>
                  </a:lnTo>
                  <a:lnTo>
                    <a:pt x="1633" y="902"/>
                  </a:lnTo>
                  <a:lnTo>
                    <a:pt x="1629" y="892"/>
                  </a:lnTo>
                  <a:lnTo>
                    <a:pt x="1626" y="881"/>
                  </a:lnTo>
                  <a:lnTo>
                    <a:pt x="1626" y="881"/>
                  </a:lnTo>
                  <a:lnTo>
                    <a:pt x="1624" y="871"/>
                  </a:lnTo>
                  <a:lnTo>
                    <a:pt x="1623" y="860"/>
                  </a:lnTo>
                  <a:lnTo>
                    <a:pt x="1623" y="851"/>
                  </a:lnTo>
                  <a:lnTo>
                    <a:pt x="1623" y="842"/>
                  </a:lnTo>
                  <a:lnTo>
                    <a:pt x="1625" y="826"/>
                  </a:lnTo>
                  <a:lnTo>
                    <a:pt x="1629" y="811"/>
                  </a:lnTo>
                  <a:lnTo>
                    <a:pt x="1633" y="800"/>
                  </a:lnTo>
                  <a:lnTo>
                    <a:pt x="1636" y="792"/>
                  </a:lnTo>
                  <a:lnTo>
                    <a:pt x="1640" y="784"/>
                  </a:lnTo>
                  <a:lnTo>
                    <a:pt x="1640" y="784"/>
                  </a:lnTo>
                  <a:lnTo>
                    <a:pt x="1636" y="785"/>
                  </a:lnTo>
                  <a:lnTo>
                    <a:pt x="1626" y="788"/>
                  </a:lnTo>
                  <a:lnTo>
                    <a:pt x="1610" y="794"/>
                  </a:lnTo>
                  <a:lnTo>
                    <a:pt x="1601" y="797"/>
                  </a:lnTo>
                  <a:lnTo>
                    <a:pt x="1592" y="802"/>
                  </a:lnTo>
                  <a:lnTo>
                    <a:pt x="1582" y="808"/>
                  </a:lnTo>
                  <a:lnTo>
                    <a:pt x="1573" y="814"/>
                  </a:lnTo>
                  <a:lnTo>
                    <a:pt x="1563" y="823"/>
                  </a:lnTo>
                  <a:lnTo>
                    <a:pt x="1554" y="832"/>
                  </a:lnTo>
                  <a:lnTo>
                    <a:pt x="1546" y="842"/>
                  </a:lnTo>
                  <a:lnTo>
                    <a:pt x="1539" y="853"/>
                  </a:lnTo>
                  <a:lnTo>
                    <a:pt x="1533" y="867"/>
                  </a:lnTo>
                  <a:lnTo>
                    <a:pt x="1528" y="881"/>
                  </a:lnTo>
                  <a:lnTo>
                    <a:pt x="1528" y="881"/>
                  </a:lnTo>
                  <a:lnTo>
                    <a:pt x="1525" y="896"/>
                  </a:lnTo>
                  <a:lnTo>
                    <a:pt x="1523" y="912"/>
                  </a:lnTo>
                  <a:lnTo>
                    <a:pt x="1523" y="927"/>
                  </a:lnTo>
                  <a:lnTo>
                    <a:pt x="1523" y="941"/>
                  </a:lnTo>
                  <a:lnTo>
                    <a:pt x="1524" y="954"/>
                  </a:lnTo>
                  <a:lnTo>
                    <a:pt x="1527" y="969"/>
                  </a:lnTo>
                  <a:lnTo>
                    <a:pt x="1531" y="981"/>
                  </a:lnTo>
                  <a:lnTo>
                    <a:pt x="1536" y="993"/>
                  </a:lnTo>
                  <a:lnTo>
                    <a:pt x="1542" y="1006"/>
                  </a:lnTo>
                  <a:lnTo>
                    <a:pt x="1549" y="1016"/>
                  </a:lnTo>
                  <a:lnTo>
                    <a:pt x="1557" y="1026"/>
                  </a:lnTo>
                  <a:lnTo>
                    <a:pt x="1568" y="1034"/>
                  </a:lnTo>
                  <a:lnTo>
                    <a:pt x="1578" y="1042"/>
                  </a:lnTo>
                  <a:lnTo>
                    <a:pt x="1590" y="1049"/>
                  </a:lnTo>
                  <a:lnTo>
                    <a:pt x="1602" y="1055"/>
                  </a:lnTo>
                  <a:lnTo>
                    <a:pt x="1617" y="1059"/>
                  </a:lnTo>
                  <a:lnTo>
                    <a:pt x="1617" y="1059"/>
                  </a:lnTo>
                  <a:lnTo>
                    <a:pt x="1630" y="1062"/>
                  </a:lnTo>
                  <a:lnTo>
                    <a:pt x="1644" y="1063"/>
                  </a:lnTo>
                  <a:lnTo>
                    <a:pt x="1660" y="1062"/>
                  </a:lnTo>
                  <a:lnTo>
                    <a:pt x="1676" y="1060"/>
                  </a:lnTo>
                  <a:lnTo>
                    <a:pt x="1692" y="1058"/>
                  </a:lnTo>
                  <a:lnTo>
                    <a:pt x="1710" y="1054"/>
                  </a:lnTo>
                  <a:lnTo>
                    <a:pt x="1727" y="1049"/>
                  </a:lnTo>
                  <a:lnTo>
                    <a:pt x="1744" y="1043"/>
                  </a:lnTo>
                  <a:lnTo>
                    <a:pt x="1779" y="1029"/>
                  </a:lnTo>
                  <a:lnTo>
                    <a:pt x="1815" y="1014"/>
                  </a:lnTo>
                  <a:lnTo>
                    <a:pt x="1849" y="997"/>
                  </a:lnTo>
                  <a:lnTo>
                    <a:pt x="1880" y="981"/>
                  </a:lnTo>
                  <a:lnTo>
                    <a:pt x="1880" y="981"/>
                  </a:lnTo>
                  <a:lnTo>
                    <a:pt x="1942" y="949"/>
                  </a:lnTo>
                  <a:lnTo>
                    <a:pt x="1979" y="931"/>
                  </a:lnTo>
                  <a:lnTo>
                    <a:pt x="2013" y="915"/>
                  </a:lnTo>
                  <a:lnTo>
                    <a:pt x="2013" y="915"/>
                  </a:lnTo>
                  <a:lnTo>
                    <a:pt x="2041" y="903"/>
                  </a:lnTo>
                  <a:lnTo>
                    <a:pt x="2054" y="899"/>
                  </a:lnTo>
                  <a:lnTo>
                    <a:pt x="2068" y="895"/>
                  </a:lnTo>
                  <a:lnTo>
                    <a:pt x="2081" y="892"/>
                  </a:lnTo>
                  <a:lnTo>
                    <a:pt x="2093" y="890"/>
                  </a:lnTo>
                  <a:lnTo>
                    <a:pt x="2105" y="888"/>
                  </a:lnTo>
                  <a:lnTo>
                    <a:pt x="2119" y="888"/>
                  </a:lnTo>
                  <a:lnTo>
                    <a:pt x="2131" y="888"/>
                  </a:lnTo>
                  <a:lnTo>
                    <a:pt x="2143" y="889"/>
                  </a:lnTo>
                  <a:lnTo>
                    <a:pt x="2156" y="891"/>
                  </a:lnTo>
                  <a:lnTo>
                    <a:pt x="2170" y="893"/>
                  </a:lnTo>
                  <a:lnTo>
                    <a:pt x="2183" y="897"/>
                  </a:lnTo>
                  <a:lnTo>
                    <a:pt x="2196" y="901"/>
                  </a:lnTo>
                  <a:lnTo>
                    <a:pt x="2211" y="907"/>
                  </a:lnTo>
                  <a:lnTo>
                    <a:pt x="2226" y="914"/>
                  </a:lnTo>
                  <a:lnTo>
                    <a:pt x="2226" y="914"/>
                  </a:lnTo>
                  <a:lnTo>
                    <a:pt x="2246" y="924"/>
                  </a:lnTo>
                  <a:lnTo>
                    <a:pt x="2265" y="934"/>
                  </a:lnTo>
                  <a:lnTo>
                    <a:pt x="2281" y="945"/>
                  </a:lnTo>
                  <a:lnTo>
                    <a:pt x="2295" y="954"/>
                  </a:lnTo>
                  <a:lnTo>
                    <a:pt x="2305" y="964"/>
                  </a:lnTo>
                  <a:lnTo>
                    <a:pt x="2312" y="971"/>
                  </a:lnTo>
                  <a:lnTo>
                    <a:pt x="2319" y="977"/>
                  </a:lnTo>
                  <a:lnTo>
                    <a:pt x="2319" y="977"/>
                  </a:lnTo>
                  <a:lnTo>
                    <a:pt x="2317" y="980"/>
                  </a:lnTo>
                  <a:lnTo>
                    <a:pt x="2313" y="987"/>
                  </a:lnTo>
                  <a:lnTo>
                    <a:pt x="2305" y="998"/>
                  </a:lnTo>
                  <a:lnTo>
                    <a:pt x="2300" y="1005"/>
                  </a:lnTo>
                  <a:lnTo>
                    <a:pt x="2293" y="1012"/>
                  </a:lnTo>
                  <a:lnTo>
                    <a:pt x="2285" y="1018"/>
                  </a:lnTo>
                  <a:lnTo>
                    <a:pt x="2276" y="1025"/>
                  </a:lnTo>
                  <a:lnTo>
                    <a:pt x="2267" y="1031"/>
                  </a:lnTo>
                  <a:lnTo>
                    <a:pt x="2255" y="1036"/>
                  </a:lnTo>
                  <a:lnTo>
                    <a:pt x="2242" y="1041"/>
                  </a:lnTo>
                  <a:lnTo>
                    <a:pt x="2228" y="1045"/>
                  </a:lnTo>
                  <a:lnTo>
                    <a:pt x="2212" y="1049"/>
                  </a:lnTo>
                  <a:lnTo>
                    <a:pt x="2194" y="1050"/>
                  </a:lnTo>
                  <a:lnTo>
                    <a:pt x="2194" y="1050"/>
                  </a:lnTo>
                  <a:lnTo>
                    <a:pt x="2180" y="1051"/>
                  </a:lnTo>
                  <a:lnTo>
                    <a:pt x="2166" y="1050"/>
                  </a:lnTo>
                  <a:lnTo>
                    <a:pt x="2152" y="1048"/>
                  </a:lnTo>
                  <a:lnTo>
                    <a:pt x="2139" y="1044"/>
                  </a:lnTo>
                  <a:lnTo>
                    <a:pt x="2127" y="1041"/>
                  </a:lnTo>
                  <a:lnTo>
                    <a:pt x="2115" y="1037"/>
                  </a:lnTo>
                  <a:lnTo>
                    <a:pt x="2103" y="1033"/>
                  </a:lnTo>
                  <a:lnTo>
                    <a:pt x="2092" y="1027"/>
                  </a:lnTo>
                  <a:lnTo>
                    <a:pt x="2082" y="1022"/>
                  </a:lnTo>
                  <a:lnTo>
                    <a:pt x="2073" y="1016"/>
                  </a:lnTo>
                  <a:lnTo>
                    <a:pt x="2064" y="1010"/>
                  </a:lnTo>
                  <a:lnTo>
                    <a:pt x="2056" y="1003"/>
                  </a:lnTo>
                  <a:lnTo>
                    <a:pt x="2048" y="995"/>
                  </a:lnTo>
                  <a:lnTo>
                    <a:pt x="2042" y="988"/>
                  </a:lnTo>
                  <a:lnTo>
                    <a:pt x="2036" y="981"/>
                  </a:lnTo>
                  <a:lnTo>
                    <a:pt x="2031" y="974"/>
                  </a:lnTo>
                  <a:lnTo>
                    <a:pt x="2031" y="974"/>
                  </a:lnTo>
                  <a:lnTo>
                    <a:pt x="2022" y="996"/>
                  </a:lnTo>
                  <a:lnTo>
                    <a:pt x="2013" y="1014"/>
                  </a:lnTo>
                  <a:lnTo>
                    <a:pt x="2007" y="1027"/>
                  </a:lnTo>
                  <a:lnTo>
                    <a:pt x="2007" y="1027"/>
                  </a:lnTo>
                  <a:lnTo>
                    <a:pt x="2003" y="1035"/>
                  </a:lnTo>
                  <a:lnTo>
                    <a:pt x="2000" y="1042"/>
                  </a:lnTo>
                  <a:lnTo>
                    <a:pt x="1998" y="1051"/>
                  </a:lnTo>
                  <a:lnTo>
                    <a:pt x="1997" y="1057"/>
                  </a:lnTo>
                  <a:lnTo>
                    <a:pt x="1997" y="1064"/>
                  </a:lnTo>
                  <a:lnTo>
                    <a:pt x="1997" y="1070"/>
                  </a:lnTo>
                  <a:lnTo>
                    <a:pt x="1999" y="1082"/>
                  </a:lnTo>
                  <a:lnTo>
                    <a:pt x="2001" y="1094"/>
                  </a:lnTo>
                  <a:lnTo>
                    <a:pt x="2003" y="1104"/>
                  </a:lnTo>
                  <a:lnTo>
                    <a:pt x="2004" y="1115"/>
                  </a:lnTo>
                  <a:lnTo>
                    <a:pt x="2003" y="1121"/>
                  </a:lnTo>
                  <a:lnTo>
                    <a:pt x="2001" y="1126"/>
                  </a:lnTo>
                  <a:lnTo>
                    <a:pt x="2001" y="1126"/>
                  </a:lnTo>
                  <a:lnTo>
                    <a:pt x="1999" y="1132"/>
                  </a:lnTo>
                  <a:lnTo>
                    <a:pt x="1995" y="1138"/>
                  </a:lnTo>
                  <a:lnTo>
                    <a:pt x="1986" y="1151"/>
                  </a:lnTo>
                  <a:lnTo>
                    <a:pt x="1973" y="1163"/>
                  </a:lnTo>
                  <a:lnTo>
                    <a:pt x="1960" y="1175"/>
                  </a:lnTo>
                  <a:lnTo>
                    <a:pt x="1945" y="1187"/>
                  </a:lnTo>
                  <a:lnTo>
                    <a:pt x="1931" y="1198"/>
                  </a:lnTo>
                  <a:lnTo>
                    <a:pt x="1904" y="1216"/>
                  </a:lnTo>
                  <a:lnTo>
                    <a:pt x="1904" y="1216"/>
                  </a:lnTo>
                  <a:lnTo>
                    <a:pt x="1886" y="1227"/>
                  </a:lnTo>
                  <a:lnTo>
                    <a:pt x="1864" y="1239"/>
                  </a:lnTo>
                  <a:lnTo>
                    <a:pt x="1842" y="1249"/>
                  </a:lnTo>
                  <a:lnTo>
                    <a:pt x="1819" y="1257"/>
                  </a:lnTo>
                  <a:lnTo>
                    <a:pt x="1798" y="1264"/>
                  </a:lnTo>
                  <a:lnTo>
                    <a:pt x="1779" y="1270"/>
                  </a:lnTo>
                  <a:lnTo>
                    <a:pt x="1754" y="1278"/>
                  </a:lnTo>
                  <a:lnTo>
                    <a:pt x="1754" y="1278"/>
                  </a:lnTo>
                  <a:lnTo>
                    <a:pt x="1779" y="1336"/>
                  </a:lnTo>
                  <a:lnTo>
                    <a:pt x="1811" y="1404"/>
                  </a:lnTo>
                  <a:lnTo>
                    <a:pt x="1811" y="1404"/>
                  </a:lnTo>
                  <a:lnTo>
                    <a:pt x="1833" y="1449"/>
                  </a:lnTo>
                  <a:lnTo>
                    <a:pt x="1862" y="1504"/>
                  </a:lnTo>
                  <a:lnTo>
                    <a:pt x="1877" y="1531"/>
                  </a:lnTo>
                  <a:lnTo>
                    <a:pt x="1893" y="1557"/>
                  </a:lnTo>
                  <a:lnTo>
                    <a:pt x="1909" y="1578"/>
                  </a:lnTo>
                  <a:lnTo>
                    <a:pt x="1916" y="1588"/>
                  </a:lnTo>
                  <a:lnTo>
                    <a:pt x="1924" y="1597"/>
                  </a:lnTo>
                  <a:lnTo>
                    <a:pt x="1924" y="1597"/>
                  </a:lnTo>
                  <a:lnTo>
                    <a:pt x="1940" y="1592"/>
                  </a:lnTo>
                  <a:lnTo>
                    <a:pt x="1957" y="1587"/>
                  </a:lnTo>
                  <a:lnTo>
                    <a:pt x="1980" y="1581"/>
                  </a:lnTo>
                  <a:lnTo>
                    <a:pt x="2004" y="1573"/>
                  </a:lnTo>
                  <a:lnTo>
                    <a:pt x="2031" y="1563"/>
                  </a:lnTo>
                  <a:lnTo>
                    <a:pt x="2057" y="1551"/>
                  </a:lnTo>
                  <a:lnTo>
                    <a:pt x="2071" y="1544"/>
                  </a:lnTo>
                  <a:lnTo>
                    <a:pt x="2083" y="1537"/>
                  </a:lnTo>
                  <a:lnTo>
                    <a:pt x="2083" y="1537"/>
                  </a:lnTo>
                  <a:lnTo>
                    <a:pt x="2105" y="1524"/>
                  </a:lnTo>
                  <a:lnTo>
                    <a:pt x="2126" y="1510"/>
                  </a:lnTo>
                  <a:lnTo>
                    <a:pt x="2145" y="1495"/>
                  </a:lnTo>
                  <a:lnTo>
                    <a:pt x="2162" y="1480"/>
                  </a:lnTo>
                  <a:lnTo>
                    <a:pt x="2177" y="1466"/>
                  </a:lnTo>
                  <a:lnTo>
                    <a:pt x="2189" y="1451"/>
                  </a:lnTo>
                  <a:lnTo>
                    <a:pt x="2199" y="1437"/>
                  </a:lnTo>
                  <a:lnTo>
                    <a:pt x="2207" y="1424"/>
                  </a:lnTo>
                  <a:lnTo>
                    <a:pt x="2207" y="1424"/>
                  </a:lnTo>
                  <a:lnTo>
                    <a:pt x="2190" y="1460"/>
                  </a:lnTo>
                  <a:lnTo>
                    <a:pt x="2175" y="1493"/>
                  </a:lnTo>
                  <a:lnTo>
                    <a:pt x="2161" y="1523"/>
                  </a:lnTo>
                  <a:lnTo>
                    <a:pt x="2146" y="1551"/>
                  </a:lnTo>
                  <a:lnTo>
                    <a:pt x="2132" y="1576"/>
                  </a:lnTo>
                  <a:lnTo>
                    <a:pt x="2119" y="1599"/>
                  </a:lnTo>
                  <a:lnTo>
                    <a:pt x="2105" y="1619"/>
                  </a:lnTo>
                  <a:lnTo>
                    <a:pt x="2092" y="1637"/>
                  </a:lnTo>
                  <a:lnTo>
                    <a:pt x="2080" y="1655"/>
                  </a:lnTo>
                  <a:lnTo>
                    <a:pt x="2068" y="1669"/>
                  </a:lnTo>
                  <a:lnTo>
                    <a:pt x="2055" y="1682"/>
                  </a:lnTo>
                  <a:lnTo>
                    <a:pt x="2044" y="1694"/>
                  </a:lnTo>
                  <a:lnTo>
                    <a:pt x="2033" y="1705"/>
                  </a:lnTo>
                  <a:lnTo>
                    <a:pt x="2022" y="1714"/>
                  </a:lnTo>
                  <a:lnTo>
                    <a:pt x="2011" y="1721"/>
                  </a:lnTo>
                  <a:lnTo>
                    <a:pt x="2000" y="1729"/>
                  </a:lnTo>
                  <a:lnTo>
                    <a:pt x="2000" y="1729"/>
                  </a:lnTo>
                  <a:lnTo>
                    <a:pt x="1907" y="1790"/>
                  </a:lnTo>
                  <a:lnTo>
                    <a:pt x="1797" y="1862"/>
                  </a:lnTo>
                  <a:lnTo>
                    <a:pt x="1735" y="1901"/>
                  </a:lnTo>
                  <a:lnTo>
                    <a:pt x="1671" y="1940"/>
                  </a:lnTo>
                  <a:lnTo>
                    <a:pt x="1602" y="1980"/>
                  </a:lnTo>
                  <a:lnTo>
                    <a:pt x="1532" y="2020"/>
                  </a:lnTo>
                  <a:lnTo>
                    <a:pt x="1459" y="2058"/>
                  </a:lnTo>
                  <a:lnTo>
                    <a:pt x="1422" y="2077"/>
                  </a:lnTo>
                  <a:lnTo>
                    <a:pt x="1384" y="2094"/>
                  </a:lnTo>
                  <a:lnTo>
                    <a:pt x="1347" y="2112"/>
                  </a:lnTo>
                  <a:lnTo>
                    <a:pt x="1308" y="2129"/>
                  </a:lnTo>
                  <a:lnTo>
                    <a:pt x="1269" y="2146"/>
                  </a:lnTo>
                  <a:lnTo>
                    <a:pt x="1230" y="2161"/>
                  </a:lnTo>
                  <a:lnTo>
                    <a:pt x="1190" y="2175"/>
                  </a:lnTo>
                  <a:lnTo>
                    <a:pt x="1151" y="2189"/>
                  </a:lnTo>
                  <a:lnTo>
                    <a:pt x="1111" y="2202"/>
                  </a:lnTo>
                  <a:lnTo>
                    <a:pt x="1072" y="2213"/>
                  </a:lnTo>
                  <a:lnTo>
                    <a:pt x="1032" y="2223"/>
                  </a:lnTo>
                  <a:lnTo>
                    <a:pt x="992" y="2231"/>
                  </a:lnTo>
                  <a:lnTo>
                    <a:pt x="952" y="2240"/>
                  </a:lnTo>
                  <a:lnTo>
                    <a:pt x="913" y="2246"/>
                  </a:lnTo>
                  <a:lnTo>
                    <a:pt x="913" y="2246"/>
                  </a:lnTo>
                  <a:lnTo>
                    <a:pt x="901" y="2246"/>
                  </a:lnTo>
                  <a:lnTo>
                    <a:pt x="889" y="2245"/>
                  </a:lnTo>
                  <a:lnTo>
                    <a:pt x="876" y="2242"/>
                  </a:lnTo>
                  <a:lnTo>
                    <a:pt x="863" y="2239"/>
                  </a:lnTo>
                  <a:lnTo>
                    <a:pt x="850" y="2236"/>
                  </a:lnTo>
                  <a:lnTo>
                    <a:pt x="836" y="2230"/>
                  </a:lnTo>
                  <a:lnTo>
                    <a:pt x="809" y="2218"/>
                  </a:lnTo>
                  <a:lnTo>
                    <a:pt x="781" y="2204"/>
                  </a:lnTo>
                  <a:lnTo>
                    <a:pt x="754" y="2188"/>
                  </a:lnTo>
                  <a:lnTo>
                    <a:pt x="726" y="2170"/>
                  </a:lnTo>
                  <a:lnTo>
                    <a:pt x="698" y="2151"/>
                  </a:lnTo>
                  <a:lnTo>
                    <a:pt x="672" y="2130"/>
                  </a:lnTo>
                  <a:lnTo>
                    <a:pt x="646" y="2110"/>
                  </a:lnTo>
                  <a:lnTo>
                    <a:pt x="623" y="2089"/>
                  </a:lnTo>
                  <a:lnTo>
                    <a:pt x="600" y="2069"/>
                  </a:lnTo>
                  <a:lnTo>
                    <a:pt x="581" y="2049"/>
                  </a:lnTo>
                  <a:lnTo>
                    <a:pt x="563" y="2032"/>
                  </a:lnTo>
                  <a:lnTo>
                    <a:pt x="548" y="2017"/>
                  </a:lnTo>
                  <a:lnTo>
                    <a:pt x="537" y="2003"/>
                  </a:lnTo>
                  <a:lnTo>
                    <a:pt x="537" y="2003"/>
                  </a:lnTo>
                  <a:lnTo>
                    <a:pt x="533" y="1999"/>
                  </a:lnTo>
                  <a:lnTo>
                    <a:pt x="530" y="1995"/>
                  </a:lnTo>
                  <a:lnTo>
                    <a:pt x="520" y="1990"/>
                  </a:lnTo>
                  <a:lnTo>
                    <a:pt x="512" y="1988"/>
                  </a:lnTo>
                  <a:lnTo>
                    <a:pt x="502" y="1987"/>
                  </a:lnTo>
                  <a:lnTo>
                    <a:pt x="493" y="1987"/>
                  </a:lnTo>
                  <a:lnTo>
                    <a:pt x="483" y="1989"/>
                  </a:lnTo>
                  <a:lnTo>
                    <a:pt x="473" y="1992"/>
                  </a:lnTo>
                  <a:lnTo>
                    <a:pt x="464" y="1996"/>
                  </a:lnTo>
                  <a:lnTo>
                    <a:pt x="447" y="2004"/>
                  </a:lnTo>
                  <a:lnTo>
                    <a:pt x="433" y="2014"/>
                  </a:lnTo>
                  <a:lnTo>
                    <a:pt x="419" y="2024"/>
                  </a:lnTo>
                  <a:lnTo>
                    <a:pt x="419" y="2024"/>
                  </a:lnTo>
                  <a:lnTo>
                    <a:pt x="412" y="2023"/>
                  </a:lnTo>
                  <a:lnTo>
                    <a:pt x="393" y="2021"/>
                  </a:lnTo>
                  <a:lnTo>
                    <a:pt x="379" y="2021"/>
                  </a:lnTo>
                  <a:lnTo>
                    <a:pt x="364" y="2021"/>
                  </a:lnTo>
                  <a:lnTo>
                    <a:pt x="348" y="2022"/>
                  </a:lnTo>
                  <a:lnTo>
                    <a:pt x="329" y="2024"/>
                  </a:lnTo>
                  <a:lnTo>
                    <a:pt x="310" y="2027"/>
                  </a:lnTo>
                  <a:lnTo>
                    <a:pt x="290" y="2032"/>
                  </a:lnTo>
                  <a:lnTo>
                    <a:pt x="271" y="2038"/>
                  </a:lnTo>
                  <a:lnTo>
                    <a:pt x="252" y="2047"/>
                  </a:lnTo>
                  <a:lnTo>
                    <a:pt x="242" y="2053"/>
                  </a:lnTo>
                  <a:lnTo>
                    <a:pt x="233" y="2058"/>
                  </a:lnTo>
                  <a:lnTo>
                    <a:pt x="224" y="2064"/>
                  </a:lnTo>
                  <a:lnTo>
                    <a:pt x="216" y="2071"/>
                  </a:lnTo>
                  <a:lnTo>
                    <a:pt x="207" y="2079"/>
                  </a:lnTo>
                  <a:lnTo>
                    <a:pt x="199" y="2087"/>
                  </a:lnTo>
                  <a:lnTo>
                    <a:pt x="191" y="2097"/>
                  </a:lnTo>
                  <a:lnTo>
                    <a:pt x="184" y="2106"/>
                  </a:lnTo>
                  <a:lnTo>
                    <a:pt x="184" y="2106"/>
                  </a:lnTo>
                  <a:lnTo>
                    <a:pt x="183" y="2109"/>
                  </a:lnTo>
                  <a:lnTo>
                    <a:pt x="185" y="2111"/>
                  </a:lnTo>
                  <a:lnTo>
                    <a:pt x="188" y="2112"/>
                  </a:lnTo>
                  <a:lnTo>
                    <a:pt x="193" y="2112"/>
                  </a:lnTo>
                  <a:lnTo>
                    <a:pt x="210" y="2110"/>
                  </a:lnTo>
                  <a:lnTo>
                    <a:pt x="230" y="2108"/>
                  </a:lnTo>
                  <a:lnTo>
                    <a:pt x="255" y="2106"/>
                  </a:lnTo>
                  <a:lnTo>
                    <a:pt x="280" y="2105"/>
                  </a:lnTo>
                  <a:lnTo>
                    <a:pt x="293" y="2106"/>
                  </a:lnTo>
                  <a:lnTo>
                    <a:pt x="307" y="2107"/>
                  </a:lnTo>
                  <a:lnTo>
                    <a:pt x="319" y="2109"/>
                  </a:lnTo>
                  <a:lnTo>
                    <a:pt x="331" y="2112"/>
                  </a:lnTo>
                  <a:lnTo>
                    <a:pt x="331" y="2112"/>
                  </a:lnTo>
                  <a:lnTo>
                    <a:pt x="338" y="2115"/>
                  </a:lnTo>
                  <a:lnTo>
                    <a:pt x="343" y="2118"/>
                  </a:lnTo>
                  <a:lnTo>
                    <a:pt x="346" y="2121"/>
                  </a:lnTo>
                  <a:lnTo>
                    <a:pt x="347" y="2124"/>
                  </a:lnTo>
                  <a:lnTo>
                    <a:pt x="347" y="2127"/>
                  </a:lnTo>
                  <a:lnTo>
                    <a:pt x="345" y="2131"/>
                  </a:lnTo>
                  <a:lnTo>
                    <a:pt x="339" y="2139"/>
                  </a:lnTo>
                  <a:lnTo>
                    <a:pt x="332" y="2149"/>
                  </a:lnTo>
                  <a:lnTo>
                    <a:pt x="325" y="2160"/>
                  </a:lnTo>
                  <a:lnTo>
                    <a:pt x="321" y="2166"/>
                  </a:lnTo>
                  <a:lnTo>
                    <a:pt x="319" y="2172"/>
                  </a:lnTo>
                  <a:lnTo>
                    <a:pt x="317" y="2178"/>
                  </a:lnTo>
                  <a:lnTo>
                    <a:pt x="317" y="2185"/>
                  </a:lnTo>
                  <a:lnTo>
                    <a:pt x="317" y="2185"/>
                  </a:lnTo>
                  <a:lnTo>
                    <a:pt x="317" y="2191"/>
                  </a:lnTo>
                  <a:lnTo>
                    <a:pt x="319" y="2197"/>
                  </a:lnTo>
                  <a:lnTo>
                    <a:pt x="321" y="2202"/>
                  </a:lnTo>
                  <a:lnTo>
                    <a:pt x="324" y="2207"/>
                  </a:lnTo>
                  <a:lnTo>
                    <a:pt x="328" y="2212"/>
                  </a:lnTo>
                  <a:lnTo>
                    <a:pt x="333" y="2217"/>
                  </a:lnTo>
                  <a:lnTo>
                    <a:pt x="346" y="2227"/>
                  </a:lnTo>
                  <a:lnTo>
                    <a:pt x="361" y="2237"/>
                  </a:lnTo>
                  <a:lnTo>
                    <a:pt x="377" y="2246"/>
                  </a:lnTo>
                  <a:lnTo>
                    <a:pt x="397" y="2255"/>
                  </a:lnTo>
                  <a:lnTo>
                    <a:pt x="416" y="2263"/>
                  </a:lnTo>
                  <a:lnTo>
                    <a:pt x="458" y="2279"/>
                  </a:lnTo>
                  <a:lnTo>
                    <a:pt x="500" y="2293"/>
                  </a:lnTo>
                  <a:lnTo>
                    <a:pt x="571" y="2314"/>
                  </a:lnTo>
                  <a:lnTo>
                    <a:pt x="571" y="2314"/>
                  </a:lnTo>
                  <a:lnTo>
                    <a:pt x="579" y="2318"/>
                  </a:lnTo>
                  <a:lnTo>
                    <a:pt x="585" y="2322"/>
                  </a:lnTo>
                  <a:lnTo>
                    <a:pt x="588" y="2328"/>
                  </a:lnTo>
                  <a:lnTo>
                    <a:pt x="590" y="2333"/>
                  </a:lnTo>
                  <a:lnTo>
                    <a:pt x="590" y="2337"/>
                  </a:lnTo>
                  <a:lnTo>
                    <a:pt x="588" y="2341"/>
                  </a:lnTo>
                  <a:lnTo>
                    <a:pt x="585" y="2343"/>
                  </a:lnTo>
                  <a:lnTo>
                    <a:pt x="581" y="2344"/>
                  </a:lnTo>
                  <a:lnTo>
                    <a:pt x="581" y="2344"/>
                  </a:lnTo>
                  <a:lnTo>
                    <a:pt x="556" y="2343"/>
                  </a:lnTo>
                  <a:lnTo>
                    <a:pt x="532" y="2340"/>
                  </a:lnTo>
                  <a:lnTo>
                    <a:pt x="509" y="2337"/>
                  </a:lnTo>
                  <a:lnTo>
                    <a:pt x="488" y="2332"/>
                  </a:lnTo>
                  <a:lnTo>
                    <a:pt x="467" y="2327"/>
                  </a:lnTo>
                  <a:lnTo>
                    <a:pt x="448" y="2320"/>
                  </a:lnTo>
                  <a:lnTo>
                    <a:pt x="429" y="2314"/>
                  </a:lnTo>
                  <a:lnTo>
                    <a:pt x="412" y="2308"/>
                  </a:lnTo>
                  <a:lnTo>
                    <a:pt x="380" y="2295"/>
                  </a:lnTo>
                  <a:lnTo>
                    <a:pt x="352" y="2283"/>
                  </a:lnTo>
                  <a:lnTo>
                    <a:pt x="327" y="2271"/>
                  </a:lnTo>
                  <a:lnTo>
                    <a:pt x="316" y="2267"/>
                  </a:lnTo>
                  <a:lnTo>
                    <a:pt x="305" y="2263"/>
                  </a:lnTo>
                  <a:lnTo>
                    <a:pt x="305" y="2263"/>
                  </a:lnTo>
                  <a:lnTo>
                    <a:pt x="286" y="2258"/>
                  </a:lnTo>
                  <a:lnTo>
                    <a:pt x="268" y="2254"/>
                  </a:lnTo>
                  <a:lnTo>
                    <a:pt x="253" y="2251"/>
                  </a:lnTo>
                  <a:lnTo>
                    <a:pt x="237" y="2249"/>
                  </a:lnTo>
                  <a:lnTo>
                    <a:pt x="224" y="2248"/>
                  </a:lnTo>
                  <a:lnTo>
                    <a:pt x="213" y="2249"/>
                  </a:lnTo>
                  <a:lnTo>
                    <a:pt x="202" y="2250"/>
                  </a:lnTo>
                  <a:lnTo>
                    <a:pt x="192" y="2252"/>
                  </a:lnTo>
                  <a:lnTo>
                    <a:pt x="185" y="2256"/>
                  </a:lnTo>
                  <a:lnTo>
                    <a:pt x="178" y="2260"/>
                  </a:lnTo>
                  <a:lnTo>
                    <a:pt x="172" y="2265"/>
                  </a:lnTo>
                  <a:lnTo>
                    <a:pt x="167" y="2271"/>
                  </a:lnTo>
                  <a:lnTo>
                    <a:pt x="163" y="2277"/>
                  </a:lnTo>
                  <a:lnTo>
                    <a:pt x="160" y="2286"/>
                  </a:lnTo>
                  <a:lnTo>
                    <a:pt x="156" y="2294"/>
                  </a:lnTo>
                  <a:lnTo>
                    <a:pt x="155" y="2303"/>
                  </a:lnTo>
                  <a:lnTo>
                    <a:pt x="155" y="2303"/>
                  </a:lnTo>
                  <a:lnTo>
                    <a:pt x="154" y="2306"/>
                  </a:lnTo>
                  <a:lnTo>
                    <a:pt x="152" y="2309"/>
                  </a:lnTo>
                  <a:lnTo>
                    <a:pt x="150" y="2312"/>
                  </a:lnTo>
                  <a:lnTo>
                    <a:pt x="147" y="2314"/>
                  </a:lnTo>
                  <a:lnTo>
                    <a:pt x="140" y="2318"/>
                  </a:lnTo>
                  <a:lnTo>
                    <a:pt x="132" y="2323"/>
                  </a:lnTo>
                  <a:lnTo>
                    <a:pt x="109" y="2333"/>
                  </a:lnTo>
                  <a:lnTo>
                    <a:pt x="97" y="2339"/>
                  </a:lnTo>
                  <a:lnTo>
                    <a:pt x="84" y="2347"/>
                  </a:lnTo>
                  <a:lnTo>
                    <a:pt x="71" y="2357"/>
                  </a:lnTo>
                  <a:lnTo>
                    <a:pt x="57" y="2371"/>
                  </a:lnTo>
                  <a:lnTo>
                    <a:pt x="51" y="2378"/>
                  </a:lnTo>
                  <a:lnTo>
                    <a:pt x="45" y="2386"/>
                  </a:lnTo>
                  <a:lnTo>
                    <a:pt x="39" y="2396"/>
                  </a:lnTo>
                  <a:lnTo>
                    <a:pt x="33" y="2406"/>
                  </a:lnTo>
                  <a:lnTo>
                    <a:pt x="28" y="2418"/>
                  </a:lnTo>
                  <a:lnTo>
                    <a:pt x="22" y="2430"/>
                  </a:lnTo>
                  <a:lnTo>
                    <a:pt x="17" y="2444"/>
                  </a:lnTo>
                  <a:lnTo>
                    <a:pt x="13" y="2458"/>
                  </a:lnTo>
                  <a:lnTo>
                    <a:pt x="9" y="2475"/>
                  </a:lnTo>
                  <a:lnTo>
                    <a:pt x="6" y="2492"/>
                  </a:lnTo>
                  <a:lnTo>
                    <a:pt x="3" y="2512"/>
                  </a:lnTo>
                  <a:lnTo>
                    <a:pt x="0" y="2532"/>
                  </a:lnTo>
                  <a:lnTo>
                    <a:pt x="0" y="2532"/>
                  </a:lnTo>
                  <a:lnTo>
                    <a:pt x="1" y="2533"/>
                  </a:lnTo>
                  <a:lnTo>
                    <a:pt x="2" y="2534"/>
                  </a:lnTo>
                  <a:lnTo>
                    <a:pt x="6" y="2532"/>
                  </a:lnTo>
                  <a:lnTo>
                    <a:pt x="12" y="2527"/>
                  </a:lnTo>
                  <a:lnTo>
                    <a:pt x="20" y="2519"/>
                  </a:lnTo>
                  <a:lnTo>
                    <a:pt x="43" y="2496"/>
                  </a:lnTo>
                  <a:lnTo>
                    <a:pt x="69" y="2472"/>
                  </a:lnTo>
                  <a:lnTo>
                    <a:pt x="82" y="2459"/>
                  </a:lnTo>
                  <a:lnTo>
                    <a:pt x="95" y="2448"/>
                  </a:lnTo>
                  <a:lnTo>
                    <a:pt x="107" y="2439"/>
                  </a:lnTo>
                  <a:lnTo>
                    <a:pt x="119" y="2432"/>
                  </a:lnTo>
                  <a:lnTo>
                    <a:pt x="124" y="2429"/>
                  </a:lnTo>
                  <a:lnTo>
                    <a:pt x="129" y="2428"/>
                  </a:lnTo>
                  <a:lnTo>
                    <a:pt x="133" y="2427"/>
                  </a:lnTo>
                  <a:lnTo>
                    <a:pt x="137" y="2427"/>
                  </a:lnTo>
                  <a:lnTo>
                    <a:pt x="140" y="2429"/>
                  </a:lnTo>
                  <a:lnTo>
                    <a:pt x="143" y="2431"/>
                  </a:lnTo>
                  <a:lnTo>
                    <a:pt x="144" y="2435"/>
                  </a:lnTo>
                  <a:lnTo>
                    <a:pt x="146" y="2439"/>
                  </a:lnTo>
                  <a:lnTo>
                    <a:pt x="146" y="2439"/>
                  </a:lnTo>
                  <a:lnTo>
                    <a:pt x="149" y="2455"/>
                  </a:lnTo>
                  <a:lnTo>
                    <a:pt x="154" y="2470"/>
                  </a:lnTo>
                  <a:lnTo>
                    <a:pt x="162" y="2483"/>
                  </a:lnTo>
                  <a:lnTo>
                    <a:pt x="170" y="2493"/>
                  </a:lnTo>
                  <a:lnTo>
                    <a:pt x="179" y="2503"/>
                  </a:lnTo>
                  <a:lnTo>
                    <a:pt x="189" y="2511"/>
                  </a:lnTo>
                  <a:lnTo>
                    <a:pt x="200" y="2518"/>
                  </a:lnTo>
                  <a:lnTo>
                    <a:pt x="214" y="2523"/>
                  </a:lnTo>
                  <a:lnTo>
                    <a:pt x="227" y="2527"/>
                  </a:lnTo>
                  <a:lnTo>
                    <a:pt x="241" y="2529"/>
                  </a:lnTo>
                  <a:lnTo>
                    <a:pt x="256" y="2531"/>
                  </a:lnTo>
                  <a:lnTo>
                    <a:pt x="271" y="2532"/>
                  </a:lnTo>
                  <a:lnTo>
                    <a:pt x="287" y="2533"/>
                  </a:lnTo>
                  <a:lnTo>
                    <a:pt x="304" y="2532"/>
                  </a:lnTo>
                  <a:lnTo>
                    <a:pt x="337" y="2530"/>
                  </a:lnTo>
                  <a:lnTo>
                    <a:pt x="371" y="2526"/>
                  </a:lnTo>
                  <a:lnTo>
                    <a:pt x="405" y="2521"/>
                  </a:lnTo>
                  <a:lnTo>
                    <a:pt x="438" y="2516"/>
                  </a:lnTo>
                  <a:lnTo>
                    <a:pt x="468" y="2512"/>
                  </a:lnTo>
                  <a:lnTo>
                    <a:pt x="496" y="2510"/>
                  </a:lnTo>
                  <a:lnTo>
                    <a:pt x="509" y="2509"/>
                  </a:lnTo>
                  <a:lnTo>
                    <a:pt x="520" y="2509"/>
                  </a:lnTo>
                  <a:lnTo>
                    <a:pt x="531" y="2510"/>
                  </a:lnTo>
                  <a:lnTo>
                    <a:pt x="541" y="2512"/>
                  </a:lnTo>
                  <a:lnTo>
                    <a:pt x="549" y="2515"/>
                  </a:lnTo>
                  <a:lnTo>
                    <a:pt x="555" y="2519"/>
                  </a:lnTo>
                  <a:lnTo>
                    <a:pt x="555" y="2519"/>
                  </a:lnTo>
                  <a:lnTo>
                    <a:pt x="558" y="2522"/>
                  </a:lnTo>
                  <a:lnTo>
                    <a:pt x="559" y="2524"/>
                  </a:lnTo>
                  <a:lnTo>
                    <a:pt x="557" y="2527"/>
                  </a:lnTo>
                  <a:lnTo>
                    <a:pt x="554" y="2529"/>
                  </a:lnTo>
                  <a:lnTo>
                    <a:pt x="549" y="2532"/>
                  </a:lnTo>
                  <a:lnTo>
                    <a:pt x="542" y="2534"/>
                  </a:lnTo>
                  <a:lnTo>
                    <a:pt x="525" y="2538"/>
                  </a:lnTo>
                  <a:lnTo>
                    <a:pt x="475" y="2547"/>
                  </a:lnTo>
                  <a:lnTo>
                    <a:pt x="447" y="2553"/>
                  </a:lnTo>
                  <a:lnTo>
                    <a:pt x="417" y="2559"/>
                  </a:lnTo>
                  <a:lnTo>
                    <a:pt x="388" y="2566"/>
                  </a:lnTo>
                  <a:lnTo>
                    <a:pt x="359" y="2574"/>
                  </a:lnTo>
                  <a:lnTo>
                    <a:pt x="346" y="2578"/>
                  </a:lnTo>
                  <a:lnTo>
                    <a:pt x="333" y="2583"/>
                  </a:lnTo>
                  <a:lnTo>
                    <a:pt x="322" y="2588"/>
                  </a:lnTo>
                  <a:lnTo>
                    <a:pt x="312" y="2594"/>
                  </a:lnTo>
                  <a:lnTo>
                    <a:pt x="303" y="2601"/>
                  </a:lnTo>
                  <a:lnTo>
                    <a:pt x="294" y="2607"/>
                  </a:lnTo>
                  <a:lnTo>
                    <a:pt x="288" y="2614"/>
                  </a:lnTo>
                  <a:lnTo>
                    <a:pt x="284" y="2622"/>
                  </a:lnTo>
                  <a:lnTo>
                    <a:pt x="282" y="2630"/>
                  </a:lnTo>
                  <a:lnTo>
                    <a:pt x="281" y="2638"/>
                  </a:lnTo>
                  <a:lnTo>
                    <a:pt x="283" y="2649"/>
                  </a:lnTo>
                  <a:lnTo>
                    <a:pt x="287" y="2659"/>
                  </a:lnTo>
                  <a:lnTo>
                    <a:pt x="287" y="2659"/>
                  </a:lnTo>
                  <a:lnTo>
                    <a:pt x="287" y="2660"/>
                  </a:lnTo>
                  <a:lnTo>
                    <a:pt x="286" y="2663"/>
                  </a:lnTo>
                  <a:lnTo>
                    <a:pt x="283" y="2669"/>
                  </a:lnTo>
                  <a:lnTo>
                    <a:pt x="268" y="2686"/>
                  </a:lnTo>
                  <a:lnTo>
                    <a:pt x="258" y="2699"/>
                  </a:lnTo>
                  <a:lnTo>
                    <a:pt x="247" y="2712"/>
                  </a:lnTo>
                  <a:lnTo>
                    <a:pt x="237" y="2727"/>
                  </a:lnTo>
                  <a:lnTo>
                    <a:pt x="228" y="2744"/>
                  </a:lnTo>
                  <a:lnTo>
                    <a:pt x="220" y="2761"/>
                  </a:lnTo>
                  <a:lnTo>
                    <a:pt x="217" y="2770"/>
                  </a:lnTo>
                  <a:lnTo>
                    <a:pt x="214" y="2781"/>
                  </a:lnTo>
                  <a:lnTo>
                    <a:pt x="213" y="2790"/>
                  </a:lnTo>
                  <a:lnTo>
                    <a:pt x="212" y="2801"/>
                  </a:lnTo>
                  <a:lnTo>
                    <a:pt x="212" y="2811"/>
                  </a:lnTo>
                  <a:lnTo>
                    <a:pt x="213" y="2821"/>
                  </a:lnTo>
                  <a:lnTo>
                    <a:pt x="215" y="2833"/>
                  </a:lnTo>
                  <a:lnTo>
                    <a:pt x="219" y="2844"/>
                  </a:lnTo>
                  <a:lnTo>
                    <a:pt x="223" y="2856"/>
                  </a:lnTo>
                  <a:lnTo>
                    <a:pt x="229" y="2867"/>
                  </a:lnTo>
                  <a:lnTo>
                    <a:pt x="237" y="2880"/>
                  </a:lnTo>
                  <a:lnTo>
                    <a:pt x="246" y="2892"/>
                  </a:lnTo>
                  <a:lnTo>
                    <a:pt x="257" y="2904"/>
                  </a:lnTo>
                  <a:lnTo>
                    <a:pt x="270" y="2917"/>
                  </a:lnTo>
                  <a:lnTo>
                    <a:pt x="270" y="2917"/>
                  </a:lnTo>
                  <a:lnTo>
                    <a:pt x="270" y="2910"/>
                  </a:lnTo>
                  <a:lnTo>
                    <a:pt x="272" y="2893"/>
                  </a:lnTo>
                  <a:lnTo>
                    <a:pt x="277" y="2868"/>
                  </a:lnTo>
                  <a:lnTo>
                    <a:pt x="281" y="2855"/>
                  </a:lnTo>
                  <a:lnTo>
                    <a:pt x="285" y="2841"/>
                  </a:lnTo>
                  <a:lnTo>
                    <a:pt x="291" y="2828"/>
                  </a:lnTo>
                  <a:lnTo>
                    <a:pt x="298" y="2814"/>
                  </a:lnTo>
                  <a:lnTo>
                    <a:pt x="306" y="2801"/>
                  </a:lnTo>
                  <a:lnTo>
                    <a:pt x="315" y="2791"/>
                  </a:lnTo>
                  <a:lnTo>
                    <a:pt x="321" y="2786"/>
                  </a:lnTo>
                  <a:lnTo>
                    <a:pt x="326" y="2782"/>
                  </a:lnTo>
                  <a:lnTo>
                    <a:pt x="332" y="2777"/>
                  </a:lnTo>
                  <a:lnTo>
                    <a:pt x="339" y="2774"/>
                  </a:lnTo>
                  <a:lnTo>
                    <a:pt x="346" y="2772"/>
                  </a:lnTo>
                  <a:lnTo>
                    <a:pt x="354" y="2770"/>
                  </a:lnTo>
                  <a:lnTo>
                    <a:pt x="361" y="2770"/>
                  </a:lnTo>
                  <a:lnTo>
                    <a:pt x="369" y="2770"/>
                  </a:lnTo>
                  <a:lnTo>
                    <a:pt x="369" y="2770"/>
                  </a:lnTo>
                  <a:lnTo>
                    <a:pt x="383" y="2771"/>
                  </a:lnTo>
                  <a:lnTo>
                    <a:pt x="396" y="2774"/>
                  </a:lnTo>
                  <a:lnTo>
                    <a:pt x="408" y="2778"/>
                  </a:lnTo>
                  <a:lnTo>
                    <a:pt x="420" y="2783"/>
                  </a:lnTo>
                  <a:lnTo>
                    <a:pt x="443" y="2793"/>
                  </a:lnTo>
                  <a:lnTo>
                    <a:pt x="454" y="2797"/>
                  </a:lnTo>
                  <a:lnTo>
                    <a:pt x="465" y="2801"/>
                  </a:lnTo>
                  <a:lnTo>
                    <a:pt x="476" y="2804"/>
                  </a:lnTo>
                  <a:lnTo>
                    <a:pt x="489" y="2806"/>
                  </a:lnTo>
                  <a:lnTo>
                    <a:pt x="501" y="2807"/>
                  </a:lnTo>
                  <a:lnTo>
                    <a:pt x="514" y="2805"/>
                  </a:lnTo>
                  <a:lnTo>
                    <a:pt x="528" y="2802"/>
                  </a:lnTo>
                  <a:lnTo>
                    <a:pt x="542" y="2796"/>
                  </a:lnTo>
                  <a:lnTo>
                    <a:pt x="558" y="2788"/>
                  </a:lnTo>
                  <a:lnTo>
                    <a:pt x="575" y="2775"/>
                  </a:lnTo>
                  <a:lnTo>
                    <a:pt x="575" y="2775"/>
                  </a:lnTo>
                  <a:lnTo>
                    <a:pt x="588" y="2766"/>
                  </a:lnTo>
                  <a:lnTo>
                    <a:pt x="600" y="2755"/>
                  </a:lnTo>
                  <a:lnTo>
                    <a:pt x="614" y="2743"/>
                  </a:lnTo>
                  <a:lnTo>
                    <a:pt x="630" y="2730"/>
                  </a:lnTo>
                  <a:lnTo>
                    <a:pt x="651" y="2718"/>
                  </a:lnTo>
                  <a:lnTo>
                    <a:pt x="664" y="2711"/>
                  </a:lnTo>
                  <a:lnTo>
                    <a:pt x="678" y="2705"/>
                  </a:lnTo>
                  <a:lnTo>
                    <a:pt x="693" y="2698"/>
                  </a:lnTo>
                  <a:lnTo>
                    <a:pt x="712" y="2692"/>
                  </a:lnTo>
                  <a:lnTo>
                    <a:pt x="732" y="2684"/>
                  </a:lnTo>
                  <a:lnTo>
                    <a:pt x="754" y="2677"/>
                  </a:lnTo>
                  <a:lnTo>
                    <a:pt x="754" y="2677"/>
                  </a:lnTo>
                  <a:lnTo>
                    <a:pt x="756" y="2677"/>
                  </a:lnTo>
                  <a:lnTo>
                    <a:pt x="757" y="2678"/>
                  </a:lnTo>
                  <a:lnTo>
                    <a:pt x="760" y="2683"/>
                  </a:lnTo>
                  <a:lnTo>
                    <a:pt x="762" y="2692"/>
                  </a:lnTo>
                  <a:lnTo>
                    <a:pt x="765" y="2701"/>
                  </a:lnTo>
                  <a:lnTo>
                    <a:pt x="768" y="2713"/>
                  </a:lnTo>
                  <a:lnTo>
                    <a:pt x="772" y="2725"/>
                  </a:lnTo>
                  <a:lnTo>
                    <a:pt x="777" y="2738"/>
                  </a:lnTo>
                  <a:lnTo>
                    <a:pt x="783" y="2750"/>
                  </a:lnTo>
                  <a:lnTo>
                    <a:pt x="783" y="2750"/>
                  </a:lnTo>
                  <a:lnTo>
                    <a:pt x="786" y="2753"/>
                  </a:lnTo>
                  <a:lnTo>
                    <a:pt x="789" y="2755"/>
                  </a:lnTo>
                  <a:lnTo>
                    <a:pt x="797" y="2760"/>
                  </a:lnTo>
                  <a:lnTo>
                    <a:pt x="805" y="2763"/>
                  </a:lnTo>
                  <a:lnTo>
                    <a:pt x="813" y="2767"/>
                  </a:lnTo>
                  <a:lnTo>
                    <a:pt x="821" y="2770"/>
                  </a:lnTo>
                  <a:lnTo>
                    <a:pt x="827" y="2773"/>
                  </a:lnTo>
                  <a:lnTo>
                    <a:pt x="830" y="2775"/>
                  </a:lnTo>
                  <a:lnTo>
                    <a:pt x="831" y="2777"/>
                  </a:lnTo>
                  <a:lnTo>
                    <a:pt x="833" y="2781"/>
                  </a:lnTo>
                  <a:lnTo>
                    <a:pt x="833" y="2784"/>
                  </a:lnTo>
                  <a:lnTo>
                    <a:pt x="833" y="2784"/>
                  </a:lnTo>
                  <a:lnTo>
                    <a:pt x="832" y="2794"/>
                  </a:lnTo>
                  <a:lnTo>
                    <a:pt x="830" y="2805"/>
                  </a:lnTo>
                  <a:lnTo>
                    <a:pt x="826" y="2815"/>
                  </a:lnTo>
                  <a:lnTo>
                    <a:pt x="822" y="2824"/>
                  </a:lnTo>
                  <a:lnTo>
                    <a:pt x="817" y="2834"/>
                  </a:lnTo>
                  <a:lnTo>
                    <a:pt x="811" y="2843"/>
                  </a:lnTo>
                  <a:lnTo>
                    <a:pt x="798" y="2859"/>
                  </a:lnTo>
                  <a:lnTo>
                    <a:pt x="784" y="2873"/>
                  </a:lnTo>
                  <a:lnTo>
                    <a:pt x="773" y="2884"/>
                  </a:lnTo>
                  <a:lnTo>
                    <a:pt x="765" y="2890"/>
                  </a:lnTo>
                  <a:lnTo>
                    <a:pt x="763" y="2893"/>
                  </a:lnTo>
                  <a:lnTo>
                    <a:pt x="763" y="2893"/>
                  </a:lnTo>
                  <a:lnTo>
                    <a:pt x="767" y="2896"/>
                  </a:lnTo>
                  <a:lnTo>
                    <a:pt x="778" y="2899"/>
                  </a:lnTo>
                  <a:lnTo>
                    <a:pt x="785" y="2900"/>
                  </a:lnTo>
                  <a:lnTo>
                    <a:pt x="794" y="2901"/>
                  </a:lnTo>
                  <a:lnTo>
                    <a:pt x="804" y="2901"/>
                  </a:lnTo>
                  <a:lnTo>
                    <a:pt x="815" y="2899"/>
                  </a:lnTo>
                  <a:lnTo>
                    <a:pt x="826" y="2896"/>
                  </a:lnTo>
                  <a:lnTo>
                    <a:pt x="839" y="2891"/>
                  </a:lnTo>
                  <a:lnTo>
                    <a:pt x="852" y="2884"/>
                  </a:lnTo>
                  <a:lnTo>
                    <a:pt x="865" y="2874"/>
                  </a:lnTo>
                  <a:lnTo>
                    <a:pt x="879" y="2860"/>
                  </a:lnTo>
                  <a:lnTo>
                    <a:pt x="894" y="2844"/>
                  </a:lnTo>
                  <a:lnTo>
                    <a:pt x="907" y="2824"/>
                  </a:lnTo>
                  <a:lnTo>
                    <a:pt x="921" y="2801"/>
                  </a:lnTo>
                  <a:lnTo>
                    <a:pt x="921" y="2801"/>
                  </a:lnTo>
                  <a:lnTo>
                    <a:pt x="924" y="2797"/>
                  </a:lnTo>
                  <a:lnTo>
                    <a:pt x="927" y="2793"/>
                  </a:lnTo>
                  <a:lnTo>
                    <a:pt x="930" y="2791"/>
                  </a:lnTo>
                  <a:lnTo>
                    <a:pt x="935" y="2789"/>
                  </a:lnTo>
                  <a:lnTo>
                    <a:pt x="939" y="2788"/>
                  </a:lnTo>
                  <a:lnTo>
                    <a:pt x="943" y="2788"/>
                  </a:lnTo>
                  <a:lnTo>
                    <a:pt x="951" y="2788"/>
                  </a:lnTo>
                  <a:lnTo>
                    <a:pt x="970" y="2790"/>
                  </a:lnTo>
                  <a:lnTo>
                    <a:pt x="982" y="2790"/>
                  </a:lnTo>
                  <a:lnTo>
                    <a:pt x="987" y="2789"/>
                  </a:lnTo>
                  <a:lnTo>
                    <a:pt x="992" y="2788"/>
                  </a:lnTo>
                  <a:lnTo>
                    <a:pt x="992" y="2788"/>
                  </a:lnTo>
                  <a:lnTo>
                    <a:pt x="1010" y="2782"/>
                  </a:lnTo>
                  <a:lnTo>
                    <a:pt x="1017" y="2777"/>
                  </a:lnTo>
                  <a:lnTo>
                    <a:pt x="1024" y="2773"/>
                  </a:lnTo>
                  <a:lnTo>
                    <a:pt x="1029" y="2770"/>
                  </a:lnTo>
                  <a:lnTo>
                    <a:pt x="1033" y="2766"/>
                  </a:lnTo>
                  <a:lnTo>
                    <a:pt x="1036" y="2762"/>
                  </a:lnTo>
                  <a:lnTo>
                    <a:pt x="1039" y="2757"/>
                  </a:lnTo>
                  <a:lnTo>
                    <a:pt x="1041" y="2753"/>
                  </a:lnTo>
                  <a:lnTo>
                    <a:pt x="1042" y="2748"/>
                  </a:lnTo>
                  <a:lnTo>
                    <a:pt x="1043" y="2739"/>
                  </a:lnTo>
                  <a:lnTo>
                    <a:pt x="1042" y="2728"/>
                  </a:lnTo>
                  <a:lnTo>
                    <a:pt x="1040" y="2718"/>
                  </a:lnTo>
                  <a:lnTo>
                    <a:pt x="1035" y="2696"/>
                  </a:lnTo>
                  <a:lnTo>
                    <a:pt x="1034" y="2685"/>
                  </a:lnTo>
                  <a:lnTo>
                    <a:pt x="1033" y="2673"/>
                  </a:lnTo>
                  <a:lnTo>
                    <a:pt x="1034" y="2662"/>
                  </a:lnTo>
                  <a:lnTo>
                    <a:pt x="1036" y="2657"/>
                  </a:lnTo>
                  <a:lnTo>
                    <a:pt x="1038" y="2651"/>
                  </a:lnTo>
                  <a:lnTo>
                    <a:pt x="1040" y="2646"/>
                  </a:lnTo>
                  <a:lnTo>
                    <a:pt x="1044" y="2640"/>
                  </a:lnTo>
                  <a:lnTo>
                    <a:pt x="1048" y="2634"/>
                  </a:lnTo>
                  <a:lnTo>
                    <a:pt x="1054" y="2629"/>
                  </a:lnTo>
                  <a:lnTo>
                    <a:pt x="1054" y="2629"/>
                  </a:lnTo>
                  <a:lnTo>
                    <a:pt x="1069" y="2616"/>
                  </a:lnTo>
                  <a:lnTo>
                    <a:pt x="1084" y="2603"/>
                  </a:lnTo>
                  <a:lnTo>
                    <a:pt x="1099" y="2591"/>
                  </a:lnTo>
                  <a:lnTo>
                    <a:pt x="1115" y="2579"/>
                  </a:lnTo>
                  <a:lnTo>
                    <a:pt x="1146" y="2559"/>
                  </a:lnTo>
                  <a:lnTo>
                    <a:pt x="1178" y="2540"/>
                  </a:lnTo>
                  <a:lnTo>
                    <a:pt x="1210" y="2524"/>
                  </a:lnTo>
                  <a:lnTo>
                    <a:pt x="1241" y="2509"/>
                  </a:lnTo>
                  <a:lnTo>
                    <a:pt x="1273" y="2494"/>
                  </a:lnTo>
                  <a:lnTo>
                    <a:pt x="1304" y="2482"/>
                  </a:lnTo>
                  <a:lnTo>
                    <a:pt x="1304" y="2482"/>
                  </a:lnTo>
                  <a:lnTo>
                    <a:pt x="1303" y="2486"/>
                  </a:lnTo>
                  <a:lnTo>
                    <a:pt x="1299" y="2498"/>
                  </a:lnTo>
                  <a:lnTo>
                    <a:pt x="1294" y="2518"/>
                  </a:lnTo>
                  <a:lnTo>
                    <a:pt x="1291" y="2541"/>
                  </a:lnTo>
                  <a:lnTo>
                    <a:pt x="1290" y="2556"/>
                  </a:lnTo>
                  <a:lnTo>
                    <a:pt x="1290" y="2570"/>
                  </a:lnTo>
                  <a:lnTo>
                    <a:pt x="1291" y="2585"/>
                  </a:lnTo>
                  <a:lnTo>
                    <a:pt x="1292" y="2602"/>
                  </a:lnTo>
                  <a:lnTo>
                    <a:pt x="1296" y="2618"/>
                  </a:lnTo>
                  <a:lnTo>
                    <a:pt x="1301" y="2634"/>
                  </a:lnTo>
                  <a:lnTo>
                    <a:pt x="1306" y="2652"/>
                  </a:lnTo>
                  <a:lnTo>
                    <a:pt x="1314" y="2669"/>
                  </a:lnTo>
                  <a:lnTo>
                    <a:pt x="1640" y="2585"/>
                  </a:lnTo>
                  <a:lnTo>
                    <a:pt x="1640" y="2585"/>
                  </a:lnTo>
                  <a:lnTo>
                    <a:pt x="1634" y="2569"/>
                  </a:lnTo>
                  <a:lnTo>
                    <a:pt x="1631" y="2553"/>
                  </a:lnTo>
                  <a:lnTo>
                    <a:pt x="1629" y="2535"/>
                  </a:lnTo>
                  <a:lnTo>
                    <a:pt x="1629" y="2518"/>
                  </a:lnTo>
                  <a:lnTo>
                    <a:pt x="1631" y="2500"/>
                  </a:lnTo>
                  <a:lnTo>
                    <a:pt x="1634" y="2483"/>
                  </a:lnTo>
                  <a:lnTo>
                    <a:pt x="1638" y="2466"/>
                  </a:lnTo>
                  <a:lnTo>
                    <a:pt x="1644" y="2447"/>
                  </a:lnTo>
                  <a:lnTo>
                    <a:pt x="1651" y="2430"/>
                  </a:lnTo>
                  <a:lnTo>
                    <a:pt x="1660" y="2411"/>
                  </a:lnTo>
                  <a:lnTo>
                    <a:pt x="1669" y="2394"/>
                  </a:lnTo>
                  <a:lnTo>
                    <a:pt x="1679" y="2377"/>
                  </a:lnTo>
                  <a:lnTo>
                    <a:pt x="1689" y="2359"/>
                  </a:lnTo>
                  <a:lnTo>
                    <a:pt x="1701" y="2342"/>
                  </a:lnTo>
                  <a:lnTo>
                    <a:pt x="1725" y="2310"/>
                  </a:lnTo>
                  <a:lnTo>
                    <a:pt x="1725" y="2310"/>
                  </a:lnTo>
                  <a:lnTo>
                    <a:pt x="1726" y="2309"/>
                  </a:lnTo>
                  <a:lnTo>
                    <a:pt x="1727" y="2309"/>
                  </a:lnTo>
                  <a:lnTo>
                    <a:pt x="1728" y="2313"/>
                  </a:lnTo>
                  <a:lnTo>
                    <a:pt x="1725" y="2335"/>
                  </a:lnTo>
                  <a:lnTo>
                    <a:pt x="1721" y="2368"/>
                  </a:lnTo>
                  <a:lnTo>
                    <a:pt x="1715" y="2410"/>
                  </a:lnTo>
                  <a:lnTo>
                    <a:pt x="1713" y="2433"/>
                  </a:lnTo>
                  <a:lnTo>
                    <a:pt x="1711" y="2456"/>
                  </a:lnTo>
                  <a:lnTo>
                    <a:pt x="1711" y="2478"/>
                  </a:lnTo>
                  <a:lnTo>
                    <a:pt x="1711" y="2499"/>
                  </a:lnTo>
                  <a:lnTo>
                    <a:pt x="1713" y="2519"/>
                  </a:lnTo>
                  <a:lnTo>
                    <a:pt x="1716" y="2536"/>
                  </a:lnTo>
                  <a:lnTo>
                    <a:pt x="1719" y="2544"/>
                  </a:lnTo>
                  <a:lnTo>
                    <a:pt x="1722" y="2551"/>
                  </a:lnTo>
                  <a:lnTo>
                    <a:pt x="1726" y="2557"/>
                  </a:lnTo>
                  <a:lnTo>
                    <a:pt x="1730" y="2562"/>
                  </a:lnTo>
                  <a:lnTo>
                    <a:pt x="2050" y="2479"/>
                  </a:lnTo>
                  <a:lnTo>
                    <a:pt x="2050" y="2479"/>
                  </a:lnTo>
                  <a:lnTo>
                    <a:pt x="2046" y="2469"/>
                  </a:lnTo>
                  <a:lnTo>
                    <a:pt x="2043" y="2457"/>
                  </a:lnTo>
                  <a:lnTo>
                    <a:pt x="2041" y="2446"/>
                  </a:lnTo>
                  <a:lnTo>
                    <a:pt x="2039" y="2434"/>
                  </a:lnTo>
                  <a:lnTo>
                    <a:pt x="2038" y="2422"/>
                  </a:lnTo>
                  <a:lnTo>
                    <a:pt x="2038" y="2409"/>
                  </a:lnTo>
                  <a:lnTo>
                    <a:pt x="2039" y="2383"/>
                  </a:lnTo>
                  <a:lnTo>
                    <a:pt x="2043" y="2356"/>
                  </a:lnTo>
                  <a:lnTo>
                    <a:pt x="2048" y="2330"/>
                  </a:lnTo>
                  <a:lnTo>
                    <a:pt x="2055" y="2303"/>
                  </a:lnTo>
                  <a:lnTo>
                    <a:pt x="2064" y="2279"/>
                  </a:lnTo>
                  <a:lnTo>
                    <a:pt x="2064" y="2279"/>
                  </a:lnTo>
                  <a:lnTo>
                    <a:pt x="2072" y="2306"/>
                  </a:lnTo>
                  <a:lnTo>
                    <a:pt x="2079" y="2335"/>
                  </a:lnTo>
                  <a:lnTo>
                    <a:pt x="2088" y="2362"/>
                  </a:lnTo>
                  <a:lnTo>
                    <a:pt x="2098" y="2390"/>
                  </a:lnTo>
                  <a:lnTo>
                    <a:pt x="2108" y="2417"/>
                  </a:lnTo>
                  <a:lnTo>
                    <a:pt x="2121" y="2443"/>
                  </a:lnTo>
                  <a:lnTo>
                    <a:pt x="2135" y="2469"/>
                  </a:lnTo>
                  <a:lnTo>
                    <a:pt x="2149" y="2494"/>
                  </a:lnTo>
                  <a:lnTo>
                    <a:pt x="2166" y="2519"/>
                  </a:lnTo>
                  <a:lnTo>
                    <a:pt x="2183" y="2541"/>
                  </a:lnTo>
                  <a:lnTo>
                    <a:pt x="2201" y="2563"/>
                  </a:lnTo>
                  <a:lnTo>
                    <a:pt x="2222" y="2583"/>
                  </a:lnTo>
                  <a:lnTo>
                    <a:pt x="2244" y="2603"/>
                  </a:lnTo>
                  <a:lnTo>
                    <a:pt x="2268" y="2619"/>
                  </a:lnTo>
                  <a:lnTo>
                    <a:pt x="2280" y="2627"/>
                  </a:lnTo>
                  <a:lnTo>
                    <a:pt x="2292" y="2634"/>
                  </a:lnTo>
                  <a:lnTo>
                    <a:pt x="2306" y="2641"/>
                  </a:lnTo>
                  <a:lnTo>
                    <a:pt x="2320" y="2648"/>
                  </a:lnTo>
                  <a:lnTo>
                    <a:pt x="2320" y="2648"/>
                  </a:lnTo>
                  <a:lnTo>
                    <a:pt x="2365" y="2667"/>
                  </a:lnTo>
                  <a:lnTo>
                    <a:pt x="2410" y="2685"/>
                  </a:lnTo>
                  <a:lnTo>
                    <a:pt x="2454" y="2702"/>
                  </a:lnTo>
                  <a:lnTo>
                    <a:pt x="2499" y="2718"/>
                  </a:lnTo>
                  <a:lnTo>
                    <a:pt x="2544" y="2733"/>
                  </a:lnTo>
                  <a:lnTo>
                    <a:pt x="2589" y="2749"/>
                  </a:lnTo>
                  <a:lnTo>
                    <a:pt x="2683" y="2778"/>
                  </a:lnTo>
                  <a:lnTo>
                    <a:pt x="2782" y="2807"/>
                  </a:lnTo>
                  <a:lnTo>
                    <a:pt x="2889" y="2838"/>
                  </a:lnTo>
                  <a:lnTo>
                    <a:pt x="3005" y="2872"/>
                  </a:lnTo>
                  <a:lnTo>
                    <a:pt x="3133" y="2908"/>
                  </a:lnTo>
                  <a:lnTo>
                    <a:pt x="3133" y="2908"/>
                  </a:lnTo>
                  <a:lnTo>
                    <a:pt x="3205" y="2931"/>
                  </a:lnTo>
                  <a:lnTo>
                    <a:pt x="3273" y="2954"/>
                  </a:lnTo>
                  <a:lnTo>
                    <a:pt x="3305" y="2966"/>
                  </a:lnTo>
                  <a:lnTo>
                    <a:pt x="3333" y="2977"/>
                  </a:lnTo>
                  <a:lnTo>
                    <a:pt x="3358" y="2987"/>
                  </a:lnTo>
                  <a:lnTo>
                    <a:pt x="3377" y="2996"/>
                  </a:lnTo>
                  <a:lnTo>
                    <a:pt x="3377" y="2996"/>
                  </a:lnTo>
                  <a:lnTo>
                    <a:pt x="3383" y="2999"/>
                  </a:lnTo>
                  <a:lnTo>
                    <a:pt x="3389" y="3003"/>
                  </a:lnTo>
                  <a:lnTo>
                    <a:pt x="3393" y="3006"/>
                  </a:lnTo>
                  <a:lnTo>
                    <a:pt x="3397" y="3011"/>
                  </a:lnTo>
                  <a:lnTo>
                    <a:pt x="3399" y="3015"/>
                  </a:lnTo>
                  <a:lnTo>
                    <a:pt x="3401" y="3020"/>
                  </a:lnTo>
                  <a:lnTo>
                    <a:pt x="3402" y="3024"/>
                  </a:lnTo>
                  <a:lnTo>
                    <a:pt x="3402" y="3028"/>
                  </a:lnTo>
                  <a:lnTo>
                    <a:pt x="3401" y="3037"/>
                  </a:lnTo>
                  <a:lnTo>
                    <a:pt x="3397" y="3046"/>
                  </a:lnTo>
                  <a:lnTo>
                    <a:pt x="3392" y="3055"/>
                  </a:lnTo>
                  <a:lnTo>
                    <a:pt x="3386" y="3064"/>
                  </a:lnTo>
                  <a:lnTo>
                    <a:pt x="3378" y="3072"/>
                  </a:lnTo>
                  <a:lnTo>
                    <a:pt x="3371" y="3080"/>
                  </a:lnTo>
                  <a:lnTo>
                    <a:pt x="3357" y="3092"/>
                  </a:lnTo>
                  <a:lnTo>
                    <a:pt x="3346" y="3102"/>
                  </a:lnTo>
                  <a:lnTo>
                    <a:pt x="3341" y="3105"/>
                  </a:lnTo>
                  <a:lnTo>
                    <a:pt x="3341" y="3105"/>
                  </a:lnTo>
                  <a:lnTo>
                    <a:pt x="3355" y="3113"/>
                  </a:lnTo>
                  <a:lnTo>
                    <a:pt x="3371" y="3121"/>
                  </a:lnTo>
                  <a:lnTo>
                    <a:pt x="3411" y="3139"/>
                  </a:lnTo>
                  <a:lnTo>
                    <a:pt x="3435" y="3152"/>
                  </a:lnTo>
                  <a:lnTo>
                    <a:pt x="3461" y="3167"/>
                  </a:lnTo>
                  <a:lnTo>
                    <a:pt x="3492" y="3186"/>
                  </a:lnTo>
                  <a:lnTo>
                    <a:pt x="3527" y="3211"/>
                  </a:lnTo>
                  <a:lnTo>
                    <a:pt x="3527" y="3211"/>
                  </a:lnTo>
                  <a:lnTo>
                    <a:pt x="3545" y="3226"/>
                  </a:lnTo>
                  <a:lnTo>
                    <a:pt x="3563" y="3244"/>
                  </a:lnTo>
                  <a:lnTo>
                    <a:pt x="3580" y="3263"/>
                  </a:lnTo>
                  <a:lnTo>
                    <a:pt x="3595" y="3284"/>
                  </a:lnTo>
                  <a:lnTo>
                    <a:pt x="3608" y="3305"/>
                  </a:lnTo>
                  <a:lnTo>
                    <a:pt x="3622" y="3329"/>
                  </a:lnTo>
                  <a:lnTo>
                    <a:pt x="3634" y="3352"/>
                  </a:lnTo>
                  <a:lnTo>
                    <a:pt x="3645" y="3378"/>
                  </a:lnTo>
                  <a:lnTo>
                    <a:pt x="3655" y="3404"/>
                  </a:lnTo>
                  <a:lnTo>
                    <a:pt x="3665" y="3432"/>
                  </a:lnTo>
                  <a:lnTo>
                    <a:pt x="3674" y="3460"/>
                  </a:lnTo>
                  <a:lnTo>
                    <a:pt x="3682" y="3489"/>
                  </a:lnTo>
                  <a:lnTo>
                    <a:pt x="3698" y="3549"/>
                  </a:lnTo>
                  <a:lnTo>
                    <a:pt x="3714" y="3612"/>
                  </a:lnTo>
                  <a:lnTo>
                    <a:pt x="3714" y="3612"/>
                  </a:lnTo>
                  <a:lnTo>
                    <a:pt x="3725" y="3662"/>
                  </a:lnTo>
                  <a:lnTo>
                    <a:pt x="3734" y="3715"/>
                  </a:lnTo>
                  <a:lnTo>
                    <a:pt x="3742" y="3768"/>
                  </a:lnTo>
                  <a:lnTo>
                    <a:pt x="3744" y="3795"/>
                  </a:lnTo>
                  <a:lnTo>
                    <a:pt x="3746" y="3819"/>
                  </a:lnTo>
                  <a:lnTo>
                    <a:pt x="3748" y="3844"/>
                  </a:lnTo>
                  <a:lnTo>
                    <a:pt x="3749" y="3867"/>
                  </a:lnTo>
                  <a:lnTo>
                    <a:pt x="3748" y="3889"/>
                  </a:lnTo>
                  <a:lnTo>
                    <a:pt x="3745" y="3909"/>
                  </a:lnTo>
                  <a:lnTo>
                    <a:pt x="3742" y="3928"/>
                  </a:lnTo>
                  <a:lnTo>
                    <a:pt x="3737" y="3944"/>
                  </a:lnTo>
                  <a:lnTo>
                    <a:pt x="3731" y="3957"/>
                  </a:lnTo>
                  <a:lnTo>
                    <a:pt x="3728" y="3963"/>
                  </a:lnTo>
                  <a:lnTo>
                    <a:pt x="3724" y="3969"/>
                  </a:lnTo>
                  <a:lnTo>
                    <a:pt x="3724" y="3969"/>
                  </a:lnTo>
                  <a:lnTo>
                    <a:pt x="3715" y="3979"/>
                  </a:lnTo>
                  <a:lnTo>
                    <a:pt x="3705" y="3989"/>
                  </a:lnTo>
                  <a:lnTo>
                    <a:pt x="3691" y="3998"/>
                  </a:lnTo>
                  <a:lnTo>
                    <a:pt x="3683" y="4003"/>
                  </a:lnTo>
                  <a:lnTo>
                    <a:pt x="3673" y="4008"/>
                  </a:lnTo>
                  <a:lnTo>
                    <a:pt x="3663" y="4014"/>
                  </a:lnTo>
                  <a:lnTo>
                    <a:pt x="3650" y="4019"/>
                  </a:lnTo>
                  <a:lnTo>
                    <a:pt x="3621" y="4028"/>
                  </a:lnTo>
                  <a:lnTo>
                    <a:pt x="3582" y="4038"/>
                  </a:lnTo>
                  <a:lnTo>
                    <a:pt x="3535" y="4048"/>
                  </a:lnTo>
                  <a:lnTo>
                    <a:pt x="3560" y="4171"/>
                  </a:lnTo>
                  <a:lnTo>
                    <a:pt x="3560" y="4171"/>
                  </a:lnTo>
                  <a:lnTo>
                    <a:pt x="3579" y="4172"/>
                  </a:lnTo>
                  <a:lnTo>
                    <a:pt x="3597" y="4172"/>
                  </a:lnTo>
                  <a:lnTo>
                    <a:pt x="3615" y="4171"/>
                  </a:lnTo>
                  <a:lnTo>
                    <a:pt x="3631" y="4169"/>
                  </a:lnTo>
                  <a:lnTo>
                    <a:pt x="3646" y="4167"/>
                  </a:lnTo>
                  <a:lnTo>
                    <a:pt x="3662" y="4164"/>
                  </a:lnTo>
                  <a:lnTo>
                    <a:pt x="3688" y="4157"/>
                  </a:lnTo>
                  <a:lnTo>
                    <a:pt x="3711" y="4150"/>
                  </a:lnTo>
                  <a:lnTo>
                    <a:pt x="3728" y="4143"/>
                  </a:lnTo>
                  <a:lnTo>
                    <a:pt x="3742" y="4137"/>
                  </a:lnTo>
                  <a:lnTo>
                    <a:pt x="3742" y="4137"/>
                  </a:lnTo>
                  <a:lnTo>
                    <a:pt x="3736" y="4143"/>
                  </a:lnTo>
                  <a:lnTo>
                    <a:pt x="3730" y="4151"/>
                  </a:lnTo>
                  <a:lnTo>
                    <a:pt x="3722" y="4161"/>
                  </a:lnTo>
                  <a:lnTo>
                    <a:pt x="3722" y="4161"/>
                  </a:lnTo>
                  <a:lnTo>
                    <a:pt x="3711" y="4177"/>
                  </a:lnTo>
                  <a:lnTo>
                    <a:pt x="3700" y="4194"/>
                  </a:lnTo>
                  <a:lnTo>
                    <a:pt x="3692" y="4209"/>
                  </a:lnTo>
                  <a:lnTo>
                    <a:pt x="3685" y="4224"/>
                  </a:lnTo>
                  <a:lnTo>
                    <a:pt x="3680" y="4240"/>
                  </a:lnTo>
                  <a:lnTo>
                    <a:pt x="3675" y="4257"/>
                  </a:lnTo>
                  <a:lnTo>
                    <a:pt x="3672" y="4274"/>
                  </a:lnTo>
                  <a:lnTo>
                    <a:pt x="3669" y="4295"/>
                  </a:lnTo>
                  <a:lnTo>
                    <a:pt x="3799" y="4379"/>
                  </a:lnTo>
                  <a:lnTo>
                    <a:pt x="3799" y="4379"/>
                  </a:lnTo>
                  <a:lnTo>
                    <a:pt x="3812" y="4338"/>
                  </a:lnTo>
                  <a:lnTo>
                    <a:pt x="3826" y="4298"/>
                  </a:lnTo>
                  <a:lnTo>
                    <a:pt x="3841" y="4262"/>
                  </a:lnTo>
                  <a:lnTo>
                    <a:pt x="3855" y="4229"/>
                  </a:lnTo>
                  <a:lnTo>
                    <a:pt x="3870" y="4202"/>
                  </a:lnTo>
                  <a:lnTo>
                    <a:pt x="3877" y="4189"/>
                  </a:lnTo>
                  <a:lnTo>
                    <a:pt x="3885" y="4179"/>
                  </a:lnTo>
                  <a:lnTo>
                    <a:pt x="3892" y="4170"/>
                  </a:lnTo>
                  <a:lnTo>
                    <a:pt x="3899" y="4163"/>
                  </a:lnTo>
                  <a:lnTo>
                    <a:pt x="3906" y="4158"/>
                  </a:lnTo>
                  <a:lnTo>
                    <a:pt x="3913" y="4154"/>
                  </a:lnTo>
                  <a:lnTo>
                    <a:pt x="3913" y="4154"/>
                  </a:lnTo>
                  <a:lnTo>
                    <a:pt x="3919" y="4152"/>
                  </a:lnTo>
                  <a:lnTo>
                    <a:pt x="3926" y="4152"/>
                  </a:lnTo>
                  <a:lnTo>
                    <a:pt x="3935" y="4152"/>
                  </a:lnTo>
                  <a:lnTo>
                    <a:pt x="3944" y="4153"/>
                  </a:lnTo>
                  <a:lnTo>
                    <a:pt x="3954" y="4155"/>
                  </a:lnTo>
                  <a:lnTo>
                    <a:pt x="3965" y="4157"/>
                  </a:lnTo>
                  <a:lnTo>
                    <a:pt x="3990" y="4166"/>
                  </a:lnTo>
                  <a:lnTo>
                    <a:pt x="4017" y="4177"/>
                  </a:lnTo>
                  <a:lnTo>
                    <a:pt x="4047" y="4192"/>
                  </a:lnTo>
                  <a:lnTo>
                    <a:pt x="4078" y="4212"/>
                  </a:lnTo>
                  <a:lnTo>
                    <a:pt x="4110" y="4233"/>
                  </a:lnTo>
                  <a:lnTo>
                    <a:pt x="4127" y="4246"/>
                  </a:lnTo>
                  <a:lnTo>
                    <a:pt x="4143" y="4259"/>
                  </a:lnTo>
                  <a:lnTo>
                    <a:pt x="4160" y="4273"/>
                  </a:lnTo>
                  <a:lnTo>
                    <a:pt x="4176" y="4288"/>
                  </a:lnTo>
                  <a:lnTo>
                    <a:pt x="4192" y="4303"/>
                  </a:lnTo>
                  <a:lnTo>
                    <a:pt x="4208" y="4319"/>
                  </a:lnTo>
                  <a:lnTo>
                    <a:pt x="4224" y="4337"/>
                  </a:lnTo>
                  <a:lnTo>
                    <a:pt x="4239" y="4355"/>
                  </a:lnTo>
                  <a:lnTo>
                    <a:pt x="4254" y="4373"/>
                  </a:lnTo>
                  <a:lnTo>
                    <a:pt x="4268" y="4393"/>
                  </a:lnTo>
                  <a:lnTo>
                    <a:pt x="4282" y="4413"/>
                  </a:lnTo>
                  <a:lnTo>
                    <a:pt x="4296" y="4435"/>
                  </a:lnTo>
                  <a:lnTo>
                    <a:pt x="4308" y="4456"/>
                  </a:lnTo>
                  <a:lnTo>
                    <a:pt x="4320" y="4479"/>
                  </a:lnTo>
                  <a:lnTo>
                    <a:pt x="4331" y="4502"/>
                  </a:lnTo>
                  <a:lnTo>
                    <a:pt x="4342" y="4527"/>
                  </a:lnTo>
                  <a:lnTo>
                    <a:pt x="4342" y="4527"/>
                  </a:lnTo>
                  <a:lnTo>
                    <a:pt x="4347" y="4541"/>
                  </a:lnTo>
                  <a:lnTo>
                    <a:pt x="4352" y="4558"/>
                  </a:lnTo>
                  <a:lnTo>
                    <a:pt x="4356" y="4574"/>
                  </a:lnTo>
                  <a:lnTo>
                    <a:pt x="4360" y="4591"/>
                  </a:lnTo>
                  <a:lnTo>
                    <a:pt x="4363" y="4610"/>
                  </a:lnTo>
                  <a:lnTo>
                    <a:pt x="4366" y="4628"/>
                  </a:lnTo>
                  <a:lnTo>
                    <a:pt x="4370" y="4667"/>
                  </a:lnTo>
                  <a:lnTo>
                    <a:pt x="4372" y="4706"/>
                  </a:lnTo>
                  <a:lnTo>
                    <a:pt x="4371" y="4747"/>
                  </a:lnTo>
                  <a:lnTo>
                    <a:pt x="4370" y="4767"/>
                  </a:lnTo>
                  <a:lnTo>
                    <a:pt x="4369" y="4787"/>
                  </a:lnTo>
                  <a:lnTo>
                    <a:pt x="4366" y="4807"/>
                  </a:lnTo>
                  <a:lnTo>
                    <a:pt x="4363" y="4826"/>
                  </a:lnTo>
                  <a:lnTo>
                    <a:pt x="4360" y="4846"/>
                  </a:lnTo>
                  <a:lnTo>
                    <a:pt x="4356" y="4864"/>
                  </a:lnTo>
                  <a:lnTo>
                    <a:pt x="4351" y="4883"/>
                  </a:lnTo>
                  <a:lnTo>
                    <a:pt x="4345" y="4900"/>
                  </a:lnTo>
                  <a:lnTo>
                    <a:pt x="4339" y="4917"/>
                  </a:lnTo>
                  <a:lnTo>
                    <a:pt x="4332" y="4933"/>
                  </a:lnTo>
                  <a:lnTo>
                    <a:pt x="4324" y="4948"/>
                  </a:lnTo>
                  <a:lnTo>
                    <a:pt x="4316" y="4962"/>
                  </a:lnTo>
                  <a:lnTo>
                    <a:pt x="4307" y="4976"/>
                  </a:lnTo>
                  <a:lnTo>
                    <a:pt x="4298" y="4988"/>
                  </a:lnTo>
                  <a:lnTo>
                    <a:pt x="4287" y="4999"/>
                  </a:lnTo>
                  <a:lnTo>
                    <a:pt x="4276" y="5008"/>
                  </a:lnTo>
                  <a:lnTo>
                    <a:pt x="4264" y="5017"/>
                  </a:lnTo>
                  <a:lnTo>
                    <a:pt x="4252" y="5024"/>
                  </a:lnTo>
                  <a:lnTo>
                    <a:pt x="4238" y="5029"/>
                  </a:lnTo>
                  <a:lnTo>
                    <a:pt x="4224" y="5032"/>
                  </a:lnTo>
                  <a:lnTo>
                    <a:pt x="4224" y="5032"/>
                  </a:lnTo>
                  <a:lnTo>
                    <a:pt x="4216" y="5033"/>
                  </a:lnTo>
                  <a:lnTo>
                    <a:pt x="4208" y="5033"/>
                  </a:lnTo>
                  <a:lnTo>
                    <a:pt x="4198" y="5032"/>
                  </a:lnTo>
                  <a:lnTo>
                    <a:pt x="4188" y="5030"/>
                  </a:lnTo>
                  <a:lnTo>
                    <a:pt x="4168" y="5025"/>
                  </a:lnTo>
                  <a:lnTo>
                    <a:pt x="4145" y="5017"/>
                  </a:lnTo>
                  <a:lnTo>
                    <a:pt x="4123" y="5006"/>
                  </a:lnTo>
                  <a:lnTo>
                    <a:pt x="4099" y="4995"/>
                  </a:lnTo>
                  <a:lnTo>
                    <a:pt x="4051" y="4973"/>
                  </a:lnTo>
                  <a:lnTo>
                    <a:pt x="4028" y="4961"/>
                  </a:lnTo>
                  <a:lnTo>
                    <a:pt x="4005" y="4952"/>
                  </a:lnTo>
                  <a:lnTo>
                    <a:pt x="3984" y="4945"/>
                  </a:lnTo>
                  <a:lnTo>
                    <a:pt x="3964" y="4940"/>
                  </a:lnTo>
                  <a:lnTo>
                    <a:pt x="3955" y="4939"/>
                  </a:lnTo>
                  <a:lnTo>
                    <a:pt x="3947" y="4938"/>
                  </a:lnTo>
                  <a:lnTo>
                    <a:pt x="3939" y="4939"/>
                  </a:lnTo>
                  <a:lnTo>
                    <a:pt x="3932" y="4940"/>
                  </a:lnTo>
                  <a:lnTo>
                    <a:pt x="3924" y="4943"/>
                  </a:lnTo>
                  <a:lnTo>
                    <a:pt x="3919" y="4947"/>
                  </a:lnTo>
                  <a:lnTo>
                    <a:pt x="3914" y="4952"/>
                  </a:lnTo>
                  <a:lnTo>
                    <a:pt x="3909" y="4958"/>
                  </a:lnTo>
                  <a:lnTo>
                    <a:pt x="3909" y="4958"/>
                  </a:lnTo>
                  <a:lnTo>
                    <a:pt x="3905" y="4965"/>
                  </a:lnTo>
                  <a:lnTo>
                    <a:pt x="3900" y="4973"/>
                  </a:lnTo>
                  <a:lnTo>
                    <a:pt x="3893" y="4979"/>
                  </a:lnTo>
                  <a:lnTo>
                    <a:pt x="3886" y="4985"/>
                  </a:lnTo>
                  <a:lnTo>
                    <a:pt x="3869" y="4996"/>
                  </a:lnTo>
                  <a:lnTo>
                    <a:pt x="3851" y="5006"/>
                  </a:lnTo>
                  <a:lnTo>
                    <a:pt x="3810" y="5028"/>
                  </a:lnTo>
                  <a:lnTo>
                    <a:pt x="3789" y="5039"/>
                  </a:lnTo>
                  <a:lnTo>
                    <a:pt x="3770" y="5052"/>
                  </a:lnTo>
                  <a:lnTo>
                    <a:pt x="3761" y="5058"/>
                  </a:lnTo>
                  <a:lnTo>
                    <a:pt x="3752" y="5067"/>
                  </a:lnTo>
                  <a:lnTo>
                    <a:pt x="3743" y="5074"/>
                  </a:lnTo>
                  <a:lnTo>
                    <a:pt x="3735" y="5083"/>
                  </a:lnTo>
                  <a:lnTo>
                    <a:pt x="3728" y="5092"/>
                  </a:lnTo>
                  <a:lnTo>
                    <a:pt x="3722" y="5102"/>
                  </a:lnTo>
                  <a:lnTo>
                    <a:pt x="3717" y="5113"/>
                  </a:lnTo>
                  <a:lnTo>
                    <a:pt x="3713" y="5125"/>
                  </a:lnTo>
                  <a:lnTo>
                    <a:pt x="3710" y="5137"/>
                  </a:lnTo>
                  <a:lnTo>
                    <a:pt x="3708" y="5151"/>
                  </a:lnTo>
                  <a:lnTo>
                    <a:pt x="3707" y="5165"/>
                  </a:lnTo>
                  <a:lnTo>
                    <a:pt x="3707" y="5181"/>
                  </a:lnTo>
                  <a:lnTo>
                    <a:pt x="3709" y="5198"/>
                  </a:lnTo>
                  <a:lnTo>
                    <a:pt x="3713" y="5215"/>
                  </a:lnTo>
                  <a:lnTo>
                    <a:pt x="3718" y="5234"/>
                  </a:lnTo>
                  <a:lnTo>
                    <a:pt x="3724" y="5255"/>
                  </a:lnTo>
                  <a:lnTo>
                    <a:pt x="3724" y="5255"/>
                  </a:lnTo>
                  <a:lnTo>
                    <a:pt x="3741" y="5234"/>
                  </a:lnTo>
                  <a:lnTo>
                    <a:pt x="3759" y="5213"/>
                  </a:lnTo>
                  <a:lnTo>
                    <a:pt x="3776" y="5194"/>
                  </a:lnTo>
                  <a:lnTo>
                    <a:pt x="3794" y="5178"/>
                  </a:lnTo>
                  <a:lnTo>
                    <a:pt x="3802" y="5171"/>
                  </a:lnTo>
                  <a:lnTo>
                    <a:pt x="3811" y="5165"/>
                  </a:lnTo>
                  <a:lnTo>
                    <a:pt x="3819" y="5159"/>
                  </a:lnTo>
                  <a:lnTo>
                    <a:pt x="3827" y="5155"/>
                  </a:lnTo>
                  <a:lnTo>
                    <a:pt x="3835" y="5153"/>
                  </a:lnTo>
                  <a:lnTo>
                    <a:pt x="3843" y="5151"/>
                  </a:lnTo>
                  <a:lnTo>
                    <a:pt x="3850" y="5151"/>
                  </a:lnTo>
                  <a:lnTo>
                    <a:pt x="3857" y="5153"/>
                  </a:lnTo>
                  <a:lnTo>
                    <a:pt x="3857" y="5153"/>
                  </a:lnTo>
                  <a:lnTo>
                    <a:pt x="3861" y="5155"/>
                  </a:lnTo>
                  <a:lnTo>
                    <a:pt x="3864" y="5157"/>
                  </a:lnTo>
                  <a:lnTo>
                    <a:pt x="3870" y="5163"/>
                  </a:lnTo>
                  <a:lnTo>
                    <a:pt x="3875" y="5171"/>
                  </a:lnTo>
                  <a:lnTo>
                    <a:pt x="3879" y="5179"/>
                  </a:lnTo>
                  <a:lnTo>
                    <a:pt x="3888" y="5200"/>
                  </a:lnTo>
                  <a:lnTo>
                    <a:pt x="3894" y="5210"/>
                  </a:lnTo>
                  <a:lnTo>
                    <a:pt x="3901" y="5220"/>
                  </a:lnTo>
                  <a:lnTo>
                    <a:pt x="3901" y="5220"/>
                  </a:lnTo>
                  <a:lnTo>
                    <a:pt x="3904" y="5223"/>
                  </a:lnTo>
                  <a:lnTo>
                    <a:pt x="3908" y="5225"/>
                  </a:lnTo>
                  <a:lnTo>
                    <a:pt x="3913" y="5227"/>
                  </a:lnTo>
                  <a:lnTo>
                    <a:pt x="3919" y="5228"/>
                  </a:lnTo>
                  <a:lnTo>
                    <a:pt x="3934" y="5230"/>
                  </a:lnTo>
                  <a:lnTo>
                    <a:pt x="3950" y="5230"/>
                  </a:lnTo>
                  <a:lnTo>
                    <a:pt x="3968" y="5229"/>
                  </a:lnTo>
                  <a:lnTo>
                    <a:pt x="3989" y="5227"/>
                  </a:lnTo>
                  <a:lnTo>
                    <a:pt x="4032" y="5223"/>
                  </a:lnTo>
                  <a:lnTo>
                    <a:pt x="4074" y="5219"/>
                  </a:lnTo>
                  <a:lnTo>
                    <a:pt x="4093" y="5217"/>
                  </a:lnTo>
                  <a:lnTo>
                    <a:pt x="4110" y="5217"/>
                  </a:lnTo>
                  <a:lnTo>
                    <a:pt x="4126" y="5217"/>
                  </a:lnTo>
                  <a:lnTo>
                    <a:pt x="4137" y="5219"/>
                  </a:lnTo>
                  <a:lnTo>
                    <a:pt x="4142" y="5221"/>
                  </a:lnTo>
                  <a:lnTo>
                    <a:pt x="4146" y="5223"/>
                  </a:lnTo>
                  <a:lnTo>
                    <a:pt x="4148" y="5225"/>
                  </a:lnTo>
                  <a:lnTo>
                    <a:pt x="4150" y="5228"/>
                  </a:lnTo>
                  <a:lnTo>
                    <a:pt x="4150" y="5228"/>
                  </a:lnTo>
                  <a:lnTo>
                    <a:pt x="4151" y="5231"/>
                  </a:lnTo>
                  <a:lnTo>
                    <a:pt x="4150" y="5234"/>
                  </a:lnTo>
                  <a:lnTo>
                    <a:pt x="4149" y="5236"/>
                  </a:lnTo>
                  <a:lnTo>
                    <a:pt x="4148" y="5238"/>
                  </a:lnTo>
                  <a:lnTo>
                    <a:pt x="4143" y="5242"/>
                  </a:lnTo>
                  <a:lnTo>
                    <a:pt x="4136" y="5243"/>
                  </a:lnTo>
                  <a:lnTo>
                    <a:pt x="4118" y="5246"/>
                  </a:lnTo>
                  <a:lnTo>
                    <a:pt x="4100" y="5248"/>
                  </a:lnTo>
                  <a:lnTo>
                    <a:pt x="4100" y="5248"/>
                  </a:lnTo>
                  <a:lnTo>
                    <a:pt x="4021" y="5262"/>
                  </a:lnTo>
                  <a:lnTo>
                    <a:pt x="3981" y="5269"/>
                  </a:lnTo>
                  <a:lnTo>
                    <a:pt x="3943" y="5277"/>
                  </a:lnTo>
                  <a:lnTo>
                    <a:pt x="3925" y="5282"/>
                  </a:lnTo>
                  <a:lnTo>
                    <a:pt x="3909" y="5288"/>
                  </a:lnTo>
                  <a:lnTo>
                    <a:pt x="3894" y="5294"/>
                  </a:lnTo>
                  <a:lnTo>
                    <a:pt x="3881" y="5300"/>
                  </a:lnTo>
                  <a:lnTo>
                    <a:pt x="3869" y="5306"/>
                  </a:lnTo>
                  <a:lnTo>
                    <a:pt x="3860" y="5314"/>
                  </a:lnTo>
                  <a:lnTo>
                    <a:pt x="3853" y="5322"/>
                  </a:lnTo>
                  <a:lnTo>
                    <a:pt x="3850" y="5326"/>
                  </a:lnTo>
                  <a:lnTo>
                    <a:pt x="3848" y="5331"/>
                  </a:lnTo>
                  <a:lnTo>
                    <a:pt x="3848" y="5331"/>
                  </a:lnTo>
                  <a:lnTo>
                    <a:pt x="3846" y="5338"/>
                  </a:lnTo>
                  <a:lnTo>
                    <a:pt x="3846" y="5342"/>
                  </a:lnTo>
                  <a:lnTo>
                    <a:pt x="3847" y="5352"/>
                  </a:lnTo>
                  <a:lnTo>
                    <a:pt x="3847" y="5357"/>
                  </a:lnTo>
                  <a:lnTo>
                    <a:pt x="3846" y="5363"/>
                  </a:lnTo>
                  <a:lnTo>
                    <a:pt x="3845" y="5371"/>
                  </a:lnTo>
                  <a:lnTo>
                    <a:pt x="3842" y="5382"/>
                  </a:lnTo>
                  <a:lnTo>
                    <a:pt x="3842" y="5382"/>
                  </a:lnTo>
                  <a:lnTo>
                    <a:pt x="3837" y="5393"/>
                  </a:lnTo>
                  <a:lnTo>
                    <a:pt x="3831" y="5402"/>
                  </a:lnTo>
                  <a:lnTo>
                    <a:pt x="3823" y="5410"/>
                  </a:lnTo>
                  <a:lnTo>
                    <a:pt x="3815" y="5418"/>
                  </a:lnTo>
                  <a:lnTo>
                    <a:pt x="3796" y="5434"/>
                  </a:lnTo>
                  <a:lnTo>
                    <a:pt x="3786" y="5442"/>
                  </a:lnTo>
                  <a:lnTo>
                    <a:pt x="3776" y="5451"/>
                  </a:lnTo>
                  <a:lnTo>
                    <a:pt x="3767" y="5460"/>
                  </a:lnTo>
                  <a:lnTo>
                    <a:pt x="3758" y="5472"/>
                  </a:lnTo>
                  <a:lnTo>
                    <a:pt x="3750" y="5485"/>
                  </a:lnTo>
                  <a:lnTo>
                    <a:pt x="3742" y="5499"/>
                  </a:lnTo>
                  <a:lnTo>
                    <a:pt x="3736" y="5517"/>
                  </a:lnTo>
                  <a:lnTo>
                    <a:pt x="3732" y="5536"/>
                  </a:lnTo>
                  <a:lnTo>
                    <a:pt x="3730" y="5558"/>
                  </a:lnTo>
                  <a:lnTo>
                    <a:pt x="3730" y="5584"/>
                  </a:lnTo>
                  <a:lnTo>
                    <a:pt x="3730" y="5584"/>
                  </a:lnTo>
                  <a:lnTo>
                    <a:pt x="3732" y="5597"/>
                  </a:lnTo>
                  <a:lnTo>
                    <a:pt x="3735" y="5610"/>
                  </a:lnTo>
                  <a:lnTo>
                    <a:pt x="3739" y="5622"/>
                  </a:lnTo>
                  <a:lnTo>
                    <a:pt x="3744" y="5634"/>
                  </a:lnTo>
                  <a:lnTo>
                    <a:pt x="3751" y="5644"/>
                  </a:lnTo>
                  <a:lnTo>
                    <a:pt x="3757" y="5656"/>
                  </a:lnTo>
                  <a:lnTo>
                    <a:pt x="3763" y="5665"/>
                  </a:lnTo>
                  <a:lnTo>
                    <a:pt x="3770" y="5674"/>
                  </a:lnTo>
                  <a:lnTo>
                    <a:pt x="3784" y="5689"/>
                  </a:lnTo>
                  <a:lnTo>
                    <a:pt x="3797" y="5701"/>
                  </a:lnTo>
                  <a:lnTo>
                    <a:pt x="3807" y="5708"/>
                  </a:lnTo>
                  <a:lnTo>
                    <a:pt x="3810" y="5710"/>
                  </a:lnTo>
                  <a:lnTo>
                    <a:pt x="3813" y="5711"/>
                  </a:lnTo>
                  <a:lnTo>
                    <a:pt x="3813" y="5711"/>
                  </a:lnTo>
                  <a:lnTo>
                    <a:pt x="3814" y="5710"/>
                  </a:lnTo>
                  <a:lnTo>
                    <a:pt x="3815" y="5709"/>
                  </a:lnTo>
                  <a:lnTo>
                    <a:pt x="3816" y="5704"/>
                  </a:lnTo>
                  <a:lnTo>
                    <a:pt x="3818" y="5696"/>
                  </a:lnTo>
                  <a:lnTo>
                    <a:pt x="3818" y="5686"/>
                  </a:lnTo>
                  <a:lnTo>
                    <a:pt x="3820" y="5662"/>
                  </a:lnTo>
                  <a:lnTo>
                    <a:pt x="3823" y="5633"/>
                  </a:lnTo>
                  <a:lnTo>
                    <a:pt x="3825" y="5619"/>
                  </a:lnTo>
                  <a:lnTo>
                    <a:pt x="3828" y="5603"/>
                  </a:lnTo>
                  <a:lnTo>
                    <a:pt x="3831" y="5590"/>
                  </a:lnTo>
                  <a:lnTo>
                    <a:pt x="3836" y="5577"/>
                  </a:lnTo>
                  <a:lnTo>
                    <a:pt x="3843" y="5566"/>
                  </a:lnTo>
                  <a:lnTo>
                    <a:pt x="3847" y="5562"/>
                  </a:lnTo>
                  <a:lnTo>
                    <a:pt x="3851" y="5556"/>
                  </a:lnTo>
                  <a:lnTo>
                    <a:pt x="3855" y="5553"/>
                  </a:lnTo>
                  <a:lnTo>
                    <a:pt x="3860" y="5550"/>
                  </a:lnTo>
                  <a:lnTo>
                    <a:pt x="3865" y="5547"/>
                  </a:lnTo>
                  <a:lnTo>
                    <a:pt x="3871" y="5546"/>
                  </a:lnTo>
                  <a:lnTo>
                    <a:pt x="3871" y="5546"/>
                  </a:lnTo>
                  <a:lnTo>
                    <a:pt x="3877" y="5545"/>
                  </a:lnTo>
                  <a:lnTo>
                    <a:pt x="3882" y="5546"/>
                  </a:lnTo>
                  <a:lnTo>
                    <a:pt x="3888" y="5548"/>
                  </a:lnTo>
                  <a:lnTo>
                    <a:pt x="3892" y="5552"/>
                  </a:lnTo>
                  <a:lnTo>
                    <a:pt x="3902" y="5561"/>
                  </a:lnTo>
                  <a:lnTo>
                    <a:pt x="3911" y="5571"/>
                  </a:lnTo>
                  <a:lnTo>
                    <a:pt x="3921" y="5581"/>
                  </a:lnTo>
                  <a:lnTo>
                    <a:pt x="3926" y="5586"/>
                  </a:lnTo>
                  <a:lnTo>
                    <a:pt x="3933" y="5590"/>
                  </a:lnTo>
                  <a:lnTo>
                    <a:pt x="3940" y="5594"/>
                  </a:lnTo>
                  <a:lnTo>
                    <a:pt x="3946" y="5597"/>
                  </a:lnTo>
                  <a:lnTo>
                    <a:pt x="3954" y="5598"/>
                  </a:lnTo>
                  <a:lnTo>
                    <a:pt x="3962" y="5599"/>
                  </a:lnTo>
                  <a:lnTo>
                    <a:pt x="3962" y="5599"/>
                  </a:lnTo>
                  <a:lnTo>
                    <a:pt x="3970" y="5598"/>
                  </a:lnTo>
                  <a:lnTo>
                    <a:pt x="3979" y="5595"/>
                  </a:lnTo>
                  <a:lnTo>
                    <a:pt x="3987" y="5592"/>
                  </a:lnTo>
                  <a:lnTo>
                    <a:pt x="3996" y="5588"/>
                  </a:lnTo>
                  <a:lnTo>
                    <a:pt x="4005" y="5582"/>
                  </a:lnTo>
                  <a:lnTo>
                    <a:pt x="4014" y="5576"/>
                  </a:lnTo>
                  <a:lnTo>
                    <a:pt x="4035" y="5559"/>
                  </a:lnTo>
                  <a:lnTo>
                    <a:pt x="4055" y="5542"/>
                  </a:lnTo>
                  <a:lnTo>
                    <a:pt x="4077" y="5522"/>
                  </a:lnTo>
                  <a:lnTo>
                    <a:pt x="4122" y="5479"/>
                  </a:lnTo>
                  <a:lnTo>
                    <a:pt x="4144" y="5457"/>
                  </a:lnTo>
                  <a:lnTo>
                    <a:pt x="4166" y="5437"/>
                  </a:lnTo>
                  <a:lnTo>
                    <a:pt x="4187" y="5417"/>
                  </a:lnTo>
                  <a:lnTo>
                    <a:pt x="4208" y="5402"/>
                  </a:lnTo>
                  <a:lnTo>
                    <a:pt x="4227" y="5389"/>
                  </a:lnTo>
                  <a:lnTo>
                    <a:pt x="4236" y="5384"/>
                  </a:lnTo>
                  <a:lnTo>
                    <a:pt x="4245" y="5380"/>
                  </a:lnTo>
                  <a:lnTo>
                    <a:pt x="4254" y="5376"/>
                  </a:lnTo>
                  <a:lnTo>
                    <a:pt x="4262" y="5374"/>
                  </a:lnTo>
                  <a:lnTo>
                    <a:pt x="4270" y="5374"/>
                  </a:lnTo>
                  <a:lnTo>
                    <a:pt x="4277" y="5375"/>
                  </a:lnTo>
                  <a:lnTo>
                    <a:pt x="4277" y="5375"/>
                  </a:lnTo>
                  <a:lnTo>
                    <a:pt x="4278" y="5376"/>
                  </a:lnTo>
                  <a:lnTo>
                    <a:pt x="4279" y="5379"/>
                  </a:lnTo>
                  <a:lnTo>
                    <a:pt x="4278" y="5382"/>
                  </a:lnTo>
                  <a:lnTo>
                    <a:pt x="4277" y="5384"/>
                  </a:lnTo>
                  <a:lnTo>
                    <a:pt x="4272" y="5391"/>
                  </a:lnTo>
                  <a:lnTo>
                    <a:pt x="4264" y="5399"/>
                  </a:lnTo>
                  <a:lnTo>
                    <a:pt x="4241" y="5420"/>
                  </a:lnTo>
                  <a:lnTo>
                    <a:pt x="4212" y="5447"/>
                  </a:lnTo>
                  <a:lnTo>
                    <a:pt x="4181" y="5477"/>
                  </a:lnTo>
                  <a:lnTo>
                    <a:pt x="4167" y="5492"/>
                  </a:lnTo>
                  <a:lnTo>
                    <a:pt x="4152" y="5508"/>
                  </a:lnTo>
                  <a:lnTo>
                    <a:pt x="4140" y="5525"/>
                  </a:lnTo>
                  <a:lnTo>
                    <a:pt x="4129" y="5542"/>
                  </a:lnTo>
                  <a:lnTo>
                    <a:pt x="4121" y="5558"/>
                  </a:lnTo>
                  <a:lnTo>
                    <a:pt x="4118" y="5567"/>
                  </a:lnTo>
                  <a:lnTo>
                    <a:pt x="4116" y="5576"/>
                  </a:lnTo>
                  <a:lnTo>
                    <a:pt x="4116" y="5576"/>
                  </a:lnTo>
                  <a:lnTo>
                    <a:pt x="4114" y="5588"/>
                  </a:lnTo>
                  <a:lnTo>
                    <a:pt x="4114" y="5599"/>
                  </a:lnTo>
                  <a:lnTo>
                    <a:pt x="4115" y="5611"/>
                  </a:lnTo>
                  <a:lnTo>
                    <a:pt x="4119" y="5620"/>
                  </a:lnTo>
                  <a:lnTo>
                    <a:pt x="4123" y="5628"/>
                  </a:lnTo>
                  <a:lnTo>
                    <a:pt x="4129" y="5636"/>
                  </a:lnTo>
                  <a:lnTo>
                    <a:pt x="4135" y="5643"/>
                  </a:lnTo>
                  <a:lnTo>
                    <a:pt x="4142" y="5649"/>
                  </a:lnTo>
                  <a:lnTo>
                    <a:pt x="4157" y="5663"/>
                  </a:lnTo>
                  <a:lnTo>
                    <a:pt x="4163" y="5669"/>
                  </a:lnTo>
                  <a:lnTo>
                    <a:pt x="4169" y="5676"/>
                  </a:lnTo>
                  <a:lnTo>
                    <a:pt x="4175" y="5683"/>
                  </a:lnTo>
                  <a:lnTo>
                    <a:pt x="4179" y="5690"/>
                  </a:lnTo>
                  <a:lnTo>
                    <a:pt x="4182" y="5699"/>
                  </a:lnTo>
                  <a:lnTo>
                    <a:pt x="4183" y="5708"/>
                  </a:lnTo>
                  <a:lnTo>
                    <a:pt x="4183" y="5708"/>
                  </a:lnTo>
                  <a:lnTo>
                    <a:pt x="4184" y="5718"/>
                  </a:lnTo>
                  <a:lnTo>
                    <a:pt x="4186" y="5729"/>
                  </a:lnTo>
                  <a:lnTo>
                    <a:pt x="4189" y="5738"/>
                  </a:lnTo>
                  <a:lnTo>
                    <a:pt x="4193" y="5749"/>
                  </a:lnTo>
                  <a:lnTo>
                    <a:pt x="4198" y="5758"/>
                  </a:lnTo>
                  <a:lnTo>
                    <a:pt x="4205" y="5767"/>
                  </a:lnTo>
                  <a:lnTo>
                    <a:pt x="4212" y="5775"/>
                  </a:lnTo>
                  <a:lnTo>
                    <a:pt x="4220" y="5783"/>
                  </a:lnTo>
                  <a:lnTo>
                    <a:pt x="4228" y="5792"/>
                  </a:lnTo>
                  <a:lnTo>
                    <a:pt x="4237" y="5799"/>
                  </a:lnTo>
                  <a:lnTo>
                    <a:pt x="4257" y="5812"/>
                  </a:lnTo>
                  <a:lnTo>
                    <a:pt x="4278" y="5824"/>
                  </a:lnTo>
                  <a:lnTo>
                    <a:pt x="4300" y="5835"/>
                  </a:lnTo>
                  <a:lnTo>
                    <a:pt x="4322" y="5844"/>
                  </a:lnTo>
                  <a:lnTo>
                    <a:pt x="4344" y="5852"/>
                  </a:lnTo>
                  <a:lnTo>
                    <a:pt x="4364" y="5857"/>
                  </a:lnTo>
                  <a:lnTo>
                    <a:pt x="4382" y="5862"/>
                  </a:lnTo>
                  <a:lnTo>
                    <a:pt x="4399" y="5864"/>
                  </a:lnTo>
                  <a:lnTo>
                    <a:pt x="4412" y="5865"/>
                  </a:lnTo>
                  <a:lnTo>
                    <a:pt x="4421" y="5865"/>
                  </a:lnTo>
                  <a:lnTo>
                    <a:pt x="4424" y="5864"/>
                  </a:lnTo>
                  <a:lnTo>
                    <a:pt x="4426" y="5863"/>
                  </a:lnTo>
                  <a:lnTo>
                    <a:pt x="4426" y="5863"/>
                  </a:lnTo>
                  <a:lnTo>
                    <a:pt x="4427" y="5861"/>
                  </a:lnTo>
                  <a:lnTo>
                    <a:pt x="4427" y="5859"/>
                  </a:lnTo>
                  <a:lnTo>
                    <a:pt x="4425" y="5853"/>
                  </a:lnTo>
                  <a:lnTo>
                    <a:pt x="4420" y="5846"/>
                  </a:lnTo>
                  <a:lnTo>
                    <a:pt x="4412" y="5836"/>
                  </a:lnTo>
                  <a:lnTo>
                    <a:pt x="4393" y="5813"/>
                  </a:lnTo>
                  <a:lnTo>
                    <a:pt x="4369" y="5786"/>
                  </a:lnTo>
                  <a:lnTo>
                    <a:pt x="4358" y="5773"/>
                  </a:lnTo>
                  <a:lnTo>
                    <a:pt x="4348" y="5759"/>
                  </a:lnTo>
                  <a:lnTo>
                    <a:pt x="4339" y="5745"/>
                  </a:lnTo>
                  <a:lnTo>
                    <a:pt x="4330" y="5731"/>
                  </a:lnTo>
                  <a:lnTo>
                    <a:pt x="4325" y="5718"/>
                  </a:lnTo>
                  <a:lnTo>
                    <a:pt x="4324" y="5712"/>
                  </a:lnTo>
                  <a:lnTo>
                    <a:pt x="4323" y="5706"/>
                  </a:lnTo>
                  <a:lnTo>
                    <a:pt x="4323" y="5700"/>
                  </a:lnTo>
                  <a:lnTo>
                    <a:pt x="4324" y="5694"/>
                  </a:lnTo>
                  <a:lnTo>
                    <a:pt x="4326" y="5689"/>
                  </a:lnTo>
                  <a:lnTo>
                    <a:pt x="4329" y="5684"/>
                  </a:lnTo>
                  <a:lnTo>
                    <a:pt x="4329" y="5684"/>
                  </a:lnTo>
                  <a:lnTo>
                    <a:pt x="4333" y="5680"/>
                  </a:lnTo>
                  <a:lnTo>
                    <a:pt x="4337" y="5677"/>
                  </a:lnTo>
                  <a:lnTo>
                    <a:pt x="4343" y="5676"/>
                  </a:lnTo>
                  <a:lnTo>
                    <a:pt x="4347" y="5675"/>
                  </a:lnTo>
                  <a:lnTo>
                    <a:pt x="4352" y="5675"/>
                  </a:lnTo>
                  <a:lnTo>
                    <a:pt x="4358" y="5676"/>
                  </a:lnTo>
                  <a:lnTo>
                    <a:pt x="4370" y="5678"/>
                  </a:lnTo>
                  <a:lnTo>
                    <a:pt x="4384" y="5681"/>
                  </a:lnTo>
                  <a:lnTo>
                    <a:pt x="4392" y="5682"/>
                  </a:lnTo>
                  <a:lnTo>
                    <a:pt x="4399" y="5682"/>
                  </a:lnTo>
                  <a:lnTo>
                    <a:pt x="4408" y="5682"/>
                  </a:lnTo>
                  <a:lnTo>
                    <a:pt x="4416" y="5681"/>
                  </a:lnTo>
                  <a:lnTo>
                    <a:pt x="4425" y="5679"/>
                  </a:lnTo>
                  <a:lnTo>
                    <a:pt x="4436" y="5675"/>
                  </a:lnTo>
                  <a:lnTo>
                    <a:pt x="4436" y="5675"/>
                  </a:lnTo>
                  <a:lnTo>
                    <a:pt x="4437" y="5673"/>
                  </a:lnTo>
                  <a:lnTo>
                    <a:pt x="4438" y="5670"/>
                  </a:lnTo>
                  <a:lnTo>
                    <a:pt x="4438" y="5663"/>
                  </a:lnTo>
                  <a:lnTo>
                    <a:pt x="4436" y="5652"/>
                  </a:lnTo>
                  <a:lnTo>
                    <a:pt x="4434" y="5637"/>
                  </a:lnTo>
                  <a:lnTo>
                    <a:pt x="4431" y="5621"/>
                  </a:lnTo>
                  <a:lnTo>
                    <a:pt x="4428" y="5602"/>
                  </a:lnTo>
                  <a:lnTo>
                    <a:pt x="4426" y="5581"/>
                  </a:lnTo>
                  <a:lnTo>
                    <a:pt x="4426" y="5557"/>
                  </a:lnTo>
                  <a:lnTo>
                    <a:pt x="4428" y="5533"/>
                  </a:lnTo>
                  <a:lnTo>
                    <a:pt x="4431" y="5520"/>
                  </a:lnTo>
                  <a:lnTo>
                    <a:pt x="4434" y="5505"/>
                  </a:lnTo>
                  <a:lnTo>
                    <a:pt x="4437" y="5492"/>
                  </a:lnTo>
                  <a:lnTo>
                    <a:pt x="4441" y="5477"/>
                  </a:lnTo>
                  <a:lnTo>
                    <a:pt x="4446" y="5462"/>
                  </a:lnTo>
                  <a:lnTo>
                    <a:pt x="4453" y="5447"/>
                  </a:lnTo>
                  <a:lnTo>
                    <a:pt x="4460" y="5432"/>
                  </a:lnTo>
                  <a:lnTo>
                    <a:pt x="4469" y="5416"/>
                  </a:lnTo>
                  <a:lnTo>
                    <a:pt x="4479" y="5400"/>
                  </a:lnTo>
                  <a:lnTo>
                    <a:pt x="4490" y="5384"/>
                  </a:lnTo>
                  <a:lnTo>
                    <a:pt x="4503" y="5367"/>
                  </a:lnTo>
                  <a:lnTo>
                    <a:pt x="4516" y="5351"/>
                  </a:lnTo>
                  <a:lnTo>
                    <a:pt x="4533" y="5334"/>
                  </a:lnTo>
                  <a:lnTo>
                    <a:pt x="4550" y="5317"/>
                  </a:lnTo>
                  <a:lnTo>
                    <a:pt x="4550" y="5317"/>
                  </a:lnTo>
                  <a:lnTo>
                    <a:pt x="4557" y="5328"/>
                  </a:lnTo>
                  <a:lnTo>
                    <a:pt x="4566" y="5340"/>
                  </a:lnTo>
                  <a:lnTo>
                    <a:pt x="4578" y="5353"/>
                  </a:lnTo>
                  <a:lnTo>
                    <a:pt x="4586" y="5360"/>
                  </a:lnTo>
                  <a:lnTo>
                    <a:pt x="4594" y="5367"/>
                  </a:lnTo>
                  <a:lnTo>
                    <a:pt x="4603" y="5373"/>
                  </a:lnTo>
                  <a:lnTo>
                    <a:pt x="4614" y="5381"/>
                  </a:lnTo>
                  <a:lnTo>
                    <a:pt x="4624" y="5386"/>
                  </a:lnTo>
                  <a:lnTo>
                    <a:pt x="4636" y="5390"/>
                  </a:lnTo>
                  <a:lnTo>
                    <a:pt x="4648" y="5394"/>
                  </a:lnTo>
                  <a:lnTo>
                    <a:pt x="4662" y="5396"/>
                  </a:lnTo>
                  <a:lnTo>
                    <a:pt x="4662" y="5396"/>
                  </a:lnTo>
                  <a:lnTo>
                    <a:pt x="4668" y="5397"/>
                  </a:lnTo>
                  <a:lnTo>
                    <a:pt x="4673" y="5399"/>
                  </a:lnTo>
                  <a:lnTo>
                    <a:pt x="4677" y="5402"/>
                  </a:lnTo>
                  <a:lnTo>
                    <a:pt x="4681" y="5405"/>
                  </a:lnTo>
                  <a:lnTo>
                    <a:pt x="4685" y="5409"/>
                  </a:lnTo>
                  <a:lnTo>
                    <a:pt x="4688" y="5413"/>
                  </a:lnTo>
                  <a:lnTo>
                    <a:pt x="4692" y="5425"/>
                  </a:lnTo>
                  <a:lnTo>
                    <a:pt x="4696" y="5437"/>
                  </a:lnTo>
                  <a:lnTo>
                    <a:pt x="4698" y="5450"/>
                  </a:lnTo>
                  <a:lnTo>
                    <a:pt x="4698" y="5463"/>
                  </a:lnTo>
                  <a:lnTo>
                    <a:pt x="4698" y="5478"/>
                  </a:lnTo>
                  <a:lnTo>
                    <a:pt x="4696" y="5506"/>
                  </a:lnTo>
                  <a:lnTo>
                    <a:pt x="4694" y="5531"/>
                  </a:lnTo>
                  <a:lnTo>
                    <a:pt x="4692" y="5548"/>
                  </a:lnTo>
                  <a:lnTo>
                    <a:pt x="4692" y="5553"/>
                  </a:lnTo>
                  <a:lnTo>
                    <a:pt x="4693" y="5554"/>
                  </a:lnTo>
                  <a:lnTo>
                    <a:pt x="4694" y="5554"/>
                  </a:lnTo>
                  <a:lnTo>
                    <a:pt x="4694" y="5554"/>
                  </a:lnTo>
                  <a:lnTo>
                    <a:pt x="4697" y="5553"/>
                  </a:lnTo>
                  <a:lnTo>
                    <a:pt x="4702" y="5550"/>
                  </a:lnTo>
                  <a:lnTo>
                    <a:pt x="4708" y="5545"/>
                  </a:lnTo>
                  <a:lnTo>
                    <a:pt x="4714" y="5538"/>
                  </a:lnTo>
                  <a:lnTo>
                    <a:pt x="4721" y="5529"/>
                  </a:lnTo>
                  <a:lnTo>
                    <a:pt x="4729" y="5519"/>
                  </a:lnTo>
                  <a:lnTo>
                    <a:pt x="4736" y="5505"/>
                  </a:lnTo>
                  <a:lnTo>
                    <a:pt x="4743" y="5492"/>
                  </a:lnTo>
                  <a:lnTo>
                    <a:pt x="4751" y="5477"/>
                  </a:lnTo>
                  <a:lnTo>
                    <a:pt x="4758" y="5459"/>
                  </a:lnTo>
                  <a:lnTo>
                    <a:pt x="4763" y="5442"/>
                  </a:lnTo>
                  <a:lnTo>
                    <a:pt x="4768" y="5422"/>
                  </a:lnTo>
                  <a:lnTo>
                    <a:pt x="4771" y="5402"/>
                  </a:lnTo>
                  <a:lnTo>
                    <a:pt x="4773" y="5382"/>
                  </a:lnTo>
                  <a:lnTo>
                    <a:pt x="4772" y="5360"/>
                  </a:lnTo>
                  <a:lnTo>
                    <a:pt x="4770" y="5338"/>
                  </a:lnTo>
                  <a:lnTo>
                    <a:pt x="4770" y="5338"/>
                  </a:lnTo>
                  <a:lnTo>
                    <a:pt x="4778" y="5330"/>
                  </a:lnTo>
                  <a:lnTo>
                    <a:pt x="4798" y="5313"/>
                  </a:lnTo>
                  <a:lnTo>
                    <a:pt x="4809" y="5302"/>
                  </a:lnTo>
                  <a:lnTo>
                    <a:pt x="4819" y="5290"/>
                  </a:lnTo>
                  <a:lnTo>
                    <a:pt x="4827" y="5276"/>
                  </a:lnTo>
                  <a:lnTo>
                    <a:pt x="4830" y="5270"/>
                  </a:lnTo>
                  <a:lnTo>
                    <a:pt x="4832" y="5264"/>
                  </a:lnTo>
                  <a:lnTo>
                    <a:pt x="4832" y="5264"/>
                  </a:lnTo>
                  <a:lnTo>
                    <a:pt x="4834" y="5255"/>
                  </a:lnTo>
                  <a:lnTo>
                    <a:pt x="4835" y="5246"/>
                  </a:lnTo>
                  <a:lnTo>
                    <a:pt x="4836" y="5237"/>
                  </a:lnTo>
                  <a:lnTo>
                    <a:pt x="4835" y="5230"/>
                  </a:lnTo>
                  <a:lnTo>
                    <a:pt x="4834" y="5224"/>
                  </a:lnTo>
                  <a:lnTo>
                    <a:pt x="4832" y="5218"/>
                  </a:lnTo>
                  <a:lnTo>
                    <a:pt x="4830" y="5213"/>
                  </a:lnTo>
                  <a:lnTo>
                    <a:pt x="4827" y="5208"/>
                  </a:lnTo>
                  <a:lnTo>
                    <a:pt x="4819" y="5199"/>
                  </a:lnTo>
                  <a:lnTo>
                    <a:pt x="4810" y="5189"/>
                  </a:lnTo>
                  <a:lnTo>
                    <a:pt x="4800" y="5180"/>
                  </a:lnTo>
                  <a:lnTo>
                    <a:pt x="4789" y="5169"/>
                  </a:lnTo>
                  <a:lnTo>
                    <a:pt x="4778" y="5156"/>
                  </a:lnTo>
                  <a:lnTo>
                    <a:pt x="4772" y="5148"/>
                  </a:lnTo>
                  <a:lnTo>
                    <a:pt x="4767" y="5139"/>
                  </a:lnTo>
                  <a:lnTo>
                    <a:pt x="4762" y="5130"/>
                  </a:lnTo>
                  <a:lnTo>
                    <a:pt x="4757" y="5120"/>
                  </a:lnTo>
                  <a:lnTo>
                    <a:pt x="4753" y="5108"/>
                  </a:lnTo>
                  <a:lnTo>
                    <a:pt x="4749" y="5095"/>
                  </a:lnTo>
                  <a:lnTo>
                    <a:pt x="4744" y="5081"/>
                  </a:lnTo>
                  <a:lnTo>
                    <a:pt x="4741" y="5065"/>
                  </a:lnTo>
                  <a:lnTo>
                    <a:pt x="4738" y="5048"/>
                  </a:lnTo>
                  <a:lnTo>
                    <a:pt x="4736" y="5029"/>
                  </a:lnTo>
                  <a:lnTo>
                    <a:pt x="4735" y="5008"/>
                  </a:lnTo>
                  <a:lnTo>
                    <a:pt x="4734" y="4986"/>
                  </a:lnTo>
                  <a:lnTo>
                    <a:pt x="4734" y="4961"/>
                  </a:lnTo>
                  <a:lnTo>
                    <a:pt x="4735" y="4935"/>
                  </a:lnTo>
                  <a:lnTo>
                    <a:pt x="4735" y="4935"/>
                  </a:lnTo>
                  <a:lnTo>
                    <a:pt x="4735" y="4917"/>
                  </a:lnTo>
                  <a:lnTo>
                    <a:pt x="4734" y="4911"/>
                  </a:lnTo>
                  <a:lnTo>
                    <a:pt x="4733" y="4906"/>
                  </a:lnTo>
                  <a:lnTo>
                    <a:pt x="4731" y="4901"/>
                  </a:lnTo>
                  <a:lnTo>
                    <a:pt x="4729" y="4897"/>
                  </a:lnTo>
                  <a:lnTo>
                    <a:pt x="4727" y="4894"/>
                  </a:lnTo>
                  <a:lnTo>
                    <a:pt x="4724" y="4891"/>
                  </a:lnTo>
                  <a:lnTo>
                    <a:pt x="4716" y="4885"/>
                  </a:lnTo>
                  <a:lnTo>
                    <a:pt x="4706" y="4878"/>
                  </a:lnTo>
                  <a:lnTo>
                    <a:pt x="4693" y="4868"/>
                  </a:lnTo>
                  <a:lnTo>
                    <a:pt x="4679" y="4856"/>
                  </a:lnTo>
                  <a:lnTo>
                    <a:pt x="4679" y="4856"/>
                  </a:lnTo>
                  <a:lnTo>
                    <a:pt x="4671" y="4846"/>
                  </a:lnTo>
                  <a:lnTo>
                    <a:pt x="4664" y="4836"/>
                  </a:lnTo>
                  <a:lnTo>
                    <a:pt x="4659" y="4825"/>
                  </a:lnTo>
                  <a:lnTo>
                    <a:pt x="4655" y="4815"/>
                  </a:lnTo>
                  <a:lnTo>
                    <a:pt x="4654" y="4807"/>
                  </a:lnTo>
                  <a:lnTo>
                    <a:pt x="4654" y="4804"/>
                  </a:lnTo>
                  <a:lnTo>
                    <a:pt x="4654" y="4802"/>
                  </a:lnTo>
                  <a:lnTo>
                    <a:pt x="4657" y="4800"/>
                  </a:lnTo>
                  <a:lnTo>
                    <a:pt x="4659" y="4799"/>
                  </a:lnTo>
                  <a:lnTo>
                    <a:pt x="4661" y="4799"/>
                  </a:lnTo>
                  <a:lnTo>
                    <a:pt x="4665" y="4800"/>
                  </a:lnTo>
                  <a:lnTo>
                    <a:pt x="4665" y="4800"/>
                  </a:lnTo>
                  <a:lnTo>
                    <a:pt x="4679" y="4806"/>
                  </a:lnTo>
                  <a:lnTo>
                    <a:pt x="4693" y="4810"/>
                  </a:lnTo>
                  <a:lnTo>
                    <a:pt x="4708" y="4813"/>
                  </a:lnTo>
                  <a:lnTo>
                    <a:pt x="4723" y="4814"/>
                  </a:lnTo>
                  <a:lnTo>
                    <a:pt x="4737" y="4815"/>
                  </a:lnTo>
                  <a:lnTo>
                    <a:pt x="4752" y="4816"/>
                  </a:lnTo>
                  <a:lnTo>
                    <a:pt x="4765" y="4815"/>
                  </a:lnTo>
                  <a:lnTo>
                    <a:pt x="4778" y="4814"/>
                  </a:lnTo>
                  <a:lnTo>
                    <a:pt x="4802" y="4811"/>
                  </a:lnTo>
                  <a:lnTo>
                    <a:pt x="4819" y="4807"/>
                  </a:lnTo>
                  <a:lnTo>
                    <a:pt x="4835" y="4803"/>
                  </a:lnTo>
                  <a:lnTo>
                    <a:pt x="4835" y="4803"/>
                  </a:lnTo>
                  <a:lnTo>
                    <a:pt x="4844" y="4707"/>
                  </a:lnTo>
                  <a:lnTo>
                    <a:pt x="4849" y="4632"/>
                  </a:lnTo>
                  <a:lnTo>
                    <a:pt x="4851" y="4577"/>
                  </a:lnTo>
                  <a:lnTo>
                    <a:pt x="4851" y="4539"/>
                  </a:lnTo>
                  <a:lnTo>
                    <a:pt x="4849" y="4514"/>
                  </a:lnTo>
                  <a:lnTo>
                    <a:pt x="4847" y="4499"/>
                  </a:lnTo>
                  <a:lnTo>
                    <a:pt x="4845" y="4493"/>
                  </a:lnTo>
                  <a:lnTo>
                    <a:pt x="4844" y="4491"/>
                  </a:lnTo>
                  <a:lnTo>
                    <a:pt x="4844" y="4491"/>
                  </a:lnTo>
                  <a:lnTo>
                    <a:pt x="4825" y="4492"/>
                  </a:lnTo>
                  <a:lnTo>
                    <a:pt x="4808" y="4491"/>
                  </a:lnTo>
                  <a:lnTo>
                    <a:pt x="4791" y="4490"/>
                  </a:lnTo>
                  <a:lnTo>
                    <a:pt x="4776" y="4489"/>
                  </a:lnTo>
                  <a:lnTo>
                    <a:pt x="4763" y="4487"/>
                  </a:lnTo>
                  <a:lnTo>
                    <a:pt x="4750" y="4484"/>
                  </a:lnTo>
                  <a:lnTo>
                    <a:pt x="4737" y="4481"/>
                  </a:lnTo>
                  <a:lnTo>
                    <a:pt x="4726" y="4477"/>
                  </a:lnTo>
                  <a:lnTo>
                    <a:pt x="4716" y="4473"/>
                  </a:lnTo>
                  <a:lnTo>
                    <a:pt x="4707" y="4469"/>
                  </a:lnTo>
                  <a:lnTo>
                    <a:pt x="4698" y="4463"/>
                  </a:lnTo>
                  <a:lnTo>
                    <a:pt x="4690" y="4458"/>
                  </a:lnTo>
                  <a:lnTo>
                    <a:pt x="4683" y="4452"/>
                  </a:lnTo>
                  <a:lnTo>
                    <a:pt x="4676" y="4447"/>
                  </a:lnTo>
                  <a:lnTo>
                    <a:pt x="4665" y="4434"/>
                  </a:lnTo>
                  <a:lnTo>
                    <a:pt x="4665" y="4434"/>
                  </a:lnTo>
                  <a:lnTo>
                    <a:pt x="4677" y="4437"/>
                  </a:lnTo>
                  <a:lnTo>
                    <a:pt x="4690" y="4439"/>
                  </a:lnTo>
                  <a:lnTo>
                    <a:pt x="4717" y="4441"/>
                  </a:lnTo>
                  <a:lnTo>
                    <a:pt x="4742" y="4441"/>
                  </a:lnTo>
                  <a:lnTo>
                    <a:pt x="4768" y="4439"/>
                  </a:lnTo>
                  <a:lnTo>
                    <a:pt x="4790" y="4435"/>
                  </a:lnTo>
                  <a:lnTo>
                    <a:pt x="4812" y="4429"/>
                  </a:lnTo>
                  <a:lnTo>
                    <a:pt x="4821" y="4426"/>
                  </a:lnTo>
                  <a:lnTo>
                    <a:pt x="4829" y="4422"/>
                  </a:lnTo>
                  <a:lnTo>
                    <a:pt x="4838" y="4416"/>
                  </a:lnTo>
                  <a:lnTo>
                    <a:pt x="4844" y="4412"/>
                  </a:lnTo>
                  <a:lnTo>
                    <a:pt x="4844" y="4412"/>
                  </a:lnTo>
                  <a:lnTo>
                    <a:pt x="4843" y="4364"/>
                  </a:lnTo>
                  <a:lnTo>
                    <a:pt x="4841" y="4316"/>
                  </a:lnTo>
                  <a:lnTo>
                    <a:pt x="4838" y="4261"/>
                  </a:lnTo>
                  <a:lnTo>
                    <a:pt x="4833" y="4206"/>
                  </a:lnTo>
                  <a:lnTo>
                    <a:pt x="4831" y="4181"/>
                  </a:lnTo>
                  <a:lnTo>
                    <a:pt x="4828" y="4159"/>
                  </a:lnTo>
                  <a:lnTo>
                    <a:pt x="4825" y="4140"/>
                  </a:lnTo>
                  <a:lnTo>
                    <a:pt x="4822" y="4126"/>
                  </a:lnTo>
                  <a:lnTo>
                    <a:pt x="4820" y="4121"/>
                  </a:lnTo>
                  <a:lnTo>
                    <a:pt x="4818" y="4118"/>
                  </a:lnTo>
                  <a:lnTo>
                    <a:pt x="4816" y="4116"/>
                  </a:lnTo>
                  <a:lnTo>
                    <a:pt x="4814" y="4116"/>
                  </a:lnTo>
                  <a:lnTo>
                    <a:pt x="4814" y="4116"/>
                  </a:lnTo>
                  <a:lnTo>
                    <a:pt x="4786" y="4123"/>
                  </a:lnTo>
                  <a:lnTo>
                    <a:pt x="4760" y="4128"/>
                  </a:lnTo>
                  <a:lnTo>
                    <a:pt x="4746" y="4129"/>
                  </a:lnTo>
                  <a:lnTo>
                    <a:pt x="4734" y="4130"/>
                  </a:lnTo>
                  <a:lnTo>
                    <a:pt x="4722" y="4130"/>
                  </a:lnTo>
                  <a:lnTo>
                    <a:pt x="4711" y="4129"/>
                  </a:lnTo>
                  <a:lnTo>
                    <a:pt x="4698" y="4127"/>
                  </a:lnTo>
                  <a:lnTo>
                    <a:pt x="4687" y="4125"/>
                  </a:lnTo>
                  <a:lnTo>
                    <a:pt x="4675" y="4122"/>
                  </a:lnTo>
                  <a:lnTo>
                    <a:pt x="4664" y="4118"/>
                  </a:lnTo>
                  <a:lnTo>
                    <a:pt x="4652" y="4113"/>
                  </a:lnTo>
                  <a:lnTo>
                    <a:pt x="4640" y="4108"/>
                  </a:lnTo>
                  <a:lnTo>
                    <a:pt x="4629" y="4100"/>
                  </a:lnTo>
                  <a:lnTo>
                    <a:pt x="4618" y="4093"/>
                  </a:lnTo>
                  <a:lnTo>
                    <a:pt x="4618" y="4093"/>
                  </a:lnTo>
                  <a:lnTo>
                    <a:pt x="4613" y="4090"/>
                  </a:lnTo>
                  <a:lnTo>
                    <a:pt x="4608" y="4086"/>
                  </a:lnTo>
                  <a:lnTo>
                    <a:pt x="4602" y="4078"/>
                  </a:lnTo>
                  <a:lnTo>
                    <a:pt x="4597" y="4069"/>
                  </a:lnTo>
                  <a:lnTo>
                    <a:pt x="4594" y="4059"/>
                  </a:lnTo>
                  <a:lnTo>
                    <a:pt x="4592" y="4047"/>
                  </a:lnTo>
                  <a:lnTo>
                    <a:pt x="4591" y="4037"/>
                  </a:lnTo>
                  <a:lnTo>
                    <a:pt x="4590" y="4015"/>
                  </a:lnTo>
                  <a:lnTo>
                    <a:pt x="4589" y="3993"/>
                  </a:lnTo>
                  <a:lnTo>
                    <a:pt x="4587" y="3984"/>
                  </a:lnTo>
                  <a:lnTo>
                    <a:pt x="4585" y="3976"/>
                  </a:lnTo>
                  <a:lnTo>
                    <a:pt x="4581" y="3969"/>
                  </a:lnTo>
                  <a:lnTo>
                    <a:pt x="4575" y="3962"/>
                  </a:lnTo>
                  <a:lnTo>
                    <a:pt x="4571" y="3959"/>
                  </a:lnTo>
                  <a:lnTo>
                    <a:pt x="4567" y="3957"/>
                  </a:lnTo>
                  <a:lnTo>
                    <a:pt x="4561" y="3956"/>
                  </a:lnTo>
                  <a:lnTo>
                    <a:pt x="4556" y="3955"/>
                  </a:lnTo>
                  <a:lnTo>
                    <a:pt x="4556" y="3955"/>
                  </a:lnTo>
                  <a:lnTo>
                    <a:pt x="4534" y="3948"/>
                  </a:lnTo>
                  <a:lnTo>
                    <a:pt x="4511" y="3941"/>
                  </a:lnTo>
                  <a:lnTo>
                    <a:pt x="4489" y="3933"/>
                  </a:lnTo>
                  <a:lnTo>
                    <a:pt x="4468" y="3923"/>
                  </a:lnTo>
                  <a:lnTo>
                    <a:pt x="4448" y="3913"/>
                  </a:lnTo>
                  <a:lnTo>
                    <a:pt x="4428" y="3902"/>
                  </a:lnTo>
                  <a:lnTo>
                    <a:pt x="4410" y="3892"/>
                  </a:lnTo>
                  <a:lnTo>
                    <a:pt x="4394" y="3881"/>
                  </a:lnTo>
                  <a:lnTo>
                    <a:pt x="4377" y="3869"/>
                  </a:lnTo>
                  <a:lnTo>
                    <a:pt x="4363" y="3859"/>
                  </a:lnTo>
                  <a:lnTo>
                    <a:pt x="4337" y="3839"/>
                  </a:lnTo>
                  <a:lnTo>
                    <a:pt x="4318" y="3820"/>
                  </a:lnTo>
                  <a:lnTo>
                    <a:pt x="4306" y="3805"/>
                  </a:lnTo>
                  <a:lnTo>
                    <a:pt x="4306" y="3805"/>
                  </a:lnTo>
                  <a:lnTo>
                    <a:pt x="4297" y="3793"/>
                  </a:lnTo>
                  <a:lnTo>
                    <a:pt x="4288" y="3780"/>
                  </a:lnTo>
                  <a:lnTo>
                    <a:pt x="4282" y="3769"/>
                  </a:lnTo>
                  <a:lnTo>
                    <a:pt x="4277" y="3758"/>
                  </a:lnTo>
                  <a:lnTo>
                    <a:pt x="4273" y="3748"/>
                  </a:lnTo>
                  <a:lnTo>
                    <a:pt x="4270" y="3739"/>
                  </a:lnTo>
                  <a:lnTo>
                    <a:pt x="4266" y="3722"/>
                  </a:lnTo>
                  <a:lnTo>
                    <a:pt x="4265" y="3709"/>
                  </a:lnTo>
                  <a:lnTo>
                    <a:pt x="4265" y="3699"/>
                  </a:lnTo>
                  <a:lnTo>
                    <a:pt x="4266" y="3690"/>
                  </a:lnTo>
                  <a:lnTo>
                    <a:pt x="4266" y="3690"/>
                  </a:lnTo>
                  <a:lnTo>
                    <a:pt x="4284" y="3700"/>
                  </a:lnTo>
                  <a:lnTo>
                    <a:pt x="4302" y="3706"/>
                  </a:lnTo>
                  <a:lnTo>
                    <a:pt x="4321" y="3711"/>
                  </a:lnTo>
                  <a:lnTo>
                    <a:pt x="4340" y="3714"/>
                  </a:lnTo>
                  <a:lnTo>
                    <a:pt x="4358" y="3716"/>
                  </a:lnTo>
                  <a:lnTo>
                    <a:pt x="4377" y="3715"/>
                  </a:lnTo>
                  <a:lnTo>
                    <a:pt x="4396" y="3712"/>
                  </a:lnTo>
                  <a:lnTo>
                    <a:pt x="4414" y="3708"/>
                  </a:lnTo>
                  <a:lnTo>
                    <a:pt x="4434" y="3468"/>
                  </a:lnTo>
                  <a:lnTo>
                    <a:pt x="4434" y="3468"/>
                  </a:lnTo>
                  <a:lnTo>
                    <a:pt x="4425" y="3467"/>
                  </a:lnTo>
                  <a:lnTo>
                    <a:pt x="4405" y="3464"/>
                  </a:lnTo>
                  <a:lnTo>
                    <a:pt x="4392" y="3461"/>
                  </a:lnTo>
                  <a:lnTo>
                    <a:pt x="4377" y="3457"/>
                  </a:lnTo>
                  <a:lnTo>
                    <a:pt x="4362" y="3453"/>
                  </a:lnTo>
                  <a:lnTo>
                    <a:pt x="4348" y="3447"/>
                  </a:lnTo>
                  <a:lnTo>
                    <a:pt x="4348" y="3447"/>
                  </a:lnTo>
                  <a:lnTo>
                    <a:pt x="4339" y="3443"/>
                  </a:lnTo>
                  <a:lnTo>
                    <a:pt x="4331" y="3438"/>
                  </a:lnTo>
                  <a:lnTo>
                    <a:pt x="4323" y="3432"/>
                  </a:lnTo>
                  <a:lnTo>
                    <a:pt x="4316" y="3426"/>
                  </a:lnTo>
                  <a:lnTo>
                    <a:pt x="4302" y="3412"/>
                  </a:lnTo>
                  <a:lnTo>
                    <a:pt x="4289" y="3399"/>
                  </a:lnTo>
                  <a:lnTo>
                    <a:pt x="4280" y="3386"/>
                  </a:lnTo>
                  <a:lnTo>
                    <a:pt x="4273" y="3376"/>
                  </a:lnTo>
                  <a:lnTo>
                    <a:pt x="4267" y="3366"/>
                  </a:lnTo>
                  <a:lnTo>
                    <a:pt x="4267" y="3366"/>
                  </a:lnTo>
                  <a:lnTo>
                    <a:pt x="4274" y="3369"/>
                  </a:lnTo>
                  <a:lnTo>
                    <a:pt x="4293" y="3377"/>
                  </a:lnTo>
                  <a:lnTo>
                    <a:pt x="4321" y="3385"/>
                  </a:lnTo>
                  <a:lnTo>
                    <a:pt x="4339" y="3389"/>
                  </a:lnTo>
                  <a:lnTo>
                    <a:pt x="4356" y="3392"/>
                  </a:lnTo>
                  <a:lnTo>
                    <a:pt x="4356" y="3392"/>
                  </a:lnTo>
                  <a:lnTo>
                    <a:pt x="4375" y="3394"/>
                  </a:lnTo>
                  <a:lnTo>
                    <a:pt x="4392" y="3395"/>
                  </a:lnTo>
                  <a:lnTo>
                    <a:pt x="4407" y="3393"/>
                  </a:lnTo>
                  <a:lnTo>
                    <a:pt x="4419" y="3391"/>
                  </a:lnTo>
                  <a:lnTo>
                    <a:pt x="4430" y="3389"/>
                  </a:lnTo>
                  <a:lnTo>
                    <a:pt x="4438" y="3387"/>
                  </a:lnTo>
                  <a:lnTo>
                    <a:pt x="4444" y="3384"/>
                  </a:lnTo>
                  <a:lnTo>
                    <a:pt x="4477" y="3113"/>
                  </a:lnTo>
                  <a:lnTo>
                    <a:pt x="4477" y="3113"/>
                  </a:lnTo>
                  <a:lnTo>
                    <a:pt x="4451" y="3114"/>
                  </a:lnTo>
                  <a:lnTo>
                    <a:pt x="4427" y="3113"/>
                  </a:lnTo>
                  <a:lnTo>
                    <a:pt x="4408" y="3111"/>
                  </a:lnTo>
                  <a:lnTo>
                    <a:pt x="4392" y="3106"/>
                  </a:lnTo>
                  <a:lnTo>
                    <a:pt x="4377" y="3100"/>
                  </a:lnTo>
                  <a:lnTo>
                    <a:pt x="4365" y="3093"/>
                  </a:lnTo>
                  <a:lnTo>
                    <a:pt x="4356" y="3085"/>
                  </a:lnTo>
                  <a:lnTo>
                    <a:pt x="4348" y="3077"/>
                  </a:lnTo>
                  <a:lnTo>
                    <a:pt x="4343" y="3069"/>
                  </a:lnTo>
                  <a:lnTo>
                    <a:pt x="4337" y="3060"/>
                  </a:lnTo>
                  <a:lnTo>
                    <a:pt x="4335" y="3051"/>
                  </a:lnTo>
                  <a:lnTo>
                    <a:pt x="4333" y="3043"/>
                  </a:lnTo>
                  <a:lnTo>
                    <a:pt x="4332" y="3035"/>
                  </a:lnTo>
                  <a:lnTo>
                    <a:pt x="4331" y="3029"/>
                  </a:lnTo>
                  <a:lnTo>
                    <a:pt x="4332" y="3020"/>
                  </a:lnTo>
                  <a:lnTo>
                    <a:pt x="4332" y="3020"/>
                  </a:lnTo>
                  <a:lnTo>
                    <a:pt x="4357" y="3015"/>
                  </a:lnTo>
                  <a:lnTo>
                    <a:pt x="4381" y="3009"/>
                  </a:lnTo>
                  <a:lnTo>
                    <a:pt x="4405" y="3001"/>
                  </a:lnTo>
                  <a:lnTo>
                    <a:pt x="4428" y="2994"/>
                  </a:lnTo>
                  <a:lnTo>
                    <a:pt x="4451" y="2985"/>
                  </a:lnTo>
                  <a:lnTo>
                    <a:pt x="4473" y="2975"/>
                  </a:lnTo>
                  <a:lnTo>
                    <a:pt x="4495" y="2964"/>
                  </a:lnTo>
                  <a:lnTo>
                    <a:pt x="4515" y="2951"/>
                  </a:lnTo>
                  <a:lnTo>
                    <a:pt x="4536" y="2939"/>
                  </a:lnTo>
                  <a:lnTo>
                    <a:pt x="4555" y="2926"/>
                  </a:lnTo>
                  <a:lnTo>
                    <a:pt x="4574" y="2911"/>
                  </a:lnTo>
                  <a:lnTo>
                    <a:pt x="4592" y="2896"/>
                  </a:lnTo>
                  <a:lnTo>
                    <a:pt x="4609" y="2881"/>
                  </a:lnTo>
                  <a:lnTo>
                    <a:pt x="4627" y="2864"/>
                  </a:lnTo>
                  <a:lnTo>
                    <a:pt x="4642" y="2848"/>
                  </a:lnTo>
                  <a:lnTo>
                    <a:pt x="4659" y="2831"/>
                  </a:lnTo>
                  <a:lnTo>
                    <a:pt x="4673" y="2812"/>
                  </a:lnTo>
                  <a:lnTo>
                    <a:pt x="4688" y="2794"/>
                  </a:lnTo>
                  <a:lnTo>
                    <a:pt x="4702" y="2775"/>
                  </a:lnTo>
                  <a:lnTo>
                    <a:pt x="4715" y="2756"/>
                  </a:lnTo>
                  <a:lnTo>
                    <a:pt x="4727" y="2737"/>
                  </a:lnTo>
                  <a:lnTo>
                    <a:pt x="4738" y="2717"/>
                  </a:lnTo>
                  <a:lnTo>
                    <a:pt x="4750" y="2698"/>
                  </a:lnTo>
                  <a:lnTo>
                    <a:pt x="4760" y="2677"/>
                  </a:lnTo>
                  <a:lnTo>
                    <a:pt x="4770" y="2657"/>
                  </a:lnTo>
                  <a:lnTo>
                    <a:pt x="4779" y="2636"/>
                  </a:lnTo>
                  <a:lnTo>
                    <a:pt x="4787" y="2616"/>
                  </a:lnTo>
                  <a:lnTo>
                    <a:pt x="4796" y="2595"/>
                  </a:lnTo>
                  <a:lnTo>
                    <a:pt x="4803" y="2575"/>
                  </a:lnTo>
                  <a:lnTo>
                    <a:pt x="4809" y="2555"/>
                  </a:lnTo>
                  <a:lnTo>
                    <a:pt x="4815" y="2534"/>
                  </a:lnTo>
                  <a:lnTo>
                    <a:pt x="4820" y="2515"/>
                  </a:lnTo>
                  <a:lnTo>
                    <a:pt x="4820" y="2515"/>
                  </a:lnTo>
                  <a:lnTo>
                    <a:pt x="4831" y="2521"/>
                  </a:lnTo>
                  <a:lnTo>
                    <a:pt x="4847" y="2527"/>
                  </a:lnTo>
                  <a:lnTo>
                    <a:pt x="4864" y="2533"/>
                  </a:lnTo>
                  <a:lnTo>
                    <a:pt x="4882" y="2538"/>
                  </a:lnTo>
                  <a:lnTo>
                    <a:pt x="4903" y="2541"/>
                  </a:lnTo>
                  <a:lnTo>
                    <a:pt x="4913" y="2542"/>
                  </a:lnTo>
                  <a:lnTo>
                    <a:pt x="4923" y="2543"/>
                  </a:lnTo>
                  <a:lnTo>
                    <a:pt x="4935" y="2542"/>
                  </a:lnTo>
                  <a:lnTo>
                    <a:pt x="4945" y="2541"/>
                  </a:lnTo>
                  <a:lnTo>
                    <a:pt x="4955" y="2539"/>
                  </a:lnTo>
                  <a:lnTo>
                    <a:pt x="4965" y="2536"/>
                  </a:lnTo>
                  <a:lnTo>
                    <a:pt x="4965" y="2536"/>
                  </a:lnTo>
                  <a:lnTo>
                    <a:pt x="4967" y="2508"/>
                  </a:lnTo>
                  <a:lnTo>
                    <a:pt x="4970" y="2441"/>
                  </a:lnTo>
                  <a:lnTo>
                    <a:pt x="4972" y="2405"/>
                  </a:lnTo>
                  <a:lnTo>
                    <a:pt x="4973" y="2371"/>
                  </a:lnTo>
                  <a:lnTo>
                    <a:pt x="4972" y="2343"/>
                  </a:lnTo>
                  <a:lnTo>
                    <a:pt x="4972" y="2333"/>
                  </a:lnTo>
                  <a:lnTo>
                    <a:pt x="4970" y="2327"/>
                  </a:lnTo>
                  <a:lnTo>
                    <a:pt x="4970" y="2327"/>
                  </a:lnTo>
                  <a:lnTo>
                    <a:pt x="4955" y="2325"/>
                  </a:lnTo>
                  <a:lnTo>
                    <a:pt x="4938" y="2322"/>
                  </a:lnTo>
                  <a:lnTo>
                    <a:pt x="4919" y="2317"/>
                  </a:lnTo>
                  <a:lnTo>
                    <a:pt x="4911" y="2314"/>
                  </a:lnTo>
                  <a:lnTo>
                    <a:pt x="4902" y="2311"/>
                  </a:lnTo>
                  <a:lnTo>
                    <a:pt x="4893" y="2306"/>
                  </a:lnTo>
                  <a:lnTo>
                    <a:pt x="4885" y="2302"/>
                  </a:lnTo>
                  <a:lnTo>
                    <a:pt x="4876" y="2296"/>
                  </a:lnTo>
                  <a:lnTo>
                    <a:pt x="4868" y="2289"/>
                  </a:lnTo>
                  <a:lnTo>
                    <a:pt x="4861" y="2282"/>
                  </a:lnTo>
                  <a:lnTo>
                    <a:pt x="4854" y="2273"/>
                  </a:lnTo>
                  <a:lnTo>
                    <a:pt x="4848" y="2264"/>
                  </a:lnTo>
                  <a:lnTo>
                    <a:pt x="4842" y="225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</p:grpSp>
      <p:sp>
        <p:nvSpPr>
          <p:cNvPr id="11" name="Alaotsikko 2"/>
          <p:cNvSpPr>
            <a:spLocks noGrp="1"/>
          </p:cNvSpPr>
          <p:nvPr userDrawn="1">
            <p:ph type="subTitle" idx="1"/>
          </p:nvPr>
        </p:nvSpPr>
        <p:spPr>
          <a:xfrm>
            <a:off x="911424" y="5419437"/>
            <a:ext cx="7776864" cy="889884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2400">
                <a:solidFill>
                  <a:srgbClr val="FFFFFF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/>
              <a:t>Muokkaa alaotsikon perustyyliä napsautt.</a:t>
            </a:r>
            <a:endParaRPr lang="fi-FI" dirty="0"/>
          </a:p>
        </p:txBody>
      </p:sp>
      <p:sp>
        <p:nvSpPr>
          <p:cNvPr id="10" name="Otsikko 1"/>
          <p:cNvSpPr>
            <a:spLocks noGrp="1"/>
          </p:cNvSpPr>
          <p:nvPr userDrawn="1">
            <p:ph type="ctrTitle"/>
          </p:nvPr>
        </p:nvSpPr>
        <p:spPr>
          <a:xfrm>
            <a:off x="911424" y="2468894"/>
            <a:ext cx="7776864" cy="2794037"/>
          </a:xfrm>
        </p:spPr>
        <p:txBody>
          <a:bodyPr anchor="b" anchorCtr="0">
            <a:noAutofit/>
          </a:bodyPr>
          <a:lstStyle>
            <a:lvl1pPr algn="l">
              <a:defRPr sz="5333">
                <a:solidFill>
                  <a:srgbClr val="FFFFFF"/>
                </a:solidFill>
              </a:defRPr>
            </a:lvl1pPr>
          </a:lstStyle>
          <a:p>
            <a:r>
              <a:rPr lang="fi-FI"/>
              <a:t>Muokkaa perustyyl. napsautt.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16121131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Pääotsikko_valko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5"/>
          <p:cNvGrpSpPr>
            <a:grpSpLocks noChangeAspect="1"/>
          </p:cNvGrpSpPr>
          <p:nvPr userDrawn="1"/>
        </p:nvGrpSpPr>
        <p:grpSpPr bwMode="auto">
          <a:xfrm>
            <a:off x="6375583" y="0"/>
            <a:ext cx="5818719" cy="6858003"/>
            <a:chOff x="3008" y="0"/>
            <a:chExt cx="2749" cy="3240"/>
          </a:xfrm>
        </p:grpSpPr>
        <p:sp>
          <p:nvSpPr>
            <p:cNvPr id="12" name="Freeform 6"/>
            <p:cNvSpPr>
              <a:spLocks/>
            </p:cNvSpPr>
            <p:nvPr userDrawn="1"/>
          </p:nvSpPr>
          <p:spPr bwMode="auto">
            <a:xfrm>
              <a:off x="4230" y="2293"/>
              <a:ext cx="1527" cy="947"/>
            </a:xfrm>
            <a:custGeom>
              <a:avLst/>
              <a:gdLst>
                <a:gd name="T0" fmla="*/ 1527 w 1527"/>
                <a:gd name="T1" fmla="*/ 947 h 947"/>
                <a:gd name="T2" fmla="*/ 1527 w 1527"/>
                <a:gd name="T3" fmla="*/ 491 h 947"/>
                <a:gd name="T4" fmla="*/ 1527 w 1527"/>
                <a:gd name="T5" fmla="*/ 491 h 947"/>
                <a:gd name="T6" fmla="*/ 1291 w 1527"/>
                <a:gd name="T7" fmla="*/ 382 h 947"/>
                <a:gd name="T8" fmla="*/ 1175 w 1527"/>
                <a:gd name="T9" fmla="*/ 327 h 947"/>
                <a:gd name="T10" fmla="*/ 1118 w 1527"/>
                <a:gd name="T11" fmla="*/ 299 h 947"/>
                <a:gd name="T12" fmla="*/ 1060 w 1527"/>
                <a:gd name="T13" fmla="*/ 270 h 947"/>
                <a:gd name="T14" fmla="*/ 1003 w 1527"/>
                <a:gd name="T15" fmla="*/ 241 h 947"/>
                <a:gd name="T16" fmla="*/ 946 w 1527"/>
                <a:gd name="T17" fmla="*/ 210 h 947"/>
                <a:gd name="T18" fmla="*/ 889 w 1527"/>
                <a:gd name="T19" fmla="*/ 179 h 947"/>
                <a:gd name="T20" fmla="*/ 833 w 1527"/>
                <a:gd name="T21" fmla="*/ 146 h 947"/>
                <a:gd name="T22" fmla="*/ 777 w 1527"/>
                <a:gd name="T23" fmla="*/ 111 h 947"/>
                <a:gd name="T24" fmla="*/ 722 w 1527"/>
                <a:gd name="T25" fmla="*/ 76 h 947"/>
                <a:gd name="T26" fmla="*/ 667 w 1527"/>
                <a:gd name="T27" fmla="*/ 39 h 947"/>
                <a:gd name="T28" fmla="*/ 612 w 1527"/>
                <a:gd name="T29" fmla="*/ 0 h 947"/>
                <a:gd name="T30" fmla="*/ 612 w 1527"/>
                <a:gd name="T31" fmla="*/ 0 h 947"/>
                <a:gd name="T32" fmla="*/ 569 w 1527"/>
                <a:gd name="T33" fmla="*/ 70 h 947"/>
                <a:gd name="T34" fmla="*/ 527 w 1527"/>
                <a:gd name="T35" fmla="*/ 137 h 947"/>
                <a:gd name="T36" fmla="*/ 486 w 1527"/>
                <a:gd name="T37" fmla="*/ 202 h 947"/>
                <a:gd name="T38" fmla="*/ 444 w 1527"/>
                <a:gd name="T39" fmla="*/ 265 h 947"/>
                <a:gd name="T40" fmla="*/ 363 w 1527"/>
                <a:gd name="T41" fmla="*/ 386 h 947"/>
                <a:gd name="T42" fmla="*/ 283 w 1527"/>
                <a:gd name="T43" fmla="*/ 502 h 947"/>
                <a:gd name="T44" fmla="*/ 207 w 1527"/>
                <a:gd name="T45" fmla="*/ 614 h 947"/>
                <a:gd name="T46" fmla="*/ 170 w 1527"/>
                <a:gd name="T47" fmla="*/ 669 h 947"/>
                <a:gd name="T48" fmla="*/ 134 w 1527"/>
                <a:gd name="T49" fmla="*/ 724 h 947"/>
                <a:gd name="T50" fmla="*/ 99 w 1527"/>
                <a:gd name="T51" fmla="*/ 779 h 947"/>
                <a:gd name="T52" fmla="*/ 65 w 1527"/>
                <a:gd name="T53" fmla="*/ 835 h 947"/>
                <a:gd name="T54" fmla="*/ 32 w 1527"/>
                <a:gd name="T55" fmla="*/ 890 h 947"/>
                <a:gd name="T56" fmla="*/ 0 w 1527"/>
                <a:gd name="T57" fmla="*/ 947 h 947"/>
                <a:gd name="T58" fmla="*/ 1527 w 1527"/>
                <a:gd name="T59" fmla="*/ 947 h 9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27" h="947">
                  <a:moveTo>
                    <a:pt x="1527" y="947"/>
                  </a:moveTo>
                  <a:lnTo>
                    <a:pt x="1527" y="491"/>
                  </a:lnTo>
                  <a:lnTo>
                    <a:pt x="1527" y="491"/>
                  </a:lnTo>
                  <a:lnTo>
                    <a:pt x="1291" y="382"/>
                  </a:lnTo>
                  <a:lnTo>
                    <a:pt x="1175" y="327"/>
                  </a:lnTo>
                  <a:lnTo>
                    <a:pt x="1118" y="299"/>
                  </a:lnTo>
                  <a:lnTo>
                    <a:pt x="1060" y="270"/>
                  </a:lnTo>
                  <a:lnTo>
                    <a:pt x="1003" y="241"/>
                  </a:lnTo>
                  <a:lnTo>
                    <a:pt x="946" y="210"/>
                  </a:lnTo>
                  <a:lnTo>
                    <a:pt x="889" y="179"/>
                  </a:lnTo>
                  <a:lnTo>
                    <a:pt x="833" y="146"/>
                  </a:lnTo>
                  <a:lnTo>
                    <a:pt x="777" y="111"/>
                  </a:lnTo>
                  <a:lnTo>
                    <a:pt x="722" y="76"/>
                  </a:lnTo>
                  <a:lnTo>
                    <a:pt x="667" y="39"/>
                  </a:lnTo>
                  <a:lnTo>
                    <a:pt x="612" y="0"/>
                  </a:lnTo>
                  <a:lnTo>
                    <a:pt x="612" y="0"/>
                  </a:lnTo>
                  <a:lnTo>
                    <a:pt x="569" y="70"/>
                  </a:lnTo>
                  <a:lnTo>
                    <a:pt x="527" y="137"/>
                  </a:lnTo>
                  <a:lnTo>
                    <a:pt x="486" y="202"/>
                  </a:lnTo>
                  <a:lnTo>
                    <a:pt x="444" y="265"/>
                  </a:lnTo>
                  <a:lnTo>
                    <a:pt x="363" y="386"/>
                  </a:lnTo>
                  <a:lnTo>
                    <a:pt x="283" y="502"/>
                  </a:lnTo>
                  <a:lnTo>
                    <a:pt x="207" y="614"/>
                  </a:lnTo>
                  <a:lnTo>
                    <a:pt x="170" y="669"/>
                  </a:lnTo>
                  <a:lnTo>
                    <a:pt x="134" y="724"/>
                  </a:lnTo>
                  <a:lnTo>
                    <a:pt x="99" y="779"/>
                  </a:lnTo>
                  <a:lnTo>
                    <a:pt x="65" y="835"/>
                  </a:lnTo>
                  <a:lnTo>
                    <a:pt x="32" y="890"/>
                  </a:lnTo>
                  <a:lnTo>
                    <a:pt x="0" y="947"/>
                  </a:lnTo>
                  <a:lnTo>
                    <a:pt x="1527" y="947"/>
                  </a:lnTo>
                  <a:close/>
                </a:path>
              </a:pathLst>
            </a:custGeom>
            <a:solidFill>
              <a:srgbClr val="7991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51" name="Freeform 7"/>
            <p:cNvSpPr>
              <a:spLocks/>
            </p:cNvSpPr>
            <p:nvPr userDrawn="1"/>
          </p:nvSpPr>
          <p:spPr bwMode="auto">
            <a:xfrm>
              <a:off x="4842" y="1664"/>
              <a:ext cx="915" cy="1053"/>
            </a:xfrm>
            <a:custGeom>
              <a:avLst/>
              <a:gdLst>
                <a:gd name="T0" fmla="*/ 915 w 915"/>
                <a:gd name="T1" fmla="*/ 0 h 1053"/>
                <a:gd name="T2" fmla="*/ 915 w 915"/>
                <a:gd name="T3" fmla="*/ 0 h 1053"/>
                <a:gd name="T4" fmla="*/ 854 w 915"/>
                <a:gd name="T5" fmla="*/ 29 h 1053"/>
                <a:gd name="T6" fmla="*/ 795 w 915"/>
                <a:gd name="T7" fmla="*/ 62 h 1053"/>
                <a:gd name="T8" fmla="*/ 735 w 915"/>
                <a:gd name="T9" fmla="*/ 97 h 1053"/>
                <a:gd name="T10" fmla="*/ 675 w 915"/>
                <a:gd name="T11" fmla="*/ 133 h 1053"/>
                <a:gd name="T12" fmla="*/ 617 w 915"/>
                <a:gd name="T13" fmla="*/ 171 h 1053"/>
                <a:gd name="T14" fmla="*/ 559 w 915"/>
                <a:gd name="T15" fmla="*/ 210 h 1053"/>
                <a:gd name="T16" fmla="*/ 500 w 915"/>
                <a:gd name="T17" fmla="*/ 251 h 1053"/>
                <a:gd name="T18" fmla="*/ 443 w 915"/>
                <a:gd name="T19" fmla="*/ 294 h 1053"/>
                <a:gd name="T20" fmla="*/ 329 w 915"/>
                <a:gd name="T21" fmla="*/ 378 h 1053"/>
                <a:gd name="T22" fmla="*/ 218 w 915"/>
                <a:gd name="T23" fmla="*/ 465 h 1053"/>
                <a:gd name="T24" fmla="*/ 108 w 915"/>
                <a:gd name="T25" fmla="*/ 549 h 1053"/>
                <a:gd name="T26" fmla="*/ 53 w 915"/>
                <a:gd name="T27" fmla="*/ 589 h 1053"/>
                <a:gd name="T28" fmla="*/ 0 w 915"/>
                <a:gd name="T29" fmla="*/ 629 h 1053"/>
                <a:gd name="T30" fmla="*/ 0 w 915"/>
                <a:gd name="T31" fmla="*/ 629 h 1053"/>
                <a:gd name="T32" fmla="*/ 0 w 915"/>
                <a:gd name="T33" fmla="*/ 629 h 1053"/>
                <a:gd name="T34" fmla="*/ 53 w 915"/>
                <a:gd name="T35" fmla="*/ 667 h 1053"/>
                <a:gd name="T36" fmla="*/ 107 w 915"/>
                <a:gd name="T37" fmla="*/ 704 h 1053"/>
                <a:gd name="T38" fmla="*/ 161 w 915"/>
                <a:gd name="T39" fmla="*/ 739 h 1053"/>
                <a:gd name="T40" fmla="*/ 216 w 915"/>
                <a:gd name="T41" fmla="*/ 774 h 1053"/>
                <a:gd name="T42" fmla="*/ 272 w 915"/>
                <a:gd name="T43" fmla="*/ 808 h 1053"/>
                <a:gd name="T44" fmla="*/ 328 w 915"/>
                <a:gd name="T45" fmla="*/ 839 h 1053"/>
                <a:gd name="T46" fmla="*/ 384 w 915"/>
                <a:gd name="T47" fmla="*/ 870 h 1053"/>
                <a:gd name="T48" fmla="*/ 442 w 915"/>
                <a:gd name="T49" fmla="*/ 899 h 1053"/>
                <a:gd name="T50" fmla="*/ 500 w 915"/>
                <a:gd name="T51" fmla="*/ 926 h 1053"/>
                <a:gd name="T52" fmla="*/ 559 w 915"/>
                <a:gd name="T53" fmla="*/ 951 h 1053"/>
                <a:gd name="T54" fmla="*/ 617 w 915"/>
                <a:gd name="T55" fmla="*/ 973 h 1053"/>
                <a:gd name="T56" fmla="*/ 675 w 915"/>
                <a:gd name="T57" fmla="*/ 994 h 1053"/>
                <a:gd name="T58" fmla="*/ 735 w 915"/>
                <a:gd name="T59" fmla="*/ 1012 h 1053"/>
                <a:gd name="T60" fmla="*/ 795 w 915"/>
                <a:gd name="T61" fmla="*/ 1028 h 1053"/>
                <a:gd name="T62" fmla="*/ 854 w 915"/>
                <a:gd name="T63" fmla="*/ 1042 h 1053"/>
                <a:gd name="T64" fmla="*/ 885 w 915"/>
                <a:gd name="T65" fmla="*/ 1048 h 1053"/>
                <a:gd name="T66" fmla="*/ 915 w 915"/>
                <a:gd name="T67" fmla="*/ 1053 h 1053"/>
                <a:gd name="T68" fmla="*/ 915 w 915"/>
                <a:gd name="T69" fmla="*/ 0 h 10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915" h="1053">
                  <a:moveTo>
                    <a:pt x="915" y="0"/>
                  </a:moveTo>
                  <a:lnTo>
                    <a:pt x="915" y="0"/>
                  </a:lnTo>
                  <a:lnTo>
                    <a:pt x="854" y="29"/>
                  </a:lnTo>
                  <a:lnTo>
                    <a:pt x="795" y="62"/>
                  </a:lnTo>
                  <a:lnTo>
                    <a:pt x="735" y="97"/>
                  </a:lnTo>
                  <a:lnTo>
                    <a:pt x="675" y="133"/>
                  </a:lnTo>
                  <a:lnTo>
                    <a:pt x="617" y="171"/>
                  </a:lnTo>
                  <a:lnTo>
                    <a:pt x="559" y="210"/>
                  </a:lnTo>
                  <a:lnTo>
                    <a:pt x="500" y="251"/>
                  </a:lnTo>
                  <a:lnTo>
                    <a:pt x="443" y="294"/>
                  </a:lnTo>
                  <a:lnTo>
                    <a:pt x="329" y="378"/>
                  </a:lnTo>
                  <a:lnTo>
                    <a:pt x="218" y="465"/>
                  </a:lnTo>
                  <a:lnTo>
                    <a:pt x="108" y="549"/>
                  </a:lnTo>
                  <a:lnTo>
                    <a:pt x="53" y="589"/>
                  </a:lnTo>
                  <a:lnTo>
                    <a:pt x="0" y="629"/>
                  </a:lnTo>
                  <a:lnTo>
                    <a:pt x="0" y="629"/>
                  </a:lnTo>
                  <a:lnTo>
                    <a:pt x="0" y="629"/>
                  </a:lnTo>
                  <a:lnTo>
                    <a:pt x="53" y="667"/>
                  </a:lnTo>
                  <a:lnTo>
                    <a:pt x="107" y="704"/>
                  </a:lnTo>
                  <a:lnTo>
                    <a:pt x="161" y="739"/>
                  </a:lnTo>
                  <a:lnTo>
                    <a:pt x="216" y="774"/>
                  </a:lnTo>
                  <a:lnTo>
                    <a:pt x="272" y="808"/>
                  </a:lnTo>
                  <a:lnTo>
                    <a:pt x="328" y="839"/>
                  </a:lnTo>
                  <a:lnTo>
                    <a:pt x="384" y="870"/>
                  </a:lnTo>
                  <a:lnTo>
                    <a:pt x="442" y="899"/>
                  </a:lnTo>
                  <a:lnTo>
                    <a:pt x="500" y="926"/>
                  </a:lnTo>
                  <a:lnTo>
                    <a:pt x="559" y="951"/>
                  </a:lnTo>
                  <a:lnTo>
                    <a:pt x="617" y="973"/>
                  </a:lnTo>
                  <a:lnTo>
                    <a:pt x="675" y="994"/>
                  </a:lnTo>
                  <a:lnTo>
                    <a:pt x="735" y="1012"/>
                  </a:lnTo>
                  <a:lnTo>
                    <a:pt x="795" y="1028"/>
                  </a:lnTo>
                  <a:lnTo>
                    <a:pt x="854" y="1042"/>
                  </a:lnTo>
                  <a:lnTo>
                    <a:pt x="885" y="1048"/>
                  </a:lnTo>
                  <a:lnTo>
                    <a:pt x="915" y="1053"/>
                  </a:lnTo>
                  <a:lnTo>
                    <a:pt x="915" y="0"/>
                  </a:lnTo>
                  <a:close/>
                </a:path>
              </a:pathLst>
            </a:custGeom>
            <a:solidFill>
              <a:srgbClr val="9BAD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52" name="Freeform 8"/>
            <p:cNvSpPr>
              <a:spLocks/>
            </p:cNvSpPr>
            <p:nvPr userDrawn="1"/>
          </p:nvSpPr>
          <p:spPr bwMode="auto">
            <a:xfrm>
              <a:off x="3761" y="0"/>
              <a:ext cx="1602" cy="2293"/>
            </a:xfrm>
            <a:custGeom>
              <a:avLst/>
              <a:gdLst>
                <a:gd name="T0" fmla="*/ 46 w 1602"/>
                <a:gd name="T1" fmla="*/ 0 h 2293"/>
                <a:gd name="T2" fmla="*/ 27 w 1602"/>
                <a:gd name="T3" fmla="*/ 79 h 2293"/>
                <a:gd name="T4" fmla="*/ 13 w 1602"/>
                <a:gd name="T5" fmla="*/ 158 h 2293"/>
                <a:gd name="T6" fmla="*/ 5 w 1602"/>
                <a:gd name="T7" fmla="*/ 236 h 2293"/>
                <a:gd name="T8" fmla="*/ 0 w 1602"/>
                <a:gd name="T9" fmla="*/ 315 h 2293"/>
                <a:gd name="T10" fmla="*/ 1 w 1602"/>
                <a:gd name="T11" fmla="*/ 394 h 2293"/>
                <a:gd name="T12" fmla="*/ 7 w 1602"/>
                <a:gd name="T13" fmla="*/ 473 h 2293"/>
                <a:gd name="T14" fmla="*/ 16 w 1602"/>
                <a:gd name="T15" fmla="*/ 551 h 2293"/>
                <a:gd name="T16" fmla="*/ 27 w 1602"/>
                <a:gd name="T17" fmla="*/ 630 h 2293"/>
                <a:gd name="T18" fmla="*/ 43 w 1602"/>
                <a:gd name="T19" fmla="*/ 708 h 2293"/>
                <a:gd name="T20" fmla="*/ 80 w 1602"/>
                <a:gd name="T21" fmla="*/ 862 h 2293"/>
                <a:gd name="T22" fmla="*/ 124 w 1602"/>
                <a:gd name="T23" fmla="*/ 1014 h 2293"/>
                <a:gd name="T24" fmla="*/ 195 w 1602"/>
                <a:gd name="T25" fmla="*/ 1236 h 2293"/>
                <a:gd name="T26" fmla="*/ 209 w 1602"/>
                <a:gd name="T27" fmla="*/ 1277 h 2293"/>
                <a:gd name="T28" fmla="*/ 242 w 1602"/>
                <a:gd name="T29" fmla="*/ 1358 h 2293"/>
                <a:gd name="T30" fmla="*/ 279 w 1602"/>
                <a:gd name="T31" fmla="*/ 1437 h 2293"/>
                <a:gd name="T32" fmla="*/ 322 w 1602"/>
                <a:gd name="T33" fmla="*/ 1514 h 2293"/>
                <a:gd name="T34" fmla="*/ 369 w 1602"/>
                <a:gd name="T35" fmla="*/ 1590 h 2293"/>
                <a:gd name="T36" fmla="*/ 420 w 1602"/>
                <a:gd name="T37" fmla="*/ 1662 h 2293"/>
                <a:gd name="T38" fmla="*/ 474 w 1602"/>
                <a:gd name="T39" fmla="*/ 1733 h 2293"/>
                <a:gd name="T40" fmla="*/ 531 w 1602"/>
                <a:gd name="T41" fmla="*/ 1801 h 2293"/>
                <a:gd name="T42" fmla="*/ 590 w 1602"/>
                <a:gd name="T43" fmla="*/ 1869 h 2293"/>
                <a:gd name="T44" fmla="*/ 652 w 1602"/>
                <a:gd name="T45" fmla="*/ 1933 h 2293"/>
                <a:gd name="T46" fmla="*/ 749 w 1602"/>
                <a:gd name="T47" fmla="*/ 2025 h 2293"/>
                <a:gd name="T48" fmla="*/ 881 w 1602"/>
                <a:gd name="T49" fmla="*/ 2139 h 2293"/>
                <a:gd name="T50" fmla="*/ 1014 w 1602"/>
                <a:gd name="T51" fmla="*/ 2244 h 2293"/>
                <a:gd name="T52" fmla="*/ 1081 w 1602"/>
                <a:gd name="T53" fmla="*/ 2293 h 2293"/>
                <a:gd name="T54" fmla="*/ 1107 w 1602"/>
                <a:gd name="T55" fmla="*/ 2266 h 2293"/>
                <a:gd name="T56" fmla="*/ 1157 w 1602"/>
                <a:gd name="T57" fmla="*/ 2210 h 2293"/>
                <a:gd name="T58" fmla="*/ 1206 w 1602"/>
                <a:gd name="T59" fmla="*/ 2151 h 2293"/>
                <a:gd name="T60" fmla="*/ 1249 w 1602"/>
                <a:gd name="T61" fmla="*/ 2090 h 2293"/>
                <a:gd name="T62" fmla="*/ 1290 w 1602"/>
                <a:gd name="T63" fmla="*/ 2027 h 2293"/>
                <a:gd name="T64" fmla="*/ 1328 w 1602"/>
                <a:gd name="T65" fmla="*/ 1963 h 2293"/>
                <a:gd name="T66" fmla="*/ 1363 w 1602"/>
                <a:gd name="T67" fmla="*/ 1898 h 2293"/>
                <a:gd name="T68" fmla="*/ 1396 w 1602"/>
                <a:gd name="T69" fmla="*/ 1830 h 2293"/>
                <a:gd name="T70" fmla="*/ 1425 w 1602"/>
                <a:gd name="T71" fmla="*/ 1762 h 2293"/>
                <a:gd name="T72" fmla="*/ 1452 w 1602"/>
                <a:gd name="T73" fmla="*/ 1692 h 2293"/>
                <a:gd name="T74" fmla="*/ 1475 w 1602"/>
                <a:gd name="T75" fmla="*/ 1620 h 2293"/>
                <a:gd name="T76" fmla="*/ 1508 w 1602"/>
                <a:gd name="T77" fmla="*/ 1511 h 2293"/>
                <a:gd name="T78" fmla="*/ 1542 w 1602"/>
                <a:gd name="T79" fmla="*/ 1362 h 2293"/>
                <a:gd name="T80" fmla="*/ 1568 w 1602"/>
                <a:gd name="T81" fmla="*/ 1211 h 2293"/>
                <a:gd name="T82" fmla="*/ 1586 w 1602"/>
                <a:gd name="T83" fmla="*/ 1058 h 2293"/>
                <a:gd name="T84" fmla="*/ 1597 w 1602"/>
                <a:gd name="T85" fmla="*/ 902 h 2293"/>
                <a:gd name="T86" fmla="*/ 1602 w 1602"/>
                <a:gd name="T87" fmla="*/ 747 h 2293"/>
                <a:gd name="T88" fmla="*/ 1601 w 1602"/>
                <a:gd name="T89" fmla="*/ 593 h 2293"/>
                <a:gd name="T90" fmla="*/ 1597 w 1602"/>
                <a:gd name="T91" fmla="*/ 440 h 2293"/>
                <a:gd name="T92" fmla="*/ 1588 w 1602"/>
                <a:gd name="T93" fmla="*/ 290 h 2293"/>
                <a:gd name="T94" fmla="*/ 1577 w 1602"/>
                <a:gd name="T95" fmla="*/ 143 h 2293"/>
                <a:gd name="T96" fmla="*/ 46 w 1602"/>
                <a:gd name="T97" fmla="*/ 0 h 2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02" h="2293">
                  <a:moveTo>
                    <a:pt x="46" y="0"/>
                  </a:moveTo>
                  <a:lnTo>
                    <a:pt x="46" y="0"/>
                  </a:lnTo>
                  <a:lnTo>
                    <a:pt x="36" y="39"/>
                  </a:lnTo>
                  <a:lnTo>
                    <a:pt x="27" y="79"/>
                  </a:lnTo>
                  <a:lnTo>
                    <a:pt x="19" y="118"/>
                  </a:lnTo>
                  <a:lnTo>
                    <a:pt x="13" y="158"/>
                  </a:lnTo>
                  <a:lnTo>
                    <a:pt x="8" y="197"/>
                  </a:lnTo>
                  <a:lnTo>
                    <a:pt x="5" y="236"/>
                  </a:lnTo>
                  <a:lnTo>
                    <a:pt x="2" y="276"/>
                  </a:lnTo>
                  <a:lnTo>
                    <a:pt x="0" y="315"/>
                  </a:lnTo>
                  <a:lnTo>
                    <a:pt x="0" y="354"/>
                  </a:lnTo>
                  <a:lnTo>
                    <a:pt x="1" y="394"/>
                  </a:lnTo>
                  <a:lnTo>
                    <a:pt x="4" y="433"/>
                  </a:lnTo>
                  <a:lnTo>
                    <a:pt x="7" y="473"/>
                  </a:lnTo>
                  <a:lnTo>
                    <a:pt x="10" y="512"/>
                  </a:lnTo>
                  <a:lnTo>
                    <a:pt x="16" y="551"/>
                  </a:lnTo>
                  <a:lnTo>
                    <a:pt x="22" y="591"/>
                  </a:lnTo>
                  <a:lnTo>
                    <a:pt x="27" y="630"/>
                  </a:lnTo>
                  <a:lnTo>
                    <a:pt x="35" y="668"/>
                  </a:lnTo>
                  <a:lnTo>
                    <a:pt x="43" y="708"/>
                  </a:lnTo>
                  <a:lnTo>
                    <a:pt x="60" y="785"/>
                  </a:lnTo>
                  <a:lnTo>
                    <a:pt x="80" y="862"/>
                  </a:lnTo>
                  <a:lnTo>
                    <a:pt x="101" y="938"/>
                  </a:lnTo>
                  <a:lnTo>
                    <a:pt x="124" y="1014"/>
                  </a:lnTo>
                  <a:lnTo>
                    <a:pt x="147" y="1089"/>
                  </a:lnTo>
                  <a:lnTo>
                    <a:pt x="195" y="1236"/>
                  </a:lnTo>
                  <a:lnTo>
                    <a:pt x="195" y="1236"/>
                  </a:lnTo>
                  <a:lnTo>
                    <a:pt x="209" y="1277"/>
                  </a:lnTo>
                  <a:lnTo>
                    <a:pt x="224" y="1319"/>
                  </a:lnTo>
                  <a:lnTo>
                    <a:pt x="242" y="1358"/>
                  </a:lnTo>
                  <a:lnTo>
                    <a:pt x="260" y="1398"/>
                  </a:lnTo>
                  <a:lnTo>
                    <a:pt x="279" y="1437"/>
                  </a:lnTo>
                  <a:lnTo>
                    <a:pt x="299" y="1476"/>
                  </a:lnTo>
                  <a:lnTo>
                    <a:pt x="322" y="1514"/>
                  </a:lnTo>
                  <a:lnTo>
                    <a:pt x="344" y="1551"/>
                  </a:lnTo>
                  <a:lnTo>
                    <a:pt x="369" y="1590"/>
                  </a:lnTo>
                  <a:lnTo>
                    <a:pt x="394" y="1626"/>
                  </a:lnTo>
                  <a:lnTo>
                    <a:pt x="420" y="1662"/>
                  </a:lnTo>
                  <a:lnTo>
                    <a:pt x="445" y="1698"/>
                  </a:lnTo>
                  <a:lnTo>
                    <a:pt x="474" y="1733"/>
                  </a:lnTo>
                  <a:lnTo>
                    <a:pt x="502" y="1767"/>
                  </a:lnTo>
                  <a:lnTo>
                    <a:pt x="531" y="1801"/>
                  </a:lnTo>
                  <a:lnTo>
                    <a:pt x="560" y="1835"/>
                  </a:lnTo>
                  <a:lnTo>
                    <a:pt x="590" y="1869"/>
                  </a:lnTo>
                  <a:lnTo>
                    <a:pt x="621" y="1900"/>
                  </a:lnTo>
                  <a:lnTo>
                    <a:pt x="652" y="1933"/>
                  </a:lnTo>
                  <a:lnTo>
                    <a:pt x="685" y="1963"/>
                  </a:lnTo>
                  <a:lnTo>
                    <a:pt x="749" y="2025"/>
                  </a:lnTo>
                  <a:lnTo>
                    <a:pt x="814" y="2084"/>
                  </a:lnTo>
                  <a:lnTo>
                    <a:pt x="881" y="2139"/>
                  </a:lnTo>
                  <a:lnTo>
                    <a:pt x="948" y="2193"/>
                  </a:lnTo>
                  <a:lnTo>
                    <a:pt x="1014" y="2244"/>
                  </a:lnTo>
                  <a:lnTo>
                    <a:pt x="1081" y="2293"/>
                  </a:lnTo>
                  <a:lnTo>
                    <a:pt x="1081" y="2293"/>
                  </a:lnTo>
                  <a:lnTo>
                    <a:pt x="1081" y="2293"/>
                  </a:lnTo>
                  <a:lnTo>
                    <a:pt x="1107" y="2266"/>
                  </a:lnTo>
                  <a:lnTo>
                    <a:pt x="1132" y="2238"/>
                  </a:lnTo>
                  <a:lnTo>
                    <a:pt x="1157" y="2210"/>
                  </a:lnTo>
                  <a:lnTo>
                    <a:pt x="1182" y="2180"/>
                  </a:lnTo>
                  <a:lnTo>
                    <a:pt x="1206" y="2151"/>
                  </a:lnTo>
                  <a:lnTo>
                    <a:pt x="1228" y="2121"/>
                  </a:lnTo>
                  <a:lnTo>
                    <a:pt x="1249" y="2090"/>
                  </a:lnTo>
                  <a:lnTo>
                    <a:pt x="1270" y="2059"/>
                  </a:lnTo>
                  <a:lnTo>
                    <a:pt x="1290" y="2027"/>
                  </a:lnTo>
                  <a:lnTo>
                    <a:pt x="1310" y="1996"/>
                  </a:lnTo>
                  <a:lnTo>
                    <a:pt x="1328" y="1963"/>
                  </a:lnTo>
                  <a:lnTo>
                    <a:pt x="1346" y="1931"/>
                  </a:lnTo>
                  <a:lnTo>
                    <a:pt x="1363" y="1898"/>
                  </a:lnTo>
                  <a:lnTo>
                    <a:pt x="1380" y="1864"/>
                  </a:lnTo>
                  <a:lnTo>
                    <a:pt x="1396" y="1830"/>
                  </a:lnTo>
                  <a:lnTo>
                    <a:pt x="1410" y="1797"/>
                  </a:lnTo>
                  <a:lnTo>
                    <a:pt x="1425" y="1762"/>
                  </a:lnTo>
                  <a:lnTo>
                    <a:pt x="1438" y="1727"/>
                  </a:lnTo>
                  <a:lnTo>
                    <a:pt x="1452" y="1692"/>
                  </a:lnTo>
                  <a:lnTo>
                    <a:pt x="1464" y="1656"/>
                  </a:lnTo>
                  <a:lnTo>
                    <a:pt x="1475" y="1620"/>
                  </a:lnTo>
                  <a:lnTo>
                    <a:pt x="1487" y="1584"/>
                  </a:lnTo>
                  <a:lnTo>
                    <a:pt x="1508" y="1511"/>
                  </a:lnTo>
                  <a:lnTo>
                    <a:pt x="1526" y="1438"/>
                  </a:lnTo>
                  <a:lnTo>
                    <a:pt x="1542" y="1362"/>
                  </a:lnTo>
                  <a:lnTo>
                    <a:pt x="1556" y="1287"/>
                  </a:lnTo>
                  <a:lnTo>
                    <a:pt x="1568" y="1211"/>
                  </a:lnTo>
                  <a:lnTo>
                    <a:pt x="1578" y="1134"/>
                  </a:lnTo>
                  <a:lnTo>
                    <a:pt x="1586" y="1058"/>
                  </a:lnTo>
                  <a:lnTo>
                    <a:pt x="1592" y="980"/>
                  </a:lnTo>
                  <a:lnTo>
                    <a:pt x="1597" y="902"/>
                  </a:lnTo>
                  <a:lnTo>
                    <a:pt x="1600" y="825"/>
                  </a:lnTo>
                  <a:lnTo>
                    <a:pt x="1602" y="747"/>
                  </a:lnTo>
                  <a:lnTo>
                    <a:pt x="1602" y="671"/>
                  </a:lnTo>
                  <a:lnTo>
                    <a:pt x="1601" y="593"/>
                  </a:lnTo>
                  <a:lnTo>
                    <a:pt x="1600" y="516"/>
                  </a:lnTo>
                  <a:lnTo>
                    <a:pt x="1597" y="440"/>
                  </a:lnTo>
                  <a:lnTo>
                    <a:pt x="1592" y="365"/>
                  </a:lnTo>
                  <a:lnTo>
                    <a:pt x="1588" y="290"/>
                  </a:lnTo>
                  <a:lnTo>
                    <a:pt x="1582" y="216"/>
                  </a:lnTo>
                  <a:lnTo>
                    <a:pt x="1577" y="143"/>
                  </a:lnTo>
                  <a:lnTo>
                    <a:pt x="1562" y="0"/>
                  </a:lnTo>
                  <a:lnTo>
                    <a:pt x="46" y="0"/>
                  </a:lnTo>
                  <a:close/>
                </a:path>
              </a:pathLst>
            </a:custGeom>
            <a:solidFill>
              <a:srgbClr val="7991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54" name="Freeform 10"/>
            <p:cNvSpPr>
              <a:spLocks/>
            </p:cNvSpPr>
            <p:nvPr userDrawn="1"/>
          </p:nvSpPr>
          <p:spPr bwMode="auto">
            <a:xfrm>
              <a:off x="4842" y="0"/>
              <a:ext cx="915" cy="2293"/>
            </a:xfrm>
            <a:custGeom>
              <a:avLst/>
              <a:gdLst>
                <a:gd name="T0" fmla="*/ 915 w 915"/>
                <a:gd name="T1" fmla="*/ 1753 h 2293"/>
                <a:gd name="T2" fmla="*/ 915 w 915"/>
                <a:gd name="T3" fmla="*/ 0 h 2293"/>
                <a:gd name="T4" fmla="*/ 240 w 915"/>
                <a:gd name="T5" fmla="*/ 0 h 2293"/>
                <a:gd name="T6" fmla="*/ 240 w 915"/>
                <a:gd name="T7" fmla="*/ 0 h 2293"/>
                <a:gd name="T8" fmla="*/ 247 w 915"/>
                <a:gd name="T9" fmla="*/ 70 h 2293"/>
                <a:gd name="T10" fmla="*/ 254 w 915"/>
                <a:gd name="T11" fmla="*/ 141 h 2293"/>
                <a:gd name="T12" fmla="*/ 259 w 915"/>
                <a:gd name="T13" fmla="*/ 212 h 2293"/>
                <a:gd name="T14" fmla="*/ 263 w 915"/>
                <a:gd name="T15" fmla="*/ 282 h 2293"/>
                <a:gd name="T16" fmla="*/ 266 w 915"/>
                <a:gd name="T17" fmla="*/ 353 h 2293"/>
                <a:gd name="T18" fmla="*/ 270 w 915"/>
                <a:gd name="T19" fmla="*/ 424 h 2293"/>
                <a:gd name="T20" fmla="*/ 271 w 915"/>
                <a:gd name="T21" fmla="*/ 496 h 2293"/>
                <a:gd name="T22" fmla="*/ 272 w 915"/>
                <a:gd name="T23" fmla="*/ 567 h 2293"/>
                <a:gd name="T24" fmla="*/ 271 w 915"/>
                <a:gd name="T25" fmla="*/ 639 h 2293"/>
                <a:gd name="T26" fmla="*/ 270 w 915"/>
                <a:gd name="T27" fmla="*/ 710 h 2293"/>
                <a:gd name="T28" fmla="*/ 268 w 915"/>
                <a:gd name="T29" fmla="*/ 782 h 2293"/>
                <a:gd name="T30" fmla="*/ 265 w 915"/>
                <a:gd name="T31" fmla="*/ 854 h 2293"/>
                <a:gd name="T32" fmla="*/ 261 w 915"/>
                <a:gd name="T33" fmla="*/ 925 h 2293"/>
                <a:gd name="T34" fmla="*/ 256 w 915"/>
                <a:gd name="T35" fmla="*/ 997 h 2293"/>
                <a:gd name="T36" fmla="*/ 250 w 915"/>
                <a:gd name="T37" fmla="*/ 1069 h 2293"/>
                <a:gd name="T38" fmla="*/ 243 w 915"/>
                <a:gd name="T39" fmla="*/ 1141 h 2293"/>
                <a:gd name="T40" fmla="*/ 235 w 915"/>
                <a:gd name="T41" fmla="*/ 1213 h 2293"/>
                <a:gd name="T42" fmla="*/ 227 w 915"/>
                <a:gd name="T43" fmla="*/ 1285 h 2293"/>
                <a:gd name="T44" fmla="*/ 217 w 915"/>
                <a:gd name="T45" fmla="*/ 1357 h 2293"/>
                <a:gd name="T46" fmla="*/ 205 w 915"/>
                <a:gd name="T47" fmla="*/ 1429 h 2293"/>
                <a:gd name="T48" fmla="*/ 194 w 915"/>
                <a:gd name="T49" fmla="*/ 1502 h 2293"/>
                <a:gd name="T50" fmla="*/ 182 w 915"/>
                <a:gd name="T51" fmla="*/ 1574 h 2293"/>
                <a:gd name="T52" fmla="*/ 167 w 915"/>
                <a:gd name="T53" fmla="*/ 1646 h 2293"/>
                <a:gd name="T54" fmla="*/ 153 w 915"/>
                <a:gd name="T55" fmla="*/ 1718 h 2293"/>
                <a:gd name="T56" fmla="*/ 137 w 915"/>
                <a:gd name="T57" fmla="*/ 1790 h 2293"/>
                <a:gd name="T58" fmla="*/ 121 w 915"/>
                <a:gd name="T59" fmla="*/ 1862 h 2293"/>
                <a:gd name="T60" fmla="*/ 103 w 915"/>
                <a:gd name="T61" fmla="*/ 1934 h 2293"/>
                <a:gd name="T62" fmla="*/ 84 w 915"/>
                <a:gd name="T63" fmla="*/ 2006 h 2293"/>
                <a:gd name="T64" fmla="*/ 65 w 915"/>
                <a:gd name="T65" fmla="*/ 2078 h 2293"/>
                <a:gd name="T66" fmla="*/ 44 w 915"/>
                <a:gd name="T67" fmla="*/ 2150 h 2293"/>
                <a:gd name="T68" fmla="*/ 22 w 915"/>
                <a:gd name="T69" fmla="*/ 2221 h 2293"/>
                <a:gd name="T70" fmla="*/ 0 w 915"/>
                <a:gd name="T71" fmla="*/ 2293 h 2293"/>
                <a:gd name="T72" fmla="*/ 0 w 915"/>
                <a:gd name="T73" fmla="*/ 2293 h 2293"/>
                <a:gd name="T74" fmla="*/ 53 w 915"/>
                <a:gd name="T75" fmla="*/ 2255 h 2293"/>
                <a:gd name="T76" fmla="*/ 108 w 915"/>
                <a:gd name="T77" fmla="*/ 2216 h 2293"/>
                <a:gd name="T78" fmla="*/ 162 w 915"/>
                <a:gd name="T79" fmla="*/ 2179 h 2293"/>
                <a:gd name="T80" fmla="*/ 218 w 915"/>
                <a:gd name="T81" fmla="*/ 2142 h 2293"/>
                <a:gd name="T82" fmla="*/ 273 w 915"/>
                <a:gd name="T83" fmla="*/ 2106 h 2293"/>
                <a:gd name="T84" fmla="*/ 329 w 915"/>
                <a:gd name="T85" fmla="*/ 2071 h 2293"/>
                <a:gd name="T86" fmla="*/ 385 w 915"/>
                <a:gd name="T87" fmla="*/ 2036 h 2293"/>
                <a:gd name="T88" fmla="*/ 443 w 915"/>
                <a:gd name="T89" fmla="*/ 2001 h 2293"/>
                <a:gd name="T90" fmla="*/ 500 w 915"/>
                <a:gd name="T91" fmla="*/ 1969 h 2293"/>
                <a:gd name="T92" fmla="*/ 559 w 915"/>
                <a:gd name="T93" fmla="*/ 1935 h 2293"/>
                <a:gd name="T94" fmla="*/ 617 w 915"/>
                <a:gd name="T95" fmla="*/ 1904 h 2293"/>
                <a:gd name="T96" fmla="*/ 675 w 915"/>
                <a:gd name="T97" fmla="*/ 1872 h 2293"/>
                <a:gd name="T98" fmla="*/ 735 w 915"/>
                <a:gd name="T99" fmla="*/ 1842 h 2293"/>
                <a:gd name="T100" fmla="*/ 795 w 915"/>
                <a:gd name="T101" fmla="*/ 1811 h 2293"/>
                <a:gd name="T102" fmla="*/ 854 w 915"/>
                <a:gd name="T103" fmla="*/ 1782 h 2293"/>
                <a:gd name="T104" fmla="*/ 915 w 915"/>
                <a:gd name="T105" fmla="*/ 1753 h 2293"/>
                <a:gd name="T106" fmla="*/ 915 w 915"/>
                <a:gd name="T107" fmla="*/ 1753 h 2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15" h="2293">
                  <a:moveTo>
                    <a:pt x="915" y="1753"/>
                  </a:moveTo>
                  <a:lnTo>
                    <a:pt x="915" y="0"/>
                  </a:lnTo>
                  <a:lnTo>
                    <a:pt x="240" y="0"/>
                  </a:lnTo>
                  <a:lnTo>
                    <a:pt x="240" y="0"/>
                  </a:lnTo>
                  <a:lnTo>
                    <a:pt x="247" y="70"/>
                  </a:lnTo>
                  <a:lnTo>
                    <a:pt x="254" y="141"/>
                  </a:lnTo>
                  <a:lnTo>
                    <a:pt x="259" y="212"/>
                  </a:lnTo>
                  <a:lnTo>
                    <a:pt x="263" y="282"/>
                  </a:lnTo>
                  <a:lnTo>
                    <a:pt x="266" y="353"/>
                  </a:lnTo>
                  <a:lnTo>
                    <a:pt x="270" y="424"/>
                  </a:lnTo>
                  <a:lnTo>
                    <a:pt x="271" y="496"/>
                  </a:lnTo>
                  <a:lnTo>
                    <a:pt x="272" y="567"/>
                  </a:lnTo>
                  <a:lnTo>
                    <a:pt x="271" y="639"/>
                  </a:lnTo>
                  <a:lnTo>
                    <a:pt x="270" y="710"/>
                  </a:lnTo>
                  <a:lnTo>
                    <a:pt x="268" y="782"/>
                  </a:lnTo>
                  <a:lnTo>
                    <a:pt x="265" y="854"/>
                  </a:lnTo>
                  <a:lnTo>
                    <a:pt x="261" y="925"/>
                  </a:lnTo>
                  <a:lnTo>
                    <a:pt x="256" y="997"/>
                  </a:lnTo>
                  <a:lnTo>
                    <a:pt x="250" y="1069"/>
                  </a:lnTo>
                  <a:lnTo>
                    <a:pt x="243" y="1141"/>
                  </a:lnTo>
                  <a:lnTo>
                    <a:pt x="235" y="1213"/>
                  </a:lnTo>
                  <a:lnTo>
                    <a:pt x="227" y="1285"/>
                  </a:lnTo>
                  <a:lnTo>
                    <a:pt x="217" y="1357"/>
                  </a:lnTo>
                  <a:lnTo>
                    <a:pt x="205" y="1429"/>
                  </a:lnTo>
                  <a:lnTo>
                    <a:pt x="194" y="1502"/>
                  </a:lnTo>
                  <a:lnTo>
                    <a:pt x="182" y="1574"/>
                  </a:lnTo>
                  <a:lnTo>
                    <a:pt x="167" y="1646"/>
                  </a:lnTo>
                  <a:lnTo>
                    <a:pt x="153" y="1718"/>
                  </a:lnTo>
                  <a:lnTo>
                    <a:pt x="137" y="1790"/>
                  </a:lnTo>
                  <a:lnTo>
                    <a:pt x="121" y="1862"/>
                  </a:lnTo>
                  <a:lnTo>
                    <a:pt x="103" y="1934"/>
                  </a:lnTo>
                  <a:lnTo>
                    <a:pt x="84" y="2006"/>
                  </a:lnTo>
                  <a:lnTo>
                    <a:pt x="65" y="2078"/>
                  </a:lnTo>
                  <a:lnTo>
                    <a:pt x="44" y="2150"/>
                  </a:lnTo>
                  <a:lnTo>
                    <a:pt x="22" y="2221"/>
                  </a:lnTo>
                  <a:lnTo>
                    <a:pt x="0" y="2293"/>
                  </a:lnTo>
                  <a:lnTo>
                    <a:pt x="0" y="2293"/>
                  </a:lnTo>
                  <a:lnTo>
                    <a:pt x="53" y="2255"/>
                  </a:lnTo>
                  <a:lnTo>
                    <a:pt x="108" y="2216"/>
                  </a:lnTo>
                  <a:lnTo>
                    <a:pt x="162" y="2179"/>
                  </a:lnTo>
                  <a:lnTo>
                    <a:pt x="218" y="2142"/>
                  </a:lnTo>
                  <a:lnTo>
                    <a:pt x="273" y="2106"/>
                  </a:lnTo>
                  <a:lnTo>
                    <a:pt x="329" y="2071"/>
                  </a:lnTo>
                  <a:lnTo>
                    <a:pt x="385" y="2036"/>
                  </a:lnTo>
                  <a:lnTo>
                    <a:pt x="443" y="2001"/>
                  </a:lnTo>
                  <a:lnTo>
                    <a:pt x="500" y="1969"/>
                  </a:lnTo>
                  <a:lnTo>
                    <a:pt x="559" y="1935"/>
                  </a:lnTo>
                  <a:lnTo>
                    <a:pt x="617" y="1904"/>
                  </a:lnTo>
                  <a:lnTo>
                    <a:pt x="675" y="1872"/>
                  </a:lnTo>
                  <a:lnTo>
                    <a:pt x="735" y="1842"/>
                  </a:lnTo>
                  <a:lnTo>
                    <a:pt x="795" y="1811"/>
                  </a:lnTo>
                  <a:lnTo>
                    <a:pt x="854" y="1782"/>
                  </a:lnTo>
                  <a:lnTo>
                    <a:pt x="915" y="1753"/>
                  </a:lnTo>
                  <a:lnTo>
                    <a:pt x="915" y="1753"/>
                  </a:lnTo>
                  <a:close/>
                </a:path>
              </a:pathLst>
            </a:custGeom>
            <a:solidFill>
              <a:srgbClr val="BCC8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55" name="Freeform 11"/>
            <p:cNvSpPr>
              <a:spLocks/>
            </p:cNvSpPr>
            <p:nvPr userDrawn="1"/>
          </p:nvSpPr>
          <p:spPr bwMode="auto">
            <a:xfrm>
              <a:off x="4842" y="2293"/>
              <a:ext cx="915" cy="540"/>
            </a:xfrm>
            <a:custGeom>
              <a:avLst/>
              <a:gdLst>
                <a:gd name="T0" fmla="*/ 915 w 915"/>
                <a:gd name="T1" fmla="*/ 378 h 540"/>
                <a:gd name="T2" fmla="*/ 915 w 915"/>
                <a:gd name="T3" fmla="*/ 378 h 540"/>
                <a:gd name="T4" fmla="*/ 854 w 915"/>
                <a:gd name="T5" fmla="*/ 368 h 540"/>
                <a:gd name="T6" fmla="*/ 795 w 915"/>
                <a:gd name="T7" fmla="*/ 356 h 540"/>
                <a:gd name="T8" fmla="*/ 735 w 915"/>
                <a:gd name="T9" fmla="*/ 342 h 540"/>
                <a:gd name="T10" fmla="*/ 675 w 915"/>
                <a:gd name="T11" fmla="*/ 327 h 540"/>
                <a:gd name="T12" fmla="*/ 617 w 915"/>
                <a:gd name="T13" fmla="*/ 309 h 540"/>
                <a:gd name="T14" fmla="*/ 559 w 915"/>
                <a:gd name="T15" fmla="*/ 290 h 540"/>
                <a:gd name="T16" fmla="*/ 500 w 915"/>
                <a:gd name="T17" fmla="*/ 270 h 540"/>
                <a:gd name="T18" fmla="*/ 442 w 915"/>
                <a:gd name="T19" fmla="*/ 247 h 540"/>
                <a:gd name="T20" fmla="*/ 384 w 915"/>
                <a:gd name="T21" fmla="*/ 223 h 540"/>
                <a:gd name="T22" fmla="*/ 328 w 915"/>
                <a:gd name="T23" fmla="*/ 196 h 540"/>
                <a:gd name="T24" fmla="*/ 272 w 915"/>
                <a:gd name="T25" fmla="*/ 167 h 540"/>
                <a:gd name="T26" fmla="*/ 216 w 915"/>
                <a:gd name="T27" fmla="*/ 138 h 540"/>
                <a:gd name="T28" fmla="*/ 161 w 915"/>
                <a:gd name="T29" fmla="*/ 107 h 540"/>
                <a:gd name="T30" fmla="*/ 107 w 915"/>
                <a:gd name="T31" fmla="*/ 73 h 540"/>
                <a:gd name="T32" fmla="*/ 53 w 915"/>
                <a:gd name="T33" fmla="*/ 37 h 540"/>
                <a:gd name="T34" fmla="*/ 0 w 915"/>
                <a:gd name="T35" fmla="*/ 0 h 540"/>
                <a:gd name="T36" fmla="*/ 0 w 915"/>
                <a:gd name="T37" fmla="*/ 0 h 540"/>
                <a:gd name="T38" fmla="*/ 55 w 915"/>
                <a:gd name="T39" fmla="*/ 39 h 540"/>
                <a:gd name="T40" fmla="*/ 110 w 915"/>
                <a:gd name="T41" fmla="*/ 79 h 540"/>
                <a:gd name="T42" fmla="*/ 165 w 915"/>
                <a:gd name="T43" fmla="*/ 116 h 540"/>
                <a:gd name="T44" fmla="*/ 221 w 915"/>
                <a:gd name="T45" fmla="*/ 153 h 540"/>
                <a:gd name="T46" fmla="*/ 277 w 915"/>
                <a:gd name="T47" fmla="*/ 190 h 540"/>
                <a:gd name="T48" fmla="*/ 334 w 915"/>
                <a:gd name="T49" fmla="*/ 225 h 540"/>
                <a:gd name="T50" fmla="*/ 391 w 915"/>
                <a:gd name="T51" fmla="*/ 260 h 540"/>
                <a:gd name="T52" fmla="*/ 448 w 915"/>
                <a:gd name="T53" fmla="*/ 295 h 540"/>
                <a:gd name="T54" fmla="*/ 506 w 915"/>
                <a:gd name="T55" fmla="*/ 327 h 540"/>
                <a:gd name="T56" fmla="*/ 563 w 915"/>
                <a:gd name="T57" fmla="*/ 360 h 540"/>
                <a:gd name="T58" fmla="*/ 622 w 915"/>
                <a:gd name="T59" fmla="*/ 392 h 540"/>
                <a:gd name="T60" fmla="*/ 679 w 915"/>
                <a:gd name="T61" fmla="*/ 423 h 540"/>
                <a:gd name="T62" fmla="*/ 737 w 915"/>
                <a:gd name="T63" fmla="*/ 453 h 540"/>
                <a:gd name="T64" fmla="*/ 797 w 915"/>
                <a:gd name="T65" fmla="*/ 482 h 540"/>
                <a:gd name="T66" fmla="*/ 855 w 915"/>
                <a:gd name="T67" fmla="*/ 512 h 540"/>
                <a:gd name="T68" fmla="*/ 915 w 915"/>
                <a:gd name="T69" fmla="*/ 540 h 540"/>
                <a:gd name="T70" fmla="*/ 915 w 915"/>
                <a:gd name="T71" fmla="*/ 378 h 5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15" h="540">
                  <a:moveTo>
                    <a:pt x="915" y="378"/>
                  </a:moveTo>
                  <a:lnTo>
                    <a:pt x="915" y="378"/>
                  </a:lnTo>
                  <a:lnTo>
                    <a:pt x="854" y="368"/>
                  </a:lnTo>
                  <a:lnTo>
                    <a:pt x="795" y="356"/>
                  </a:lnTo>
                  <a:lnTo>
                    <a:pt x="735" y="342"/>
                  </a:lnTo>
                  <a:lnTo>
                    <a:pt x="675" y="327"/>
                  </a:lnTo>
                  <a:lnTo>
                    <a:pt x="617" y="309"/>
                  </a:lnTo>
                  <a:lnTo>
                    <a:pt x="559" y="290"/>
                  </a:lnTo>
                  <a:lnTo>
                    <a:pt x="500" y="270"/>
                  </a:lnTo>
                  <a:lnTo>
                    <a:pt x="442" y="247"/>
                  </a:lnTo>
                  <a:lnTo>
                    <a:pt x="384" y="223"/>
                  </a:lnTo>
                  <a:lnTo>
                    <a:pt x="328" y="196"/>
                  </a:lnTo>
                  <a:lnTo>
                    <a:pt x="272" y="167"/>
                  </a:lnTo>
                  <a:lnTo>
                    <a:pt x="216" y="138"/>
                  </a:lnTo>
                  <a:lnTo>
                    <a:pt x="161" y="107"/>
                  </a:lnTo>
                  <a:lnTo>
                    <a:pt x="107" y="73"/>
                  </a:lnTo>
                  <a:lnTo>
                    <a:pt x="53" y="37"/>
                  </a:lnTo>
                  <a:lnTo>
                    <a:pt x="0" y="0"/>
                  </a:lnTo>
                  <a:lnTo>
                    <a:pt x="0" y="0"/>
                  </a:lnTo>
                  <a:lnTo>
                    <a:pt x="55" y="39"/>
                  </a:lnTo>
                  <a:lnTo>
                    <a:pt x="110" y="79"/>
                  </a:lnTo>
                  <a:lnTo>
                    <a:pt x="165" y="116"/>
                  </a:lnTo>
                  <a:lnTo>
                    <a:pt x="221" y="153"/>
                  </a:lnTo>
                  <a:lnTo>
                    <a:pt x="277" y="190"/>
                  </a:lnTo>
                  <a:lnTo>
                    <a:pt x="334" y="225"/>
                  </a:lnTo>
                  <a:lnTo>
                    <a:pt x="391" y="260"/>
                  </a:lnTo>
                  <a:lnTo>
                    <a:pt x="448" y="295"/>
                  </a:lnTo>
                  <a:lnTo>
                    <a:pt x="506" y="327"/>
                  </a:lnTo>
                  <a:lnTo>
                    <a:pt x="563" y="360"/>
                  </a:lnTo>
                  <a:lnTo>
                    <a:pt x="622" y="392"/>
                  </a:lnTo>
                  <a:lnTo>
                    <a:pt x="679" y="423"/>
                  </a:lnTo>
                  <a:lnTo>
                    <a:pt x="737" y="453"/>
                  </a:lnTo>
                  <a:lnTo>
                    <a:pt x="797" y="482"/>
                  </a:lnTo>
                  <a:lnTo>
                    <a:pt x="855" y="512"/>
                  </a:lnTo>
                  <a:lnTo>
                    <a:pt x="915" y="540"/>
                  </a:lnTo>
                  <a:lnTo>
                    <a:pt x="915" y="378"/>
                  </a:lnTo>
                  <a:close/>
                </a:path>
              </a:pathLst>
            </a:custGeom>
            <a:solidFill>
              <a:srgbClr val="5876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56" name="Freeform 12"/>
            <p:cNvSpPr>
              <a:spLocks/>
            </p:cNvSpPr>
            <p:nvPr userDrawn="1"/>
          </p:nvSpPr>
          <p:spPr bwMode="auto">
            <a:xfrm>
              <a:off x="3008" y="0"/>
              <a:ext cx="1834" cy="2293"/>
            </a:xfrm>
            <a:custGeom>
              <a:avLst/>
              <a:gdLst>
                <a:gd name="T0" fmla="*/ 1065 w 1834"/>
                <a:gd name="T1" fmla="*/ 1236 h 2293"/>
                <a:gd name="T2" fmla="*/ 1042 w 1834"/>
                <a:gd name="T3" fmla="*/ 1163 h 2293"/>
                <a:gd name="T4" fmla="*/ 1023 w 1834"/>
                <a:gd name="T5" fmla="*/ 1089 h 2293"/>
                <a:gd name="T6" fmla="*/ 1005 w 1834"/>
                <a:gd name="T7" fmla="*/ 1014 h 2293"/>
                <a:gd name="T8" fmla="*/ 992 w 1834"/>
                <a:gd name="T9" fmla="*/ 938 h 2293"/>
                <a:gd name="T10" fmla="*/ 979 w 1834"/>
                <a:gd name="T11" fmla="*/ 862 h 2293"/>
                <a:gd name="T12" fmla="*/ 970 w 1834"/>
                <a:gd name="T13" fmla="*/ 785 h 2293"/>
                <a:gd name="T14" fmla="*/ 965 w 1834"/>
                <a:gd name="T15" fmla="*/ 708 h 2293"/>
                <a:gd name="T16" fmla="*/ 961 w 1834"/>
                <a:gd name="T17" fmla="*/ 630 h 2293"/>
                <a:gd name="T18" fmla="*/ 961 w 1834"/>
                <a:gd name="T19" fmla="*/ 551 h 2293"/>
                <a:gd name="T20" fmla="*/ 963 w 1834"/>
                <a:gd name="T21" fmla="*/ 473 h 2293"/>
                <a:gd name="T22" fmla="*/ 969 w 1834"/>
                <a:gd name="T23" fmla="*/ 394 h 2293"/>
                <a:gd name="T24" fmla="*/ 978 w 1834"/>
                <a:gd name="T25" fmla="*/ 315 h 2293"/>
                <a:gd name="T26" fmla="*/ 990 w 1834"/>
                <a:gd name="T27" fmla="*/ 236 h 2293"/>
                <a:gd name="T28" fmla="*/ 1005 w 1834"/>
                <a:gd name="T29" fmla="*/ 158 h 2293"/>
                <a:gd name="T30" fmla="*/ 1023 w 1834"/>
                <a:gd name="T31" fmla="*/ 79 h 2293"/>
                <a:gd name="T32" fmla="*/ 1043 w 1834"/>
                <a:gd name="T33" fmla="*/ 0 h 2293"/>
                <a:gd name="T34" fmla="*/ 0 w 1834"/>
                <a:gd name="T35" fmla="*/ 0 h 2293"/>
                <a:gd name="T36" fmla="*/ 79 w 1834"/>
                <a:gd name="T37" fmla="*/ 174 h 2293"/>
                <a:gd name="T38" fmla="*/ 162 w 1834"/>
                <a:gd name="T39" fmla="*/ 345 h 2293"/>
                <a:gd name="T40" fmla="*/ 252 w 1834"/>
                <a:gd name="T41" fmla="*/ 512 h 2293"/>
                <a:gd name="T42" fmla="*/ 346 w 1834"/>
                <a:gd name="T43" fmla="*/ 675 h 2293"/>
                <a:gd name="T44" fmla="*/ 445 w 1834"/>
                <a:gd name="T45" fmla="*/ 835 h 2293"/>
                <a:gd name="T46" fmla="*/ 550 w 1834"/>
                <a:gd name="T47" fmla="*/ 989 h 2293"/>
                <a:gd name="T48" fmla="*/ 659 w 1834"/>
                <a:gd name="T49" fmla="*/ 1140 h 2293"/>
                <a:gd name="T50" fmla="*/ 773 w 1834"/>
                <a:gd name="T51" fmla="*/ 1286 h 2293"/>
                <a:gd name="T52" fmla="*/ 891 w 1834"/>
                <a:gd name="T53" fmla="*/ 1428 h 2293"/>
                <a:gd name="T54" fmla="*/ 1014 w 1834"/>
                <a:gd name="T55" fmla="*/ 1565 h 2293"/>
                <a:gd name="T56" fmla="*/ 1141 w 1834"/>
                <a:gd name="T57" fmla="*/ 1699 h 2293"/>
                <a:gd name="T58" fmla="*/ 1272 w 1834"/>
                <a:gd name="T59" fmla="*/ 1827 h 2293"/>
                <a:gd name="T60" fmla="*/ 1406 w 1834"/>
                <a:gd name="T61" fmla="*/ 1951 h 2293"/>
                <a:gd name="T62" fmla="*/ 1545 w 1834"/>
                <a:gd name="T63" fmla="*/ 2069 h 2293"/>
                <a:gd name="T64" fmla="*/ 1688 w 1834"/>
                <a:gd name="T65" fmla="*/ 2184 h 2293"/>
                <a:gd name="T66" fmla="*/ 1834 w 1834"/>
                <a:gd name="T67" fmla="*/ 2293 h 2293"/>
                <a:gd name="T68" fmla="*/ 1801 w 1834"/>
                <a:gd name="T69" fmla="*/ 2269 h 2293"/>
                <a:gd name="T70" fmla="*/ 1737 w 1834"/>
                <a:gd name="T71" fmla="*/ 2219 h 2293"/>
                <a:gd name="T72" fmla="*/ 1675 w 1834"/>
                <a:gd name="T73" fmla="*/ 2167 h 2293"/>
                <a:gd name="T74" fmla="*/ 1616 w 1834"/>
                <a:gd name="T75" fmla="*/ 2112 h 2293"/>
                <a:gd name="T76" fmla="*/ 1557 w 1834"/>
                <a:gd name="T77" fmla="*/ 2054 h 2293"/>
                <a:gd name="T78" fmla="*/ 1502 w 1834"/>
                <a:gd name="T79" fmla="*/ 1995 h 2293"/>
                <a:gd name="T80" fmla="*/ 1448 w 1834"/>
                <a:gd name="T81" fmla="*/ 1933 h 2293"/>
                <a:gd name="T82" fmla="*/ 1396 w 1834"/>
                <a:gd name="T83" fmla="*/ 1869 h 2293"/>
                <a:gd name="T84" fmla="*/ 1348 w 1834"/>
                <a:gd name="T85" fmla="*/ 1801 h 2293"/>
                <a:gd name="T86" fmla="*/ 1301 w 1834"/>
                <a:gd name="T87" fmla="*/ 1733 h 2293"/>
                <a:gd name="T88" fmla="*/ 1257 w 1834"/>
                <a:gd name="T89" fmla="*/ 1662 h 2293"/>
                <a:gd name="T90" fmla="*/ 1216 w 1834"/>
                <a:gd name="T91" fmla="*/ 1590 h 2293"/>
                <a:gd name="T92" fmla="*/ 1177 w 1834"/>
                <a:gd name="T93" fmla="*/ 1514 h 2293"/>
                <a:gd name="T94" fmla="*/ 1142 w 1834"/>
                <a:gd name="T95" fmla="*/ 1437 h 2293"/>
                <a:gd name="T96" fmla="*/ 1108 w 1834"/>
                <a:gd name="T97" fmla="*/ 1358 h 2293"/>
                <a:gd name="T98" fmla="*/ 1079 w 1834"/>
                <a:gd name="T99" fmla="*/ 1277 h 2293"/>
                <a:gd name="T100" fmla="*/ 1065 w 1834"/>
                <a:gd name="T101" fmla="*/ 1236 h 2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834" h="2293">
                  <a:moveTo>
                    <a:pt x="1065" y="1236"/>
                  </a:moveTo>
                  <a:lnTo>
                    <a:pt x="1065" y="1236"/>
                  </a:lnTo>
                  <a:lnTo>
                    <a:pt x="1053" y="1199"/>
                  </a:lnTo>
                  <a:lnTo>
                    <a:pt x="1042" y="1163"/>
                  </a:lnTo>
                  <a:lnTo>
                    <a:pt x="1032" y="1126"/>
                  </a:lnTo>
                  <a:lnTo>
                    <a:pt x="1023" y="1089"/>
                  </a:lnTo>
                  <a:lnTo>
                    <a:pt x="1014" y="1051"/>
                  </a:lnTo>
                  <a:lnTo>
                    <a:pt x="1005" y="1014"/>
                  </a:lnTo>
                  <a:lnTo>
                    <a:pt x="998" y="975"/>
                  </a:lnTo>
                  <a:lnTo>
                    <a:pt x="992" y="938"/>
                  </a:lnTo>
                  <a:lnTo>
                    <a:pt x="985" y="900"/>
                  </a:lnTo>
                  <a:lnTo>
                    <a:pt x="979" y="862"/>
                  </a:lnTo>
                  <a:lnTo>
                    <a:pt x="975" y="824"/>
                  </a:lnTo>
                  <a:lnTo>
                    <a:pt x="970" y="785"/>
                  </a:lnTo>
                  <a:lnTo>
                    <a:pt x="967" y="746"/>
                  </a:lnTo>
                  <a:lnTo>
                    <a:pt x="965" y="708"/>
                  </a:lnTo>
                  <a:lnTo>
                    <a:pt x="962" y="668"/>
                  </a:lnTo>
                  <a:lnTo>
                    <a:pt x="961" y="630"/>
                  </a:lnTo>
                  <a:lnTo>
                    <a:pt x="961" y="591"/>
                  </a:lnTo>
                  <a:lnTo>
                    <a:pt x="961" y="551"/>
                  </a:lnTo>
                  <a:lnTo>
                    <a:pt x="962" y="512"/>
                  </a:lnTo>
                  <a:lnTo>
                    <a:pt x="963" y="473"/>
                  </a:lnTo>
                  <a:lnTo>
                    <a:pt x="967" y="433"/>
                  </a:lnTo>
                  <a:lnTo>
                    <a:pt x="969" y="394"/>
                  </a:lnTo>
                  <a:lnTo>
                    <a:pt x="974" y="354"/>
                  </a:lnTo>
                  <a:lnTo>
                    <a:pt x="978" y="315"/>
                  </a:lnTo>
                  <a:lnTo>
                    <a:pt x="984" y="276"/>
                  </a:lnTo>
                  <a:lnTo>
                    <a:pt x="990" y="236"/>
                  </a:lnTo>
                  <a:lnTo>
                    <a:pt x="997" y="197"/>
                  </a:lnTo>
                  <a:lnTo>
                    <a:pt x="1005" y="158"/>
                  </a:lnTo>
                  <a:lnTo>
                    <a:pt x="1013" y="118"/>
                  </a:lnTo>
                  <a:lnTo>
                    <a:pt x="1023" y="79"/>
                  </a:lnTo>
                  <a:lnTo>
                    <a:pt x="1033" y="39"/>
                  </a:lnTo>
                  <a:lnTo>
                    <a:pt x="104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38" y="88"/>
                  </a:lnTo>
                  <a:lnTo>
                    <a:pt x="79" y="174"/>
                  </a:lnTo>
                  <a:lnTo>
                    <a:pt x="120" y="260"/>
                  </a:lnTo>
                  <a:lnTo>
                    <a:pt x="162" y="345"/>
                  </a:lnTo>
                  <a:lnTo>
                    <a:pt x="207" y="430"/>
                  </a:lnTo>
                  <a:lnTo>
                    <a:pt x="252" y="512"/>
                  </a:lnTo>
                  <a:lnTo>
                    <a:pt x="298" y="594"/>
                  </a:lnTo>
                  <a:lnTo>
                    <a:pt x="346" y="675"/>
                  </a:lnTo>
                  <a:lnTo>
                    <a:pt x="396" y="755"/>
                  </a:lnTo>
                  <a:lnTo>
                    <a:pt x="445" y="835"/>
                  </a:lnTo>
                  <a:lnTo>
                    <a:pt x="497" y="912"/>
                  </a:lnTo>
                  <a:lnTo>
                    <a:pt x="550" y="989"/>
                  </a:lnTo>
                  <a:lnTo>
                    <a:pt x="604" y="1065"/>
                  </a:lnTo>
                  <a:lnTo>
                    <a:pt x="659" y="1140"/>
                  </a:lnTo>
                  <a:lnTo>
                    <a:pt x="716" y="1214"/>
                  </a:lnTo>
                  <a:lnTo>
                    <a:pt x="773" y="1286"/>
                  </a:lnTo>
                  <a:lnTo>
                    <a:pt x="832" y="1358"/>
                  </a:lnTo>
                  <a:lnTo>
                    <a:pt x="891" y="1428"/>
                  </a:lnTo>
                  <a:lnTo>
                    <a:pt x="952" y="1497"/>
                  </a:lnTo>
                  <a:lnTo>
                    <a:pt x="1014" y="1565"/>
                  </a:lnTo>
                  <a:lnTo>
                    <a:pt x="1077" y="1632"/>
                  </a:lnTo>
                  <a:lnTo>
                    <a:pt x="1141" y="1699"/>
                  </a:lnTo>
                  <a:lnTo>
                    <a:pt x="1206" y="1763"/>
                  </a:lnTo>
                  <a:lnTo>
                    <a:pt x="1272" y="1827"/>
                  </a:lnTo>
                  <a:lnTo>
                    <a:pt x="1339" y="1889"/>
                  </a:lnTo>
                  <a:lnTo>
                    <a:pt x="1406" y="1951"/>
                  </a:lnTo>
                  <a:lnTo>
                    <a:pt x="1475" y="2010"/>
                  </a:lnTo>
                  <a:lnTo>
                    <a:pt x="1545" y="2069"/>
                  </a:lnTo>
                  <a:lnTo>
                    <a:pt x="1616" y="2127"/>
                  </a:lnTo>
                  <a:lnTo>
                    <a:pt x="1688" y="2184"/>
                  </a:lnTo>
                  <a:lnTo>
                    <a:pt x="1760" y="2239"/>
                  </a:lnTo>
                  <a:lnTo>
                    <a:pt x="1834" y="2293"/>
                  </a:lnTo>
                  <a:lnTo>
                    <a:pt x="1834" y="2293"/>
                  </a:lnTo>
                  <a:lnTo>
                    <a:pt x="1801" y="2269"/>
                  </a:lnTo>
                  <a:lnTo>
                    <a:pt x="1769" y="2244"/>
                  </a:lnTo>
                  <a:lnTo>
                    <a:pt x="1737" y="2219"/>
                  </a:lnTo>
                  <a:lnTo>
                    <a:pt x="1706" y="2193"/>
                  </a:lnTo>
                  <a:lnTo>
                    <a:pt x="1675" y="2167"/>
                  </a:lnTo>
                  <a:lnTo>
                    <a:pt x="1645" y="2139"/>
                  </a:lnTo>
                  <a:lnTo>
                    <a:pt x="1616" y="2112"/>
                  </a:lnTo>
                  <a:lnTo>
                    <a:pt x="1586" y="2084"/>
                  </a:lnTo>
                  <a:lnTo>
                    <a:pt x="1557" y="2054"/>
                  </a:lnTo>
                  <a:lnTo>
                    <a:pt x="1529" y="2025"/>
                  </a:lnTo>
                  <a:lnTo>
                    <a:pt x="1502" y="1995"/>
                  </a:lnTo>
                  <a:lnTo>
                    <a:pt x="1475" y="1963"/>
                  </a:lnTo>
                  <a:lnTo>
                    <a:pt x="1448" y="1933"/>
                  </a:lnTo>
                  <a:lnTo>
                    <a:pt x="1422" y="1900"/>
                  </a:lnTo>
                  <a:lnTo>
                    <a:pt x="1396" y="1869"/>
                  </a:lnTo>
                  <a:lnTo>
                    <a:pt x="1372" y="1835"/>
                  </a:lnTo>
                  <a:lnTo>
                    <a:pt x="1348" y="1801"/>
                  </a:lnTo>
                  <a:lnTo>
                    <a:pt x="1324" y="1767"/>
                  </a:lnTo>
                  <a:lnTo>
                    <a:pt x="1301" y="1733"/>
                  </a:lnTo>
                  <a:lnTo>
                    <a:pt x="1279" y="1698"/>
                  </a:lnTo>
                  <a:lnTo>
                    <a:pt x="1257" y="1662"/>
                  </a:lnTo>
                  <a:lnTo>
                    <a:pt x="1237" y="1626"/>
                  </a:lnTo>
                  <a:lnTo>
                    <a:pt x="1216" y="1590"/>
                  </a:lnTo>
                  <a:lnTo>
                    <a:pt x="1196" y="1551"/>
                  </a:lnTo>
                  <a:lnTo>
                    <a:pt x="1177" y="1514"/>
                  </a:lnTo>
                  <a:lnTo>
                    <a:pt x="1159" y="1476"/>
                  </a:lnTo>
                  <a:lnTo>
                    <a:pt x="1142" y="1437"/>
                  </a:lnTo>
                  <a:lnTo>
                    <a:pt x="1125" y="1398"/>
                  </a:lnTo>
                  <a:lnTo>
                    <a:pt x="1108" y="1358"/>
                  </a:lnTo>
                  <a:lnTo>
                    <a:pt x="1094" y="1319"/>
                  </a:lnTo>
                  <a:lnTo>
                    <a:pt x="1079" y="1277"/>
                  </a:lnTo>
                  <a:lnTo>
                    <a:pt x="1065" y="1236"/>
                  </a:lnTo>
                  <a:lnTo>
                    <a:pt x="1065" y="1236"/>
                  </a:lnTo>
                  <a:close/>
                </a:path>
              </a:pathLst>
            </a:custGeom>
            <a:solidFill>
              <a:srgbClr val="5876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57" name="Freeform 13"/>
            <p:cNvSpPr>
              <a:spLocks/>
            </p:cNvSpPr>
            <p:nvPr userDrawn="1"/>
          </p:nvSpPr>
          <p:spPr bwMode="auto">
            <a:xfrm>
              <a:off x="3831" y="2293"/>
              <a:ext cx="1011" cy="947"/>
            </a:xfrm>
            <a:custGeom>
              <a:avLst/>
              <a:gdLst>
                <a:gd name="T0" fmla="*/ 603 w 1011"/>
                <a:gd name="T1" fmla="*/ 947 h 947"/>
                <a:gd name="T2" fmla="*/ 603 w 1011"/>
                <a:gd name="T3" fmla="*/ 947 h 947"/>
                <a:gd name="T4" fmla="*/ 633 w 1011"/>
                <a:gd name="T5" fmla="*/ 890 h 947"/>
                <a:gd name="T6" fmla="*/ 663 w 1011"/>
                <a:gd name="T7" fmla="*/ 832 h 947"/>
                <a:gd name="T8" fmla="*/ 693 w 1011"/>
                <a:gd name="T9" fmla="*/ 775 h 947"/>
                <a:gd name="T10" fmla="*/ 722 w 1011"/>
                <a:gd name="T11" fmla="*/ 716 h 947"/>
                <a:gd name="T12" fmla="*/ 750 w 1011"/>
                <a:gd name="T13" fmla="*/ 658 h 947"/>
                <a:gd name="T14" fmla="*/ 777 w 1011"/>
                <a:gd name="T15" fmla="*/ 599 h 947"/>
                <a:gd name="T16" fmla="*/ 803 w 1011"/>
                <a:gd name="T17" fmla="*/ 541 h 947"/>
                <a:gd name="T18" fmla="*/ 829 w 1011"/>
                <a:gd name="T19" fmla="*/ 481 h 947"/>
                <a:gd name="T20" fmla="*/ 854 w 1011"/>
                <a:gd name="T21" fmla="*/ 423 h 947"/>
                <a:gd name="T22" fmla="*/ 878 w 1011"/>
                <a:gd name="T23" fmla="*/ 363 h 947"/>
                <a:gd name="T24" fmla="*/ 903 w 1011"/>
                <a:gd name="T25" fmla="*/ 302 h 947"/>
                <a:gd name="T26" fmla="*/ 925 w 1011"/>
                <a:gd name="T27" fmla="*/ 243 h 947"/>
                <a:gd name="T28" fmla="*/ 948 w 1011"/>
                <a:gd name="T29" fmla="*/ 182 h 947"/>
                <a:gd name="T30" fmla="*/ 969 w 1011"/>
                <a:gd name="T31" fmla="*/ 121 h 947"/>
                <a:gd name="T32" fmla="*/ 990 w 1011"/>
                <a:gd name="T33" fmla="*/ 61 h 947"/>
                <a:gd name="T34" fmla="*/ 1011 w 1011"/>
                <a:gd name="T35" fmla="*/ 0 h 947"/>
                <a:gd name="T36" fmla="*/ 1011 w 1011"/>
                <a:gd name="T37" fmla="*/ 0 h 947"/>
                <a:gd name="T38" fmla="*/ 1011 w 1011"/>
                <a:gd name="T39" fmla="*/ 0 h 947"/>
                <a:gd name="T40" fmla="*/ 939 w 1011"/>
                <a:gd name="T41" fmla="*/ 53 h 947"/>
                <a:gd name="T42" fmla="*/ 868 w 1011"/>
                <a:gd name="T43" fmla="*/ 107 h 947"/>
                <a:gd name="T44" fmla="*/ 799 w 1011"/>
                <a:gd name="T45" fmla="*/ 161 h 947"/>
                <a:gd name="T46" fmla="*/ 731 w 1011"/>
                <a:gd name="T47" fmla="*/ 217 h 947"/>
                <a:gd name="T48" fmla="*/ 664 w 1011"/>
                <a:gd name="T49" fmla="*/ 273 h 947"/>
                <a:gd name="T50" fmla="*/ 598 w 1011"/>
                <a:gd name="T51" fmla="*/ 329 h 947"/>
                <a:gd name="T52" fmla="*/ 533 w 1011"/>
                <a:gd name="T53" fmla="*/ 388 h 947"/>
                <a:gd name="T54" fmla="*/ 470 w 1011"/>
                <a:gd name="T55" fmla="*/ 446 h 947"/>
                <a:gd name="T56" fmla="*/ 407 w 1011"/>
                <a:gd name="T57" fmla="*/ 507 h 947"/>
                <a:gd name="T58" fmla="*/ 345 w 1011"/>
                <a:gd name="T59" fmla="*/ 567 h 947"/>
                <a:gd name="T60" fmla="*/ 284 w 1011"/>
                <a:gd name="T61" fmla="*/ 629 h 947"/>
                <a:gd name="T62" fmla="*/ 226 w 1011"/>
                <a:gd name="T63" fmla="*/ 691 h 947"/>
                <a:gd name="T64" fmla="*/ 167 w 1011"/>
                <a:gd name="T65" fmla="*/ 754 h 947"/>
                <a:gd name="T66" fmla="*/ 110 w 1011"/>
                <a:gd name="T67" fmla="*/ 818 h 947"/>
                <a:gd name="T68" fmla="*/ 54 w 1011"/>
                <a:gd name="T69" fmla="*/ 882 h 947"/>
                <a:gd name="T70" fmla="*/ 0 w 1011"/>
                <a:gd name="T71" fmla="*/ 947 h 947"/>
                <a:gd name="T72" fmla="*/ 603 w 1011"/>
                <a:gd name="T73" fmla="*/ 947 h 9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011" h="947">
                  <a:moveTo>
                    <a:pt x="603" y="947"/>
                  </a:moveTo>
                  <a:lnTo>
                    <a:pt x="603" y="947"/>
                  </a:lnTo>
                  <a:lnTo>
                    <a:pt x="633" y="890"/>
                  </a:lnTo>
                  <a:lnTo>
                    <a:pt x="663" y="832"/>
                  </a:lnTo>
                  <a:lnTo>
                    <a:pt x="693" y="775"/>
                  </a:lnTo>
                  <a:lnTo>
                    <a:pt x="722" y="716"/>
                  </a:lnTo>
                  <a:lnTo>
                    <a:pt x="750" y="658"/>
                  </a:lnTo>
                  <a:lnTo>
                    <a:pt x="777" y="599"/>
                  </a:lnTo>
                  <a:lnTo>
                    <a:pt x="803" y="541"/>
                  </a:lnTo>
                  <a:lnTo>
                    <a:pt x="829" y="481"/>
                  </a:lnTo>
                  <a:lnTo>
                    <a:pt x="854" y="423"/>
                  </a:lnTo>
                  <a:lnTo>
                    <a:pt x="878" y="363"/>
                  </a:lnTo>
                  <a:lnTo>
                    <a:pt x="903" y="302"/>
                  </a:lnTo>
                  <a:lnTo>
                    <a:pt x="925" y="243"/>
                  </a:lnTo>
                  <a:lnTo>
                    <a:pt x="948" y="182"/>
                  </a:lnTo>
                  <a:lnTo>
                    <a:pt x="969" y="121"/>
                  </a:lnTo>
                  <a:lnTo>
                    <a:pt x="990" y="61"/>
                  </a:lnTo>
                  <a:lnTo>
                    <a:pt x="1011" y="0"/>
                  </a:lnTo>
                  <a:lnTo>
                    <a:pt x="1011" y="0"/>
                  </a:lnTo>
                  <a:lnTo>
                    <a:pt x="1011" y="0"/>
                  </a:lnTo>
                  <a:lnTo>
                    <a:pt x="939" y="53"/>
                  </a:lnTo>
                  <a:lnTo>
                    <a:pt x="868" y="107"/>
                  </a:lnTo>
                  <a:lnTo>
                    <a:pt x="799" y="161"/>
                  </a:lnTo>
                  <a:lnTo>
                    <a:pt x="731" y="217"/>
                  </a:lnTo>
                  <a:lnTo>
                    <a:pt x="664" y="273"/>
                  </a:lnTo>
                  <a:lnTo>
                    <a:pt x="598" y="329"/>
                  </a:lnTo>
                  <a:lnTo>
                    <a:pt x="533" y="388"/>
                  </a:lnTo>
                  <a:lnTo>
                    <a:pt x="470" y="446"/>
                  </a:lnTo>
                  <a:lnTo>
                    <a:pt x="407" y="507"/>
                  </a:lnTo>
                  <a:lnTo>
                    <a:pt x="345" y="567"/>
                  </a:lnTo>
                  <a:lnTo>
                    <a:pt x="284" y="629"/>
                  </a:lnTo>
                  <a:lnTo>
                    <a:pt x="226" y="691"/>
                  </a:lnTo>
                  <a:lnTo>
                    <a:pt x="167" y="754"/>
                  </a:lnTo>
                  <a:lnTo>
                    <a:pt x="110" y="818"/>
                  </a:lnTo>
                  <a:lnTo>
                    <a:pt x="54" y="882"/>
                  </a:lnTo>
                  <a:lnTo>
                    <a:pt x="0" y="947"/>
                  </a:lnTo>
                  <a:lnTo>
                    <a:pt x="603" y="947"/>
                  </a:lnTo>
                  <a:close/>
                </a:path>
              </a:pathLst>
            </a:custGeom>
            <a:solidFill>
              <a:srgbClr val="5876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</p:grpSp>
      <p:grpSp>
        <p:nvGrpSpPr>
          <p:cNvPr id="3" name="Group 4"/>
          <p:cNvGrpSpPr>
            <a:grpSpLocks noChangeAspect="1"/>
          </p:cNvGrpSpPr>
          <p:nvPr userDrawn="1"/>
        </p:nvGrpSpPr>
        <p:grpSpPr bwMode="auto">
          <a:xfrm>
            <a:off x="937685" y="836085"/>
            <a:ext cx="4102104" cy="1193803"/>
            <a:chOff x="443" y="395"/>
            <a:chExt cx="1938" cy="564"/>
          </a:xfrm>
        </p:grpSpPr>
        <p:sp>
          <p:nvSpPr>
            <p:cNvPr id="4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443" y="395"/>
              <a:ext cx="1938" cy="5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5" name="Freeform 5"/>
            <p:cNvSpPr>
              <a:spLocks/>
            </p:cNvSpPr>
            <p:nvPr userDrawn="1"/>
          </p:nvSpPr>
          <p:spPr bwMode="auto">
            <a:xfrm>
              <a:off x="963" y="562"/>
              <a:ext cx="102" cy="89"/>
            </a:xfrm>
            <a:custGeom>
              <a:avLst/>
              <a:gdLst>
                <a:gd name="T0" fmla="*/ 83 w 102"/>
                <a:gd name="T1" fmla="*/ 17 h 89"/>
                <a:gd name="T2" fmla="*/ 53 w 102"/>
                <a:gd name="T3" fmla="*/ 89 h 89"/>
                <a:gd name="T4" fmla="*/ 49 w 102"/>
                <a:gd name="T5" fmla="*/ 89 h 89"/>
                <a:gd name="T6" fmla="*/ 17 w 102"/>
                <a:gd name="T7" fmla="*/ 17 h 89"/>
                <a:gd name="T8" fmla="*/ 17 w 102"/>
                <a:gd name="T9" fmla="*/ 17 h 89"/>
                <a:gd name="T10" fmla="*/ 15 w 102"/>
                <a:gd name="T11" fmla="*/ 11 h 89"/>
                <a:gd name="T12" fmla="*/ 12 w 102"/>
                <a:gd name="T13" fmla="*/ 8 h 89"/>
                <a:gd name="T14" fmla="*/ 7 w 102"/>
                <a:gd name="T15" fmla="*/ 5 h 89"/>
                <a:gd name="T16" fmla="*/ 0 w 102"/>
                <a:gd name="T17" fmla="*/ 5 h 89"/>
                <a:gd name="T18" fmla="*/ 0 w 102"/>
                <a:gd name="T19" fmla="*/ 0 h 89"/>
                <a:gd name="T20" fmla="*/ 48 w 102"/>
                <a:gd name="T21" fmla="*/ 0 h 89"/>
                <a:gd name="T22" fmla="*/ 48 w 102"/>
                <a:gd name="T23" fmla="*/ 5 h 89"/>
                <a:gd name="T24" fmla="*/ 48 w 102"/>
                <a:gd name="T25" fmla="*/ 5 h 89"/>
                <a:gd name="T26" fmla="*/ 40 w 102"/>
                <a:gd name="T27" fmla="*/ 5 h 89"/>
                <a:gd name="T28" fmla="*/ 35 w 102"/>
                <a:gd name="T29" fmla="*/ 8 h 89"/>
                <a:gd name="T30" fmla="*/ 35 w 102"/>
                <a:gd name="T31" fmla="*/ 9 h 89"/>
                <a:gd name="T32" fmla="*/ 35 w 102"/>
                <a:gd name="T33" fmla="*/ 11 h 89"/>
                <a:gd name="T34" fmla="*/ 37 w 102"/>
                <a:gd name="T35" fmla="*/ 16 h 89"/>
                <a:gd name="T36" fmla="*/ 56 w 102"/>
                <a:gd name="T37" fmla="*/ 63 h 89"/>
                <a:gd name="T38" fmla="*/ 77 w 102"/>
                <a:gd name="T39" fmla="*/ 16 h 89"/>
                <a:gd name="T40" fmla="*/ 77 w 102"/>
                <a:gd name="T41" fmla="*/ 16 h 89"/>
                <a:gd name="T42" fmla="*/ 78 w 102"/>
                <a:gd name="T43" fmla="*/ 11 h 89"/>
                <a:gd name="T44" fmla="*/ 78 w 102"/>
                <a:gd name="T45" fmla="*/ 9 h 89"/>
                <a:gd name="T46" fmla="*/ 77 w 102"/>
                <a:gd name="T47" fmla="*/ 8 h 89"/>
                <a:gd name="T48" fmla="*/ 73 w 102"/>
                <a:gd name="T49" fmla="*/ 5 h 89"/>
                <a:gd name="T50" fmla="*/ 66 w 102"/>
                <a:gd name="T51" fmla="*/ 5 h 89"/>
                <a:gd name="T52" fmla="*/ 66 w 102"/>
                <a:gd name="T53" fmla="*/ 0 h 89"/>
                <a:gd name="T54" fmla="*/ 102 w 102"/>
                <a:gd name="T55" fmla="*/ 0 h 89"/>
                <a:gd name="T56" fmla="*/ 102 w 102"/>
                <a:gd name="T57" fmla="*/ 5 h 89"/>
                <a:gd name="T58" fmla="*/ 102 w 102"/>
                <a:gd name="T59" fmla="*/ 5 h 89"/>
                <a:gd name="T60" fmla="*/ 94 w 102"/>
                <a:gd name="T61" fmla="*/ 5 h 89"/>
                <a:gd name="T62" fmla="*/ 91 w 102"/>
                <a:gd name="T63" fmla="*/ 8 h 89"/>
                <a:gd name="T64" fmla="*/ 87 w 102"/>
                <a:gd name="T65" fmla="*/ 11 h 89"/>
                <a:gd name="T66" fmla="*/ 83 w 102"/>
                <a:gd name="T67" fmla="*/ 17 h 89"/>
                <a:gd name="T68" fmla="*/ 83 w 102"/>
                <a:gd name="T69" fmla="*/ 17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2" h="89">
                  <a:moveTo>
                    <a:pt x="83" y="17"/>
                  </a:moveTo>
                  <a:lnTo>
                    <a:pt x="53" y="89"/>
                  </a:lnTo>
                  <a:lnTo>
                    <a:pt x="49" y="89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15" y="11"/>
                  </a:lnTo>
                  <a:lnTo>
                    <a:pt x="12" y="8"/>
                  </a:lnTo>
                  <a:lnTo>
                    <a:pt x="7" y="5"/>
                  </a:lnTo>
                  <a:lnTo>
                    <a:pt x="0" y="5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5"/>
                  </a:lnTo>
                  <a:lnTo>
                    <a:pt x="48" y="5"/>
                  </a:lnTo>
                  <a:lnTo>
                    <a:pt x="40" y="5"/>
                  </a:lnTo>
                  <a:lnTo>
                    <a:pt x="35" y="8"/>
                  </a:lnTo>
                  <a:lnTo>
                    <a:pt x="35" y="9"/>
                  </a:lnTo>
                  <a:lnTo>
                    <a:pt x="35" y="11"/>
                  </a:lnTo>
                  <a:lnTo>
                    <a:pt x="37" y="16"/>
                  </a:lnTo>
                  <a:lnTo>
                    <a:pt x="56" y="63"/>
                  </a:lnTo>
                  <a:lnTo>
                    <a:pt x="77" y="16"/>
                  </a:lnTo>
                  <a:lnTo>
                    <a:pt x="77" y="16"/>
                  </a:lnTo>
                  <a:lnTo>
                    <a:pt x="78" y="11"/>
                  </a:lnTo>
                  <a:lnTo>
                    <a:pt x="78" y="9"/>
                  </a:lnTo>
                  <a:lnTo>
                    <a:pt x="77" y="8"/>
                  </a:lnTo>
                  <a:lnTo>
                    <a:pt x="73" y="5"/>
                  </a:lnTo>
                  <a:lnTo>
                    <a:pt x="66" y="5"/>
                  </a:lnTo>
                  <a:lnTo>
                    <a:pt x="66" y="0"/>
                  </a:lnTo>
                  <a:lnTo>
                    <a:pt x="102" y="0"/>
                  </a:lnTo>
                  <a:lnTo>
                    <a:pt x="102" y="5"/>
                  </a:lnTo>
                  <a:lnTo>
                    <a:pt x="102" y="5"/>
                  </a:lnTo>
                  <a:lnTo>
                    <a:pt x="94" y="5"/>
                  </a:lnTo>
                  <a:lnTo>
                    <a:pt x="91" y="8"/>
                  </a:lnTo>
                  <a:lnTo>
                    <a:pt x="87" y="11"/>
                  </a:lnTo>
                  <a:lnTo>
                    <a:pt x="83" y="17"/>
                  </a:lnTo>
                  <a:lnTo>
                    <a:pt x="83" y="17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6" name="Freeform 6"/>
            <p:cNvSpPr>
              <a:spLocks noEditPoints="1"/>
            </p:cNvSpPr>
            <p:nvPr userDrawn="1"/>
          </p:nvSpPr>
          <p:spPr bwMode="auto">
            <a:xfrm>
              <a:off x="1054" y="560"/>
              <a:ext cx="100" cy="89"/>
            </a:xfrm>
            <a:custGeom>
              <a:avLst/>
              <a:gdLst>
                <a:gd name="T0" fmla="*/ 23 w 100"/>
                <a:gd name="T1" fmla="*/ 73 h 89"/>
                <a:gd name="T2" fmla="*/ 23 w 100"/>
                <a:gd name="T3" fmla="*/ 73 h 89"/>
                <a:gd name="T4" fmla="*/ 22 w 100"/>
                <a:gd name="T5" fmla="*/ 79 h 89"/>
                <a:gd name="T6" fmla="*/ 22 w 100"/>
                <a:gd name="T7" fmla="*/ 80 h 89"/>
                <a:gd name="T8" fmla="*/ 23 w 100"/>
                <a:gd name="T9" fmla="*/ 82 h 89"/>
                <a:gd name="T10" fmla="*/ 26 w 100"/>
                <a:gd name="T11" fmla="*/ 84 h 89"/>
                <a:gd name="T12" fmla="*/ 34 w 100"/>
                <a:gd name="T13" fmla="*/ 84 h 89"/>
                <a:gd name="T14" fmla="*/ 34 w 100"/>
                <a:gd name="T15" fmla="*/ 89 h 89"/>
                <a:gd name="T16" fmla="*/ 0 w 100"/>
                <a:gd name="T17" fmla="*/ 89 h 89"/>
                <a:gd name="T18" fmla="*/ 0 w 100"/>
                <a:gd name="T19" fmla="*/ 84 h 89"/>
                <a:gd name="T20" fmla="*/ 0 w 100"/>
                <a:gd name="T21" fmla="*/ 84 h 89"/>
                <a:gd name="T22" fmla="*/ 6 w 100"/>
                <a:gd name="T23" fmla="*/ 84 h 89"/>
                <a:gd name="T24" fmla="*/ 11 w 100"/>
                <a:gd name="T25" fmla="*/ 82 h 89"/>
                <a:gd name="T26" fmla="*/ 14 w 100"/>
                <a:gd name="T27" fmla="*/ 78 h 89"/>
                <a:gd name="T28" fmla="*/ 17 w 100"/>
                <a:gd name="T29" fmla="*/ 72 h 89"/>
                <a:gd name="T30" fmla="*/ 48 w 100"/>
                <a:gd name="T31" fmla="*/ 0 h 89"/>
                <a:gd name="T32" fmla="*/ 51 w 100"/>
                <a:gd name="T33" fmla="*/ 0 h 89"/>
                <a:gd name="T34" fmla="*/ 83 w 100"/>
                <a:gd name="T35" fmla="*/ 72 h 89"/>
                <a:gd name="T36" fmla="*/ 83 w 100"/>
                <a:gd name="T37" fmla="*/ 72 h 89"/>
                <a:gd name="T38" fmla="*/ 85 w 100"/>
                <a:gd name="T39" fmla="*/ 78 h 89"/>
                <a:gd name="T40" fmla="*/ 89 w 100"/>
                <a:gd name="T41" fmla="*/ 82 h 89"/>
                <a:gd name="T42" fmla="*/ 93 w 100"/>
                <a:gd name="T43" fmla="*/ 84 h 89"/>
                <a:gd name="T44" fmla="*/ 100 w 100"/>
                <a:gd name="T45" fmla="*/ 84 h 89"/>
                <a:gd name="T46" fmla="*/ 100 w 100"/>
                <a:gd name="T47" fmla="*/ 89 h 89"/>
                <a:gd name="T48" fmla="*/ 53 w 100"/>
                <a:gd name="T49" fmla="*/ 89 h 89"/>
                <a:gd name="T50" fmla="*/ 53 w 100"/>
                <a:gd name="T51" fmla="*/ 84 h 89"/>
                <a:gd name="T52" fmla="*/ 53 w 100"/>
                <a:gd name="T53" fmla="*/ 84 h 89"/>
                <a:gd name="T54" fmla="*/ 61 w 100"/>
                <a:gd name="T55" fmla="*/ 84 h 89"/>
                <a:gd name="T56" fmla="*/ 64 w 100"/>
                <a:gd name="T57" fmla="*/ 82 h 89"/>
                <a:gd name="T58" fmla="*/ 66 w 100"/>
                <a:gd name="T59" fmla="*/ 80 h 89"/>
                <a:gd name="T60" fmla="*/ 66 w 100"/>
                <a:gd name="T61" fmla="*/ 78 h 89"/>
                <a:gd name="T62" fmla="*/ 64 w 100"/>
                <a:gd name="T63" fmla="*/ 73 h 89"/>
                <a:gd name="T64" fmla="*/ 58 w 100"/>
                <a:gd name="T65" fmla="*/ 60 h 89"/>
                <a:gd name="T66" fmla="*/ 29 w 100"/>
                <a:gd name="T67" fmla="*/ 60 h 89"/>
                <a:gd name="T68" fmla="*/ 23 w 100"/>
                <a:gd name="T69" fmla="*/ 73 h 89"/>
                <a:gd name="T70" fmla="*/ 44 w 100"/>
                <a:gd name="T71" fmla="*/ 27 h 89"/>
                <a:gd name="T72" fmla="*/ 33 w 100"/>
                <a:gd name="T73" fmla="*/ 54 h 89"/>
                <a:gd name="T74" fmla="*/ 56 w 100"/>
                <a:gd name="T75" fmla="*/ 54 h 89"/>
                <a:gd name="T76" fmla="*/ 44 w 100"/>
                <a:gd name="T77" fmla="*/ 27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00" h="89">
                  <a:moveTo>
                    <a:pt x="23" y="73"/>
                  </a:moveTo>
                  <a:lnTo>
                    <a:pt x="23" y="73"/>
                  </a:lnTo>
                  <a:lnTo>
                    <a:pt x="22" y="79"/>
                  </a:lnTo>
                  <a:lnTo>
                    <a:pt x="22" y="80"/>
                  </a:lnTo>
                  <a:lnTo>
                    <a:pt x="23" y="82"/>
                  </a:lnTo>
                  <a:lnTo>
                    <a:pt x="26" y="84"/>
                  </a:lnTo>
                  <a:lnTo>
                    <a:pt x="34" y="84"/>
                  </a:lnTo>
                  <a:lnTo>
                    <a:pt x="34" y="89"/>
                  </a:lnTo>
                  <a:lnTo>
                    <a:pt x="0" y="89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6" y="84"/>
                  </a:lnTo>
                  <a:lnTo>
                    <a:pt x="11" y="82"/>
                  </a:lnTo>
                  <a:lnTo>
                    <a:pt x="14" y="78"/>
                  </a:lnTo>
                  <a:lnTo>
                    <a:pt x="17" y="72"/>
                  </a:lnTo>
                  <a:lnTo>
                    <a:pt x="48" y="0"/>
                  </a:lnTo>
                  <a:lnTo>
                    <a:pt x="51" y="0"/>
                  </a:lnTo>
                  <a:lnTo>
                    <a:pt x="83" y="72"/>
                  </a:lnTo>
                  <a:lnTo>
                    <a:pt x="83" y="72"/>
                  </a:lnTo>
                  <a:lnTo>
                    <a:pt x="85" y="78"/>
                  </a:lnTo>
                  <a:lnTo>
                    <a:pt x="89" y="82"/>
                  </a:lnTo>
                  <a:lnTo>
                    <a:pt x="93" y="84"/>
                  </a:lnTo>
                  <a:lnTo>
                    <a:pt x="100" y="84"/>
                  </a:lnTo>
                  <a:lnTo>
                    <a:pt x="100" y="89"/>
                  </a:lnTo>
                  <a:lnTo>
                    <a:pt x="53" y="89"/>
                  </a:lnTo>
                  <a:lnTo>
                    <a:pt x="53" y="84"/>
                  </a:lnTo>
                  <a:lnTo>
                    <a:pt x="53" y="84"/>
                  </a:lnTo>
                  <a:lnTo>
                    <a:pt x="61" y="84"/>
                  </a:lnTo>
                  <a:lnTo>
                    <a:pt x="64" y="82"/>
                  </a:lnTo>
                  <a:lnTo>
                    <a:pt x="66" y="80"/>
                  </a:lnTo>
                  <a:lnTo>
                    <a:pt x="66" y="78"/>
                  </a:lnTo>
                  <a:lnTo>
                    <a:pt x="64" y="73"/>
                  </a:lnTo>
                  <a:lnTo>
                    <a:pt x="58" y="60"/>
                  </a:lnTo>
                  <a:lnTo>
                    <a:pt x="29" y="60"/>
                  </a:lnTo>
                  <a:lnTo>
                    <a:pt x="23" y="73"/>
                  </a:lnTo>
                  <a:close/>
                  <a:moveTo>
                    <a:pt x="44" y="27"/>
                  </a:moveTo>
                  <a:lnTo>
                    <a:pt x="33" y="54"/>
                  </a:lnTo>
                  <a:lnTo>
                    <a:pt x="56" y="54"/>
                  </a:lnTo>
                  <a:lnTo>
                    <a:pt x="44" y="27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7" name="Freeform 7"/>
            <p:cNvSpPr>
              <a:spLocks/>
            </p:cNvSpPr>
            <p:nvPr userDrawn="1"/>
          </p:nvSpPr>
          <p:spPr bwMode="auto">
            <a:xfrm>
              <a:off x="1165" y="562"/>
              <a:ext cx="83" cy="87"/>
            </a:xfrm>
            <a:custGeom>
              <a:avLst/>
              <a:gdLst>
                <a:gd name="T0" fmla="*/ 0 w 83"/>
                <a:gd name="T1" fmla="*/ 5 h 87"/>
                <a:gd name="T2" fmla="*/ 0 w 83"/>
                <a:gd name="T3" fmla="*/ 0 h 87"/>
                <a:gd name="T4" fmla="*/ 45 w 83"/>
                <a:gd name="T5" fmla="*/ 0 h 87"/>
                <a:gd name="T6" fmla="*/ 45 w 83"/>
                <a:gd name="T7" fmla="*/ 5 h 87"/>
                <a:gd name="T8" fmla="*/ 45 w 83"/>
                <a:gd name="T9" fmla="*/ 5 h 87"/>
                <a:gd name="T10" fmla="*/ 38 w 83"/>
                <a:gd name="T11" fmla="*/ 5 h 87"/>
                <a:gd name="T12" fmla="*/ 35 w 83"/>
                <a:gd name="T13" fmla="*/ 6 h 87"/>
                <a:gd name="T14" fmla="*/ 34 w 83"/>
                <a:gd name="T15" fmla="*/ 8 h 87"/>
                <a:gd name="T16" fmla="*/ 32 w 83"/>
                <a:gd name="T17" fmla="*/ 12 h 87"/>
                <a:gd name="T18" fmla="*/ 32 w 83"/>
                <a:gd name="T19" fmla="*/ 21 h 87"/>
                <a:gd name="T20" fmla="*/ 32 w 83"/>
                <a:gd name="T21" fmla="*/ 64 h 87"/>
                <a:gd name="T22" fmla="*/ 32 w 83"/>
                <a:gd name="T23" fmla="*/ 64 h 87"/>
                <a:gd name="T24" fmla="*/ 32 w 83"/>
                <a:gd name="T25" fmla="*/ 72 h 87"/>
                <a:gd name="T26" fmla="*/ 34 w 83"/>
                <a:gd name="T27" fmla="*/ 77 h 87"/>
                <a:gd name="T28" fmla="*/ 35 w 83"/>
                <a:gd name="T29" fmla="*/ 78 h 87"/>
                <a:gd name="T30" fmla="*/ 38 w 83"/>
                <a:gd name="T31" fmla="*/ 80 h 87"/>
                <a:gd name="T32" fmla="*/ 45 w 83"/>
                <a:gd name="T33" fmla="*/ 81 h 87"/>
                <a:gd name="T34" fmla="*/ 62 w 83"/>
                <a:gd name="T35" fmla="*/ 81 h 87"/>
                <a:gd name="T36" fmla="*/ 62 w 83"/>
                <a:gd name="T37" fmla="*/ 81 h 87"/>
                <a:gd name="T38" fmla="*/ 70 w 83"/>
                <a:gd name="T39" fmla="*/ 80 h 87"/>
                <a:gd name="T40" fmla="*/ 74 w 83"/>
                <a:gd name="T41" fmla="*/ 77 h 87"/>
                <a:gd name="T42" fmla="*/ 77 w 83"/>
                <a:gd name="T43" fmla="*/ 75 h 87"/>
                <a:gd name="T44" fmla="*/ 78 w 83"/>
                <a:gd name="T45" fmla="*/ 70 h 87"/>
                <a:gd name="T46" fmla="*/ 79 w 83"/>
                <a:gd name="T47" fmla="*/ 66 h 87"/>
                <a:gd name="T48" fmla="*/ 83 w 83"/>
                <a:gd name="T49" fmla="*/ 66 h 87"/>
                <a:gd name="T50" fmla="*/ 82 w 83"/>
                <a:gd name="T51" fmla="*/ 87 h 87"/>
                <a:gd name="T52" fmla="*/ 0 w 83"/>
                <a:gd name="T53" fmla="*/ 87 h 87"/>
                <a:gd name="T54" fmla="*/ 0 w 83"/>
                <a:gd name="T55" fmla="*/ 82 h 87"/>
                <a:gd name="T56" fmla="*/ 0 w 83"/>
                <a:gd name="T57" fmla="*/ 82 h 87"/>
                <a:gd name="T58" fmla="*/ 7 w 83"/>
                <a:gd name="T59" fmla="*/ 82 h 87"/>
                <a:gd name="T60" fmla="*/ 10 w 83"/>
                <a:gd name="T61" fmla="*/ 81 h 87"/>
                <a:gd name="T62" fmla="*/ 11 w 83"/>
                <a:gd name="T63" fmla="*/ 80 h 87"/>
                <a:gd name="T64" fmla="*/ 13 w 83"/>
                <a:gd name="T65" fmla="*/ 75 h 87"/>
                <a:gd name="T66" fmla="*/ 13 w 83"/>
                <a:gd name="T67" fmla="*/ 66 h 87"/>
                <a:gd name="T68" fmla="*/ 13 w 83"/>
                <a:gd name="T69" fmla="*/ 21 h 87"/>
                <a:gd name="T70" fmla="*/ 13 w 83"/>
                <a:gd name="T71" fmla="*/ 21 h 87"/>
                <a:gd name="T72" fmla="*/ 13 w 83"/>
                <a:gd name="T73" fmla="*/ 12 h 87"/>
                <a:gd name="T74" fmla="*/ 11 w 83"/>
                <a:gd name="T75" fmla="*/ 8 h 87"/>
                <a:gd name="T76" fmla="*/ 10 w 83"/>
                <a:gd name="T77" fmla="*/ 6 h 87"/>
                <a:gd name="T78" fmla="*/ 7 w 83"/>
                <a:gd name="T79" fmla="*/ 5 h 87"/>
                <a:gd name="T80" fmla="*/ 0 w 83"/>
                <a:gd name="T81" fmla="*/ 5 h 87"/>
                <a:gd name="T82" fmla="*/ 0 w 83"/>
                <a:gd name="T83" fmla="*/ 5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83" h="87">
                  <a:moveTo>
                    <a:pt x="0" y="5"/>
                  </a:moveTo>
                  <a:lnTo>
                    <a:pt x="0" y="0"/>
                  </a:lnTo>
                  <a:lnTo>
                    <a:pt x="45" y="0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38" y="5"/>
                  </a:lnTo>
                  <a:lnTo>
                    <a:pt x="35" y="6"/>
                  </a:lnTo>
                  <a:lnTo>
                    <a:pt x="34" y="8"/>
                  </a:lnTo>
                  <a:lnTo>
                    <a:pt x="32" y="12"/>
                  </a:lnTo>
                  <a:lnTo>
                    <a:pt x="32" y="21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72"/>
                  </a:lnTo>
                  <a:lnTo>
                    <a:pt x="34" y="77"/>
                  </a:lnTo>
                  <a:lnTo>
                    <a:pt x="35" y="78"/>
                  </a:lnTo>
                  <a:lnTo>
                    <a:pt x="38" y="80"/>
                  </a:lnTo>
                  <a:lnTo>
                    <a:pt x="45" y="81"/>
                  </a:lnTo>
                  <a:lnTo>
                    <a:pt x="62" y="81"/>
                  </a:lnTo>
                  <a:lnTo>
                    <a:pt x="62" y="81"/>
                  </a:lnTo>
                  <a:lnTo>
                    <a:pt x="70" y="80"/>
                  </a:lnTo>
                  <a:lnTo>
                    <a:pt x="74" y="77"/>
                  </a:lnTo>
                  <a:lnTo>
                    <a:pt x="77" y="75"/>
                  </a:lnTo>
                  <a:lnTo>
                    <a:pt x="78" y="70"/>
                  </a:lnTo>
                  <a:lnTo>
                    <a:pt x="79" y="66"/>
                  </a:lnTo>
                  <a:lnTo>
                    <a:pt x="83" y="66"/>
                  </a:lnTo>
                  <a:lnTo>
                    <a:pt x="82" y="87"/>
                  </a:lnTo>
                  <a:lnTo>
                    <a:pt x="0" y="87"/>
                  </a:lnTo>
                  <a:lnTo>
                    <a:pt x="0" y="82"/>
                  </a:lnTo>
                  <a:lnTo>
                    <a:pt x="0" y="82"/>
                  </a:lnTo>
                  <a:lnTo>
                    <a:pt x="7" y="82"/>
                  </a:lnTo>
                  <a:lnTo>
                    <a:pt x="10" y="81"/>
                  </a:lnTo>
                  <a:lnTo>
                    <a:pt x="11" y="80"/>
                  </a:lnTo>
                  <a:lnTo>
                    <a:pt x="13" y="75"/>
                  </a:lnTo>
                  <a:lnTo>
                    <a:pt x="13" y="66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3" y="12"/>
                  </a:lnTo>
                  <a:lnTo>
                    <a:pt x="11" y="8"/>
                  </a:lnTo>
                  <a:lnTo>
                    <a:pt x="10" y="6"/>
                  </a:lnTo>
                  <a:lnTo>
                    <a:pt x="7" y="5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8" name="Freeform 8"/>
            <p:cNvSpPr>
              <a:spLocks/>
            </p:cNvSpPr>
            <p:nvPr userDrawn="1"/>
          </p:nvSpPr>
          <p:spPr bwMode="auto">
            <a:xfrm>
              <a:off x="1249" y="562"/>
              <a:ext cx="90" cy="87"/>
            </a:xfrm>
            <a:custGeom>
              <a:avLst/>
              <a:gdLst>
                <a:gd name="T0" fmla="*/ 90 w 90"/>
                <a:gd name="T1" fmla="*/ 21 h 87"/>
                <a:gd name="T2" fmla="*/ 86 w 90"/>
                <a:gd name="T3" fmla="*/ 21 h 87"/>
                <a:gd name="T4" fmla="*/ 85 w 90"/>
                <a:gd name="T5" fmla="*/ 19 h 87"/>
                <a:gd name="T6" fmla="*/ 85 w 90"/>
                <a:gd name="T7" fmla="*/ 19 h 87"/>
                <a:gd name="T8" fmla="*/ 83 w 90"/>
                <a:gd name="T9" fmla="*/ 12 h 87"/>
                <a:gd name="T10" fmla="*/ 81 w 90"/>
                <a:gd name="T11" fmla="*/ 10 h 87"/>
                <a:gd name="T12" fmla="*/ 76 w 90"/>
                <a:gd name="T13" fmla="*/ 8 h 87"/>
                <a:gd name="T14" fmla="*/ 69 w 90"/>
                <a:gd name="T15" fmla="*/ 8 h 87"/>
                <a:gd name="T16" fmla="*/ 54 w 90"/>
                <a:gd name="T17" fmla="*/ 8 h 87"/>
                <a:gd name="T18" fmla="*/ 54 w 90"/>
                <a:gd name="T19" fmla="*/ 66 h 87"/>
                <a:gd name="T20" fmla="*/ 54 w 90"/>
                <a:gd name="T21" fmla="*/ 66 h 87"/>
                <a:gd name="T22" fmla="*/ 54 w 90"/>
                <a:gd name="T23" fmla="*/ 75 h 87"/>
                <a:gd name="T24" fmla="*/ 57 w 90"/>
                <a:gd name="T25" fmla="*/ 80 h 87"/>
                <a:gd name="T26" fmla="*/ 58 w 90"/>
                <a:gd name="T27" fmla="*/ 81 h 87"/>
                <a:gd name="T28" fmla="*/ 60 w 90"/>
                <a:gd name="T29" fmla="*/ 82 h 87"/>
                <a:gd name="T30" fmla="*/ 68 w 90"/>
                <a:gd name="T31" fmla="*/ 82 h 87"/>
                <a:gd name="T32" fmla="*/ 68 w 90"/>
                <a:gd name="T33" fmla="*/ 87 h 87"/>
                <a:gd name="T34" fmla="*/ 22 w 90"/>
                <a:gd name="T35" fmla="*/ 87 h 87"/>
                <a:gd name="T36" fmla="*/ 22 w 90"/>
                <a:gd name="T37" fmla="*/ 82 h 87"/>
                <a:gd name="T38" fmla="*/ 22 w 90"/>
                <a:gd name="T39" fmla="*/ 82 h 87"/>
                <a:gd name="T40" fmla="*/ 30 w 90"/>
                <a:gd name="T41" fmla="*/ 82 h 87"/>
                <a:gd name="T42" fmla="*/ 32 w 90"/>
                <a:gd name="T43" fmla="*/ 81 h 87"/>
                <a:gd name="T44" fmla="*/ 33 w 90"/>
                <a:gd name="T45" fmla="*/ 80 h 87"/>
                <a:gd name="T46" fmla="*/ 36 w 90"/>
                <a:gd name="T47" fmla="*/ 75 h 87"/>
                <a:gd name="T48" fmla="*/ 36 w 90"/>
                <a:gd name="T49" fmla="*/ 66 h 87"/>
                <a:gd name="T50" fmla="*/ 36 w 90"/>
                <a:gd name="T51" fmla="*/ 8 h 87"/>
                <a:gd name="T52" fmla="*/ 21 w 90"/>
                <a:gd name="T53" fmla="*/ 8 h 87"/>
                <a:gd name="T54" fmla="*/ 21 w 90"/>
                <a:gd name="T55" fmla="*/ 8 h 87"/>
                <a:gd name="T56" fmla="*/ 14 w 90"/>
                <a:gd name="T57" fmla="*/ 8 h 87"/>
                <a:gd name="T58" fmla="*/ 9 w 90"/>
                <a:gd name="T59" fmla="*/ 10 h 87"/>
                <a:gd name="T60" fmla="*/ 6 w 90"/>
                <a:gd name="T61" fmla="*/ 12 h 87"/>
                <a:gd name="T62" fmla="*/ 5 w 90"/>
                <a:gd name="T63" fmla="*/ 19 h 87"/>
                <a:gd name="T64" fmla="*/ 4 w 90"/>
                <a:gd name="T65" fmla="*/ 21 h 87"/>
                <a:gd name="T66" fmla="*/ 0 w 90"/>
                <a:gd name="T67" fmla="*/ 21 h 87"/>
                <a:gd name="T68" fmla="*/ 2 w 90"/>
                <a:gd name="T69" fmla="*/ 0 h 87"/>
                <a:gd name="T70" fmla="*/ 88 w 90"/>
                <a:gd name="T71" fmla="*/ 0 h 87"/>
                <a:gd name="T72" fmla="*/ 90 w 90"/>
                <a:gd name="T73" fmla="*/ 2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90" h="87">
                  <a:moveTo>
                    <a:pt x="90" y="21"/>
                  </a:moveTo>
                  <a:lnTo>
                    <a:pt x="86" y="21"/>
                  </a:lnTo>
                  <a:lnTo>
                    <a:pt x="85" y="19"/>
                  </a:lnTo>
                  <a:lnTo>
                    <a:pt x="85" y="19"/>
                  </a:lnTo>
                  <a:lnTo>
                    <a:pt x="83" y="12"/>
                  </a:lnTo>
                  <a:lnTo>
                    <a:pt x="81" y="10"/>
                  </a:lnTo>
                  <a:lnTo>
                    <a:pt x="76" y="8"/>
                  </a:lnTo>
                  <a:lnTo>
                    <a:pt x="69" y="8"/>
                  </a:lnTo>
                  <a:lnTo>
                    <a:pt x="54" y="8"/>
                  </a:lnTo>
                  <a:lnTo>
                    <a:pt x="54" y="66"/>
                  </a:lnTo>
                  <a:lnTo>
                    <a:pt x="54" y="66"/>
                  </a:lnTo>
                  <a:lnTo>
                    <a:pt x="54" y="75"/>
                  </a:lnTo>
                  <a:lnTo>
                    <a:pt x="57" y="80"/>
                  </a:lnTo>
                  <a:lnTo>
                    <a:pt x="58" y="81"/>
                  </a:lnTo>
                  <a:lnTo>
                    <a:pt x="60" y="82"/>
                  </a:lnTo>
                  <a:lnTo>
                    <a:pt x="68" y="82"/>
                  </a:lnTo>
                  <a:lnTo>
                    <a:pt x="68" y="87"/>
                  </a:lnTo>
                  <a:lnTo>
                    <a:pt x="22" y="87"/>
                  </a:lnTo>
                  <a:lnTo>
                    <a:pt x="22" y="82"/>
                  </a:lnTo>
                  <a:lnTo>
                    <a:pt x="22" y="82"/>
                  </a:lnTo>
                  <a:lnTo>
                    <a:pt x="30" y="82"/>
                  </a:lnTo>
                  <a:lnTo>
                    <a:pt x="32" y="81"/>
                  </a:lnTo>
                  <a:lnTo>
                    <a:pt x="33" y="80"/>
                  </a:lnTo>
                  <a:lnTo>
                    <a:pt x="36" y="75"/>
                  </a:lnTo>
                  <a:lnTo>
                    <a:pt x="36" y="66"/>
                  </a:lnTo>
                  <a:lnTo>
                    <a:pt x="36" y="8"/>
                  </a:lnTo>
                  <a:lnTo>
                    <a:pt x="21" y="8"/>
                  </a:lnTo>
                  <a:lnTo>
                    <a:pt x="21" y="8"/>
                  </a:lnTo>
                  <a:lnTo>
                    <a:pt x="14" y="8"/>
                  </a:lnTo>
                  <a:lnTo>
                    <a:pt x="9" y="10"/>
                  </a:lnTo>
                  <a:lnTo>
                    <a:pt x="6" y="12"/>
                  </a:lnTo>
                  <a:lnTo>
                    <a:pt x="5" y="19"/>
                  </a:lnTo>
                  <a:lnTo>
                    <a:pt x="4" y="21"/>
                  </a:lnTo>
                  <a:lnTo>
                    <a:pt x="0" y="21"/>
                  </a:lnTo>
                  <a:lnTo>
                    <a:pt x="2" y="0"/>
                  </a:lnTo>
                  <a:lnTo>
                    <a:pt x="88" y="0"/>
                  </a:lnTo>
                  <a:lnTo>
                    <a:pt x="90" y="21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9" name="Freeform 9"/>
            <p:cNvSpPr>
              <a:spLocks/>
            </p:cNvSpPr>
            <p:nvPr userDrawn="1"/>
          </p:nvSpPr>
          <p:spPr bwMode="auto">
            <a:xfrm>
              <a:off x="1357" y="562"/>
              <a:ext cx="45" cy="87"/>
            </a:xfrm>
            <a:custGeom>
              <a:avLst/>
              <a:gdLst>
                <a:gd name="T0" fmla="*/ 0 w 45"/>
                <a:gd name="T1" fmla="*/ 87 h 87"/>
                <a:gd name="T2" fmla="*/ 0 w 45"/>
                <a:gd name="T3" fmla="*/ 82 h 87"/>
                <a:gd name="T4" fmla="*/ 0 w 45"/>
                <a:gd name="T5" fmla="*/ 82 h 87"/>
                <a:gd name="T6" fmla="*/ 6 w 45"/>
                <a:gd name="T7" fmla="*/ 82 h 87"/>
                <a:gd name="T8" fmla="*/ 9 w 45"/>
                <a:gd name="T9" fmla="*/ 81 h 87"/>
                <a:gd name="T10" fmla="*/ 11 w 45"/>
                <a:gd name="T11" fmla="*/ 80 h 87"/>
                <a:gd name="T12" fmla="*/ 12 w 45"/>
                <a:gd name="T13" fmla="*/ 75 h 87"/>
                <a:gd name="T14" fmla="*/ 13 w 45"/>
                <a:gd name="T15" fmla="*/ 66 h 87"/>
                <a:gd name="T16" fmla="*/ 13 w 45"/>
                <a:gd name="T17" fmla="*/ 21 h 87"/>
                <a:gd name="T18" fmla="*/ 13 w 45"/>
                <a:gd name="T19" fmla="*/ 21 h 87"/>
                <a:gd name="T20" fmla="*/ 12 w 45"/>
                <a:gd name="T21" fmla="*/ 12 h 87"/>
                <a:gd name="T22" fmla="*/ 11 w 45"/>
                <a:gd name="T23" fmla="*/ 8 h 87"/>
                <a:gd name="T24" fmla="*/ 9 w 45"/>
                <a:gd name="T25" fmla="*/ 6 h 87"/>
                <a:gd name="T26" fmla="*/ 6 w 45"/>
                <a:gd name="T27" fmla="*/ 5 h 87"/>
                <a:gd name="T28" fmla="*/ 0 w 45"/>
                <a:gd name="T29" fmla="*/ 5 h 87"/>
                <a:gd name="T30" fmla="*/ 0 w 45"/>
                <a:gd name="T31" fmla="*/ 0 h 87"/>
                <a:gd name="T32" fmla="*/ 45 w 45"/>
                <a:gd name="T33" fmla="*/ 0 h 87"/>
                <a:gd name="T34" fmla="*/ 45 w 45"/>
                <a:gd name="T35" fmla="*/ 5 h 87"/>
                <a:gd name="T36" fmla="*/ 45 w 45"/>
                <a:gd name="T37" fmla="*/ 5 h 87"/>
                <a:gd name="T38" fmla="*/ 38 w 45"/>
                <a:gd name="T39" fmla="*/ 5 h 87"/>
                <a:gd name="T40" fmla="*/ 35 w 45"/>
                <a:gd name="T41" fmla="*/ 6 h 87"/>
                <a:gd name="T42" fmla="*/ 33 w 45"/>
                <a:gd name="T43" fmla="*/ 8 h 87"/>
                <a:gd name="T44" fmla="*/ 32 w 45"/>
                <a:gd name="T45" fmla="*/ 12 h 87"/>
                <a:gd name="T46" fmla="*/ 31 w 45"/>
                <a:gd name="T47" fmla="*/ 21 h 87"/>
                <a:gd name="T48" fmla="*/ 31 w 45"/>
                <a:gd name="T49" fmla="*/ 66 h 87"/>
                <a:gd name="T50" fmla="*/ 31 w 45"/>
                <a:gd name="T51" fmla="*/ 66 h 87"/>
                <a:gd name="T52" fmla="*/ 32 w 45"/>
                <a:gd name="T53" fmla="*/ 75 h 87"/>
                <a:gd name="T54" fmla="*/ 33 w 45"/>
                <a:gd name="T55" fmla="*/ 80 h 87"/>
                <a:gd name="T56" fmla="*/ 35 w 45"/>
                <a:gd name="T57" fmla="*/ 81 h 87"/>
                <a:gd name="T58" fmla="*/ 38 w 45"/>
                <a:gd name="T59" fmla="*/ 82 h 87"/>
                <a:gd name="T60" fmla="*/ 45 w 45"/>
                <a:gd name="T61" fmla="*/ 82 h 87"/>
                <a:gd name="T62" fmla="*/ 45 w 45"/>
                <a:gd name="T63" fmla="*/ 87 h 87"/>
                <a:gd name="T64" fmla="*/ 0 w 45"/>
                <a:gd name="T6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5" h="87">
                  <a:moveTo>
                    <a:pt x="0" y="87"/>
                  </a:moveTo>
                  <a:lnTo>
                    <a:pt x="0" y="82"/>
                  </a:lnTo>
                  <a:lnTo>
                    <a:pt x="0" y="82"/>
                  </a:lnTo>
                  <a:lnTo>
                    <a:pt x="6" y="82"/>
                  </a:lnTo>
                  <a:lnTo>
                    <a:pt x="9" y="81"/>
                  </a:lnTo>
                  <a:lnTo>
                    <a:pt x="11" y="80"/>
                  </a:lnTo>
                  <a:lnTo>
                    <a:pt x="12" y="75"/>
                  </a:lnTo>
                  <a:lnTo>
                    <a:pt x="13" y="66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2" y="12"/>
                  </a:lnTo>
                  <a:lnTo>
                    <a:pt x="11" y="8"/>
                  </a:lnTo>
                  <a:lnTo>
                    <a:pt x="9" y="6"/>
                  </a:lnTo>
                  <a:lnTo>
                    <a:pt x="6" y="5"/>
                  </a:lnTo>
                  <a:lnTo>
                    <a:pt x="0" y="5"/>
                  </a:lnTo>
                  <a:lnTo>
                    <a:pt x="0" y="0"/>
                  </a:lnTo>
                  <a:lnTo>
                    <a:pt x="45" y="0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38" y="5"/>
                  </a:lnTo>
                  <a:lnTo>
                    <a:pt x="35" y="6"/>
                  </a:lnTo>
                  <a:lnTo>
                    <a:pt x="33" y="8"/>
                  </a:lnTo>
                  <a:lnTo>
                    <a:pt x="32" y="12"/>
                  </a:lnTo>
                  <a:lnTo>
                    <a:pt x="31" y="21"/>
                  </a:lnTo>
                  <a:lnTo>
                    <a:pt x="31" y="66"/>
                  </a:lnTo>
                  <a:lnTo>
                    <a:pt x="31" y="66"/>
                  </a:lnTo>
                  <a:lnTo>
                    <a:pt x="32" y="75"/>
                  </a:lnTo>
                  <a:lnTo>
                    <a:pt x="33" y="80"/>
                  </a:lnTo>
                  <a:lnTo>
                    <a:pt x="35" y="81"/>
                  </a:lnTo>
                  <a:lnTo>
                    <a:pt x="38" y="82"/>
                  </a:lnTo>
                  <a:lnTo>
                    <a:pt x="45" y="82"/>
                  </a:lnTo>
                  <a:lnTo>
                    <a:pt x="45" y="87"/>
                  </a:lnTo>
                  <a:lnTo>
                    <a:pt x="0" y="87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13" name="Freeform 10"/>
            <p:cNvSpPr>
              <a:spLocks noEditPoints="1"/>
            </p:cNvSpPr>
            <p:nvPr userDrawn="1"/>
          </p:nvSpPr>
          <p:spPr bwMode="auto">
            <a:xfrm>
              <a:off x="1424" y="560"/>
              <a:ext cx="96" cy="91"/>
            </a:xfrm>
            <a:custGeom>
              <a:avLst/>
              <a:gdLst>
                <a:gd name="T0" fmla="*/ 48 w 96"/>
                <a:gd name="T1" fmla="*/ 91 h 91"/>
                <a:gd name="T2" fmla="*/ 30 w 96"/>
                <a:gd name="T3" fmla="*/ 88 h 91"/>
                <a:gd name="T4" fmla="*/ 15 w 96"/>
                <a:gd name="T5" fmla="*/ 78 h 91"/>
                <a:gd name="T6" fmla="*/ 4 w 96"/>
                <a:gd name="T7" fmla="*/ 63 h 91"/>
                <a:gd name="T8" fmla="*/ 0 w 96"/>
                <a:gd name="T9" fmla="*/ 46 h 91"/>
                <a:gd name="T10" fmla="*/ 1 w 96"/>
                <a:gd name="T11" fmla="*/ 36 h 91"/>
                <a:gd name="T12" fmla="*/ 9 w 96"/>
                <a:gd name="T13" fmla="*/ 21 h 91"/>
                <a:gd name="T14" fmla="*/ 21 w 96"/>
                <a:gd name="T15" fmla="*/ 8 h 91"/>
                <a:gd name="T16" fmla="*/ 38 w 96"/>
                <a:gd name="T17" fmla="*/ 1 h 91"/>
                <a:gd name="T18" fmla="*/ 48 w 96"/>
                <a:gd name="T19" fmla="*/ 0 h 91"/>
                <a:gd name="T20" fmla="*/ 66 w 96"/>
                <a:gd name="T21" fmla="*/ 3 h 91"/>
                <a:gd name="T22" fmla="*/ 82 w 96"/>
                <a:gd name="T23" fmla="*/ 13 h 91"/>
                <a:gd name="T24" fmla="*/ 92 w 96"/>
                <a:gd name="T25" fmla="*/ 28 h 91"/>
                <a:gd name="T26" fmla="*/ 96 w 96"/>
                <a:gd name="T27" fmla="*/ 46 h 91"/>
                <a:gd name="T28" fmla="*/ 96 w 96"/>
                <a:gd name="T29" fmla="*/ 55 h 91"/>
                <a:gd name="T30" fmla="*/ 88 w 96"/>
                <a:gd name="T31" fmla="*/ 71 h 91"/>
                <a:gd name="T32" fmla="*/ 75 w 96"/>
                <a:gd name="T33" fmla="*/ 83 h 91"/>
                <a:gd name="T34" fmla="*/ 58 w 96"/>
                <a:gd name="T35" fmla="*/ 90 h 91"/>
                <a:gd name="T36" fmla="*/ 48 w 96"/>
                <a:gd name="T37" fmla="*/ 91 h 91"/>
                <a:gd name="T38" fmla="*/ 48 w 96"/>
                <a:gd name="T39" fmla="*/ 7 h 91"/>
                <a:gd name="T40" fmla="*/ 36 w 96"/>
                <a:gd name="T41" fmla="*/ 11 h 91"/>
                <a:gd name="T42" fmla="*/ 26 w 96"/>
                <a:gd name="T43" fmla="*/ 19 h 91"/>
                <a:gd name="T44" fmla="*/ 21 w 96"/>
                <a:gd name="T45" fmla="*/ 33 h 91"/>
                <a:gd name="T46" fmla="*/ 20 w 96"/>
                <a:gd name="T47" fmla="*/ 46 h 91"/>
                <a:gd name="T48" fmla="*/ 20 w 96"/>
                <a:gd name="T49" fmla="*/ 52 h 91"/>
                <a:gd name="T50" fmla="*/ 23 w 96"/>
                <a:gd name="T51" fmla="*/ 66 h 91"/>
                <a:gd name="T52" fmla="*/ 31 w 96"/>
                <a:gd name="T53" fmla="*/ 77 h 91"/>
                <a:gd name="T54" fmla="*/ 41 w 96"/>
                <a:gd name="T55" fmla="*/ 83 h 91"/>
                <a:gd name="T56" fmla="*/ 48 w 96"/>
                <a:gd name="T57" fmla="*/ 84 h 91"/>
                <a:gd name="T58" fmla="*/ 61 w 96"/>
                <a:gd name="T59" fmla="*/ 80 h 91"/>
                <a:gd name="T60" fmla="*/ 70 w 96"/>
                <a:gd name="T61" fmla="*/ 72 h 91"/>
                <a:gd name="T62" fmla="*/ 75 w 96"/>
                <a:gd name="T63" fmla="*/ 58 h 91"/>
                <a:gd name="T64" fmla="*/ 77 w 96"/>
                <a:gd name="T65" fmla="*/ 46 h 91"/>
                <a:gd name="T66" fmla="*/ 76 w 96"/>
                <a:gd name="T67" fmla="*/ 39 h 91"/>
                <a:gd name="T68" fmla="*/ 74 w 96"/>
                <a:gd name="T69" fmla="*/ 25 h 91"/>
                <a:gd name="T70" fmla="*/ 66 w 96"/>
                <a:gd name="T71" fmla="*/ 14 h 91"/>
                <a:gd name="T72" fmla="*/ 55 w 96"/>
                <a:gd name="T73" fmla="*/ 8 h 91"/>
                <a:gd name="T74" fmla="*/ 48 w 96"/>
                <a:gd name="T75" fmla="*/ 7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96" h="91">
                  <a:moveTo>
                    <a:pt x="48" y="91"/>
                  </a:moveTo>
                  <a:lnTo>
                    <a:pt x="48" y="91"/>
                  </a:lnTo>
                  <a:lnTo>
                    <a:pt x="38" y="90"/>
                  </a:lnTo>
                  <a:lnTo>
                    <a:pt x="30" y="88"/>
                  </a:lnTo>
                  <a:lnTo>
                    <a:pt x="21" y="83"/>
                  </a:lnTo>
                  <a:lnTo>
                    <a:pt x="15" y="78"/>
                  </a:lnTo>
                  <a:lnTo>
                    <a:pt x="9" y="71"/>
                  </a:lnTo>
                  <a:lnTo>
                    <a:pt x="4" y="63"/>
                  </a:lnTo>
                  <a:lnTo>
                    <a:pt x="1" y="55"/>
                  </a:lnTo>
                  <a:lnTo>
                    <a:pt x="0" y="46"/>
                  </a:lnTo>
                  <a:lnTo>
                    <a:pt x="0" y="46"/>
                  </a:lnTo>
                  <a:lnTo>
                    <a:pt x="1" y="36"/>
                  </a:lnTo>
                  <a:lnTo>
                    <a:pt x="4" y="28"/>
                  </a:lnTo>
                  <a:lnTo>
                    <a:pt x="9" y="21"/>
                  </a:lnTo>
                  <a:lnTo>
                    <a:pt x="15" y="13"/>
                  </a:lnTo>
                  <a:lnTo>
                    <a:pt x="21" y="8"/>
                  </a:lnTo>
                  <a:lnTo>
                    <a:pt x="30" y="3"/>
                  </a:lnTo>
                  <a:lnTo>
                    <a:pt x="38" y="1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8" y="1"/>
                  </a:lnTo>
                  <a:lnTo>
                    <a:pt x="66" y="3"/>
                  </a:lnTo>
                  <a:lnTo>
                    <a:pt x="75" y="8"/>
                  </a:lnTo>
                  <a:lnTo>
                    <a:pt x="82" y="13"/>
                  </a:lnTo>
                  <a:lnTo>
                    <a:pt x="88" y="21"/>
                  </a:lnTo>
                  <a:lnTo>
                    <a:pt x="92" y="28"/>
                  </a:lnTo>
                  <a:lnTo>
                    <a:pt x="96" y="36"/>
                  </a:lnTo>
                  <a:lnTo>
                    <a:pt x="96" y="46"/>
                  </a:lnTo>
                  <a:lnTo>
                    <a:pt x="96" y="46"/>
                  </a:lnTo>
                  <a:lnTo>
                    <a:pt x="96" y="55"/>
                  </a:lnTo>
                  <a:lnTo>
                    <a:pt x="92" y="63"/>
                  </a:lnTo>
                  <a:lnTo>
                    <a:pt x="88" y="71"/>
                  </a:lnTo>
                  <a:lnTo>
                    <a:pt x="82" y="78"/>
                  </a:lnTo>
                  <a:lnTo>
                    <a:pt x="75" y="83"/>
                  </a:lnTo>
                  <a:lnTo>
                    <a:pt x="66" y="88"/>
                  </a:lnTo>
                  <a:lnTo>
                    <a:pt x="58" y="90"/>
                  </a:lnTo>
                  <a:lnTo>
                    <a:pt x="48" y="91"/>
                  </a:lnTo>
                  <a:lnTo>
                    <a:pt x="48" y="91"/>
                  </a:lnTo>
                  <a:close/>
                  <a:moveTo>
                    <a:pt x="48" y="7"/>
                  </a:moveTo>
                  <a:lnTo>
                    <a:pt x="48" y="7"/>
                  </a:lnTo>
                  <a:lnTo>
                    <a:pt x="41" y="8"/>
                  </a:lnTo>
                  <a:lnTo>
                    <a:pt x="36" y="11"/>
                  </a:lnTo>
                  <a:lnTo>
                    <a:pt x="31" y="14"/>
                  </a:lnTo>
                  <a:lnTo>
                    <a:pt x="26" y="19"/>
                  </a:lnTo>
                  <a:lnTo>
                    <a:pt x="23" y="25"/>
                  </a:lnTo>
                  <a:lnTo>
                    <a:pt x="21" y="33"/>
                  </a:lnTo>
                  <a:lnTo>
                    <a:pt x="20" y="39"/>
                  </a:lnTo>
                  <a:lnTo>
                    <a:pt x="20" y="46"/>
                  </a:lnTo>
                  <a:lnTo>
                    <a:pt x="20" y="46"/>
                  </a:lnTo>
                  <a:lnTo>
                    <a:pt x="20" y="52"/>
                  </a:lnTo>
                  <a:lnTo>
                    <a:pt x="21" y="58"/>
                  </a:lnTo>
                  <a:lnTo>
                    <a:pt x="23" y="66"/>
                  </a:lnTo>
                  <a:lnTo>
                    <a:pt x="26" y="72"/>
                  </a:lnTo>
                  <a:lnTo>
                    <a:pt x="31" y="77"/>
                  </a:lnTo>
                  <a:lnTo>
                    <a:pt x="36" y="80"/>
                  </a:lnTo>
                  <a:lnTo>
                    <a:pt x="41" y="83"/>
                  </a:lnTo>
                  <a:lnTo>
                    <a:pt x="48" y="84"/>
                  </a:lnTo>
                  <a:lnTo>
                    <a:pt x="48" y="84"/>
                  </a:lnTo>
                  <a:lnTo>
                    <a:pt x="55" y="83"/>
                  </a:lnTo>
                  <a:lnTo>
                    <a:pt x="61" y="80"/>
                  </a:lnTo>
                  <a:lnTo>
                    <a:pt x="66" y="77"/>
                  </a:lnTo>
                  <a:lnTo>
                    <a:pt x="70" y="72"/>
                  </a:lnTo>
                  <a:lnTo>
                    <a:pt x="74" y="66"/>
                  </a:lnTo>
                  <a:lnTo>
                    <a:pt x="75" y="58"/>
                  </a:lnTo>
                  <a:lnTo>
                    <a:pt x="76" y="52"/>
                  </a:lnTo>
                  <a:lnTo>
                    <a:pt x="77" y="46"/>
                  </a:lnTo>
                  <a:lnTo>
                    <a:pt x="77" y="46"/>
                  </a:lnTo>
                  <a:lnTo>
                    <a:pt x="76" y="39"/>
                  </a:lnTo>
                  <a:lnTo>
                    <a:pt x="75" y="33"/>
                  </a:lnTo>
                  <a:lnTo>
                    <a:pt x="74" y="25"/>
                  </a:lnTo>
                  <a:lnTo>
                    <a:pt x="70" y="19"/>
                  </a:lnTo>
                  <a:lnTo>
                    <a:pt x="66" y="14"/>
                  </a:lnTo>
                  <a:lnTo>
                    <a:pt x="61" y="11"/>
                  </a:lnTo>
                  <a:lnTo>
                    <a:pt x="55" y="8"/>
                  </a:lnTo>
                  <a:lnTo>
                    <a:pt x="48" y="7"/>
                  </a:lnTo>
                  <a:lnTo>
                    <a:pt x="48" y="7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14" name="Freeform 11"/>
            <p:cNvSpPr>
              <a:spLocks/>
            </p:cNvSpPr>
            <p:nvPr userDrawn="1"/>
          </p:nvSpPr>
          <p:spPr bwMode="auto">
            <a:xfrm>
              <a:off x="1543" y="562"/>
              <a:ext cx="97" cy="89"/>
            </a:xfrm>
            <a:custGeom>
              <a:avLst/>
              <a:gdLst>
                <a:gd name="T0" fmla="*/ 76 w 97"/>
                <a:gd name="T1" fmla="*/ 21 h 89"/>
                <a:gd name="T2" fmla="*/ 76 w 97"/>
                <a:gd name="T3" fmla="*/ 21 h 89"/>
                <a:gd name="T4" fmla="*/ 76 w 97"/>
                <a:gd name="T5" fmla="*/ 12 h 89"/>
                <a:gd name="T6" fmla="*/ 75 w 97"/>
                <a:gd name="T7" fmla="*/ 8 h 89"/>
                <a:gd name="T8" fmla="*/ 72 w 97"/>
                <a:gd name="T9" fmla="*/ 6 h 89"/>
                <a:gd name="T10" fmla="*/ 70 w 97"/>
                <a:gd name="T11" fmla="*/ 5 h 89"/>
                <a:gd name="T12" fmla="*/ 62 w 97"/>
                <a:gd name="T13" fmla="*/ 5 h 89"/>
                <a:gd name="T14" fmla="*/ 62 w 97"/>
                <a:gd name="T15" fmla="*/ 0 h 89"/>
                <a:gd name="T16" fmla="*/ 97 w 97"/>
                <a:gd name="T17" fmla="*/ 0 h 89"/>
                <a:gd name="T18" fmla="*/ 97 w 97"/>
                <a:gd name="T19" fmla="*/ 5 h 89"/>
                <a:gd name="T20" fmla="*/ 97 w 97"/>
                <a:gd name="T21" fmla="*/ 5 h 89"/>
                <a:gd name="T22" fmla="*/ 89 w 97"/>
                <a:gd name="T23" fmla="*/ 5 h 89"/>
                <a:gd name="T24" fmla="*/ 87 w 97"/>
                <a:gd name="T25" fmla="*/ 6 h 89"/>
                <a:gd name="T26" fmla="*/ 86 w 97"/>
                <a:gd name="T27" fmla="*/ 8 h 89"/>
                <a:gd name="T28" fmla="*/ 83 w 97"/>
                <a:gd name="T29" fmla="*/ 12 h 89"/>
                <a:gd name="T30" fmla="*/ 83 w 97"/>
                <a:gd name="T31" fmla="*/ 21 h 89"/>
                <a:gd name="T32" fmla="*/ 83 w 97"/>
                <a:gd name="T33" fmla="*/ 89 h 89"/>
                <a:gd name="T34" fmla="*/ 79 w 97"/>
                <a:gd name="T35" fmla="*/ 89 h 89"/>
                <a:gd name="T36" fmla="*/ 19 w 97"/>
                <a:gd name="T37" fmla="*/ 19 h 89"/>
                <a:gd name="T38" fmla="*/ 19 w 97"/>
                <a:gd name="T39" fmla="*/ 66 h 89"/>
                <a:gd name="T40" fmla="*/ 19 w 97"/>
                <a:gd name="T41" fmla="*/ 66 h 89"/>
                <a:gd name="T42" fmla="*/ 21 w 97"/>
                <a:gd name="T43" fmla="*/ 75 h 89"/>
                <a:gd name="T44" fmla="*/ 22 w 97"/>
                <a:gd name="T45" fmla="*/ 80 h 89"/>
                <a:gd name="T46" fmla="*/ 24 w 97"/>
                <a:gd name="T47" fmla="*/ 81 h 89"/>
                <a:gd name="T48" fmla="*/ 27 w 97"/>
                <a:gd name="T49" fmla="*/ 82 h 89"/>
                <a:gd name="T50" fmla="*/ 33 w 97"/>
                <a:gd name="T51" fmla="*/ 82 h 89"/>
                <a:gd name="T52" fmla="*/ 33 w 97"/>
                <a:gd name="T53" fmla="*/ 87 h 89"/>
                <a:gd name="T54" fmla="*/ 0 w 97"/>
                <a:gd name="T55" fmla="*/ 87 h 89"/>
                <a:gd name="T56" fmla="*/ 0 w 97"/>
                <a:gd name="T57" fmla="*/ 82 h 89"/>
                <a:gd name="T58" fmla="*/ 0 w 97"/>
                <a:gd name="T59" fmla="*/ 82 h 89"/>
                <a:gd name="T60" fmla="*/ 7 w 97"/>
                <a:gd name="T61" fmla="*/ 82 h 89"/>
                <a:gd name="T62" fmla="*/ 10 w 97"/>
                <a:gd name="T63" fmla="*/ 81 h 89"/>
                <a:gd name="T64" fmla="*/ 11 w 97"/>
                <a:gd name="T65" fmla="*/ 80 h 89"/>
                <a:gd name="T66" fmla="*/ 13 w 97"/>
                <a:gd name="T67" fmla="*/ 75 h 89"/>
                <a:gd name="T68" fmla="*/ 13 w 97"/>
                <a:gd name="T69" fmla="*/ 66 h 89"/>
                <a:gd name="T70" fmla="*/ 13 w 97"/>
                <a:gd name="T71" fmla="*/ 21 h 89"/>
                <a:gd name="T72" fmla="*/ 13 w 97"/>
                <a:gd name="T73" fmla="*/ 21 h 89"/>
                <a:gd name="T74" fmla="*/ 13 w 97"/>
                <a:gd name="T75" fmla="*/ 12 h 89"/>
                <a:gd name="T76" fmla="*/ 11 w 97"/>
                <a:gd name="T77" fmla="*/ 8 h 89"/>
                <a:gd name="T78" fmla="*/ 10 w 97"/>
                <a:gd name="T79" fmla="*/ 6 h 89"/>
                <a:gd name="T80" fmla="*/ 7 w 97"/>
                <a:gd name="T81" fmla="*/ 5 h 89"/>
                <a:gd name="T82" fmla="*/ 0 w 97"/>
                <a:gd name="T83" fmla="*/ 5 h 89"/>
                <a:gd name="T84" fmla="*/ 0 w 97"/>
                <a:gd name="T85" fmla="*/ 0 h 89"/>
                <a:gd name="T86" fmla="*/ 28 w 97"/>
                <a:gd name="T87" fmla="*/ 0 h 89"/>
                <a:gd name="T88" fmla="*/ 76 w 97"/>
                <a:gd name="T89" fmla="*/ 58 h 89"/>
                <a:gd name="T90" fmla="*/ 76 w 97"/>
                <a:gd name="T91" fmla="*/ 21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97" h="89">
                  <a:moveTo>
                    <a:pt x="76" y="21"/>
                  </a:moveTo>
                  <a:lnTo>
                    <a:pt x="76" y="21"/>
                  </a:lnTo>
                  <a:lnTo>
                    <a:pt x="76" y="12"/>
                  </a:lnTo>
                  <a:lnTo>
                    <a:pt x="75" y="8"/>
                  </a:lnTo>
                  <a:lnTo>
                    <a:pt x="72" y="6"/>
                  </a:lnTo>
                  <a:lnTo>
                    <a:pt x="70" y="5"/>
                  </a:lnTo>
                  <a:lnTo>
                    <a:pt x="62" y="5"/>
                  </a:lnTo>
                  <a:lnTo>
                    <a:pt x="62" y="0"/>
                  </a:lnTo>
                  <a:lnTo>
                    <a:pt x="97" y="0"/>
                  </a:lnTo>
                  <a:lnTo>
                    <a:pt x="97" y="5"/>
                  </a:lnTo>
                  <a:lnTo>
                    <a:pt x="97" y="5"/>
                  </a:lnTo>
                  <a:lnTo>
                    <a:pt x="89" y="5"/>
                  </a:lnTo>
                  <a:lnTo>
                    <a:pt x="87" y="6"/>
                  </a:lnTo>
                  <a:lnTo>
                    <a:pt x="86" y="8"/>
                  </a:lnTo>
                  <a:lnTo>
                    <a:pt x="83" y="12"/>
                  </a:lnTo>
                  <a:lnTo>
                    <a:pt x="83" y="21"/>
                  </a:lnTo>
                  <a:lnTo>
                    <a:pt x="83" y="89"/>
                  </a:lnTo>
                  <a:lnTo>
                    <a:pt x="79" y="89"/>
                  </a:lnTo>
                  <a:lnTo>
                    <a:pt x="19" y="19"/>
                  </a:lnTo>
                  <a:lnTo>
                    <a:pt x="19" y="66"/>
                  </a:lnTo>
                  <a:lnTo>
                    <a:pt x="19" y="66"/>
                  </a:lnTo>
                  <a:lnTo>
                    <a:pt x="21" y="75"/>
                  </a:lnTo>
                  <a:lnTo>
                    <a:pt x="22" y="80"/>
                  </a:lnTo>
                  <a:lnTo>
                    <a:pt x="24" y="81"/>
                  </a:lnTo>
                  <a:lnTo>
                    <a:pt x="27" y="82"/>
                  </a:lnTo>
                  <a:lnTo>
                    <a:pt x="33" y="82"/>
                  </a:lnTo>
                  <a:lnTo>
                    <a:pt x="33" y="87"/>
                  </a:lnTo>
                  <a:lnTo>
                    <a:pt x="0" y="87"/>
                  </a:lnTo>
                  <a:lnTo>
                    <a:pt x="0" y="82"/>
                  </a:lnTo>
                  <a:lnTo>
                    <a:pt x="0" y="82"/>
                  </a:lnTo>
                  <a:lnTo>
                    <a:pt x="7" y="82"/>
                  </a:lnTo>
                  <a:lnTo>
                    <a:pt x="10" y="81"/>
                  </a:lnTo>
                  <a:lnTo>
                    <a:pt x="11" y="80"/>
                  </a:lnTo>
                  <a:lnTo>
                    <a:pt x="13" y="75"/>
                  </a:lnTo>
                  <a:lnTo>
                    <a:pt x="13" y="66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3" y="12"/>
                  </a:lnTo>
                  <a:lnTo>
                    <a:pt x="11" y="8"/>
                  </a:lnTo>
                  <a:lnTo>
                    <a:pt x="10" y="6"/>
                  </a:lnTo>
                  <a:lnTo>
                    <a:pt x="7" y="5"/>
                  </a:lnTo>
                  <a:lnTo>
                    <a:pt x="0" y="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76" y="58"/>
                  </a:lnTo>
                  <a:lnTo>
                    <a:pt x="76" y="21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15" name="Freeform 12"/>
            <p:cNvSpPr>
              <a:spLocks/>
            </p:cNvSpPr>
            <p:nvPr userDrawn="1"/>
          </p:nvSpPr>
          <p:spPr bwMode="auto">
            <a:xfrm>
              <a:off x="1662" y="562"/>
              <a:ext cx="79" cy="87"/>
            </a:xfrm>
            <a:custGeom>
              <a:avLst/>
              <a:gdLst>
                <a:gd name="T0" fmla="*/ 0 w 79"/>
                <a:gd name="T1" fmla="*/ 82 h 87"/>
                <a:gd name="T2" fmla="*/ 0 w 79"/>
                <a:gd name="T3" fmla="*/ 82 h 87"/>
                <a:gd name="T4" fmla="*/ 6 w 79"/>
                <a:gd name="T5" fmla="*/ 82 h 87"/>
                <a:gd name="T6" fmla="*/ 8 w 79"/>
                <a:gd name="T7" fmla="*/ 81 h 87"/>
                <a:gd name="T8" fmla="*/ 11 w 79"/>
                <a:gd name="T9" fmla="*/ 80 h 87"/>
                <a:gd name="T10" fmla="*/ 12 w 79"/>
                <a:gd name="T11" fmla="*/ 75 h 87"/>
                <a:gd name="T12" fmla="*/ 13 w 79"/>
                <a:gd name="T13" fmla="*/ 66 h 87"/>
                <a:gd name="T14" fmla="*/ 13 w 79"/>
                <a:gd name="T15" fmla="*/ 21 h 87"/>
                <a:gd name="T16" fmla="*/ 13 w 79"/>
                <a:gd name="T17" fmla="*/ 21 h 87"/>
                <a:gd name="T18" fmla="*/ 12 w 79"/>
                <a:gd name="T19" fmla="*/ 12 h 87"/>
                <a:gd name="T20" fmla="*/ 11 w 79"/>
                <a:gd name="T21" fmla="*/ 8 h 87"/>
                <a:gd name="T22" fmla="*/ 8 w 79"/>
                <a:gd name="T23" fmla="*/ 6 h 87"/>
                <a:gd name="T24" fmla="*/ 6 w 79"/>
                <a:gd name="T25" fmla="*/ 5 h 87"/>
                <a:gd name="T26" fmla="*/ 0 w 79"/>
                <a:gd name="T27" fmla="*/ 5 h 87"/>
                <a:gd name="T28" fmla="*/ 0 w 79"/>
                <a:gd name="T29" fmla="*/ 0 h 87"/>
                <a:gd name="T30" fmla="*/ 73 w 79"/>
                <a:gd name="T31" fmla="*/ 0 h 87"/>
                <a:gd name="T32" fmla="*/ 74 w 79"/>
                <a:gd name="T33" fmla="*/ 21 h 87"/>
                <a:gd name="T34" fmla="*/ 71 w 79"/>
                <a:gd name="T35" fmla="*/ 21 h 87"/>
                <a:gd name="T36" fmla="*/ 69 w 79"/>
                <a:gd name="T37" fmla="*/ 19 h 87"/>
                <a:gd name="T38" fmla="*/ 69 w 79"/>
                <a:gd name="T39" fmla="*/ 19 h 87"/>
                <a:gd name="T40" fmla="*/ 68 w 79"/>
                <a:gd name="T41" fmla="*/ 12 h 87"/>
                <a:gd name="T42" fmla="*/ 66 w 79"/>
                <a:gd name="T43" fmla="*/ 10 h 87"/>
                <a:gd name="T44" fmla="*/ 61 w 79"/>
                <a:gd name="T45" fmla="*/ 8 h 87"/>
                <a:gd name="T46" fmla="*/ 52 w 79"/>
                <a:gd name="T47" fmla="*/ 8 h 87"/>
                <a:gd name="T48" fmla="*/ 30 w 79"/>
                <a:gd name="T49" fmla="*/ 8 h 87"/>
                <a:gd name="T50" fmla="*/ 30 w 79"/>
                <a:gd name="T51" fmla="*/ 38 h 87"/>
                <a:gd name="T52" fmla="*/ 39 w 79"/>
                <a:gd name="T53" fmla="*/ 38 h 87"/>
                <a:gd name="T54" fmla="*/ 39 w 79"/>
                <a:gd name="T55" fmla="*/ 38 h 87"/>
                <a:gd name="T56" fmla="*/ 47 w 79"/>
                <a:gd name="T57" fmla="*/ 37 h 87"/>
                <a:gd name="T58" fmla="*/ 52 w 79"/>
                <a:gd name="T59" fmla="*/ 36 h 87"/>
                <a:gd name="T60" fmla="*/ 53 w 79"/>
                <a:gd name="T61" fmla="*/ 33 h 87"/>
                <a:gd name="T62" fmla="*/ 55 w 79"/>
                <a:gd name="T63" fmla="*/ 31 h 87"/>
                <a:gd name="T64" fmla="*/ 55 w 79"/>
                <a:gd name="T65" fmla="*/ 25 h 87"/>
                <a:gd name="T66" fmla="*/ 60 w 79"/>
                <a:gd name="T67" fmla="*/ 25 h 87"/>
                <a:gd name="T68" fmla="*/ 60 w 79"/>
                <a:gd name="T69" fmla="*/ 58 h 87"/>
                <a:gd name="T70" fmla="*/ 55 w 79"/>
                <a:gd name="T71" fmla="*/ 58 h 87"/>
                <a:gd name="T72" fmla="*/ 55 w 79"/>
                <a:gd name="T73" fmla="*/ 58 h 87"/>
                <a:gd name="T74" fmla="*/ 55 w 79"/>
                <a:gd name="T75" fmla="*/ 50 h 87"/>
                <a:gd name="T76" fmla="*/ 53 w 79"/>
                <a:gd name="T77" fmla="*/ 49 h 87"/>
                <a:gd name="T78" fmla="*/ 52 w 79"/>
                <a:gd name="T79" fmla="*/ 47 h 87"/>
                <a:gd name="T80" fmla="*/ 47 w 79"/>
                <a:gd name="T81" fmla="*/ 45 h 87"/>
                <a:gd name="T82" fmla="*/ 39 w 79"/>
                <a:gd name="T83" fmla="*/ 44 h 87"/>
                <a:gd name="T84" fmla="*/ 30 w 79"/>
                <a:gd name="T85" fmla="*/ 44 h 87"/>
                <a:gd name="T86" fmla="*/ 30 w 79"/>
                <a:gd name="T87" fmla="*/ 64 h 87"/>
                <a:gd name="T88" fmla="*/ 30 w 79"/>
                <a:gd name="T89" fmla="*/ 64 h 87"/>
                <a:gd name="T90" fmla="*/ 31 w 79"/>
                <a:gd name="T91" fmla="*/ 72 h 87"/>
                <a:gd name="T92" fmla="*/ 33 w 79"/>
                <a:gd name="T93" fmla="*/ 77 h 87"/>
                <a:gd name="T94" fmla="*/ 35 w 79"/>
                <a:gd name="T95" fmla="*/ 78 h 87"/>
                <a:gd name="T96" fmla="*/ 38 w 79"/>
                <a:gd name="T97" fmla="*/ 80 h 87"/>
                <a:gd name="T98" fmla="*/ 45 w 79"/>
                <a:gd name="T99" fmla="*/ 81 h 87"/>
                <a:gd name="T100" fmla="*/ 57 w 79"/>
                <a:gd name="T101" fmla="*/ 81 h 87"/>
                <a:gd name="T102" fmla="*/ 57 w 79"/>
                <a:gd name="T103" fmla="*/ 81 h 87"/>
                <a:gd name="T104" fmla="*/ 66 w 79"/>
                <a:gd name="T105" fmla="*/ 80 h 87"/>
                <a:gd name="T106" fmla="*/ 71 w 79"/>
                <a:gd name="T107" fmla="*/ 77 h 87"/>
                <a:gd name="T108" fmla="*/ 73 w 79"/>
                <a:gd name="T109" fmla="*/ 75 h 87"/>
                <a:gd name="T110" fmla="*/ 74 w 79"/>
                <a:gd name="T111" fmla="*/ 70 h 87"/>
                <a:gd name="T112" fmla="*/ 74 w 79"/>
                <a:gd name="T113" fmla="*/ 66 h 87"/>
                <a:gd name="T114" fmla="*/ 79 w 79"/>
                <a:gd name="T115" fmla="*/ 66 h 87"/>
                <a:gd name="T116" fmla="*/ 78 w 79"/>
                <a:gd name="T117" fmla="*/ 87 h 87"/>
                <a:gd name="T118" fmla="*/ 0 w 79"/>
                <a:gd name="T119" fmla="*/ 87 h 87"/>
                <a:gd name="T120" fmla="*/ 0 w 79"/>
                <a:gd name="T121" fmla="*/ 82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9" h="87">
                  <a:moveTo>
                    <a:pt x="0" y="82"/>
                  </a:moveTo>
                  <a:lnTo>
                    <a:pt x="0" y="82"/>
                  </a:lnTo>
                  <a:lnTo>
                    <a:pt x="6" y="82"/>
                  </a:lnTo>
                  <a:lnTo>
                    <a:pt x="8" y="81"/>
                  </a:lnTo>
                  <a:lnTo>
                    <a:pt x="11" y="80"/>
                  </a:lnTo>
                  <a:lnTo>
                    <a:pt x="12" y="75"/>
                  </a:lnTo>
                  <a:lnTo>
                    <a:pt x="13" y="66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2" y="12"/>
                  </a:lnTo>
                  <a:lnTo>
                    <a:pt x="11" y="8"/>
                  </a:lnTo>
                  <a:lnTo>
                    <a:pt x="8" y="6"/>
                  </a:lnTo>
                  <a:lnTo>
                    <a:pt x="6" y="5"/>
                  </a:lnTo>
                  <a:lnTo>
                    <a:pt x="0" y="5"/>
                  </a:lnTo>
                  <a:lnTo>
                    <a:pt x="0" y="0"/>
                  </a:lnTo>
                  <a:lnTo>
                    <a:pt x="73" y="0"/>
                  </a:lnTo>
                  <a:lnTo>
                    <a:pt x="74" y="21"/>
                  </a:lnTo>
                  <a:lnTo>
                    <a:pt x="71" y="21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68" y="12"/>
                  </a:lnTo>
                  <a:lnTo>
                    <a:pt x="66" y="10"/>
                  </a:lnTo>
                  <a:lnTo>
                    <a:pt x="61" y="8"/>
                  </a:lnTo>
                  <a:lnTo>
                    <a:pt x="52" y="8"/>
                  </a:lnTo>
                  <a:lnTo>
                    <a:pt x="30" y="8"/>
                  </a:lnTo>
                  <a:lnTo>
                    <a:pt x="30" y="38"/>
                  </a:lnTo>
                  <a:lnTo>
                    <a:pt x="39" y="38"/>
                  </a:lnTo>
                  <a:lnTo>
                    <a:pt x="39" y="38"/>
                  </a:lnTo>
                  <a:lnTo>
                    <a:pt x="47" y="37"/>
                  </a:lnTo>
                  <a:lnTo>
                    <a:pt x="52" y="36"/>
                  </a:lnTo>
                  <a:lnTo>
                    <a:pt x="53" y="33"/>
                  </a:lnTo>
                  <a:lnTo>
                    <a:pt x="55" y="31"/>
                  </a:lnTo>
                  <a:lnTo>
                    <a:pt x="55" y="25"/>
                  </a:lnTo>
                  <a:lnTo>
                    <a:pt x="60" y="25"/>
                  </a:lnTo>
                  <a:lnTo>
                    <a:pt x="60" y="58"/>
                  </a:lnTo>
                  <a:lnTo>
                    <a:pt x="55" y="58"/>
                  </a:lnTo>
                  <a:lnTo>
                    <a:pt x="55" y="58"/>
                  </a:lnTo>
                  <a:lnTo>
                    <a:pt x="55" y="50"/>
                  </a:lnTo>
                  <a:lnTo>
                    <a:pt x="53" y="49"/>
                  </a:lnTo>
                  <a:lnTo>
                    <a:pt x="52" y="47"/>
                  </a:lnTo>
                  <a:lnTo>
                    <a:pt x="47" y="45"/>
                  </a:lnTo>
                  <a:lnTo>
                    <a:pt x="39" y="44"/>
                  </a:lnTo>
                  <a:lnTo>
                    <a:pt x="30" y="44"/>
                  </a:lnTo>
                  <a:lnTo>
                    <a:pt x="30" y="64"/>
                  </a:lnTo>
                  <a:lnTo>
                    <a:pt x="30" y="64"/>
                  </a:lnTo>
                  <a:lnTo>
                    <a:pt x="31" y="72"/>
                  </a:lnTo>
                  <a:lnTo>
                    <a:pt x="33" y="77"/>
                  </a:lnTo>
                  <a:lnTo>
                    <a:pt x="35" y="78"/>
                  </a:lnTo>
                  <a:lnTo>
                    <a:pt x="38" y="80"/>
                  </a:lnTo>
                  <a:lnTo>
                    <a:pt x="45" y="81"/>
                  </a:lnTo>
                  <a:lnTo>
                    <a:pt x="57" y="81"/>
                  </a:lnTo>
                  <a:lnTo>
                    <a:pt x="57" y="81"/>
                  </a:lnTo>
                  <a:lnTo>
                    <a:pt x="66" y="80"/>
                  </a:lnTo>
                  <a:lnTo>
                    <a:pt x="71" y="77"/>
                  </a:lnTo>
                  <a:lnTo>
                    <a:pt x="73" y="75"/>
                  </a:lnTo>
                  <a:lnTo>
                    <a:pt x="74" y="70"/>
                  </a:lnTo>
                  <a:lnTo>
                    <a:pt x="74" y="66"/>
                  </a:lnTo>
                  <a:lnTo>
                    <a:pt x="79" y="66"/>
                  </a:lnTo>
                  <a:lnTo>
                    <a:pt x="78" y="87"/>
                  </a:lnTo>
                  <a:lnTo>
                    <a:pt x="0" y="87"/>
                  </a:lnTo>
                  <a:lnTo>
                    <a:pt x="0" y="82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16" name="Freeform 13"/>
            <p:cNvSpPr>
              <a:spLocks/>
            </p:cNvSpPr>
            <p:nvPr userDrawn="1"/>
          </p:nvSpPr>
          <p:spPr bwMode="auto">
            <a:xfrm>
              <a:off x="1763" y="562"/>
              <a:ext cx="97" cy="89"/>
            </a:xfrm>
            <a:custGeom>
              <a:avLst/>
              <a:gdLst>
                <a:gd name="T0" fmla="*/ 61 w 97"/>
                <a:gd name="T1" fmla="*/ 0 h 89"/>
                <a:gd name="T2" fmla="*/ 97 w 97"/>
                <a:gd name="T3" fmla="*/ 5 h 89"/>
                <a:gd name="T4" fmla="*/ 89 w 97"/>
                <a:gd name="T5" fmla="*/ 5 h 89"/>
                <a:gd name="T6" fmla="*/ 86 w 97"/>
                <a:gd name="T7" fmla="*/ 8 h 89"/>
                <a:gd name="T8" fmla="*/ 83 w 97"/>
                <a:gd name="T9" fmla="*/ 21 h 89"/>
                <a:gd name="T10" fmla="*/ 83 w 97"/>
                <a:gd name="T11" fmla="*/ 55 h 89"/>
                <a:gd name="T12" fmla="*/ 80 w 97"/>
                <a:gd name="T13" fmla="*/ 70 h 89"/>
                <a:gd name="T14" fmla="*/ 72 w 97"/>
                <a:gd name="T15" fmla="*/ 81 h 89"/>
                <a:gd name="T16" fmla="*/ 61 w 97"/>
                <a:gd name="T17" fmla="*/ 87 h 89"/>
                <a:gd name="T18" fmla="*/ 48 w 97"/>
                <a:gd name="T19" fmla="*/ 89 h 89"/>
                <a:gd name="T20" fmla="*/ 42 w 97"/>
                <a:gd name="T21" fmla="*/ 88 h 89"/>
                <a:gd name="T22" fmla="*/ 30 w 97"/>
                <a:gd name="T23" fmla="*/ 84 h 89"/>
                <a:gd name="T24" fmla="*/ 20 w 97"/>
                <a:gd name="T25" fmla="*/ 76 h 89"/>
                <a:gd name="T26" fmla="*/ 15 w 97"/>
                <a:gd name="T27" fmla="*/ 63 h 89"/>
                <a:gd name="T28" fmla="*/ 14 w 97"/>
                <a:gd name="T29" fmla="*/ 21 h 89"/>
                <a:gd name="T30" fmla="*/ 14 w 97"/>
                <a:gd name="T31" fmla="*/ 12 h 89"/>
                <a:gd name="T32" fmla="*/ 10 w 97"/>
                <a:gd name="T33" fmla="*/ 6 h 89"/>
                <a:gd name="T34" fmla="*/ 0 w 97"/>
                <a:gd name="T35" fmla="*/ 5 h 89"/>
                <a:gd name="T36" fmla="*/ 45 w 97"/>
                <a:gd name="T37" fmla="*/ 0 h 89"/>
                <a:gd name="T38" fmla="*/ 45 w 97"/>
                <a:gd name="T39" fmla="*/ 5 h 89"/>
                <a:gd name="T40" fmla="*/ 36 w 97"/>
                <a:gd name="T41" fmla="*/ 6 h 89"/>
                <a:gd name="T42" fmla="*/ 32 w 97"/>
                <a:gd name="T43" fmla="*/ 12 h 89"/>
                <a:gd name="T44" fmla="*/ 32 w 97"/>
                <a:gd name="T45" fmla="*/ 53 h 89"/>
                <a:gd name="T46" fmla="*/ 32 w 97"/>
                <a:gd name="T47" fmla="*/ 60 h 89"/>
                <a:gd name="T48" fmla="*/ 36 w 97"/>
                <a:gd name="T49" fmla="*/ 70 h 89"/>
                <a:gd name="T50" fmla="*/ 42 w 97"/>
                <a:gd name="T51" fmla="*/ 76 h 89"/>
                <a:gd name="T52" fmla="*/ 49 w 97"/>
                <a:gd name="T53" fmla="*/ 80 h 89"/>
                <a:gd name="T54" fmla="*/ 54 w 97"/>
                <a:gd name="T55" fmla="*/ 81 h 89"/>
                <a:gd name="T56" fmla="*/ 63 w 97"/>
                <a:gd name="T57" fmla="*/ 78 h 89"/>
                <a:gd name="T58" fmla="*/ 69 w 97"/>
                <a:gd name="T59" fmla="*/ 73 h 89"/>
                <a:gd name="T60" fmla="*/ 74 w 97"/>
                <a:gd name="T61" fmla="*/ 65 h 89"/>
                <a:gd name="T62" fmla="*/ 75 w 97"/>
                <a:gd name="T63" fmla="*/ 53 h 89"/>
                <a:gd name="T64" fmla="*/ 75 w 97"/>
                <a:gd name="T65" fmla="*/ 21 h 89"/>
                <a:gd name="T66" fmla="*/ 72 w 97"/>
                <a:gd name="T67" fmla="*/ 8 h 89"/>
                <a:gd name="T68" fmla="*/ 69 w 97"/>
                <a:gd name="T69" fmla="*/ 5 h 89"/>
                <a:gd name="T70" fmla="*/ 61 w 97"/>
                <a:gd name="T71" fmla="*/ 5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7" h="89">
                  <a:moveTo>
                    <a:pt x="61" y="5"/>
                  </a:moveTo>
                  <a:lnTo>
                    <a:pt x="61" y="0"/>
                  </a:lnTo>
                  <a:lnTo>
                    <a:pt x="97" y="0"/>
                  </a:lnTo>
                  <a:lnTo>
                    <a:pt x="97" y="5"/>
                  </a:lnTo>
                  <a:lnTo>
                    <a:pt x="97" y="5"/>
                  </a:lnTo>
                  <a:lnTo>
                    <a:pt x="89" y="5"/>
                  </a:lnTo>
                  <a:lnTo>
                    <a:pt x="87" y="6"/>
                  </a:lnTo>
                  <a:lnTo>
                    <a:pt x="86" y="8"/>
                  </a:lnTo>
                  <a:lnTo>
                    <a:pt x="83" y="12"/>
                  </a:lnTo>
                  <a:lnTo>
                    <a:pt x="83" y="21"/>
                  </a:lnTo>
                  <a:lnTo>
                    <a:pt x="83" y="55"/>
                  </a:lnTo>
                  <a:lnTo>
                    <a:pt x="83" y="55"/>
                  </a:lnTo>
                  <a:lnTo>
                    <a:pt x="82" y="63"/>
                  </a:lnTo>
                  <a:lnTo>
                    <a:pt x="80" y="70"/>
                  </a:lnTo>
                  <a:lnTo>
                    <a:pt x="77" y="76"/>
                  </a:lnTo>
                  <a:lnTo>
                    <a:pt x="72" y="81"/>
                  </a:lnTo>
                  <a:lnTo>
                    <a:pt x="67" y="84"/>
                  </a:lnTo>
                  <a:lnTo>
                    <a:pt x="61" y="87"/>
                  </a:lnTo>
                  <a:lnTo>
                    <a:pt x="55" y="88"/>
                  </a:lnTo>
                  <a:lnTo>
                    <a:pt x="48" y="89"/>
                  </a:lnTo>
                  <a:lnTo>
                    <a:pt x="48" y="89"/>
                  </a:lnTo>
                  <a:lnTo>
                    <a:pt x="42" y="88"/>
                  </a:lnTo>
                  <a:lnTo>
                    <a:pt x="34" y="87"/>
                  </a:lnTo>
                  <a:lnTo>
                    <a:pt x="30" y="84"/>
                  </a:lnTo>
                  <a:lnTo>
                    <a:pt x="23" y="81"/>
                  </a:lnTo>
                  <a:lnTo>
                    <a:pt x="20" y="76"/>
                  </a:lnTo>
                  <a:lnTo>
                    <a:pt x="16" y="70"/>
                  </a:lnTo>
                  <a:lnTo>
                    <a:pt x="15" y="63"/>
                  </a:lnTo>
                  <a:lnTo>
                    <a:pt x="14" y="55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14" y="12"/>
                  </a:lnTo>
                  <a:lnTo>
                    <a:pt x="11" y="8"/>
                  </a:lnTo>
                  <a:lnTo>
                    <a:pt x="10" y="6"/>
                  </a:lnTo>
                  <a:lnTo>
                    <a:pt x="7" y="5"/>
                  </a:lnTo>
                  <a:lnTo>
                    <a:pt x="0" y="5"/>
                  </a:lnTo>
                  <a:lnTo>
                    <a:pt x="0" y="0"/>
                  </a:lnTo>
                  <a:lnTo>
                    <a:pt x="45" y="0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38" y="5"/>
                  </a:lnTo>
                  <a:lnTo>
                    <a:pt x="36" y="6"/>
                  </a:lnTo>
                  <a:lnTo>
                    <a:pt x="34" y="8"/>
                  </a:lnTo>
                  <a:lnTo>
                    <a:pt x="32" y="12"/>
                  </a:lnTo>
                  <a:lnTo>
                    <a:pt x="32" y="21"/>
                  </a:lnTo>
                  <a:lnTo>
                    <a:pt x="32" y="53"/>
                  </a:lnTo>
                  <a:lnTo>
                    <a:pt x="32" y="53"/>
                  </a:lnTo>
                  <a:lnTo>
                    <a:pt x="32" y="60"/>
                  </a:lnTo>
                  <a:lnTo>
                    <a:pt x="33" y="65"/>
                  </a:lnTo>
                  <a:lnTo>
                    <a:pt x="36" y="70"/>
                  </a:lnTo>
                  <a:lnTo>
                    <a:pt x="38" y="73"/>
                  </a:lnTo>
                  <a:lnTo>
                    <a:pt x="42" y="76"/>
                  </a:lnTo>
                  <a:lnTo>
                    <a:pt x="45" y="78"/>
                  </a:lnTo>
                  <a:lnTo>
                    <a:pt x="49" y="80"/>
                  </a:lnTo>
                  <a:lnTo>
                    <a:pt x="54" y="81"/>
                  </a:lnTo>
                  <a:lnTo>
                    <a:pt x="54" y="81"/>
                  </a:lnTo>
                  <a:lnTo>
                    <a:pt x="59" y="80"/>
                  </a:lnTo>
                  <a:lnTo>
                    <a:pt x="63" y="78"/>
                  </a:lnTo>
                  <a:lnTo>
                    <a:pt x="66" y="76"/>
                  </a:lnTo>
                  <a:lnTo>
                    <a:pt x="69" y="73"/>
                  </a:lnTo>
                  <a:lnTo>
                    <a:pt x="72" y="70"/>
                  </a:lnTo>
                  <a:lnTo>
                    <a:pt x="74" y="65"/>
                  </a:lnTo>
                  <a:lnTo>
                    <a:pt x="75" y="60"/>
                  </a:lnTo>
                  <a:lnTo>
                    <a:pt x="75" y="53"/>
                  </a:lnTo>
                  <a:lnTo>
                    <a:pt x="75" y="21"/>
                  </a:lnTo>
                  <a:lnTo>
                    <a:pt x="75" y="21"/>
                  </a:lnTo>
                  <a:lnTo>
                    <a:pt x="75" y="12"/>
                  </a:lnTo>
                  <a:lnTo>
                    <a:pt x="72" y="8"/>
                  </a:lnTo>
                  <a:lnTo>
                    <a:pt x="71" y="6"/>
                  </a:lnTo>
                  <a:lnTo>
                    <a:pt x="69" y="5"/>
                  </a:lnTo>
                  <a:lnTo>
                    <a:pt x="61" y="5"/>
                  </a:lnTo>
                  <a:lnTo>
                    <a:pt x="61" y="5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17" name="Freeform 14"/>
            <p:cNvSpPr>
              <a:spLocks/>
            </p:cNvSpPr>
            <p:nvPr userDrawn="1"/>
          </p:nvSpPr>
          <p:spPr bwMode="auto">
            <a:xfrm>
              <a:off x="1866" y="562"/>
              <a:ext cx="100" cy="89"/>
            </a:xfrm>
            <a:custGeom>
              <a:avLst/>
              <a:gdLst>
                <a:gd name="T0" fmla="*/ 83 w 100"/>
                <a:gd name="T1" fmla="*/ 17 h 89"/>
                <a:gd name="T2" fmla="*/ 51 w 100"/>
                <a:gd name="T3" fmla="*/ 89 h 89"/>
                <a:gd name="T4" fmla="*/ 49 w 100"/>
                <a:gd name="T5" fmla="*/ 89 h 89"/>
                <a:gd name="T6" fmla="*/ 17 w 100"/>
                <a:gd name="T7" fmla="*/ 17 h 89"/>
                <a:gd name="T8" fmla="*/ 17 w 100"/>
                <a:gd name="T9" fmla="*/ 17 h 89"/>
                <a:gd name="T10" fmla="*/ 15 w 100"/>
                <a:gd name="T11" fmla="*/ 11 h 89"/>
                <a:gd name="T12" fmla="*/ 11 w 100"/>
                <a:gd name="T13" fmla="*/ 8 h 89"/>
                <a:gd name="T14" fmla="*/ 7 w 100"/>
                <a:gd name="T15" fmla="*/ 5 h 89"/>
                <a:gd name="T16" fmla="*/ 0 w 100"/>
                <a:gd name="T17" fmla="*/ 5 h 89"/>
                <a:gd name="T18" fmla="*/ 0 w 100"/>
                <a:gd name="T19" fmla="*/ 0 h 89"/>
                <a:gd name="T20" fmla="*/ 48 w 100"/>
                <a:gd name="T21" fmla="*/ 0 h 89"/>
                <a:gd name="T22" fmla="*/ 48 w 100"/>
                <a:gd name="T23" fmla="*/ 5 h 89"/>
                <a:gd name="T24" fmla="*/ 48 w 100"/>
                <a:gd name="T25" fmla="*/ 5 h 89"/>
                <a:gd name="T26" fmla="*/ 39 w 100"/>
                <a:gd name="T27" fmla="*/ 5 h 89"/>
                <a:gd name="T28" fmla="*/ 35 w 100"/>
                <a:gd name="T29" fmla="*/ 8 h 89"/>
                <a:gd name="T30" fmla="*/ 35 w 100"/>
                <a:gd name="T31" fmla="*/ 9 h 89"/>
                <a:gd name="T32" fmla="*/ 34 w 100"/>
                <a:gd name="T33" fmla="*/ 11 h 89"/>
                <a:gd name="T34" fmla="*/ 37 w 100"/>
                <a:gd name="T35" fmla="*/ 16 h 89"/>
                <a:gd name="T36" fmla="*/ 56 w 100"/>
                <a:gd name="T37" fmla="*/ 63 h 89"/>
                <a:gd name="T38" fmla="*/ 77 w 100"/>
                <a:gd name="T39" fmla="*/ 16 h 89"/>
                <a:gd name="T40" fmla="*/ 77 w 100"/>
                <a:gd name="T41" fmla="*/ 16 h 89"/>
                <a:gd name="T42" fmla="*/ 78 w 100"/>
                <a:gd name="T43" fmla="*/ 11 h 89"/>
                <a:gd name="T44" fmla="*/ 78 w 100"/>
                <a:gd name="T45" fmla="*/ 9 h 89"/>
                <a:gd name="T46" fmla="*/ 77 w 100"/>
                <a:gd name="T47" fmla="*/ 8 h 89"/>
                <a:gd name="T48" fmla="*/ 73 w 100"/>
                <a:gd name="T49" fmla="*/ 5 h 89"/>
                <a:gd name="T50" fmla="*/ 66 w 100"/>
                <a:gd name="T51" fmla="*/ 5 h 89"/>
                <a:gd name="T52" fmla="*/ 66 w 100"/>
                <a:gd name="T53" fmla="*/ 0 h 89"/>
                <a:gd name="T54" fmla="*/ 100 w 100"/>
                <a:gd name="T55" fmla="*/ 0 h 89"/>
                <a:gd name="T56" fmla="*/ 100 w 100"/>
                <a:gd name="T57" fmla="*/ 5 h 89"/>
                <a:gd name="T58" fmla="*/ 100 w 100"/>
                <a:gd name="T59" fmla="*/ 5 h 89"/>
                <a:gd name="T60" fmla="*/ 94 w 100"/>
                <a:gd name="T61" fmla="*/ 5 h 89"/>
                <a:gd name="T62" fmla="*/ 89 w 100"/>
                <a:gd name="T63" fmla="*/ 8 h 89"/>
                <a:gd name="T64" fmla="*/ 87 w 100"/>
                <a:gd name="T65" fmla="*/ 11 h 89"/>
                <a:gd name="T66" fmla="*/ 83 w 100"/>
                <a:gd name="T67" fmla="*/ 17 h 89"/>
                <a:gd name="T68" fmla="*/ 83 w 100"/>
                <a:gd name="T69" fmla="*/ 17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0" h="89">
                  <a:moveTo>
                    <a:pt x="83" y="17"/>
                  </a:moveTo>
                  <a:lnTo>
                    <a:pt x="51" y="89"/>
                  </a:lnTo>
                  <a:lnTo>
                    <a:pt x="49" y="89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15" y="11"/>
                  </a:lnTo>
                  <a:lnTo>
                    <a:pt x="11" y="8"/>
                  </a:lnTo>
                  <a:lnTo>
                    <a:pt x="7" y="5"/>
                  </a:lnTo>
                  <a:lnTo>
                    <a:pt x="0" y="5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5"/>
                  </a:lnTo>
                  <a:lnTo>
                    <a:pt x="48" y="5"/>
                  </a:lnTo>
                  <a:lnTo>
                    <a:pt x="39" y="5"/>
                  </a:lnTo>
                  <a:lnTo>
                    <a:pt x="35" y="8"/>
                  </a:lnTo>
                  <a:lnTo>
                    <a:pt x="35" y="9"/>
                  </a:lnTo>
                  <a:lnTo>
                    <a:pt x="34" y="11"/>
                  </a:lnTo>
                  <a:lnTo>
                    <a:pt x="37" y="16"/>
                  </a:lnTo>
                  <a:lnTo>
                    <a:pt x="56" y="63"/>
                  </a:lnTo>
                  <a:lnTo>
                    <a:pt x="77" y="16"/>
                  </a:lnTo>
                  <a:lnTo>
                    <a:pt x="77" y="16"/>
                  </a:lnTo>
                  <a:lnTo>
                    <a:pt x="78" y="11"/>
                  </a:lnTo>
                  <a:lnTo>
                    <a:pt x="78" y="9"/>
                  </a:lnTo>
                  <a:lnTo>
                    <a:pt x="77" y="8"/>
                  </a:lnTo>
                  <a:lnTo>
                    <a:pt x="73" y="5"/>
                  </a:lnTo>
                  <a:lnTo>
                    <a:pt x="66" y="5"/>
                  </a:lnTo>
                  <a:lnTo>
                    <a:pt x="66" y="0"/>
                  </a:lnTo>
                  <a:lnTo>
                    <a:pt x="100" y="0"/>
                  </a:lnTo>
                  <a:lnTo>
                    <a:pt x="100" y="5"/>
                  </a:lnTo>
                  <a:lnTo>
                    <a:pt x="100" y="5"/>
                  </a:lnTo>
                  <a:lnTo>
                    <a:pt x="94" y="5"/>
                  </a:lnTo>
                  <a:lnTo>
                    <a:pt x="89" y="8"/>
                  </a:lnTo>
                  <a:lnTo>
                    <a:pt x="87" y="11"/>
                  </a:lnTo>
                  <a:lnTo>
                    <a:pt x="83" y="17"/>
                  </a:lnTo>
                  <a:lnTo>
                    <a:pt x="83" y="17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18" name="Freeform 15"/>
            <p:cNvSpPr>
              <a:spLocks noEditPoints="1"/>
            </p:cNvSpPr>
            <p:nvPr userDrawn="1"/>
          </p:nvSpPr>
          <p:spPr bwMode="auto">
            <a:xfrm>
              <a:off x="1976" y="560"/>
              <a:ext cx="95" cy="91"/>
            </a:xfrm>
            <a:custGeom>
              <a:avLst/>
              <a:gdLst>
                <a:gd name="T0" fmla="*/ 48 w 95"/>
                <a:gd name="T1" fmla="*/ 91 h 91"/>
                <a:gd name="T2" fmla="*/ 29 w 95"/>
                <a:gd name="T3" fmla="*/ 88 h 91"/>
                <a:gd name="T4" fmla="*/ 13 w 95"/>
                <a:gd name="T5" fmla="*/ 78 h 91"/>
                <a:gd name="T6" fmla="*/ 4 w 95"/>
                <a:gd name="T7" fmla="*/ 63 h 91"/>
                <a:gd name="T8" fmla="*/ 0 w 95"/>
                <a:gd name="T9" fmla="*/ 46 h 91"/>
                <a:gd name="T10" fmla="*/ 0 w 95"/>
                <a:gd name="T11" fmla="*/ 36 h 91"/>
                <a:gd name="T12" fmla="*/ 7 w 95"/>
                <a:gd name="T13" fmla="*/ 21 h 91"/>
                <a:gd name="T14" fmla="*/ 21 w 95"/>
                <a:gd name="T15" fmla="*/ 8 h 91"/>
                <a:gd name="T16" fmla="*/ 38 w 95"/>
                <a:gd name="T17" fmla="*/ 1 h 91"/>
                <a:gd name="T18" fmla="*/ 48 w 95"/>
                <a:gd name="T19" fmla="*/ 0 h 91"/>
                <a:gd name="T20" fmla="*/ 66 w 95"/>
                <a:gd name="T21" fmla="*/ 3 h 91"/>
                <a:gd name="T22" fmla="*/ 81 w 95"/>
                <a:gd name="T23" fmla="*/ 13 h 91"/>
                <a:gd name="T24" fmla="*/ 92 w 95"/>
                <a:gd name="T25" fmla="*/ 28 h 91"/>
                <a:gd name="T26" fmla="*/ 95 w 95"/>
                <a:gd name="T27" fmla="*/ 46 h 91"/>
                <a:gd name="T28" fmla="*/ 94 w 95"/>
                <a:gd name="T29" fmla="*/ 55 h 91"/>
                <a:gd name="T30" fmla="*/ 87 w 95"/>
                <a:gd name="T31" fmla="*/ 71 h 91"/>
                <a:gd name="T32" fmla="*/ 75 w 95"/>
                <a:gd name="T33" fmla="*/ 83 h 91"/>
                <a:gd name="T34" fmla="*/ 58 w 95"/>
                <a:gd name="T35" fmla="*/ 90 h 91"/>
                <a:gd name="T36" fmla="*/ 48 w 95"/>
                <a:gd name="T37" fmla="*/ 91 h 91"/>
                <a:gd name="T38" fmla="*/ 48 w 95"/>
                <a:gd name="T39" fmla="*/ 7 h 91"/>
                <a:gd name="T40" fmla="*/ 34 w 95"/>
                <a:gd name="T41" fmla="*/ 11 h 91"/>
                <a:gd name="T42" fmla="*/ 26 w 95"/>
                <a:gd name="T43" fmla="*/ 19 h 91"/>
                <a:gd name="T44" fmla="*/ 21 w 95"/>
                <a:gd name="T45" fmla="*/ 33 h 91"/>
                <a:gd name="T46" fmla="*/ 18 w 95"/>
                <a:gd name="T47" fmla="*/ 46 h 91"/>
                <a:gd name="T48" fmla="*/ 20 w 95"/>
                <a:gd name="T49" fmla="*/ 52 h 91"/>
                <a:gd name="T50" fmla="*/ 22 w 95"/>
                <a:gd name="T51" fmla="*/ 66 h 91"/>
                <a:gd name="T52" fmla="*/ 29 w 95"/>
                <a:gd name="T53" fmla="*/ 77 h 91"/>
                <a:gd name="T54" fmla="*/ 40 w 95"/>
                <a:gd name="T55" fmla="*/ 83 h 91"/>
                <a:gd name="T56" fmla="*/ 48 w 95"/>
                <a:gd name="T57" fmla="*/ 84 h 91"/>
                <a:gd name="T58" fmla="*/ 61 w 95"/>
                <a:gd name="T59" fmla="*/ 80 h 91"/>
                <a:gd name="T60" fmla="*/ 70 w 95"/>
                <a:gd name="T61" fmla="*/ 72 h 91"/>
                <a:gd name="T62" fmla="*/ 75 w 95"/>
                <a:gd name="T63" fmla="*/ 58 h 91"/>
                <a:gd name="T64" fmla="*/ 76 w 95"/>
                <a:gd name="T65" fmla="*/ 46 h 91"/>
                <a:gd name="T66" fmla="*/ 76 w 95"/>
                <a:gd name="T67" fmla="*/ 39 h 91"/>
                <a:gd name="T68" fmla="*/ 72 w 95"/>
                <a:gd name="T69" fmla="*/ 25 h 91"/>
                <a:gd name="T70" fmla="*/ 66 w 95"/>
                <a:gd name="T71" fmla="*/ 14 h 91"/>
                <a:gd name="T72" fmla="*/ 55 w 95"/>
                <a:gd name="T73" fmla="*/ 8 h 91"/>
                <a:gd name="T74" fmla="*/ 48 w 95"/>
                <a:gd name="T75" fmla="*/ 7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95" h="91">
                  <a:moveTo>
                    <a:pt x="48" y="91"/>
                  </a:moveTo>
                  <a:lnTo>
                    <a:pt x="48" y="91"/>
                  </a:lnTo>
                  <a:lnTo>
                    <a:pt x="38" y="90"/>
                  </a:lnTo>
                  <a:lnTo>
                    <a:pt x="29" y="88"/>
                  </a:lnTo>
                  <a:lnTo>
                    <a:pt x="21" y="83"/>
                  </a:lnTo>
                  <a:lnTo>
                    <a:pt x="13" y="78"/>
                  </a:lnTo>
                  <a:lnTo>
                    <a:pt x="7" y="71"/>
                  </a:lnTo>
                  <a:lnTo>
                    <a:pt x="4" y="63"/>
                  </a:lnTo>
                  <a:lnTo>
                    <a:pt x="0" y="55"/>
                  </a:lnTo>
                  <a:lnTo>
                    <a:pt x="0" y="46"/>
                  </a:lnTo>
                  <a:lnTo>
                    <a:pt x="0" y="46"/>
                  </a:lnTo>
                  <a:lnTo>
                    <a:pt x="0" y="36"/>
                  </a:lnTo>
                  <a:lnTo>
                    <a:pt x="4" y="28"/>
                  </a:lnTo>
                  <a:lnTo>
                    <a:pt x="7" y="21"/>
                  </a:lnTo>
                  <a:lnTo>
                    <a:pt x="13" y="13"/>
                  </a:lnTo>
                  <a:lnTo>
                    <a:pt x="21" y="8"/>
                  </a:lnTo>
                  <a:lnTo>
                    <a:pt x="29" y="3"/>
                  </a:lnTo>
                  <a:lnTo>
                    <a:pt x="38" y="1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8" y="1"/>
                  </a:lnTo>
                  <a:lnTo>
                    <a:pt x="66" y="3"/>
                  </a:lnTo>
                  <a:lnTo>
                    <a:pt x="75" y="8"/>
                  </a:lnTo>
                  <a:lnTo>
                    <a:pt x="81" y="13"/>
                  </a:lnTo>
                  <a:lnTo>
                    <a:pt x="87" y="21"/>
                  </a:lnTo>
                  <a:lnTo>
                    <a:pt x="92" y="28"/>
                  </a:lnTo>
                  <a:lnTo>
                    <a:pt x="94" y="36"/>
                  </a:lnTo>
                  <a:lnTo>
                    <a:pt x="95" y="46"/>
                  </a:lnTo>
                  <a:lnTo>
                    <a:pt x="95" y="46"/>
                  </a:lnTo>
                  <a:lnTo>
                    <a:pt x="94" y="55"/>
                  </a:lnTo>
                  <a:lnTo>
                    <a:pt x="92" y="63"/>
                  </a:lnTo>
                  <a:lnTo>
                    <a:pt x="87" y="71"/>
                  </a:lnTo>
                  <a:lnTo>
                    <a:pt x="81" y="78"/>
                  </a:lnTo>
                  <a:lnTo>
                    <a:pt x="75" y="83"/>
                  </a:lnTo>
                  <a:lnTo>
                    <a:pt x="66" y="88"/>
                  </a:lnTo>
                  <a:lnTo>
                    <a:pt x="58" y="90"/>
                  </a:lnTo>
                  <a:lnTo>
                    <a:pt x="48" y="91"/>
                  </a:lnTo>
                  <a:lnTo>
                    <a:pt x="48" y="91"/>
                  </a:lnTo>
                  <a:close/>
                  <a:moveTo>
                    <a:pt x="48" y="7"/>
                  </a:moveTo>
                  <a:lnTo>
                    <a:pt x="48" y="7"/>
                  </a:lnTo>
                  <a:lnTo>
                    <a:pt x="40" y="8"/>
                  </a:lnTo>
                  <a:lnTo>
                    <a:pt x="34" y="11"/>
                  </a:lnTo>
                  <a:lnTo>
                    <a:pt x="29" y="14"/>
                  </a:lnTo>
                  <a:lnTo>
                    <a:pt x="26" y="19"/>
                  </a:lnTo>
                  <a:lnTo>
                    <a:pt x="22" y="25"/>
                  </a:lnTo>
                  <a:lnTo>
                    <a:pt x="21" y="33"/>
                  </a:lnTo>
                  <a:lnTo>
                    <a:pt x="20" y="39"/>
                  </a:lnTo>
                  <a:lnTo>
                    <a:pt x="18" y="46"/>
                  </a:lnTo>
                  <a:lnTo>
                    <a:pt x="18" y="46"/>
                  </a:lnTo>
                  <a:lnTo>
                    <a:pt x="20" y="52"/>
                  </a:lnTo>
                  <a:lnTo>
                    <a:pt x="21" y="58"/>
                  </a:lnTo>
                  <a:lnTo>
                    <a:pt x="22" y="66"/>
                  </a:lnTo>
                  <a:lnTo>
                    <a:pt x="26" y="72"/>
                  </a:lnTo>
                  <a:lnTo>
                    <a:pt x="29" y="77"/>
                  </a:lnTo>
                  <a:lnTo>
                    <a:pt x="34" y="80"/>
                  </a:lnTo>
                  <a:lnTo>
                    <a:pt x="40" y="83"/>
                  </a:lnTo>
                  <a:lnTo>
                    <a:pt x="48" y="84"/>
                  </a:lnTo>
                  <a:lnTo>
                    <a:pt x="48" y="84"/>
                  </a:lnTo>
                  <a:lnTo>
                    <a:pt x="55" y="83"/>
                  </a:lnTo>
                  <a:lnTo>
                    <a:pt x="61" y="80"/>
                  </a:lnTo>
                  <a:lnTo>
                    <a:pt x="66" y="77"/>
                  </a:lnTo>
                  <a:lnTo>
                    <a:pt x="70" y="72"/>
                  </a:lnTo>
                  <a:lnTo>
                    <a:pt x="72" y="66"/>
                  </a:lnTo>
                  <a:lnTo>
                    <a:pt x="75" y="58"/>
                  </a:lnTo>
                  <a:lnTo>
                    <a:pt x="76" y="52"/>
                  </a:lnTo>
                  <a:lnTo>
                    <a:pt x="76" y="46"/>
                  </a:lnTo>
                  <a:lnTo>
                    <a:pt x="76" y="46"/>
                  </a:lnTo>
                  <a:lnTo>
                    <a:pt x="76" y="39"/>
                  </a:lnTo>
                  <a:lnTo>
                    <a:pt x="75" y="33"/>
                  </a:lnTo>
                  <a:lnTo>
                    <a:pt x="72" y="25"/>
                  </a:lnTo>
                  <a:lnTo>
                    <a:pt x="70" y="19"/>
                  </a:lnTo>
                  <a:lnTo>
                    <a:pt x="66" y="14"/>
                  </a:lnTo>
                  <a:lnTo>
                    <a:pt x="61" y="11"/>
                  </a:lnTo>
                  <a:lnTo>
                    <a:pt x="55" y="8"/>
                  </a:lnTo>
                  <a:lnTo>
                    <a:pt x="48" y="7"/>
                  </a:lnTo>
                  <a:lnTo>
                    <a:pt x="48" y="7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19" name="Freeform 16"/>
            <p:cNvSpPr>
              <a:spLocks/>
            </p:cNvSpPr>
            <p:nvPr userDrawn="1"/>
          </p:nvSpPr>
          <p:spPr bwMode="auto">
            <a:xfrm>
              <a:off x="2100" y="560"/>
              <a:ext cx="58" cy="91"/>
            </a:xfrm>
            <a:custGeom>
              <a:avLst/>
              <a:gdLst>
                <a:gd name="T0" fmla="*/ 0 w 58"/>
                <a:gd name="T1" fmla="*/ 91 h 91"/>
                <a:gd name="T2" fmla="*/ 3 w 58"/>
                <a:gd name="T3" fmla="*/ 60 h 91"/>
                <a:gd name="T4" fmla="*/ 4 w 58"/>
                <a:gd name="T5" fmla="*/ 65 h 91"/>
                <a:gd name="T6" fmla="*/ 9 w 58"/>
                <a:gd name="T7" fmla="*/ 74 h 91"/>
                <a:gd name="T8" fmla="*/ 17 w 58"/>
                <a:gd name="T9" fmla="*/ 80 h 91"/>
                <a:gd name="T10" fmla="*/ 25 w 58"/>
                <a:gd name="T11" fmla="*/ 84 h 91"/>
                <a:gd name="T12" fmla="*/ 30 w 58"/>
                <a:gd name="T13" fmla="*/ 85 h 91"/>
                <a:gd name="T14" fmla="*/ 40 w 58"/>
                <a:gd name="T15" fmla="*/ 82 h 91"/>
                <a:gd name="T16" fmla="*/ 44 w 58"/>
                <a:gd name="T17" fmla="*/ 71 h 91"/>
                <a:gd name="T18" fmla="*/ 44 w 58"/>
                <a:gd name="T19" fmla="*/ 67 h 91"/>
                <a:gd name="T20" fmla="*/ 38 w 58"/>
                <a:gd name="T21" fmla="*/ 58 h 91"/>
                <a:gd name="T22" fmla="*/ 20 w 58"/>
                <a:gd name="T23" fmla="*/ 49 h 91"/>
                <a:gd name="T24" fmla="*/ 12 w 58"/>
                <a:gd name="T25" fmla="*/ 44 h 91"/>
                <a:gd name="T26" fmla="*/ 3 w 58"/>
                <a:gd name="T27" fmla="*/ 35 h 91"/>
                <a:gd name="T28" fmla="*/ 1 w 58"/>
                <a:gd name="T29" fmla="*/ 27 h 91"/>
                <a:gd name="T30" fmla="*/ 1 w 58"/>
                <a:gd name="T31" fmla="*/ 22 h 91"/>
                <a:gd name="T32" fmla="*/ 2 w 58"/>
                <a:gd name="T33" fmla="*/ 13 h 91"/>
                <a:gd name="T34" fmla="*/ 8 w 58"/>
                <a:gd name="T35" fmla="*/ 7 h 91"/>
                <a:gd name="T36" fmla="*/ 16 w 58"/>
                <a:gd name="T37" fmla="*/ 2 h 91"/>
                <a:gd name="T38" fmla="*/ 25 w 58"/>
                <a:gd name="T39" fmla="*/ 0 h 91"/>
                <a:gd name="T40" fmla="*/ 31 w 58"/>
                <a:gd name="T41" fmla="*/ 1 h 91"/>
                <a:gd name="T42" fmla="*/ 42 w 58"/>
                <a:gd name="T43" fmla="*/ 6 h 91"/>
                <a:gd name="T44" fmla="*/ 45 w 58"/>
                <a:gd name="T45" fmla="*/ 3 h 91"/>
                <a:gd name="T46" fmla="*/ 51 w 58"/>
                <a:gd name="T47" fmla="*/ 0 h 91"/>
                <a:gd name="T48" fmla="*/ 47 w 58"/>
                <a:gd name="T49" fmla="*/ 32 h 91"/>
                <a:gd name="T50" fmla="*/ 45 w 58"/>
                <a:gd name="T51" fmla="*/ 22 h 91"/>
                <a:gd name="T52" fmla="*/ 39 w 58"/>
                <a:gd name="T53" fmla="*/ 11 h 91"/>
                <a:gd name="T54" fmla="*/ 31 w 58"/>
                <a:gd name="T55" fmla="*/ 7 h 91"/>
                <a:gd name="T56" fmla="*/ 27 w 58"/>
                <a:gd name="T57" fmla="*/ 6 h 91"/>
                <a:gd name="T58" fmla="*/ 18 w 58"/>
                <a:gd name="T59" fmla="*/ 10 h 91"/>
                <a:gd name="T60" fmla="*/ 14 w 58"/>
                <a:gd name="T61" fmla="*/ 18 h 91"/>
                <a:gd name="T62" fmla="*/ 16 w 58"/>
                <a:gd name="T63" fmla="*/ 22 h 91"/>
                <a:gd name="T64" fmla="*/ 22 w 58"/>
                <a:gd name="T65" fmla="*/ 29 h 91"/>
                <a:gd name="T66" fmla="*/ 40 w 58"/>
                <a:gd name="T67" fmla="*/ 40 h 91"/>
                <a:gd name="T68" fmla="*/ 47 w 58"/>
                <a:gd name="T69" fmla="*/ 44 h 91"/>
                <a:gd name="T70" fmla="*/ 57 w 58"/>
                <a:gd name="T71" fmla="*/ 57 h 91"/>
                <a:gd name="T72" fmla="*/ 58 w 58"/>
                <a:gd name="T73" fmla="*/ 65 h 91"/>
                <a:gd name="T74" fmla="*/ 58 w 58"/>
                <a:gd name="T75" fmla="*/ 71 h 91"/>
                <a:gd name="T76" fmla="*/ 53 w 58"/>
                <a:gd name="T77" fmla="*/ 80 h 91"/>
                <a:gd name="T78" fmla="*/ 45 w 58"/>
                <a:gd name="T79" fmla="*/ 86 h 91"/>
                <a:gd name="T80" fmla="*/ 35 w 58"/>
                <a:gd name="T81" fmla="*/ 90 h 91"/>
                <a:gd name="T82" fmla="*/ 30 w 58"/>
                <a:gd name="T83" fmla="*/ 91 h 91"/>
                <a:gd name="T84" fmla="*/ 17 w 58"/>
                <a:gd name="T85" fmla="*/ 88 h 91"/>
                <a:gd name="T86" fmla="*/ 7 w 58"/>
                <a:gd name="T87" fmla="*/ 84 h 91"/>
                <a:gd name="T88" fmla="*/ 3 w 58"/>
                <a:gd name="T89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8" h="91">
                  <a:moveTo>
                    <a:pt x="3" y="91"/>
                  </a:moveTo>
                  <a:lnTo>
                    <a:pt x="0" y="91"/>
                  </a:lnTo>
                  <a:lnTo>
                    <a:pt x="0" y="60"/>
                  </a:lnTo>
                  <a:lnTo>
                    <a:pt x="3" y="60"/>
                  </a:lnTo>
                  <a:lnTo>
                    <a:pt x="3" y="60"/>
                  </a:lnTo>
                  <a:lnTo>
                    <a:pt x="4" y="65"/>
                  </a:lnTo>
                  <a:lnTo>
                    <a:pt x="7" y="69"/>
                  </a:lnTo>
                  <a:lnTo>
                    <a:pt x="9" y="74"/>
                  </a:lnTo>
                  <a:lnTo>
                    <a:pt x="13" y="78"/>
                  </a:lnTo>
                  <a:lnTo>
                    <a:pt x="17" y="80"/>
                  </a:lnTo>
                  <a:lnTo>
                    <a:pt x="22" y="83"/>
                  </a:lnTo>
                  <a:lnTo>
                    <a:pt x="25" y="84"/>
                  </a:lnTo>
                  <a:lnTo>
                    <a:pt x="30" y="85"/>
                  </a:lnTo>
                  <a:lnTo>
                    <a:pt x="30" y="85"/>
                  </a:lnTo>
                  <a:lnTo>
                    <a:pt x="35" y="84"/>
                  </a:lnTo>
                  <a:lnTo>
                    <a:pt x="40" y="82"/>
                  </a:lnTo>
                  <a:lnTo>
                    <a:pt x="44" y="77"/>
                  </a:lnTo>
                  <a:lnTo>
                    <a:pt x="44" y="71"/>
                  </a:lnTo>
                  <a:lnTo>
                    <a:pt x="44" y="71"/>
                  </a:lnTo>
                  <a:lnTo>
                    <a:pt x="44" y="67"/>
                  </a:lnTo>
                  <a:lnTo>
                    <a:pt x="41" y="62"/>
                  </a:lnTo>
                  <a:lnTo>
                    <a:pt x="38" y="58"/>
                  </a:lnTo>
                  <a:lnTo>
                    <a:pt x="34" y="56"/>
                  </a:lnTo>
                  <a:lnTo>
                    <a:pt x="20" y="49"/>
                  </a:lnTo>
                  <a:lnTo>
                    <a:pt x="20" y="49"/>
                  </a:lnTo>
                  <a:lnTo>
                    <a:pt x="12" y="44"/>
                  </a:lnTo>
                  <a:lnTo>
                    <a:pt x="6" y="38"/>
                  </a:lnTo>
                  <a:lnTo>
                    <a:pt x="3" y="35"/>
                  </a:lnTo>
                  <a:lnTo>
                    <a:pt x="2" y="32"/>
                  </a:lnTo>
                  <a:lnTo>
                    <a:pt x="1" y="27"/>
                  </a:lnTo>
                  <a:lnTo>
                    <a:pt x="1" y="22"/>
                  </a:lnTo>
                  <a:lnTo>
                    <a:pt x="1" y="22"/>
                  </a:lnTo>
                  <a:lnTo>
                    <a:pt x="1" y="17"/>
                  </a:lnTo>
                  <a:lnTo>
                    <a:pt x="2" y="13"/>
                  </a:lnTo>
                  <a:lnTo>
                    <a:pt x="4" y="10"/>
                  </a:lnTo>
                  <a:lnTo>
                    <a:pt x="8" y="7"/>
                  </a:lnTo>
                  <a:lnTo>
                    <a:pt x="12" y="3"/>
                  </a:lnTo>
                  <a:lnTo>
                    <a:pt x="16" y="2"/>
                  </a:lnTo>
                  <a:lnTo>
                    <a:pt x="20" y="1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31" y="1"/>
                  </a:lnTo>
                  <a:lnTo>
                    <a:pt x="35" y="2"/>
                  </a:lnTo>
                  <a:lnTo>
                    <a:pt x="42" y="6"/>
                  </a:lnTo>
                  <a:lnTo>
                    <a:pt x="42" y="6"/>
                  </a:lnTo>
                  <a:lnTo>
                    <a:pt x="45" y="3"/>
                  </a:lnTo>
                  <a:lnTo>
                    <a:pt x="47" y="0"/>
                  </a:lnTo>
                  <a:lnTo>
                    <a:pt x="51" y="0"/>
                  </a:lnTo>
                  <a:lnTo>
                    <a:pt x="51" y="32"/>
                  </a:lnTo>
                  <a:lnTo>
                    <a:pt x="47" y="32"/>
                  </a:lnTo>
                  <a:lnTo>
                    <a:pt x="47" y="32"/>
                  </a:lnTo>
                  <a:lnTo>
                    <a:pt x="45" y="22"/>
                  </a:lnTo>
                  <a:lnTo>
                    <a:pt x="42" y="14"/>
                  </a:lnTo>
                  <a:lnTo>
                    <a:pt x="39" y="11"/>
                  </a:lnTo>
                  <a:lnTo>
                    <a:pt x="35" y="8"/>
                  </a:lnTo>
                  <a:lnTo>
                    <a:pt x="31" y="7"/>
                  </a:lnTo>
                  <a:lnTo>
                    <a:pt x="27" y="6"/>
                  </a:lnTo>
                  <a:lnTo>
                    <a:pt x="27" y="6"/>
                  </a:lnTo>
                  <a:lnTo>
                    <a:pt x="22" y="7"/>
                  </a:lnTo>
                  <a:lnTo>
                    <a:pt x="18" y="10"/>
                  </a:lnTo>
                  <a:lnTo>
                    <a:pt x="16" y="13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6" y="22"/>
                  </a:lnTo>
                  <a:lnTo>
                    <a:pt x="18" y="25"/>
                  </a:lnTo>
                  <a:lnTo>
                    <a:pt x="22" y="29"/>
                  </a:lnTo>
                  <a:lnTo>
                    <a:pt x="27" y="33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7" y="44"/>
                  </a:lnTo>
                  <a:lnTo>
                    <a:pt x="53" y="50"/>
                  </a:lnTo>
                  <a:lnTo>
                    <a:pt x="57" y="57"/>
                  </a:lnTo>
                  <a:lnTo>
                    <a:pt x="58" y="61"/>
                  </a:lnTo>
                  <a:lnTo>
                    <a:pt x="58" y="65"/>
                  </a:lnTo>
                  <a:lnTo>
                    <a:pt x="58" y="65"/>
                  </a:lnTo>
                  <a:lnTo>
                    <a:pt x="58" y="71"/>
                  </a:lnTo>
                  <a:lnTo>
                    <a:pt x="56" y="75"/>
                  </a:lnTo>
                  <a:lnTo>
                    <a:pt x="53" y="80"/>
                  </a:lnTo>
                  <a:lnTo>
                    <a:pt x="50" y="84"/>
                  </a:lnTo>
                  <a:lnTo>
                    <a:pt x="45" y="86"/>
                  </a:lnTo>
                  <a:lnTo>
                    <a:pt x="40" y="89"/>
                  </a:lnTo>
                  <a:lnTo>
                    <a:pt x="35" y="90"/>
                  </a:lnTo>
                  <a:lnTo>
                    <a:pt x="30" y="91"/>
                  </a:lnTo>
                  <a:lnTo>
                    <a:pt x="30" y="91"/>
                  </a:lnTo>
                  <a:lnTo>
                    <a:pt x="23" y="90"/>
                  </a:lnTo>
                  <a:lnTo>
                    <a:pt x="17" y="88"/>
                  </a:lnTo>
                  <a:lnTo>
                    <a:pt x="7" y="84"/>
                  </a:lnTo>
                  <a:lnTo>
                    <a:pt x="7" y="84"/>
                  </a:lnTo>
                  <a:lnTo>
                    <a:pt x="4" y="88"/>
                  </a:lnTo>
                  <a:lnTo>
                    <a:pt x="3" y="91"/>
                  </a:lnTo>
                  <a:lnTo>
                    <a:pt x="3" y="91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20" name="Freeform 17"/>
            <p:cNvSpPr>
              <a:spLocks/>
            </p:cNvSpPr>
            <p:nvPr userDrawn="1"/>
          </p:nvSpPr>
          <p:spPr bwMode="auto">
            <a:xfrm>
              <a:off x="2177" y="562"/>
              <a:ext cx="90" cy="87"/>
            </a:xfrm>
            <a:custGeom>
              <a:avLst/>
              <a:gdLst>
                <a:gd name="T0" fmla="*/ 90 w 90"/>
                <a:gd name="T1" fmla="*/ 21 h 87"/>
                <a:gd name="T2" fmla="*/ 85 w 90"/>
                <a:gd name="T3" fmla="*/ 21 h 87"/>
                <a:gd name="T4" fmla="*/ 85 w 90"/>
                <a:gd name="T5" fmla="*/ 19 h 87"/>
                <a:gd name="T6" fmla="*/ 85 w 90"/>
                <a:gd name="T7" fmla="*/ 19 h 87"/>
                <a:gd name="T8" fmla="*/ 84 w 90"/>
                <a:gd name="T9" fmla="*/ 12 h 87"/>
                <a:gd name="T10" fmla="*/ 80 w 90"/>
                <a:gd name="T11" fmla="*/ 10 h 87"/>
                <a:gd name="T12" fmla="*/ 77 w 90"/>
                <a:gd name="T13" fmla="*/ 8 h 87"/>
                <a:gd name="T14" fmla="*/ 68 w 90"/>
                <a:gd name="T15" fmla="*/ 8 h 87"/>
                <a:gd name="T16" fmla="*/ 54 w 90"/>
                <a:gd name="T17" fmla="*/ 8 h 87"/>
                <a:gd name="T18" fmla="*/ 54 w 90"/>
                <a:gd name="T19" fmla="*/ 66 h 87"/>
                <a:gd name="T20" fmla="*/ 54 w 90"/>
                <a:gd name="T21" fmla="*/ 66 h 87"/>
                <a:gd name="T22" fmla="*/ 55 w 90"/>
                <a:gd name="T23" fmla="*/ 75 h 87"/>
                <a:gd name="T24" fmla="*/ 56 w 90"/>
                <a:gd name="T25" fmla="*/ 80 h 87"/>
                <a:gd name="T26" fmla="*/ 58 w 90"/>
                <a:gd name="T27" fmla="*/ 81 h 87"/>
                <a:gd name="T28" fmla="*/ 61 w 90"/>
                <a:gd name="T29" fmla="*/ 82 h 87"/>
                <a:gd name="T30" fmla="*/ 68 w 90"/>
                <a:gd name="T31" fmla="*/ 82 h 87"/>
                <a:gd name="T32" fmla="*/ 68 w 90"/>
                <a:gd name="T33" fmla="*/ 87 h 87"/>
                <a:gd name="T34" fmla="*/ 23 w 90"/>
                <a:gd name="T35" fmla="*/ 87 h 87"/>
                <a:gd name="T36" fmla="*/ 23 w 90"/>
                <a:gd name="T37" fmla="*/ 82 h 87"/>
                <a:gd name="T38" fmla="*/ 23 w 90"/>
                <a:gd name="T39" fmla="*/ 82 h 87"/>
                <a:gd name="T40" fmla="*/ 29 w 90"/>
                <a:gd name="T41" fmla="*/ 82 h 87"/>
                <a:gd name="T42" fmla="*/ 31 w 90"/>
                <a:gd name="T43" fmla="*/ 81 h 87"/>
                <a:gd name="T44" fmla="*/ 34 w 90"/>
                <a:gd name="T45" fmla="*/ 80 h 87"/>
                <a:gd name="T46" fmla="*/ 35 w 90"/>
                <a:gd name="T47" fmla="*/ 75 h 87"/>
                <a:gd name="T48" fmla="*/ 36 w 90"/>
                <a:gd name="T49" fmla="*/ 66 h 87"/>
                <a:gd name="T50" fmla="*/ 36 w 90"/>
                <a:gd name="T51" fmla="*/ 8 h 87"/>
                <a:gd name="T52" fmla="*/ 22 w 90"/>
                <a:gd name="T53" fmla="*/ 8 h 87"/>
                <a:gd name="T54" fmla="*/ 22 w 90"/>
                <a:gd name="T55" fmla="*/ 8 h 87"/>
                <a:gd name="T56" fmla="*/ 14 w 90"/>
                <a:gd name="T57" fmla="*/ 8 h 87"/>
                <a:gd name="T58" fmla="*/ 9 w 90"/>
                <a:gd name="T59" fmla="*/ 10 h 87"/>
                <a:gd name="T60" fmla="*/ 7 w 90"/>
                <a:gd name="T61" fmla="*/ 12 h 87"/>
                <a:gd name="T62" fmla="*/ 5 w 90"/>
                <a:gd name="T63" fmla="*/ 19 h 87"/>
                <a:gd name="T64" fmla="*/ 5 w 90"/>
                <a:gd name="T65" fmla="*/ 21 h 87"/>
                <a:gd name="T66" fmla="*/ 0 w 90"/>
                <a:gd name="T67" fmla="*/ 21 h 87"/>
                <a:gd name="T68" fmla="*/ 1 w 90"/>
                <a:gd name="T69" fmla="*/ 0 h 87"/>
                <a:gd name="T70" fmla="*/ 89 w 90"/>
                <a:gd name="T71" fmla="*/ 0 h 87"/>
                <a:gd name="T72" fmla="*/ 90 w 90"/>
                <a:gd name="T73" fmla="*/ 2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90" h="87">
                  <a:moveTo>
                    <a:pt x="90" y="21"/>
                  </a:moveTo>
                  <a:lnTo>
                    <a:pt x="85" y="21"/>
                  </a:lnTo>
                  <a:lnTo>
                    <a:pt x="85" y="19"/>
                  </a:lnTo>
                  <a:lnTo>
                    <a:pt x="85" y="19"/>
                  </a:lnTo>
                  <a:lnTo>
                    <a:pt x="84" y="12"/>
                  </a:lnTo>
                  <a:lnTo>
                    <a:pt x="80" y="10"/>
                  </a:lnTo>
                  <a:lnTo>
                    <a:pt x="77" y="8"/>
                  </a:lnTo>
                  <a:lnTo>
                    <a:pt x="68" y="8"/>
                  </a:lnTo>
                  <a:lnTo>
                    <a:pt x="54" y="8"/>
                  </a:lnTo>
                  <a:lnTo>
                    <a:pt x="54" y="66"/>
                  </a:lnTo>
                  <a:lnTo>
                    <a:pt x="54" y="66"/>
                  </a:lnTo>
                  <a:lnTo>
                    <a:pt x="55" y="75"/>
                  </a:lnTo>
                  <a:lnTo>
                    <a:pt x="56" y="80"/>
                  </a:lnTo>
                  <a:lnTo>
                    <a:pt x="58" y="81"/>
                  </a:lnTo>
                  <a:lnTo>
                    <a:pt x="61" y="82"/>
                  </a:lnTo>
                  <a:lnTo>
                    <a:pt x="68" y="82"/>
                  </a:lnTo>
                  <a:lnTo>
                    <a:pt x="68" y="87"/>
                  </a:lnTo>
                  <a:lnTo>
                    <a:pt x="23" y="87"/>
                  </a:lnTo>
                  <a:lnTo>
                    <a:pt x="23" y="82"/>
                  </a:lnTo>
                  <a:lnTo>
                    <a:pt x="23" y="82"/>
                  </a:lnTo>
                  <a:lnTo>
                    <a:pt x="29" y="82"/>
                  </a:lnTo>
                  <a:lnTo>
                    <a:pt x="31" y="81"/>
                  </a:lnTo>
                  <a:lnTo>
                    <a:pt x="34" y="80"/>
                  </a:lnTo>
                  <a:lnTo>
                    <a:pt x="35" y="75"/>
                  </a:lnTo>
                  <a:lnTo>
                    <a:pt x="36" y="66"/>
                  </a:lnTo>
                  <a:lnTo>
                    <a:pt x="36" y="8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14" y="8"/>
                  </a:lnTo>
                  <a:lnTo>
                    <a:pt x="9" y="10"/>
                  </a:lnTo>
                  <a:lnTo>
                    <a:pt x="7" y="12"/>
                  </a:lnTo>
                  <a:lnTo>
                    <a:pt x="5" y="19"/>
                  </a:lnTo>
                  <a:lnTo>
                    <a:pt x="5" y="21"/>
                  </a:lnTo>
                  <a:lnTo>
                    <a:pt x="0" y="21"/>
                  </a:lnTo>
                  <a:lnTo>
                    <a:pt x="1" y="0"/>
                  </a:lnTo>
                  <a:lnTo>
                    <a:pt x="89" y="0"/>
                  </a:lnTo>
                  <a:lnTo>
                    <a:pt x="90" y="21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21" name="Freeform 18"/>
            <p:cNvSpPr>
              <a:spLocks noEditPoints="1"/>
            </p:cNvSpPr>
            <p:nvPr userDrawn="1"/>
          </p:nvSpPr>
          <p:spPr bwMode="auto">
            <a:xfrm>
              <a:off x="2286" y="560"/>
              <a:ext cx="95" cy="91"/>
            </a:xfrm>
            <a:custGeom>
              <a:avLst/>
              <a:gdLst>
                <a:gd name="T0" fmla="*/ 47 w 95"/>
                <a:gd name="T1" fmla="*/ 91 h 91"/>
                <a:gd name="T2" fmla="*/ 29 w 95"/>
                <a:gd name="T3" fmla="*/ 88 h 91"/>
                <a:gd name="T4" fmla="*/ 13 w 95"/>
                <a:gd name="T5" fmla="*/ 78 h 91"/>
                <a:gd name="T6" fmla="*/ 3 w 95"/>
                <a:gd name="T7" fmla="*/ 63 h 91"/>
                <a:gd name="T8" fmla="*/ 0 w 95"/>
                <a:gd name="T9" fmla="*/ 46 h 91"/>
                <a:gd name="T10" fmla="*/ 1 w 95"/>
                <a:gd name="T11" fmla="*/ 36 h 91"/>
                <a:gd name="T12" fmla="*/ 7 w 95"/>
                <a:gd name="T13" fmla="*/ 21 h 91"/>
                <a:gd name="T14" fmla="*/ 20 w 95"/>
                <a:gd name="T15" fmla="*/ 8 h 91"/>
                <a:gd name="T16" fmla="*/ 37 w 95"/>
                <a:gd name="T17" fmla="*/ 1 h 91"/>
                <a:gd name="T18" fmla="*/ 47 w 95"/>
                <a:gd name="T19" fmla="*/ 0 h 91"/>
                <a:gd name="T20" fmla="*/ 66 w 95"/>
                <a:gd name="T21" fmla="*/ 3 h 91"/>
                <a:gd name="T22" fmla="*/ 82 w 95"/>
                <a:gd name="T23" fmla="*/ 13 h 91"/>
                <a:gd name="T24" fmla="*/ 91 w 95"/>
                <a:gd name="T25" fmla="*/ 28 h 91"/>
                <a:gd name="T26" fmla="*/ 95 w 95"/>
                <a:gd name="T27" fmla="*/ 46 h 91"/>
                <a:gd name="T28" fmla="*/ 94 w 95"/>
                <a:gd name="T29" fmla="*/ 55 h 91"/>
                <a:gd name="T30" fmla="*/ 86 w 95"/>
                <a:gd name="T31" fmla="*/ 71 h 91"/>
                <a:gd name="T32" fmla="*/ 74 w 95"/>
                <a:gd name="T33" fmla="*/ 83 h 91"/>
                <a:gd name="T34" fmla="*/ 57 w 95"/>
                <a:gd name="T35" fmla="*/ 90 h 91"/>
                <a:gd name="T36" fmla="*/ 47 w 95"/>
                <a:gd name="T37" fmla="*/ 91 h 91"/>
                <a:gd name="T38" fmla="*/ 47 w 95"/>
                <a:gd name="T39" fmla="*/ 7 h 91"/>
                <a:gd name="T40" fmla="*/ 34 w 95"/>
                <a:gd name="T41" fmla="*/ 11 h 91"/>
                <a:gd name="T42" fmla="*/ 25 w 95"/>
                <a:gd name="T43" fmla="*/ 19 h 91"/>
                <a:gd name="T44" fmla="*/ 20 w 95"/>
                <a:gd name="T45" fmla="*/ 33 h 91"/>
                <a:gd name="T46" fmla="*/ 19 w 95"/>
                <a:gd name="T47" fmla="*/ 46 h 91"/>
                <a:gd name="T48" fmla="*/ 19 w 95"/>
                <a:gd name="T49" fmla="*/ 52 h 91"/>
                <a:gd name="T50" fmla="*/ 23 w 95"/>
                <a:gd name="T51" fmla="*/ 66 h 91"/>
                <a:gd name="T52" fmla="*/ 29 w 95"/>
                <a:gd name="T53" fmla="*/ 77 h 91"/>
                <a:gd name="T54" fmla="*/ 40 w 95"/>
                <a:gd name="T55" fmla="*/ 83 h 91"/>
                <a:gd name="T56" fmla="*/ 47 w 95"/>
                <a:gd name="T57" fmla="*/ 84 h 91"/>
                <a:gd name="T58" fmla="*/ 61 w 95"/>
                <a:gd name="T59" fmla="*/ 80 h 91"/>
                <a:gd name="T60" fmla="*/ 69 w 95"/>
                <a:gd name="T61" fmla="*/ 72 h 91"/>
                <a:gd name="T62" fmla="*/ 74 w 95"/>
                <a:gd name="T63" fmla="*/ 58 h 91"/>
                <a:gd name="T64" fmla="*/ 75 w 95"/>
                <a:gd name="T65" fmla="*/ 46 h 91"/>
                <a:gd name="T66" fmla="*/ 75 w 95"/>
                <a:gd name="T67" fmla="*/ 39 h 91"/>
                <a:gd name="T68" fmla="*/ 72 w 95"/>
                <a:gd name="T69" fmla="*/ 25 h 91"/>
                <a:gd name="T70" fmla="*/ 66 w 95"/>
                <a:gd name="T71" fmla="*/ 14 h 91"/>
                <a:gd name="T72" fmla="*/ 55 w 95"/>
                <a:gd name="T73" fmla="*/ 8 h 91"/>
                <a:gd name="T74" fmla="*/ 47 w 95"/>
                <a:gd name="T75" fmla="*/ 7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95" h="91">
                  <a:moveTo>
                    <a:pt x="47" y="91"/>
                  </a:moveTo>
                  <a:lnTo>
                    <a:pt x="47" y="91"/>
                  </a:lnTo>
                  <a:lnTo>
                    <a:pt x="37" y="90"/>
                  </a:lnTo>
                  <a:lnTo>
                    <a:pt x="29" y="88"/>
                  </a:lnTo>
                  <a:lnTo>
                    <a:pt x="20" y="83"/>
                  </a:lnTo>
                  <a:lnTo>
                    <a:pt x="13" y="78"/>
                  </a:lnTo>
                  <a:lnTo>
                    <a:pt x="7" y="71"/>
                  </a:lnTo>
                  <a:lnTo>
                    <a:pt x="3" y="63"/>
                  </a:lnTo>
                  <a:lnTo>
                    <a:pt x="1" y="55"/>
                  </a:lnTo>
                  <a:lnTo>
                    <a:pt x="0" y="46"/>
                  </a:lnTo>
                  <a:lnTo>
                    <a:pt x="0" y="46"/>
                  </a:lnTo>
                  <a:lnTo>
                    <a:pt x="1" y="36"/>
                  </a:lnTo>
                  <a:lnTo>
                    <a:pt x="3" y="28"/>
                  </a:lnTo>
                  <a:lnTo>
                    <a:pt x="7" y="21"/>
                  </a:lnTo>
                  <a:lnTo>
                    <a:pt x="13" y="13"/>
                  </a:lnTo>
                  <a:lnTo>
                    <a:pt x="20" y="8"/>
                  </a:lnTo>
                  <a:lnTo>
                    <a:pt x="29" y="3"/>
                  </a:lnTo>
                  <a:lnTo>
                    <a:pt x="37" y="1"/>
                  </a:lnTo>
                  <a:lnTo>
                    <a:pt x="47" y="0"/>
                  </a:lnTo>
                  <a:lnTo>
                    <a:pt x="47" y="0"/>
                  </a:lnTo>
                  <a:lnTo>
                    <a:pt x="57" y="1"/>
                  </a:lnTo>
                  <a:lnTo>
                    <a:pt x="66" y="3"/>
                  </a:lnTo>
                  <a:lnTo>
                    <a:pt x="74" y="8"/>
                  </a:lnTo>
                  <a:lnTo>
                    <a:pt x="82" y="13"/>
                  </a:lnTo>
                  <a:lnTo>
                    <a:pt x="86" y="21"/>
                  </a:lnTo>
                  <a:lnTo>
                    <a:pt x="91" y="28"/>
                  </a:lnTo>
                  <a:lnTo>
                    <a:pt x="94" y="36"/>
                  </a:lnTo>
                  <a:lnTo>
                    <a:pt x="95" y="46"/>
                  </a:lnTo>
                  <a:lnTo>
                    <a:pt x="95" y="46"/>
                  </a:lnTo>
                  <a:lnTo>
                    <a:pt x="94" y="55"/>
                  </a:lnTo>
                  <a:lnTo>
                    <a:pt x="91" y="63"/>
                  </a:lnTo>
                  <a:lnTo>
                    <a:pt x="86" y="71"/>
                  </a:lnTo>
                  <a:lnTo>
                    <a:pt x="82" y="78"/>
                  </a:lnTo>
                  <a:lnTo>
                    <a:pt x="74" y="83"/>
                  </a:lnTo>
                  <a:lnTo>
                    <a:pt x="66" y="88"/>
                  </a:lnTo>
                  <a:lnTo>
                    <a:pt x="57" y="90"/>
                  </a:lnTo>
                  <a:lnTo>
                    <a:pt x="47" y="91"/>
                  </a:lnTo>
                  <a:lnTo>
                    <a:pt x="47" y="91"/>
                  </a:lnTo>
                  <a:close/>
                  <a:moveTo>
                    <a:pt x="47" y="7"/>
                  </a:moveTo>
                  <a:lnTo>
                    <a:pt x="47" y="7"/>
                  </a:lnTo>
                  <a:lnTo>
                    <a:pt x="40" y="8"/>
                  </a:lnTo>
                  <a:lnTo>
                    <a:pt x="34" y="11"/>
                  </a:lnTo>
                  <a:lnTo>
                    <a:pt x="29" y="14"/>
                  </a:lnTo>
                  <a:lnTo>
                    <a:pt x="25" y="19"/>
                  </a:lnTo>
                  <a:lnTo>
                    <a:pt x="23" y="25"/>
                  </a:lnTo>
                  <a:lnTo>
                    <a:pt x="20" y="33"/>
                  </a:lnTo>
                  <a:lnTo>
                    <a:pt x="19" y="39"/>
                  </a:lnTo>
                  <a:lnTo>
                    <a:pt x="19" y="46"/>
                  </a:lnTo>
                  <a:lnTo>
                    <a:pt x="19" y="46"/>
                  </a:lnTo>
                  <a:lnTo>
                    <a:pt x="19" y="52"/>
                  </a:lnTo>
                  <a:lnTo>
                    <a:pt x="20" y="58"/>
                  </a:lnTo>
                  <a:lnTo>
                    <a:pt x="23" y="66"/>
                  </a:lnTo>
                  <a:lnTo>
                    <a:pt x="25" y="72"/>
                  </a:lnTo>
                  <a:lnTo>
                    <a:pt x="29" y="77"/>
                  </a:lnTo>
                  <a:lnTo>
                    <a:pt x="34" y="80"/>
                  </a:lnTo>
                  <a:lnTo>
                    <a:pt x="40" y="83"/>
                  </a:lnTo>
                  <a:lnTo>
                    <a:pt x="47" y="84"/>
                  </a:lnTo>
                  <a:lnTo>
                    <a:pt x="47" y="84"/>
                  </a:lnTo>
                  <a:lnTo>
                    <a:pt x="55" y="83"/>
                  </a:lnTo>
                  <a:lnTo>
                    <a:pt x="61" y="80"/>
                  </a:lnTo>
                  <a:lnTo>
                    <a:pt x="66" y="77"/>
                  </a:lnTo>
                  <a:lnTo>
                    <a:pt x="69" y="72"/>
                  </a:lnTo>
                  <a:lnTo>
                    <a:pt x="72" y="66"/>
                  </a:lnTo>
                  <a:lnTo>
                    <a:pt x="74" y="58"/>
                  </a:lnTo>
                  <a:lnTo>
                    <a:pt x="75" y="52"/>
                  </a:lnTo>
                  <a:lnTo>
                    <a:pt x="75" y="46"/>
                  </a:lnTo>
                  <a:lnTo>
                    <a:pt x="75" y="46"/>
                  </a:lnTo>
                  <a:lnTo>
                    <a:pt x="75" y="39"/>
                  </a:lnTo>
                  <a:lnTo>
                    <a:pt x="74" y="33"/>
                  </a:lnTo>
                  <a:lnTo>
                    <a:pt x="72" y="25"/>
                  </a:lnTo>
                  <a:lnTo>
                    <a:pt x="69" y="19"/>
                  </a:lnTo>
                  <a:lnTo>
                    <a:pt x="66" y="14"/>
                  </a:lnTo>
                  <a:lnTo>
                    <a:pt x="61" y="11"/>
                  </a:lnTo>
                  <a:lnTo>
                    <a:pt x="55" y="8"/>
                  </a:lnTo>
                  <a:lnTo>
                    <a:pt x="47" y="7"/>
                  </a:lnTo>
                  <a:lnTo>
                    <a:pt x="47" y="7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22" name="Freeform 19"/>
            <p:cNvSpPr>
              <a:spLocks/>
            </p:cNvSpPr>
            <p:nvPr userDrawn="1"/>
          </p:nvSpPr>
          <p:spPr bwMode="auto">
            <a:xfrm>
              <a:off x="979" y="726"/>
              <a:ext cx="56" cy="91"/>
            </a:xfrm>
            <a:custGeom>
              <a:avLst/>
              <a:gdLst>
                <a:gd name="T0" fmla="*/ 2 w 56"/>
                <a:gd name="T1" fmla="*/ 60 h 91"/>
                <a:gd name="T2" fmla="*/ 2 w 56"/>
                <a:gd name="T3" fmla="*/ 63 h 91"/>
                <a:gd name="T4" fmla="*/ 6 w 56"/>
                <a:gd name="T5" fmla="*/ 73 h 91"/>
                <a:gd name="T6" fmla="*/ 13 w 56"/>
                <a:gd name="T7" fmla="*/ 82 h 91"/>
                <a:gd name="T8" fmla="*/ 29 w 56"/>
                <a:gd name="T9" fmla="*/ 85 h 91"/>
                <a:gd name="T10" fmla="*/ 35 w 56"/>
                <a:gd name="T11" fmla="*/ 84 h 91"/>
                <a:gd name="T12" fmla="*/ 45 w 56"/>
                <a:gd name="T13" fmla="*/ 76 h 91"/>
                <a:gd name="T14" fmla="*/ 46 w 56"/>
                <a:gd name="T15" fmla="*/ 69 h 91"/>
                <a:gd name="T16" fmla="*/ 43 w 56"/>
                <a:gd name="T17" fmla="*/ 61 h 91"/>
                <a:gd name="T18" fmla="*/ 30 w 56"/>
                <a:gd name="T19" fmla="*/ 52 h 91"/>
                <a:gd name="T20" fmla="*/ 17 w 56"/>
                <a:gd name="T21" fmla="*/ 45 h 91"/>
                <a:gd name="T22" fmla="*/ 6 w 56"/>
                <a:gd name="T23" fmla="*/ 36 h 91"/>
                <a:gd name="T24" fmla="*/ 1 w 56"/>
                <a:gd name="T25" fmla="*/ 22 h 91"/>
                <a:gd name="T26" fmla="*/ 1 w 56"/>
                <a:gd name="T27" fmla="*/ 17 h 91"/>
                <a:gd name="T28" fmla="*/ 5 w 56"/>
                <a:gd name="T29" fmla="*/ 10 h 91"/>
                <a:gd name="T30" fmla="*/ 11 w 56"/>
                <a:gd name="T31" fmla="*/ 3 h 91"/>
                <a:gd name="T32" fmla="*/ 19 w 56"/>
                <a:gd name="T33" fmla="*/ 1 h 91"/>
                <a:gd name="T34" fmla="*/ 24 w 56"/>
                <a:gd name="T35" fmla="*/ 0 h 91"/>
                <a:gd name="T36" fmla="*/ 34 w 56"/>
                <a:gd name="T37" fmla="*/ 2 h 91"/>
                <a:gd name="T38" fmla="*/ 41 w 56"/>
                <a:gd name="T39" fmla="*/ 6 h 91"/>
                <a:gd name="T40" fmla="*/ 46 w 56"/>
                <a:gd name="T41" fmla="*/ 0 h 91"/>
                <a:gd name="T42" fmla="*/ 49 w 56"/>
                <a:gd name="T43" fmla="*/ 32 h 91"/>
                <a:gd name="T44" fmla="*/ 46 w 56"/>
                <a:gd name="T45" fmla="*/ 32 h 91"/>
                <a:gd name="T46" fmla="*/ 43 w 56"/>
                <a:gd name="T47" fmla="*/ 18 h 91"/>
                <a:gd name="T48" fmla="*/ 38 w 56"/>
                <a:gd name="T49" fmla="*/ 11 h 91"/>
                <a:gd name="T50" fmla="*/ 29 w 56"/>
                <a:gd name="T51" fmla="*/ 7 h 91"/>
                <a:gd name="T52" fmla="*/ 24 w 56"/>
                <a:gd name="T53" fmla="*/ 6 h 91"/>
                <a:gd name="T54" fmla="*/ 15 w 56"/>
                <a:gd name="T55" fmla="*/ 10 h 91"/>
                <a:gd name="T56" fmla="*/ 10 w 56"/>
                <a:gd name="T57" fmla="*/ 19 h 91"/>
                <a:gd name="T58" fmla="*/ 11 w 56"/>
                <a:gd name="T59" fmla="*/ 24 h 91"/>
                <a:gd name="T60" fmla="*/ 19 w 56"/>
                <a:gd name="T61" fmla="*/ 32 h 91"/>
                <a:gd name="T62" fmla="*/ 41 w 56"/>
                <a:gd name="T63" fmla="*/ 44 h 91"/>
                <a:gd name="T64" fmla="*/ 49 w 56"/>
                <a:gd name="T65" fmla="*/ 49 h 91"/>
                <a:gd name="T66" fmla="*/ 55 w 56"/>
                <a:gd name="T67" fmla="*/ 60 h 91"/>
                <a:gd name="T68" fmla="*/ 56 w 56"/>
                <a:gd name="T69" fmla="*/ 66 h 91"/>
                <a:gd name="T70" fmla="*/ 54 w 56"/>
                <a:gd name="T71" fmla="*/ 76 h 91"/>
                <a:gd name="T72" fmla="*/ 48 w 56"/>
                <a:gd name="T73" fmla="*/ 84 h 91"/>
                <a:gd name="T74" fmla="*/ 39 w 56"/>
                <a:gd name="T75" fmla="*/ 89 h 91"/>
                <a:gd name="T76" fmla="*/ 29 w 56"/>
                <a:gd name="T77" fmla="*/ 91 h 91"/>
                <a:gd name="T78" fmla="*/ 22 w 56"/>
                <a:gd name="T79" fmla="*/ 90 h 91"/>
                <a:gd name="T80" fmla="*/ 6 w 56"/>
                <a:gd name="T81" fmla="*/ 84 h 91"/>
                <a:gd name="T82" fmla="*/ 4 w 56"/>
                <a:gd name="T83" fmla="*/ 88 h 91"/>
                <a:gd name="T84" fmla="*/ 0 w 56"/>
                <a:gd name="T85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6" h="91">
                  <a:moveTo>
                    <a:pt x="0" y="60"/>
                  </a:moveTo>
                  <a:lnTo>
                    <a:pt x="2" y="60"/>
                  </a:lnTo>
                  <a:lnTo>
                    <a:pt x="2" y="60"/>
                  </a:lnTo>
                  <a:lnTo>
                    <a:pt x="2" y="63"/>
                  </a:lnTo>
                  <a:lnTo>
                    <a:pt x="4" y="68"/>
                  </a:lnTo>
                  <a:lnTo>
                    <a:pt x="6" y="73"/>
                  </a:lnTo>
                  <a:lnTo>
                    <a:pt x="8" y="77"/>
                  </a:lnTo>
                  <a:lnTo>
                    <a:pt x="13" y="82"/>
                  </a:lnTo>
                  <a:lnTo>
                    <a:pt x="21" y="84"/>
                  </a:lnTo>
                  <a:lnTo>
                    <a:pt x="29" y="85"/>
                  </a:lnTo>
                  <a:lnTo>
                    <a:pt x="29" y="85"/>
                  </a:lnTo>
                  <a:lnTo>
                    <a:pt x="35" y="84"/>
                  </a:lnTo>
                  <a:lnTo>
                    <a:pt x="41" y="82"/>
                  </a:lnTo>
                  <a:lnTo>
                    <a:pt x="45" y="76"/>
                  </a:lnTo>
                  <a:lnTo>
                    <a:pt x="46" y="69"/>
                  </a:lnTo>
                  <a:lnTo>
                    <a:pt x="46" y="69"/>
                  </a:lnTo>
                  <a:lnTo>
                    <a:pt x="45" y="65"/>
                  </a:lnTo>
                  <a:lnTo>
                    <a:pt x="43" y="61"/>
                  </a:lnTo>
                  <a:lnTo>
                    <a:pt x="37" y="56"/>
                  </a:lnTo>
                  <a:lnTo>
                    <a:pt x="30" y="52"/>
                  </a:lnTo>
                  <a:lnTo>
                    <a:pt x="17" y="45"/>
                  </a:lnTo>
                  <a:lnTo>
                    <a:pt x="17" y="45"/>
                  </a:lnTo>
                  <a:lnTo>
                    <a:pt x="11" y="41"/>
                  </a:lnTo>
                  <a:lnTo>
                    <a:pt x="6" y="36"/>
                  </a:lnTo>
                  <a:lnTo>
                    <a:pt x="2" y="29"/>
                  </a:lnTo>
                  <a:lnTo>
                    <a:pt x="1" y="22"/>
                  </a:lnTo>
                  <a:lnTo>
                    <a:pt x="1" y="22"/>
                  </a:lnTo>
                  <a:lnTo>
                    <a:pt x="1" y="17"/>
                  </a:lnTo>
                  <a:lnTo>
                    <a:pt x="2" y="13"/>
                  </a:lnTo>
                  <a:lnTo>
                    <a:pt x="5" y="10"/>
                  </a:lnTo>
                  <a:lnTo>
                    <a:pt x="7" y="6"/>
                  </a:lnTo>
                  <a:lnTo>
                    <a:pt x="11" y="3"/>
                  </a:lnTo>
                  <a:lnTo>
                    <a:pt x="15" y="2"/>
                  </a:lnTo>
                  <a:lnTo>
                    <a:pt x="19" y="1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30" y="1"/>
                  </a:lnTo>
                  <a:lnTo>
                    <a:pt x="34" y="2"/>
                  </a:lnTo>
                  <a:lnTo>
                    <a:pt x="41" y="6"/>
                  </a:lnTo>
                  <a:lnTo>
                    <a:pt x="41" y="6"/>
                  </a:lnTo>
                  <a:lnTo>
                    <a:pt x="44" y="3"/>
                  </a:lnTo>
                  <a:lnTo>
                    <a:pt x="46" y="0"/>
                  </a:lnTo>
                  <a:lnTo>
                    <a:pt x="49" y="0"/>
                  </a:lnTo>
                  <a:lnTo>
                    <a:pt x="49" y="32"/>
                  </a:lnTo>
                  <a:lnTo>
                    <a:pt x="46" y="32"/>
                  </a:lnTo>
                  <a:lnTo>
                    <a:pt x="46" y="32"/>
                  </a:lnTo>
                  <a:lnTo>
                    <a:pt x="44" y="22"/>
                  </a:lnTo>
                  <a:lnTo>
                    <a:pt x="43" y="18"/>
                  </a:lnTo>
                  <a:lnTo>
                    <a:pt x="40" y="14"/>
                  </a:lnTo>
                  <a:lnTo>
                    <a:pt x="38" y="11"/>
                  </a:lnTo>
                  <a:lnTo>
                    <a:pt x="34" y="8"/>
                  </a:lnTo>
                  <a:lnTo>
                    <a:pt x="29" y="7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18" y="7"/>
                  </a:lnTo>
                  <a:lnTo>
                    <a:pt x="15" y="10"/>
                  </a:lnTo>
                  <a:lnTo>
                    <a:pt x="11" y="13"/>
                  </a:lnTo>
                  <a:lnTo>
                    <a:pt x="10" y="19"/>
                  </a:lnTo>
                  <a:lnTo>
                    <a:pt x="10" y="19"/>
                  </a:lnTo>
                  <a:lnTo>
                    <a:pt x="11" y="24"/>
                  </a:lnTo>
                  <a:lnTo>
                    <a:pt x="15" y="28"/>
                  </a:lnTo>
                  <a:lnTo>
                    <a:pt x="19" y="32"/>
                  </a:lnTo>
                  <a:lnTo>
                    <a:pt x="28" y="36"/>
                  </a:lnTo>
                  <a:lnTo>
                    <a:pt x="41" y="44"/>
                  </a:lnTo>
                  <a:lnTo>
                    <a:pt x="41" y="44"/>
                  </a:lnTo>
                  <a:lnTo>
                    <a:pt x="49" y="49"/>
                  </a:lnTo>
                  <a:lnTo>
                    <a:pt x="52" y="54"/>
                  </a:lnTo>
                  <a:lnTo>
                    <a:pt x="55" y="60"/>
                  </a:lnTo>
                  <a:lnTo>
                    <a:pt x="56" y="66"/>
                  </a:lnTo>
                  <a:lnTo>
                    <a:pt x="56" y="66"/>
                  </a:lnTo>
                  <a:lnTo>
                    <a:pt x="56" y="71"/>
                  </a:lnTo>
                  <a:lnTo>
                    <a:pt x="54" y="76"/>
                  </a:lnTo>
                  <a:lnTo>
                    <a:pt x="51" y="80"/>
                  </a:lnTo>
                  <a:lnTo>
                    <a:pt x="48" y="84"/>
                  </a:lnTo>
                  <a:lnTo>
                    <a:pt x="44" y="88"/>
                  </a:lnTo>
                  <a:lnTo>
                    <a:pt x="39" y="89"/>
                  </a:lnTo>
                  <a:lnTo>
                    <a:pt x="34" y="90"/>
                  </a:lnTo>
                  <a:lnTo>
                    <a:pt x="29" y="91"/>
                  </a:lnTo>
                  <a:lnTo>
                    <a:pt x="29" y="91"/>
                  </a:lnTo>
                  <a:lnTo>
                    <a:pt x="22" y="90"/>
                  </a:lnTo>
                  <a:lnTo>
                    <a:pt x="16" y="88"/>
                  </a:lnTo>
                  <a:lnTo>
                    <a:pt x="6" y="84"/>
                  </a:lnTo>
                  <a:lnTo>
                    <a:pt x="6" y="84"/>
                  </a:lnTo>
                  <a:lnTo>
                    <a:pt x="4" y="88"/>
                  </a:lnTo>
                  <a:lnTo>
                    <a:pt x="2" y="91"/>
                  </a:lnTo>
                  <a:lnTo>
                    <a:pt x="0" y="91"/>
                  </a:lnTo>
                  <a:lnTo>
                    <a:pt x="0" y="6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23" name="Freeform 20"/>
            <p:cNvSpPr>
              <a:spLocks/>
            </p:cNvSpPr>
            <p:nvPr userDrawn="1"/>
          </p:nvSpPr>
          <p:spPr bwMode="auto">
            <a:xfrm>
              <a:off x="1052" y="728"/>
              <a:ext cx="91" cy="87"/>
            </a:xfrm>
            <a:custGeom>
              <a:avLst/>
              <a:gdLst>
                <a:gd name="T0" fmla="*/ 26 w 91"/>
                <a:gd name="T1" fmla="*/ 83 h 87"/>
                <a:gd name="T2" fmla="*/ 26 w 91"/>
                <a:gd name="T3" fmla="*/ 83 h 87"/>
                <a:gd name="T4" fmla="*/ 33 w 91"/>
                <a:gd name="T5" fmla="*/ 83 h 87"/>
                <a:gd name="T6" fmla="*/ 36 w 91"/>
                <a:gd name="T7" fmla="*/ 82 h 87"/>
                <a:gd name="T8" fmla="*/ 37 w 91"/>
                <a:gd name="T9" fmla="*/ 81 h 87"/>
                <a:gd name="T10" fmla="*/ 39 w 91"/>
                <a:gd name="T11" fmla="*/ 76 h 87"/>
                <a:gd name="T12" fmla="*/ 39 w 91"/>
                <a:gd name="T13" fmla="*/ 67 h 87"/>
                <a:gd name="T14" fmla="*/ 39 w 91"/>
                <a:gd name="T15" fmla="*/ 6 h 87"/>
                <a:gd name="T16" fmla="*/ 21 w 91"/>
                <a:gd name="T17" fmla="*/ 6 h 87"/>
                <a:gd name="T18" fmla="*/ 21 w 91"/>
                <a:gd name="T19" fmla="*/ 6 h 87"/>
                <a:gd name="T20" fmla="*/ 14 w 91"/>
                <a:gd name="T21" fmla="*/ 6 h 87"/>
                <a:gd name="T22" fmla="*/ 9 w 91"/>
                <a:gd name="T23" fmla="*/ 9 h 87"/>
                <a:gd name="T24" fmla="*/ 6 w 91"/>
                <a:gd name="T25" fmla="*/ 12 h 87"/>
                <a:gd name="T26" fmla="*/ 4 w 91"/>
                <a:gd name="T27" fmla="*/ 17 h 87"/>
                <a:gd name="T28" fmla="*/ 4 w 91"/>
                <a:gd name="T29" fmla="*/ 20 h 87"/>
                <a:gd name="T30" fmla="*/ 0 w 91"/>
                <a:gd name="T31" fmla="*/ 20 h 87"/>
                <a:gd name="T32" fmla="*/ 2 w 91"/>
                <a:gd name="T33" fmla="*/ 0 h 87"/>
                <a:gd name="T34" fmla="*/ 90 w 91"/>
                <a:gd name="T35" fmla="*/ 0 h 87"/>
                <a:gd name="T36" fmla="*/ 91 w 91"/>
                <a:gd name="T37" fmla="*/ 20 h 87"/>
                <a:gd name="T38" fmla="*/ 87 w 91"/>
                <a:gd name="T39" fmla="*/ 20 h 87"/>
                <a:gd name="T40" fmla="*/ 87 w 91"/>
                <a:gd name="T41" fmla="*/ 17 h 87"/>
                <a:gd name="T42" fmla="*/ 87 w 91"/>
                <a:gd name="T43" fmla="*/ 17 h 87"/>
                <a:gd name="T44" fmla="*/ 85 w 91"/>
                <a:gd name="T45" fmla="*/ 12 h 87"/>
                <a:gd name="T46" fmla="*/ 82 w 91"/>
                <a:gd name="T47" fmla="*/ 9 h 87"/>
                <a:gd name="T48" fmla="*/ 77 w 91"/>
                <a:gd name="T49" fmla="*/ 6 h 87"/>
                <a:gd name="T50" fmla="*/ 70 w 91"/>
                <a:gd name="T51" fmla="*/ 6 h 87"/>
                <a:gd name="T52" fmla="*/ 52 w 91"/>
                <a:gd name="T53" fmla="*/ 6 h 87"/>
                <a:gd name="T54" fmla="*/ 52 w 91"/>
                <a:gd name="T55" fmla="*/ 67 h 87"/>
                <a:gd name="T56" fmla="*/ 52 w 91"/>
                <a:gd name="T57" fmla="*/ 67 h 87"/>
                <a:gd name="T58" fmla="*/ 52 w 91"/>
                <a:gd name="T59" fmla="*/ 76 h 87"/>
                <a:gd name="T60" fmla="*/ 54 w 91"/>
                <a:gd name="T61" fmla="*/ 81 h 87"/>
                <a:gd name="T62" fmla="*/ 55 w 91"/>
                <a:gd name="T63" fmla="*/ 82 h 87"/>
                <a:gd name="T64" fmla="*/ 58 w 91"/>
                <a:gd name="T65" fmla="*/ 83 h 87"/>
                <a:gd name="T66" fmla="*/ 65 w 91"/>
                <a:gd name="T67" fmla="*/ 83 h 87"/>
                <a:gd name="T68" fmla="*/ 65 w 91"/>
                <a:gd name="T69" fmla="*/ 87 h 87"/>
                <a:gd name="T70" fmla="*/ 26 w 91"/>
                <a:gd name="T71" fmla="*/ 87 h 87"/>
                <a:gd name="T72" fmla="*/ 26 w 91"/>
                <a:gd name="T73" fmla="*/ 83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91" h="87">
                  <a:moveTo>
                    <a:pt x="26" y="83"/>
                  </a:moveTo>
                  <a:lnTo>
                    <a:pt x="26" y="83"/>
                  </a:lnTo>
                  <a:lnTo>
                    <a:pt x="33" y="83"/>
                  </a:lnTo>
                  <a:lnTo>
                    <a:pt x="36" y="82"/>
                  </a:lnTo>
                  <a:lnTo>
                    <a:pt x="37" y="81"/>
                  </a:lnTo>
                  <a:lnTo>
                    <a:pt x="39" y="76"/>
                  </a:lnTo>
                  <a:lnTo>
                    <a:pt x="39" y="67"/>
                  </a:lnTo>
                  <a:lnTo>
                    <a:pt x="39" y="6"/>
                  </a:lnTo>
                  <a:lnTo>
                    <a:pt x="21" y="6"/>
                  </a:lnTo>
                  <a:lnTo>
                    <a:pt x="21" y="6"/>
                  </a:lnTo>
                  <a:lnTo>
                    <a:pt x="14" y="6"/>
                  </a:lnTo>
                  <a:lnTo>
                    <a:pt x="9" y="9"/>
                  </a:lnTo>
                  <a:lnTo>
                    <a:pt x="6" y="12"/>
                  </a:lnTo>
                  <a:lnTo>
                    <a:pt x="4" y="17"/>
                  </a:lnTo>
                  <a:lnTo>
                    <a:pt x="4" y="20"/>
                  </a:lnTo>
                  <a:lnTo>
                    <a:pt x="0" y="20"/>
                  </a:lnTo>
                  <a:lnTo>
                    <a:pt x="2" y="0"/>
                  </a:lnTo>
                  <a:lnTo>
                    <a:pt x="90" y="0"/>
                  </a:lnTo>
                  <a:lnTo>
                    <a:pt x="91" y="20"/>
                  </a:lnTo>
                  <a:lnTo>
                    <a:pt x="87" y="20"/>
                  </a:lnTo>
                  <a:lnTo>
                    <a:pt x="87" y="17"/>
                  </a:lnTo>
                  <a:lnTo>
                    <a:pt x="87" y="17"/>
                  </a:lnTo>
                  <a:lnTo>
                    <a:pt x="85" y="12"/>
                  </a:lnTo>
                  <a:lnTo>
                    <a:pt x="82" y="9"/>
                  </a:lnTo>
                  <a:lnTo>
                    <a:pt x="77" y="6"/>
                  </a:lnTo>
                  <a:lnTo>
                    <a:pt x="70" y="6"/>
                  </a:lnTo>
                  <a:lnTo>
                    <a:pt x="52" y="6"/>
                  </a:lnTo>
                  <a:lnTo>
                    <a:pt x="52" y="67"/>
                  </a:lnTo>
                  <a:lnTo>
                    <a:pt x="52" y="67"/>
                  </a:lnTo>
                  <a:lnTo>
                    <a:pt x="52" y="76"/>
                  </a:lnTo>
                  <a:lnTo>
                    <a:pt x="54" y="81"/>
                  </a:lnTo>
                  <a:lnTo>
                    <a:pt x="55" y="82"/>
                  </a:lnTo>
                  <a:lnTo>
                    <a:pt x="58" y="83"/>
                  </a:lnTo>
                  <a:lnTo>
                    <a:pt x="65" y="83"/>
                  </a:lnTo>
                  <a:lnTo>
                    <a:pt x="65" y="87"/>
                  </a:lnTo>
                  <a:lnTo>
                    <a:pt x="26" y="87"/>
                  </a:lnTo>
                  <a:lnTo>
                    <a:pt x="26" y="83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24" name="Freeform 21"/>
            <p:cNvSpPr>
              <a:spLocks noEditPoints="1"/>
            </p:cNvSpPr>
            <p:nvPr userDrawn="1"/>
          </p:nvSpPr>
          <p:spPr bwMode="auto">
            <a:xfrm>
              <a:off x="1140" y="726"/>
              <a:ext cx="101" cy="89"/>
            </a:xfrm>
            <a:custGeom>
              <a:avLst/>
              <a:gdLst>
                <a:gd name="T0" fmla="*/ 0 w 101"/>
                <a:gd name="T1" fmla="*/ 85 h 89"/>
                <a:gd name="T2" fmla="*/ 0 w 101"/>
                <a:gd name="T3" fmla="*/ 85 h 89"/>
                <a:gd name="T4" fmla="*/ 8 w 101"/>
                <a:gd name="T5" fmla="*/ 85 h 89"/>
                <a:gd name="T6" fmla="*/ 13 w 101"/>
                <a:gd name="T7" fmla="*/ 83 h 89"/>
                <a:gd name="T8" fmla="*/ 15 w 101"/>
                <a:gd name="T9" fmla="*/ 79 h 89"/>
                <a:gd name="T10" fmla="*/ 18 w 101"/>
                <a:gd name="T11" fmla="*/ 73 h 89"/>
                <a:gd name="T12" fmla="*/ 49 w 101"/>
                <a:gd name="T13" fmla="*/ 0 h 89"/>
                <a:gd name="T14" fmla="*/ 52 w 101"/>
                <a:gd name="T15" fmla="*/ 0 h 89"/>
                <a:gd name="T16" fmla="*/ 84 w 101"/>
                <a:gd name="T17" fmla="*/ 73 h 89"/>
                <a:gd name="T18" fmla="*/ 84 w 101"/>
                <a:gd name="T19" fmla="*/ 73 h 89"/>
                <a:gd name="T20" fmla="*/ 86 w 101"/>
                <a:gd name="T21" fmla="*/ 79 h 89"/>
                <a:gd name="T22" fmla="*/ 88 w 101"/>
                <a:gd name="T23" fmla="*/ 83 h 89"/>
                <a:gd name="T24" fmla="*/ 93 w 101"/>
                <a:gd name="T25" fmla="*/ 85 h 89"/>
                <a:gd name="T26" fmla="*/ 101 w 101"/>
                <a:gd name="T27" fmla="*/ 85 h 89"/>
                <a:gd name="T28" fmla="*/ 101 w 101"/>
                <a:gd name="T29" fmla="*/ 89 h 89"/>
                <a:gd name="T30" fmla="*/ 60 w 101"/>
                <a:gd name="T31" fmla="*/ 89 h 89"/>
                <a:gd name="T32" fmla="*/ 60 w 101"/>
                <a:gd name="T33" fmla="*/ 85 h 89"/>
                <a:gd name="T34" fmla="*/ 60 w 101"/>
                <a:gd name="T35" fmla="*/ 85 h 89"/>
                <a:gd name="T36" fmla="*/ 68 w 101"/>
                <a:gd name="T37" fmla="*/ 85 h 89"/>
                <a:gd name="T38" fmla="*/ 71 w 101"/>
                <a:gd name="T39" fmla="*/ 83 h 89"/>
                <a:gd name="T40" fmla="*/ 73 w 101"/>
                <a:gd name="T41" fmla="*/ 82 h 89"/>
                <a:gd name="T42" fmla="*/ 73 w 101"/>
                <a:gd name="T43" fmla="*/ 80 h 89"/>
                <a:gd name="T44" fmla="*/ 71 w 101"/>
                <a:gd name="T45" fmla="*/ 74 h 89"/>
                <a:gd name="T46" fmla="*/ 65 w 101"/>
                <a:gd name="T47" fmla="*/ 58 h 89"/>
                <a:gd name="T48" fmla="*/ 30 w 101"/>
                <a:gd name="T49" fmla="*/ 58 h 89"/>
                <a:gd name="T50" fmla="*/ 24 w 101"/>
                <a:gd name="T51" fmla="*/ 74 h 89"/>
                <a:gd name="T52" fmla="*/ 24 w 101"/>
                <a:gd name="T53" fmla="*/ 74 h 89"/>
                <a:gd name="T54" fmla="*/ 21 w 101"/>
                <a:gd name="T55" fmla="*/ 80 h 89"/>
                <a:gd name="T56" fmla="*/ 22 w 101"/>
                <a:gd name="T57" fmla="*/ 82 h 89"/>
                <a:gd name="T58" fmla="*/ 22 w 101"/>
                <a:gd name="T59" fmla="*/ 83 h 89"/>
                <a:gd name="T60" fmla="*/ 27 w 101"/>
                <a:gd name="T61" fmla="*/ 85 h 89"/>
                <a:gd name="T62" fmla="*/ 35 w 101"/>
                <a:gd name="T63" fmla="*/ 85 h 89"/>
                <a:gd name="T64" fmla="*/ 35 w 101"/>
                <a:gd name="T65" fmla="*/ 89 h 89"/>
                <a:gd name="T66" fmla="*/ 0 w 101"/>
                <a:gd name="T67" fmla="*/ 89 h 89"/>
                <a:gd name="T68" fmla="*/ 0 w 101"/>
                <a:gd name="T69" fmla="*/ 85 h 89"/>
                <a:gd name="T70" fmla="*/ 63 w 101"/>
                <a:gd name="T71" fmla="*/ 54 h 89"/>
                <a:gd name="T72" fmla="*/ 47 w 101"/>
                <a:gd name="T73" fmla="*/ 19 h 89"/>
                <a:gd name="T74" fmla="*/ 32 w 101"/>
                <a:gd name="T75" fmla="*/ 54 h 89"/>
                <a:gd name="T76" fmla="*/ 63 w 101"/>
                <a:gd name="T77" fmla="*/ 54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01" h="89">
                  <a:moveTo>
                    <a:pt x="0" y="85"/>
                  </a:moveTo>
                  <a:lnTo>
                    <a:pt x="0" y="85"/>
                  </a:lnTo>
                  <a:lnTo>
                    <a:pt x="8" y="85"/>
                  </a:lnTo>
                  <a:lnTo>
                    <a:pt x="13" y="83"/>
                  </a:lnTo>
                  <a:lnTo>
                    <a:pt x="15" y="79"/>
                  </a:lnTo>
                  <a:lnTo>
                    <a:pt x="18" y="73"/>
                  </a:lnTo>
                  <a:lnTo>
                    <a:pt x="49" y="0"/>
                  </a:lnTo>
                  <a:lnTo>
                    <a:pt x="52" y="0"/>
                  </a:lnTo>
                  <a:lnTo>
                    <a:pt x="84" y="73"/>
                  </a:lnTo>
                  <a:lnTo>
                    <a:pt x="84" y="73"/>
                  </a:lnTo>
                  <a:lnTo>
                    <a:pt x="86" y="79"/>
                  </a:lnTo>
                  <a:lnTo>
                    <a:pt x="88" y="83"/>
                  </a:lnTo>
                  <a:lnTo>
                    <a:pt x="93" y="85"/>
                  </a:lnTo>
                  <a:lnTo>
                    <a:pt x="101" y="85"/>
                  </a:lnTo>
                  <a:lnTo>
                    <a:pt x="101" y="89"/>
                  </a:lnTo>
                  <a:lnTo>
                    <a:pt x="60" y="89"/>
                  </a:lnTo>
                  <a:lnTo>
                    <a:pt x="60" y="85"/>
                  </a:lnTo>
                  <a:lnTo>
                    <a:pt x="60" y="85"/>
                  </a:lnTo>
                  <a:lnTo>
                    <a:pt x="68" y="85"/>
                  </a:lnTo>
                  <a:lnTo>
                    <a:pt x="71" y="83"/>
                  </a:lnTo>
                  <a:lnTo>
                    <a:pt x="73" y="82"/>
                  </a:lnTo>
                  <a:lnTo>
                    <a:pt x="73" y="80"/>
                  </a:lnTo>
                  <a:lnTo>
                    <a:pt x="71" y="74"/>
                  </a:lnTo>
                  <a:lnTo>
                    <a:pt x="65" y="58"/>
                  </a:lnTo>
                  <a:lnTo>
                    <a:pt x="30" y="58"/>
                  </a:lnTo>
                  <a:lnTo>
                    <a:pt x="24" y="74"/>
                  </a:lnTo>
                  <a:lnTo>
                    <a:pt x="24" y="74"/>
                  </a:lnTo>
                  <a:lnTo>
                    <a:pt x="21" y="80"/>
                  </a:lnTo>
                  <a:lnTo>
                    <a:pt x="22" y="82"/>
                  </a:lnTo>
                  <a:lnTo>
                    <a:pt x="22" y="83"/>
                  </a:lnTo>
                  <a:lnTo>
                    <a:pt x="27" y="85"/>
                  </a:lnTo>
                  <a:lnTo>
                    <a:pt x="35" y="85"/>
                  </a:lnTo>
                  <a:lnTo>
                    <a:pt x="35" y="89"/>
                  </a:lnTo>
                  <a:lnTo>
                    <a:pt x="0" y="89"/>
                  </a:lnTo>
                  <a:lnTo>
                    <a:pt x="0" y="85"/>
                  </a:lnTo>
                  <a:close/>
                  <a:moveTo>
                    <a:pt x="63" y="54"/>
                  </a:moveTo>
                  <a:lnTo>
                    <a:pt x="47" y="19"/>
                  </a:lnTo>
                  <a:lnTo>
                    <a:pt x="32" y="54"/>
                  </a:lnTo>
                  <a:lnTo>
                    <a:pt x="63" y="54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25" name="Freeform 22"/>
            <p:cNvSpPr>
              <a:spLocks/>
            </p:cNvSpPr>
            <p:nvPr userDrawn="1"/>
          </p:nvSpPr>
          <p:spPr bwMode="auto">
            <a:xfrm>
              <a:off x="1239" y="728"/>
              <a:ext cx="90" cy="87"/>
            </a:xfrm>
            <a:custGeom>
              <a:avLst/>
              <a:gdLst>
                <a:gd name="T0" fmla="*/ 26 w 90"/>
                <a:gd name="T1" fmla="*/ 83 h 87"/>
                <a:gd name="T2" fmla="*/ 26 w 90"/>
                <a:gd name="T3" fmla="*/ 83 h 87"/>
                <a:gd name="T4" fmla="*/ 34 w 90"/>
                <a:gd name="T5" fmla="*/ 83 h 87"/>
                <a:gd name="T6" fmla="*/ 36 w 90"/>
                <a:gd name="T7" fmla="*/ 82 h 87"/>
                <a:gd name="T8" fmla="*/ 37 w 90"/>
                <a:gd name="T9" fmla="*/ 81 h 87"/>
                <a:gd name="T10" fmla="*/ 40 w 90"/>
                <a:gd name="T11" fmla="*/ 76 h 87"/>
                <a:gd name="T12" fmla="*/ 40 w 90"/>
                <a:gd name="T13" fmla="*/ 67 h 87"/>
                <a:gd name="T14" fmla="*/ 40 w 90"/>
                <a:gd name="T15" fmla="*/ 6 h 87"/>
                <a:gd name="T16" fmla="*/ 21 w 90"/>
                <a:gd name="T17" fmla="*/ 6 h 87"/>
                <a:gd name="T18" fmla="*/ 21 w 90"/>
                <a:gd name="T19" fmla="*/ 6 h 87"/>
                <a:gd name="T20" fmla="*/ 13 w 90"/>
                <a:gd name="T21" fmla="*/ 6 h 87"/>
                <a:gd name="T22" fmla="*/ 9 w 90"/>
                <a:gd name="T23" fmla="*/ 9 h 87"/>
                <a:gd name="T24" fmla="*/ 5 w 90"/>
                <a:gd name="T25" fmla="*/ 12 h 87"/>
                <a:gd name="T26" fmla="*/ 4 w 90"/>
                <a:gd name="T27" fmla="*/ 17 h 87"/>
                <a:gd name="T28" fmla="*/ 4 w 90"/>
                <a:gd name="T29" fmla="*/ 20 h 87"/>
                <a:gd name="T30" fmla="*/ 0 w 90"/>
                <a:gd name="T31" fmla="*/ 20 h 87"/>
                <a:gd name="T32" fmla="*/ 2 w 90"/>
                <a:gd name="T33" fmla="*/ 0 h 87"/>
                <a:gd name="T34" fmla="*/ 89 w 90"/>
                <a:gd name="T35" fmla="*/ 0 h 87"/>
                <a:gd name="T36" fmla="*/ 90 w 90"/>
                <a:gd name="T37" fmla="*/ 20 h 87"/>
                <a:gd name="T38" fmla="*/ 87 w 90"/>
                <a:gd name="T39" fmla="*/ 20 h 87"/>
                <a:gd name="T40" fmla="*/ 86 w 90"/>
                <a:gd name="T41" fmla="*/ 17 h 87"/>
                <a:gd name="T42" fmla="*/ 86 w 90"/>
                <a:gd name="T43" fmla="*/ 17 h 87"/>
                <a:gd name="T44" fmla="*/ 85 w 90"/>
                <a:gd name="T45" fmla="*/ 12 h 87"/>
                <a:gd name="T46" fmla="*/ 82 w 90"/>
                <a:gd name="T47" fmla="*/ 9 h 87"/>
                <a:gd name="T48" fmla="*/ 78 w 90"/>
                <a:gd name="T49" fmla="*/ 6 h 87"/>
                <a:gd name="T50" fmla="*/ 70 w 90"/>
                <a:gd name="T51" fmla="*/ 6 h 87"/>
                <a:gd name="T52" fmla="*/ 51 w 90"/>
                <a:gd name="T53" fmla="*/ 6 h 87"/>
                <a:gd name="T54" fmla="*/ 51 w 90"/>
                <a:gd name="T55" fmla="*/ 67 h 87"/>
                <a:gd name="T56" fmla="*/ 51 w 90"/>
                <a:gd name="T57" fmla="*/ 67 h 87"/>
                <a:gd name="T58" fmla="*/ 52 w 90"/>
                <a:gd name="T59" fmla="*/ 76 h 87"/>
                <a:gd name="T60" fmla="*/ 53 w 90"/>
                <a:gd name="T61" fmla="*/ 81 h 87"/>
                <a:gd name="T62" fmla="*/ 56 w 90"/>
                <a:gd name="T63" fmla="*/ 82 h 87"/>
                <a:gd name="T64" fmla="*/ 58 w 90"/>
                <a:gd name="T65" fmla="*/ 83 h 87"/>
                <a:gd name="T66" fmla="*/ 65 w 90"/>
                <a:gd name="T67" fmla="*/ 83 h 87"/>
                <a:gd name="T68" fmla="*/ 65 w 90"/>
                <a:gd name="T69" fmla="*/ 87 h 87"/>
                <a:gd name="T70" fmla="*/ 26 w 90"/>
                <a:gd name="T71" fmla="*/ 87 h 87"/>
                <a:gd name="T72" fmla="*/ 26 w 90"/>
                <a:gd name="T73" fmla="*/ 83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90" h="87">
                  <a:moveTo>
                    <a:pt x="26" y="83"/>
                  </a:moveTo>
                  <a:lnTo>
                    <a:pt x="26" y="83"/>
                  </a:lnTo>
                  <a:lnTo>
                    <a:pt x="34" y="83"/>
                  </a:lnTo>
                  <a:lnTo>
                    <a:pt x="36" y="82"/>
                  </a:lnTo>
                  <a:lnTo>
                    <a:pt x="37" y="81"/>
                  </a:lnTo>
                  <a:lnTo>
                    <a:pt x="40" y="76"/>
                  </a:lnTo>
                  <a:lnTo>
                    <a:pt x="40" y="67"/>
                  </a:lnTo>
                  <a:lnTo>
                    <a:pt x="40" y="6"/>
                  </a:lnTo>
                  <a:lnTo>
                    <a:pt x="21" y="6"/>
                  </a:lnTo>
                  <a:lnTo>
                    <a:pt x="21" y="6"/>
                  </a:lnTo>
                  <a:lnTo>
                    <a:pt x="13" y="6"/>
                  </a:lnTo>
                  <a:lnTo>
                    <a:pt x="9" y="9"/>
                  </a:lnTo>
                  <a:lnTo>
                    <a:pt x="5" y="12"/>
                  </a:lnTo>
                  <a:lnTo>
                    <a:pt x="4" y="17"/>
                  </a:lnTo>
                  <a:lnTo>
                    <a:pt x="4" y="20"/>
                  </a:lnTo>
                  <a:lnTo>
                    <a:pt x="0" y="20"/>
                  </a:lnTo>
                  <a:lnTo>
                    <a:pt x="2" y="0"/>
                  </a:lnTo>
                  <a:lnTo>
                    <a:pt x="89" y="0"/>
                  </a:lnTo>
                  <a:lnTo>
                    <a:pt x="90" y="20"/>
                  </a:lnTo>
                  <a:lnTo>
                    <a:pt x="87" y="20"/>
                  </a:lnTo>
                  <a:lnTo>
                    <a:pt x="86" y="17"/>
                  </a:lnTo>
                  <a:lnTo>
                    <a:pt x="86" y="17"/>
                  </a:lnTo>
                  <a:lnTo>
                    <a:pt x="85" y="12"/>
                  </a:lnTo>
                  <a:lnTo>
                    <a:pt x="82" y="9"/>
                  </a:lnTo>
                  <a:lnTo>
                    <a:pt x="78" y="6"/>
                  </a:lnTo>
                  <a:lnTo>
                    <a:pt x="70" y="6"/>
                  </a:lnTo>
                  <a:lnTo>
                    <a:pt x="51" y="6"/>
                  </a:lnTo>
                  <a:lnTo>
                    <a:pt x="51" y="67"/>
                  </a:lnTo>
                  <a:lnTo>
                    <a:pt x="51" y="67"/>
                  </a:lnTo>
                  <a:lnTo>
                    <a:pt x="52" y="76"/>
                  </a:lnTo>
                  <a:lnTo>
                    <a:pt x="53" y="81"/>
                  </a:lnTo>
                  <a:lnTo>
                    <a:pt x="56" y="82"/>
                  </a:lnTo>
                  <a:lnTo>
                    <a:pt x="58" y="83"/>
                  </a:lnTo>
                  <a:lnTo>
                    <a:pt x="65" y="83"/>
                  </a:lnTo>
                  <a:lnTo>
                    <a:pt x="65" y="87"/>
                  </a:lnTo>
                  <a:lnTo>
                    <a:pt x="26" y="87"/>
                  </a:lnTo>
                  <a:lnTo>
                    <a:pt x="26" y="83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26" name="Freeform 23"/>
            <p:cNvSpPr>
              <a:spLocks/>
            </p:cNvSpPr>
            <p:nvPr userDrawn="1"/>
          </p:nvSpPr>
          <p:spPr bwMode="auto">
            <a:xfrm>
              <a:off x="1348" y="726"/>
              <a:ext cx="58" cy="91"/>
            </a:xfrm>
            <a:custGeom>
              <a:avLst/>
              <a:gdLst>
                <a:gd name="T0" fmla="*/ 4 w 58"/>
                <a:gd name="T1" fmla="*/ 60 h 91"/>
                <a:gd name="T2" fmla="*/ 4 w 58"/>
                <a:gd name="T3" fmla="*/ 63 h 91"/>
                <a:gd name="T4" fmla="*/ 6 w 58"/>
                <a:gd name="T5" fmla="*/ 73 h 91"/>
                <a:gd name="T6" fmla="*/ 15 w 58"/>
                <a:gd name="T7" fmla="*/ 82 h 91"/>
                <a:gd name="T8" fmla="*/ 30 w 58"/>
                <a:gd name="T9" fmla="*/ 85 h 91"/>
                <a:gd name="T10" fmla="*/ 37 w 58"/>
                <a:gd name="T11" fmla="*/ 84 h 91"/>
                <a:gd name="T12" fmla="*/ 47 w 58"/>
                <a:gd name="T13" fmla="*/ 76 h 91"/>
                <a:gd name="T14" fmla="*/ 48 w 58"/>
                <a:gd name="T15" fmla="*/ 69 h 91"/>
                <a:gd name="T16" fmla="*/ 43 w 58"/>
                <a:gd name="T17" fmla="*/ 61 h 91"/>
                <a:gd name="T18" fmla="*/ 32 w 58"/>
                <a:gd name="T19" fmla="*/ 52 h 91"/>
                <a:gd name="T20" fmla="*/ 18 w 58"/>
                <a:gd name="T21" fmla="*/ 45 h 91"/>
                <a:gd name="T22" fmla="*/ 6 w 58"/>
                <a:gd name="T23" fmla="*/ 36 h 91"/>
                <a:gd name="T24" fmla="*/ 2 w 58"/>
                <a:gd name="T25" fmla="*/ 22 h 91"/>
                <a:gd name="T26" fmla="*/ 3 w 58"/>
                <a:gd name="T27" fmla="*/ 17 h 91"/>
                <a:gd name="T28" fmla="*/ 5 w 58"/>
                <a:gd name="T29" fmla="*/ 10 h 91"/>
                <a:gd name="T30" fmla="*/ 13 w 58"/>
                <a:gd name="T31" fmla="*/ 3 h 91"/>
                <a:gd name="T32" fmla="*/ 21 w 58"/>
                <a:gd name="T33" fmla="*/ 1 h 91"/>
                <a:gd name="T34" fmla="*/ 26 w 58"/>
                <a:gd name="T35" fmla="*/ 0 h 91"/>
                <a:gd name="T36" fmla="*/ 36 w 58"/>
                <a:gd name="T37" fmla="*/ 2 h 91"/>
                <a:gd name="T38" fmla="*/ 43 w 58"/>
                <a:gd name="T39" fmla="*/ 6 h 91"/>
                <a:gd name="T40" fmla="*/ 47 w 58"/>
                <a:gd name="T41" fmla="*/ 0 h 91"/>
                <a:gd name="T42" fmla="*/ 51 w 58"/>
                <a:gd name="T43" fmla="*/ 32 h 91"/>
                <a:gd name="T44" fmla="*/ 47 w 58"/>
                <a:gd name="T45" fmla="*/ 32 h 91"/>
                <a:gd name="T46" fmla="*/ 44 w 58"/>
                <a:gd name="T47" fmla="*/ 18 h 91"/>
                <a:gd name="T48" fmla="*/ 40 w 58"/>
                <a:gd name="T49" fmla="*/ 11 h 91"/>
                <a:gd name="T50" fmla="*/ 31 w 58"/>
                <a:gd name="T51" fmla="*/ 7 h 91"/>
                <a:gd name="T52" fmla="*/ 25 w 58"/>
                <a:gd name="T53" fmla="*/ 6 h 91"/>
                <a:gd name="T54" fmla="*/ 15 w 58"/>
                <a:gd name="T55" fmla="*/ 10 h 91"/>
                <a:gd name="T56" fmla="*/ 11 w 58"/>
                <a:gd name="T57" fmla="*/ 19 h 91"/>
                <a:gd name="T58" fmla="*/ 13 w 58"/>
                <a:gd name="T59" fmla="*/ 24 h 91"/>
                <a:gd name="T60" fmla="*/ 21 w 58"/>
                <a:gd name="T61" fmla="*/ 32 h 91"/>
                <a:gd name="T62" fmla="*/ 42 w 58"/>
                <a:gd name="T63" fmla="*/ 44 h 91"/>
                <a:gd name="T64" fmla="*/ 49 w 58"/>
                <a:gd name="T65" fmla="*/ 49 h 91"/>
                <a:gd name="T66" fmla="*/ 57 w 58"/>
                <a:gd name="T67" fmla="*/ 60 h 91"/>
                <a:gd name="T68" fmla="*/ 58 w 58"/>
                <a:gd name="T69" fmla="*/ 66 h 91"/>
                <a:gd name="T70" fmla="*/ 55 w 58"/>
                <a:gd name="T71" fmla="*/ 76 h 91"/>
                <a:gd name="T72" fmla="*/ 49 w 58"/>
                <a:gd name="T73" fmla="*/ 84 h 91"/>
                <a:gd name="T74" fmla="*/ 41 w 58"/>
                <a:gd name="T75" fmla="*/ 89 h 91"/>
                <a:gd name="T76" fmla="*/ 30 w 58"/>
                <a:gd name="T77" fmla="*/ 91 h 91"/>
                <a:gd name="T78" fmla="*/ 22 w 58"/>
                <a:gd name="T79" fmla="*/ 90 h 91"/>
                <a:gd name="T80" fmla="*/ 8 w 58"/>
                <a:gd name="T81" fmla="*/ 84 h 91"/>
                <a:gd name="T82" fmla="*/ 5 w 58"/>
                <a:gd name="T83" fmla="*/ 88 h 91"/>
                <a:gd name="T84" fmla="*/ 0 w 58"/>
                <a:gd name="T85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8" h="91">
                  <a:moveTo>
                    <a:pt x="0" y="60"/>
                  </a:moveTo>
                  <a:lnTo>
                    <a:pt x="4" y="60"/>
                  </a:lnTo>
                  <a:lnTo>
                    <a:pt x="4" y="60"/>
                  </a:lnTo>
                  <a:lnTo>
                    <a:pt x="4" y="63"/>
                  </a:lnTo>
                  <a:lnTo>
                    <a:pt x="5" y="68"/>
                  </a:lnTo>
                  <a:lnTo>
                    <a:pt x="6" y="73"/>
                  </a:lnTo>
                  <a:lnTo>
                    <a:pt x="10" y="77"/>
                  </a:lnTo>
                  <a:lnTo>
                    <a:pt x="15" y="82"/>
                  </a:lnTo>
                  <a:lnTo>
                    <a:pt x="21" y="84"/>
                  </a:lnTo>
                  <a:lnTo>
                    <a:pt x="30" y="85"/>
                  </a:lnTo>
                  <a:lnTo>
                    <a:pt x="30" y="85"/>
                  </a:lnTo>
                  <a:lnTo>
                    <a:pt x="37" y="84"/>
                  </a:lnTo>
                  <a:lnTo>
                    <a:pt x="43" y="82"/>
                  </a:lnTo>
                  <a:lnTo>
                    <a:pt x="47" y="76"/>
                  </a:lnTo>
                  <a:lnTo>
                    <a:pt x="48" y="69"/>
                  </a:lnTo>
                  <a:lnTo>
                    <a:pt x="48" y="69"/>
                  </a:lnTo>
                  <a:lnTo>
                    <a:pt x="47" y="65"/>
                  </a:lnTo>
                  <a:lnTo>
                    <a:pt x="43" y="61"/>
                  </a:lnTo>
                  <a:lnTo>
                    <a:pt x="38" y="56"/>
                  </a:lnTo>
                  <a:lnTo>
                    <a:pt x="32" y="52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1" y="41"/>
                  </a:lnTo>
                  <a:lnTo>
                    <a:pt x="6" y="36"/>
                  </a:lnTo>
                  <a:lnTo>
                    <a:pt x="3" y="29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3" y="17"/>
                  </a:lnTo>
                  <a:lnTo>
                    <a:pt x="4" y="13"/>
                  </a:lnTo>
                  <a:lnTo>
                    <a:pt x="5" y="10"/>
                  </a:lnTo>
                  <a:lnTo>
                    <a:pt x="9" y="6"/>
                  </a:lnTo>
                  <a:lnTo>
                    <a:pt x="13" y="3"/>
                  </a:lnTo>
                  <a:lnTo>
                    <a:pt x="16" y="2"/>
                  </a:lnTo>
                  <a:lnTo>
                    <a:pt x="21" y="1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31" y="1"/>
                  </a:lnTo>
                  <a:lnTo>
                    <a:pt x="36" y="2"/>
                  </a:lnTo>
                  <a:lnTo>
                    <a:pt x="43" y="6"/>
                  </a:lnTo>
                  <a:lnTo>
                    <a:pt x="43" y="6"/>
                  </a:lnTo>
                  <a:lnTo>
                    <a:pt x="46" y="3"/>
                  </a:lnTo>
                  <a:lnTo>
                    <a:pt x="47" y="0"/>
                  </a:lnTo>
                  <a:lnTo>
                    <a:pt x="51" y="0"/>
                  </a:lnTo>
                  <a:lnTo>
                    <a:pt x="51" y="32"/>
                  </a:lnTo>
                  <a:lnTo>
                    <a:pt x="47" y="32"/>
                  </a:lnTo>
                  <a:lnTo>
                    <a:pt x="47" y="32"/>
                  </a:lnTo>
                  <a:lnTo>
                    <a:pt x="46" y="22"/>
                  </a:lnTo>
                  <a:lnTo>
                    <a:pt x="44" y="18"/>
                  </a:lnTo>
                  <a:lnTo>
                    <a:pt x="42" y="14"/>
                  </a:lnTo>
                  <a:lnTo>
                    <a:pt x="40" y="11"/>
                  </a:lnTo>
                  <a:lnTo>
                    <a:pt x="36" y="8"/>
                  </a:lnTo>
                  <a:lnTo>
                    <a:pt x="31" y="7"/>
                  </a:lnTo>
                  <a:lnTo>
                    <a:pt x="25" y="6"/>
                  </a:lnTo>
                  <a:lnTo>
                    <a:pt x="25" y="6"/>
                  </a:lnTo>
                  <a:lnTo>
                    <a:pt x="20" y="7"/>
                  </a:lnTo>
                  <a:lnTo>
                    <a:pt x="15" y="10"/>
                  </a:lnTo>
                  <a:lnTo>
                    <a:pt x="13" y="13"/>
                  </a:lnTo>
                  <a:lnTo>
                    <a:pt x="11" y="19"/>
                  </a:lnTo>
                  <a:lnTo>
                    <a:pt x="11" y="19"/>
                  </a:lnTo>
                  <a:lnTo>
                    <a:pt x="13" y="24"/>
                  </a:lnTo>
                  <a:lnTo>
                    <a:pt x="15" y="28"/>
                  </a:lnTo>
                  <a:lnTo>
                    <a:pt x="21" y="32"/>
                  </a:lnTo>
                  <a:lnTo>
                    <a:pt x="29" y="36"/>
                  </a:lnTo>
                  <a:lnTo>
                    <a:pt x="42" y="44"/>
                  </a:lnTo>
                  <a:lnTo>
                    <a:pt x="42" y="44"/>
                  </a:lnTo>
                  <a:lnTo>
                    <a:pt x="49" y="49"/>
                  </a:lnTo>
                  <a:lnTo>
                    <a:pt x="54" y="54"/>
                  </a:lnTo>
                  <a:lnTo>
                    <a:pt x="57" y="60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57" y="71"/>
                  </a:lnTo>
                  <a:lnTo>
                    <a:pt x="55" y="76"/>
                  </a:lnTo>
                  <a:lnTo>
                    <a:pt x="53" y="80"/>
                  </a:lnTo>
                  <a:lnTo>
                    <a:pt x="49" y="84"/>
                  </a:lnTo>
                  <a:lnTo>
                    <a:pt x="46" y="88"/>
                  </a:lnTo>
                  <a:lnTo>
                    <a:pt x="41" y="89"/>
                  </a:lnTo>
                  <a:lnTo>
                    <a:pt x="36" y="90"/>
                  </a:lnTo>
                  <a:lnTo>
                    <a:pt x="30" y="91"/>
                  </a:lnTo>
                  <a:lnTo>
                    <a:pt x="30" y="91"/>
                  </a:lnTo>
                  <a:lnTo>
                    <a:pt x="22" y="90"/>
                  </a:lnTo>
                  <a:lnTo>
                    <a:pt x="16" y="88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5" y="88"/>
                  </a:lnTo>
                  <a:lnTo>
                    <a:pt x="4" y="91"/>
                  </a:lnTo>
                  <a:lnTo>
                    <a:pt x="0" y="91"/>
                  </a:lnTo>
                  <a:lnTo>
                    <a:pt x="0" y="6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27" name="Freeform 24"/>
            <p:cNvSpPr>
              <a:spLocks noEditPoints="1"/>
            </p:cNvSpPr>
            <p:nvPr userDrawn="1"/>
          </p:nvSpPr>
          <p:spPr bwMode="auto">
            <a:xfrm>
              <a:off x="1430" y="728"/>
              <a:ext cx="84" cy="87"/>
            </a:xfrm>
            <a:custGeom>
              <a:avLst/>
              <a:gdLst>
                <a:gd name="T0" fmla="*/ 0 w 84"/>
                <a:gd name="T1" fmla="*/ 83 h 87"/>
                <a:gd name="T2" fmla="*/ 9 w 84"/>
                <a:gd name="T3" fmla="*/ 82 h 87"/>
                <a:gd name="T4" fmla="*/ 13 w 84"/>
                <a:gd name="T5" fmla="*/ 76 h 87"/>
                <a:gd name="T6" fmla="*/ 14 w 84"/>
                <a:gd name="T7" fmla="*/ 20 h 87"/>
                <a:gd name="T8" fmla="*/ 13 w 84"/>
                <a:gd name="T9" fmla="*/ 11 h 87"/>
                <a:gd name="T10" fmla="*/ 9 w 84"/>
                <a:gd name="T11" fmla="*/ 5 h 87"/>
                <a:gd name="T12" fmla="*/ 0 w 84"/>
                <a:gd name="T13" fmla="*/ 4 h 87"/>
                <a:gd name="T14" fmla="*/ 38 w 84"/>
                <a:gd name="T15" fmla="*/ 0 h 87"/>
                <a:gd name="T16" fmla="*/ 44 w 84"/>
                <a:gd name="T17" fmla="*/ 1 h 87"/>
                <a:gd name="T18" fmla="*/ 57 w 84"/>
                <a:gd name="T19" fmla="*/ 5 h 87"/>
                <a:gd name="T20" fmla="*/ 64 w 84"/>
                <a:gd name="T21" fmla="*/ 11 h 87"/>
                <a:gd name="T22" fmla="*/ 68 w 84"/>
                <a:gd name="T23" fmla="*/ 20 h 87"/>
                <a:gd name="T24" fmla="*/ 69 w 84"/>
                <a:gd name="T25" fmla="*/ 25 h 87"/>
                <a:gd name="T26" fmla="*/ 66 w 84"/>
                <a:gd name="T27" fmla="*/ 33 h 87"/>
                <a:gd name="T28" fmla="*/ 62 w 84"/>
                <a:gd name="T29" fmla="*/ 41 h 87"/>
                <a:gd name="T30" fmla="*/ 54 w 84"/>
                <a:gd name="T31" fmla="*/ 47 h 87"/>
                <a:gd name="T32" fmla="*/ 43 w 84"/>
                <a:gd name="T33" fmla="*/ 49 h 87"/>
                <a:gd name="T34" fmla="*/ 57 w 84"/>
                <a:gd name="T35" fmla="*/ 65 h 87"/>
                <a:gd name="T36" fmla="*/ 70 w 84"/>
                <a:gd name="T37" fmla="*/ 78 h 87"/>
                <a:gd name="T38" fmla="*/ 84 w 84"/>
                <a:gd name="T39" fmla="*/ 83 h 87"/>
                <a:gd name="T40" fmla="*/ 60 w 84"/>
                <a:gd name="T41" fmla="*/ 87 h 87"/>
                <a:gd name="T42" fmla="*/ 25 w 84"/>
                <a:gd name="T43" fmla="*/ 49 h 87"/>
                <a:gd name="T44" fmla="*/ 25 w 84"/>
                <a:gd name="T45" fmla="*/ 67 h 87"/>
                <a:gd name="T46" fmla="*/ 27 w 84"/>
                <a:gd name="T47" fmla="*/ 81 h 87"/>
                <a:gd name="T48" fmla="*/ 31 w 84"/>
                <a:gd name="T49" fmla="*/ 83 h 87"/>
                <a:gd name="T50" fmla="*/ 38 w 84"/>
                <a:gd name="T51" fmla="*/ 87 h 87"/>
                <a:gd name="T52" fmla="*/ 0 w 84"/>
                <a:gd name="T53" fmla="*/ 83 h 87"/>
                <a:gd name="T54" fmla="*/ 37 w 84"/>
                <a:gd name="T55" fmla="*/ 44 h 87"/>
                <a:gd name="T56" fmla="*/ 46 w 84"/>
                <a:gd name="T57" fmla="*/ 43 h 87"/>
                <a:gd name="T58" fmla="*/ 52 w 84"/>
                <a:gd name="T59" fmla="*/ 38 h 87"/>
                <a:gd name="T60" fmla="*/ 55 w 84"/>
                <a:gd name="T61" fmla="*/ 25 h 87"/>
                <a:gd name="T62" fmla="*/ 54 w 84"/>
                <a:gd name="T63" fmla="*/ 17 h 87"/>
                <a:gd name="T64" fmla="*/ 49 w 84"/>
                <a:gd name="T65" fmla="*/ 9 h 87"/>
                <a:gd name="T66" fmla="*/ 42 w 84"/>
                <a:gd name="T67" fmla="*/ 6 h 87"/>
                <a:gd name="T68" fmla="*/ 25 w 84"/>
                <a:gd name="T69" fmla="*/ 6 h 87"/>
                <a:gd name="T70" fmla="*/ 37 w 84"/>
                <a:gd name="T71" fmla="*/ 44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84" h="87">
                  <a:moveTo>
                    <a:pt x="0" y="83"/>
                  </a:moveTo>
                  <a:lnTo>
                    <a:pt x="0" y="83"/>
                  </a:lnTo>
                  <a:lnTo>
                    <a:pt x="6" y="83"/>
                  </a:lnTo>
                  <a:lnTo>
                    <a:pt x="9" y="82"/>
                  </a:lnTo>
                  <a:lnTo>
                    <a:pt x="11" y="81"/>
                  </a:lnTo>
                  <a:lnTo>
                    <a:pt x="13" y="76"/>
                  </a:lnTo>
                  <a:lnTo>
                    <a:pt x="14" y="67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3" y="11"/>
                  </a:lnTo>
                  <a:lnTo>
                    <a:pt x="11" y="6"/>
                  </a:lnTo>
                  <a:lnTo>
                    <a:pt x="9" y="5"/>
                  </a:lnTo>
                  <a:lnTo>
                    <a:pt x="6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44" y="1"/>
                  </a:lnTo>
                  <a:lnTo>
                    <a:pt x="51" y="3"/>
                  </a:lnTo>
                  <a:lnTo>
                    <a:pt x="57" y="5"/>
                  </a:lnTo>
                  <a:lnTo>
                    <a:pt x="60" y="8"/>
                  </a:lnTo>
                  <a:lnTo>
                    <a:pt x="64" y="11"/>
                  </a:lnTo>
                  <a:lnTo>
                    <a:pt x="66" y="16"/>
                  </a:lnTo>
                  <a:lnTo>
                    <a:pt x="68" y="20"/>
                  </a:lnTo>
                  <a:lnTo>
                    <a:pt x="69" y="25"/>
                  </a:lnTo>
                  <a:lnTo>
                    <a:pt x="69" y="25"/>
                  </a:lnTo>
                  <a:lnTo>
                    <a:pt x="68" y="30"/>
                  </a:lnTo>
                  <a:lnTo>
                    <a:pt x="66" y="33"/>
                  </a:lnTo>
                  <a:lnTo>
                    <a:pt x="65" y="38"/>
                  </a:lnTo>
                  <a:lnTo>
                    <a:pt x="62" y="41"/>
                  </a:lnTo>
                  <a:lnTo>
                    <a:pt x="58" y="44"/>
                  </a:lnTo>
                  <a:lnTo>
                    <a:pt x="54" y="47"/>
                  </a:lnTo>
                  <a:lnTo>
                    <a:pt x="49" y="48"/>
                  </a:lnTo>
                  <a:lnTo>
                    <a:pt x="43" y="49"/>
                  </a:lnTo>
                  <a:lnTo>
                    <a:pt x="57" y="65"/>
                  </a:lnTo>
                  <a:lnTo>
                    <a:pt x="57" y="65"/>
                  </a:lnTo>
                  <a:lnTo>
                    <a:pt x="64" y="72"/>
                  </a:lnTo>
                  <a:lnTo>
                    <a:pt x="70" y="78"/>
                  </a:lnTo>
                  <a:lnTo>
                    <a:pt x="77" y="82"/>
                  </a:lnTo>
                  <a:lnTo>
                    <a:pt x="84" y="83"/>
                  </a:lnTo>
                  <a:lnTo>
                    <a:pt x="84" y="87"/>
                  </a:lnTo>
                  <a:lnTo>
                    <a:pt x="60" y="87"/>
                  </a:lnTo>
                  <a:lnTo>
                    <a:pt x="32" y="49"/>
                  </a:lnTo>
                  <a:lnTo>
                    <a:pt x="25" y="49"/>
                  </a:lnTo>
                  <a:lnTo>
                    <a:pt x="25" y="67"/>
                  </a:lnTo>
                  <a:lnTo>
                    <a:pt x="25" y="67"/>
                  </a:lnTo>
                  <a:lnTo>
                    <a:pt x="25" y="76"/>
                  </a:lnTo>
                  <a:lnTo>
                    <a:pt x="27" y="81"/>
                  </a:lnTo>
                  <a:lnTo>
                    <a:pt x="28" y="82"/>
                  </a:lnTo>
                  <a:lnTo>
                    <a:pt x="31" y="83"/>
                  </a:lnTo>
                  <a:lnTo>
                    <a:pt x="38" y="83"/>
                  </a:lnTo>
                  <a:lnTo>
                    <a:pt x="38" y="87"/>
                  </a:lnTo>
                  <a:lnTo>
                    <a:pt x="0" y="87"/>
                  </a:lnTo>
                  <a:lnTo>
                    <a:pt x="0" y="83"/>
                  </a:lnTo>
                  <a:close/>
                  <a:moveTo>
                    <a:pt x="37" y="44"/>
                  </a:moveTo>
                  <a:lnTo>
                    <a:pt x="37" y="44"/>
                  </a:lnTo>
                  <a:lnTo>
                    <a:pt x="42" y="43"/>
                  </a:lnTo>
                  <a:lnTo>
                    <a:pt x="46" y="43"/>
                  </a:lnTo>
                  <a:lnTo>
                    <a:pt x="49" y="41"/>
                  </a:lnTo>
                  <a:lnTo>
                    <a:pt x="52" y="38"/>
                  </a:lnTo>
                  <a:lnTo>
                    <a:pt x="54" y="32"/>
                  </a:lnTo>
                  <a:lnTo>
                    <a:pt x="55" y="25"/>
                  </a:lnTo>
                  <a:lnTo>
                    <a:pt x="55" y="25"/>
                  </a:lnTo>
                  <a:lnTo>
                    <a:pt x="54" y="17"/>
                  </a:lnTo>
                  <a:lnTo>
                    <a:pt x="52" y="11"/>
                  </a:lnTo>
                  <a:lnTo>
                    <a:pt x="49" y="9"/>
                  </a:lnTo>
                  <a:lnTo>
                    <a:pt x="46" y="8"/>
                  </a:lnTo>
                  <a:lnTo>
                    <a:pt x="42" y="6"/>
                  </a:lnTo>
                  <a:lnTo>
                    <a:pt x="37" y="6"/>
                  </a:lnTo>
                  <a:lnTo>
                    <a:pt x="25" y="6"/>
                  </a:lnTo>
                  <a:lnTo>
                    <a:pt x="25" y="44"/>
                  </a:lnTo>
                  <a:lnTo>
                    <a:pt x="37" y="44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28" name="Freeform 25"/>
            <p:cNvSpPr>
              <a:spLocks noEditPoints="1"/>
            </p:cNvSpPr>
            <p:nvPr userDrawn="1"/>
          </p:nvSpPr>
          <p:spPr bwMode="auto">
            <a:xfrm>
              <a:off x="1518" y="694"/>
              <a:ext cx="101" cy="121"/>
            </a:xfrm>
            <a:custGeom>
              <a:avLst/>
              <a:gdLst>
                <a:gd name="T0" fmla="*/ 0 w 101"/>
                <a:gd name="T1" fmla="*/ 117 h 121"/>
                <a:gd name="T2" fmla="*/ 13 w 101"/>
                <a:gd name="T3" fmla="*/ 115 h 121"/>
                <a:gd name="T4" fmla="*/ 18 w 101"/>
                <a:gd name="T5" fmla="*/ 105 h 121"/>
                <a:gd name="T6" fmla="*/ 52 w 101"/>
                <a:gd name="T7" fmla="*/ 32 h 121"/>
                <a:gd name="T8" fmla="*/ 84 w 101"/>
                <a:gd name="T9" fmla="*/ 105 h 121"/>
                <a:gd name="T10" fmla="*/ 89 w 101"/>
                <a:gd name="T11" fmla="*/ 115 h 121"/>
                <a:gd name="T12" fmla="*/ 101 w 101"/>
                <a:gd name="T13" fmla="*/ 117 h 121"/>
                <a:gd name="T14" fmla="*/ 60 w 101"/>
                <a:gd name="T15" fmla="*/ 121 h 121"/>
                <a:gd name="T16" fmla="*/ 60 w 101"/>
                <a:gd name="T17" fmla="*/ 117 h 121"/>
                <a:gd name="T18" fmla="*/ 71 w 101"/>
                <a:gd name="T19" fmla="*/ 115 h 121"/>
                <a:gd name="T20" fmla="*/ 73 w 101"/>
                <a:gd name="T21" fmla="*/ 112 h 121"/>
                <a:gd name="T22" fmla="*/ 65 w 101"/>
                <a:gd name="T23" fmla="*/ 90 h 121"/>
                <a:gd name="T24" fmla="*/ 24 w 101"/>
                <a:gd name="T25" fmla="*/ 106 h 121"/>
                <a:gd name="T26" fmla="*/ 21 w 101"/>
                <a:gd name="T27" fmla="*/ 112 h 121"/>
                <a:gd name="T28" fmla="*/ 22 w 101"/>
                <a:gd name="T29" fmla="*/ 115 h 121"/>
                <a:gd name="T30" fmla="*/ 35 w 101"/>
                <a:gd name="T31" fmla="*/ 117 h 121"/>
                <a:gd name="T32" fmla="*/ 0 w 101"/>
                <a:gd name="T33" fmla="*/ 121 h 121"/>
                <a:gd name="T34" fmla="*/ 63 w 101"/>
                <a:gd name="T35" fmla="*/ 86 h 121"/>
                <a:gd name="T36" fmla="*/ 32 w 101"/>
                <a:gd name="T37" fmla="*/ 86 h 121"/>
                <a:gd name="T38" fmla="*/ 38 w 101"/>
                <a:gd name="T39" fmla="*/ 12 h 121"/>
                <a:gd name="T40" fmla="*/ 40 w 101"/>
                <a:gd name="T41" fmla="*/ 7 h 121"/>
                <a:gd name="T42" fmla="*/ 46 w 101"/>
                <a:gd name="T43" fmla="*/ 1 h 121"/>
                <a:gd name="T44" fmla="*/ 51 w 101"/>
                <a:gd name="T45" fmla="*/ 0 h 121"/>
                <a:gd name="T46" fmla="*/ 58 w 101"/>
                <a:gd name="T47" fmla="*/ 4 h 121"/>
                <a:gd name="T48" fmla="*/ 62 w 101"/>
                <a:gd name="T49" fmla="*/ 12 h 121"/>
                <a:gd name="T50" fmla="*/ 62 w 101"/>
                <a:gd name="T51" fmla="*/ 17 h 121"/>
                <a:gd name="T52" fmla="*/ 54 w 101"/>
                <a:gd name="T53" fmla="*/ 23 h 121"/>
                <a:gd name="T54" fmla="*/ 51 w 101"/>
                <a:gd name="T55" fmla="*/ 25 h 121"/>
                <a:gd name="T56" fmla="*/ 42 w 101"/>
                <a:gd name="T57" fmla="*/ 21 h 121"/>
                <a:gd name="T58" fmla="*/ 38 w 101"/>
                <a:gd name="T59" fmla="*/ 12 h 121"/>
                <a:gd name="T60" fmla="*/ 57 w 101"/>
                <a:gd name="T61" fmla="*/ 12 h 121"/>
                <a:gd name="T62" fmla="*/ 57 w 101"/>
                <a:gd name="T63" fmla="*/ 10 h 121"/>
                <a:gd name="T64" fmla="*/ 53 w 101"/>
                <a:gd name="T65" fmla="*/ 6 h 121"/>
                <a:gd name="T66" fmla="*/ 51 w 101"/>
                <a:gd name="T67" fmla="*/ 6 h 121"/>
                <a:gd name="T68" fmla="*/ 46 w 101"/>
                <a:gd name="T69" fmla="*/ 7 h 121"/>
                <a:gd name="T70" fmla="*/ 43 w 101"/>
                <a:gd name="T71" fmla="*/ 12 h 121"/>
                <a:gd name="T72" fmla="*/ 44 w 101"/>
                <a:gd name="T73" fmla="*/ 15 h 121"/>
                <a:gd name="T74" fmla="*/ 47 w 101"/>
                <a:gd name="T75" fmla="*/ 18 h 121"/>
                <a:gd name="T76" fmla="*/ 51 w 101"/>
                <a:gd name="T77" fmla="*/ 18 h 121"/>
                <a:gd name="T78" fmla="*/ 54 w 101"/>
                <a:gd name="T79" fmla="*/ 17 h 121"/>
                <a:gd name="T80" fmla="*/ 57 w 101"/>
                <a:gd name="T81" fmla="*/ 12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01" h="121">
                  <a:moveTo>
                    <a:pt x="0" y="117"/>
                  </a:moveTo>
                  <a:lnTo>
                    <a:pt x="0" y="117"/>
                  </a:lnTo>
                  <a:lnTo>
                    <a:pt x="8" y="117"/>
                  </a:lnTo>
                  <a:lnTo>
                    <a:pt x="13" y="115"/>
                  </a:lnTo>
                  <a:lnTo>
                    <a:pt x="15" y="111"/>
                  </a:lnTo>
                  <a:lnTo>
                    <a:pt x="18" y="105"/>
                  </a:lnTo>
                  <a:lnTo>
                    <a:pt x="49" y="32"/>
                  </a:lnTo>
                  <a:lnTo>
                    <a:pt x="52" y="32"/>
                  </a:lnTo>
                  <a:lnTo>
                    <a:pt x="84" y="105"/>
                  </a:lnTo>
                  <a:lnTo>
                    <a:pt x="84" y="105"/>
                  </a:lnTo>
                  <a:lnTo>
                    <a:pt x="86" y="111"/>
                  </a:lnTo>
                  <a:lnTo>
                    <a:pt x="89" y="115"/>
                  </a:lnTo>
                  <a:lnTo>
                    <a:pt x="93" y="117"/>
                  </a:lnTo>
                  <a:lnTo>
                    <a:pt x="101" y="117"/>
                  </a:lnTo>
                  <a:lnTo>
                    <a:pt x="101" y="121"/>
                  </a:lnTo>
                  <a:lnTo>
                    <a:pt x="60" y="121"/>
                  </a:lnTo>
                  <a:lnTo>
                    <a:pt x="60" y="117"/>
                  </a:lnTo>
                  <a:lnTo>
                    <a:pt x="60" y="117"/>
                  </a:lnTo>
                  <a:lnTo>
                    <a:pt x="68" y="117"/>
                  </a:lnTo>
                  <a:lnTo>
                    <a:pt x="71" y="115"/>
                  </a:lnTo>
                  <a:lnTo>
                    <a:pt x="73" y="114"/>
                  </a:lnTo>
                  <a:lnTo>
                    <a:pt x="73" y="112"/>
                  </a:lnTo>
                  <a:lnTo>
                    <a:pt x="71" y="106"/>
                  </a:lnTo>
                  <a:lnTo>
                    <a:pt x="65" y="90"/>
                  </a:lnTo>
                  <a:lnTo>
                    <a:pt x="30" y="90"/>
                  </a:lnTo>
                  <a:lnTo>
                    <a:pt x="24" y="106"/>
                  </a:lnTo>
                  <a:lnTo>
                    <a:pt x="24" y="106"/>
                  </a:lnTo>
                  <a:lnTo>
                    <a:pt x="21" y="112"/>
                  </a:lnTo>
                  <a:lnTo>
                    <a:pt x="22" y="114"/>
                  </a:lnTo>
                  <a:lnTo>
                    <a:pt x="22" y="115"/>
                  </a:lnTo>
                  <a:lnTo>
                    <a:pt x="27" y="117"/>
                  </a:lnTo>
                  <a:lnTo>
                    <a:pt x="35" y="117"/>
                  </a:lnTo>
                  <a:lnTo>
                    <a:pt x="35" y="121"/>
                  </a:lnTo>
                  <a:lnTo>
                    <a:pt x="0" y="121"/>
                  </a:lnTo>
                  <a:lnTo>
                    <a:pt x="0" y="117"/>
                  </a:lnTo>
                  <a:close/>
                  <a:moveTo>
                    <a:pt x="63" y="86"/>
                  </a:moveTo>
                  <a:lnTo>
                    <a:pt x="47" y="51"/>
                  </a:lnTo>
                  <a:lnTo>
                    <a:pt x="32" y="86"/>
                  </a:lnTo>
                  <a:lnTo>
                    <a:pt x="63" y="86"/>
                  </a:lnTo>
                  <a:close/>
                  <a:moveTo>
                    <a:pt x="38" y="12"/>
                  </a:moveTo>
                  <a:lnTo>
                    <a:pt x="38" y="12"/>
                  </a:lnTo>
                  <a:lnTo>
                    <a:pt x="40" y="7"/>
                  </a:lnTo>
                  <a:lnTo>
                    <a:pt x="42" y="4"/>
                  </a:lnTo>
                  <a:lnTo>
                    <a:pt x="46" y="1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4" y="1"/>
                  </a:lnTo>
                  <a:lnTo>
                    <a:pt x="58" y="4"/>
                  </a:lnTo>
                  <a:lnTo>
                    <a:pt x="62" y="7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2" y="17"/>
                  </a:lnTo>
                  <a:lnTo>
                    <a:pt x="58" y="21"/>
                  </a:lnTo>
                  <a:lnTo>
                    <a:pt x="54" y="23"/>
                  </a:lnTo>
                  <a:lnTo>
                    <a:pt x="51" y="25"/>
                  </a:lnTo>
                  <a:lnTo>
                    <a:pt x="51" y="25"/>
                  </a:lnTo>
                  <a:lnTo>
                    <a:pt x="46" y="23"/>
                  </a:lnTo>
                  <a:lnTo>
                    <a:pt x="42" y="21"/>
                  </a:lnTo>
                  <a:lnTo>
                    <a:pt x="40" y="17"/>
                  </a:lnTo>
                  <a:lnTo>
                    <a:pt x="38" y="12"/>
                  </a:lnTo>
                  <a:lnTo>
                    <a:pt x="38" y="12"/>
                  </a:lnTo>
                  <a:close/>
                  <a:moveTo>
                    <a:pt x="57" y="12"/>
                  </a:moveTo>
                  <a:lnTo>
                    <a:pt x="57" y="12"/>
                  </a:lnTo>
                  <a:lnTo>
                    <a:pt x="57" y="10"/>
                  </a:lnTo>
                  <a:lnTo>
                    <a:pt x="54" y="7"/>
                  </a:lnTo>
                  <a:lnTo>
                    <a:pt x="53" y="6"/>
                  </a:lnTo>
                  <a:lnTo>
                    <a:pt x="51" y="6"/>
                  </a:lnTo>
                  <a:lnTo>
                    <a:pt x="51" y="6"/>
                  </a:lnTo>
                  <a:lnTo>
                    <a:pt x="47" y="6"/>
                  </a:lnTo>
                  <a:lnTo>
                    <a:pt x="46" y="7"/>
                  </a:lnTo>
                  <a:lnTo>
                    <a:pt x="44" y="10"/>
                  </a:lnTo>
                  <a:lnTo>
                    <a:pt x="43" y="12"/>
                  </a:lnTo>
                  <a:lnTo>
                    <a:pt x="43" y="12"/>
                  </a:lnTo>
                  <a:lnTo>
                    <a:pt x="44" y="15"/>
                  </a:lnTo>
                  <a:lnTo>
                    <a:pt x="46" y="17"/>
                  </a:lnTo>
                  <a:lnTo>
                    <a:pt x="47" y="18"/>
                  </a:lnTo>
                  <a:lnTo>
                    <a:pt x="51" y="18"/>
                  </a:lnTo>
                  <a:lnTo>
                    <a:pt x="51" y="18"/>
                  </a:lnTo>
                  <a:lnTo>
                    <a:pt x="53" y="18"/>
                  </a:lnTo>
                  <a:lnTo>
                    <a:pt x="54" y="17"/>
                  </a:lnTo>
                  <a:lnTo>
                    <a:pt x="57" y="15"/>
                  </a:lnTo>
                  <a:lnTo>
                    <a:pt x="57" y="12"/>
                  </a:lnTo>
                  <a:lnTo>
                    <a:pt x="57" y="12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29" name="Freeform 26"/>
            <p:cNvSpPr>
              <a:spLocks noEditPoints="1"/>
            </p:cNvSpPr>
            <p:nvPr userDrawn="1"/>
          </p:nvSpPr>
          <p:spPr bwMode="auto">
            <a:xfrm>
              <a:off x="1629" y="728"/>
              <a:ext cx="88" cy="87"/>
            </a:xfrm>
            <a:custGeom>
              <a:avLst/>
              <a:gdLst>
                <a:gd name="T0" fmla="*/ 0 w 88"/>
                <a:gd name="T1" fmla="*/ 83 h 87"/>
                <a:gd name="T2" fmla="*/ 9 w 88"/>
                <a:gd name="T3" fmla="*/ 82 h 87"/>
                <a:gd name="T4" fmla="*/ 13 w 88"/>
                <a:gd name="T5" fmla="*/ 76 h 87"/>
                <a:gd name="T6" fmla="*/ 14 w 88"/>
                <a:gd name="T7" fmla="*/ 20 h 87"/>
                <a:gd name="T8" fmla="*/ 13 w 88"/>
                <a:gd name="T9" fmla="*/ 11 h 87"/>
                <a:gd name="T10" fmla="*/ 9 w 88"/>
                <a:gd name="T11" fmla="*/ 5 h 87"/>
                <a:gd name="T12" fmla="*/ 0 w 88"/>
                <a:gd name="T13" fmla="*/ 4 h 87"/>
                <a:gd name="T14" fmla="*/ 39 w 88"/>
                <a:gd name="T15" fmla="*/ 0 h 87"/>
                <a:gd name="T16" fmla="*/ 51 w 88"/>
                <a:gd name="T17" fmla="*/ 1 h 87"/>
                <a:gd name="T18" fmla="*/ 69 w 88"/>
                <a:gd name="T19" fmla="*/ 8 h 87"/>
                <a:gd name="T20" fmla="*/ 80 w 88"/>
                <a:gd name="T21" fmla="*/ 20 h 87"/>
                <a:gd name="T22" fmla="*/ 86 w 88"/>
                <a:gd name="T23" fmla="*/ 36 h 87"/>
                <a:gd name="T24" fmla="*/ 88 w 88"/>
                <a:gd name="T25" fmla="*/ 44 h 87"/>
                <a:gd name="T26" fmla="*/ 84 w 88"/>
                <a:gd name="T27" fmla="*/ 60 h 87"/>
                <a:gd name="T28" fmla="*/ 75 w 88"/>
                <a:gd name="T29" fmla="*/ 75 h 87"/>
                <a:gd name="T30" fmla="*/ 61 w 88"/>
                <a:gd name="T31" fmla="*/ 83 h 87"/>
                <a:gd name="T32" fmla="*/ 39 w 88"/>
                <a:gd name="T33" fmla="*/ 87 h 87"/>
                <a:gd name="T34" fmla="*/ 0 w 88"/>
                <a:gd name="T35" fmla="*/ 83 h 87"/>
                <a:gd name="T36" fmla="*/ 39 w 88"/>
                <a:gd name="T37" fmla="*/ 82 h 87"/>
                <a:gd name="T38" fmla="*/ 56 w 88"/>
                <a:gd name="T39" fmla="*/ 78 h 87"/>
                <a:gd name="T40" fmla="*/ 67 w 88"/>
                <a:gd name="T41" fmla="*/ 69 h 87"/>
                <a:gd name="T42" fmla="*/ 72 w 88"/>
                <a:gd name="T43" fmla="*/ 56 h 87"/>
                <a:gd name="T44" fmla="*/ 73 w 88"/>
                <a:gd name="T45" fmla="*/ 44 h 87"/>
                <a:gd name="T46" fmla="*/ 73 w 88"/>
                <a:gd name="T47" fmla="*/ 37 h 87"/>
                <a:gd name="T48" fmla="*/ 71 w 88"/>
                <a:gd name="T49" fmla="*/ 25 h 87"/>
                <a:gd name="T50" fmla="*/ 62 w 88"/>
                <a:gd name="T51" fmla="*/ 14 h 87"/>
                <a:gd name="T52" fmla="*/ 48 w 88"/>
                <a:gd name="T53" fmla="*/ 6 h 87"/>
                <a:gd name="T54" fmla="*/ 25 w 88"/>
                <a:gd name="T55" fmla="*/ 6 h 87"/>
                <a:gd name="T56" fmla="*/ 25 w 88"/>
                <a:gd name="T57" fmla="*/ 65 h 87"/>
                <a:gd name="T58" fmla="*/ 28 w 88"/>
                <a:gd name="T59" fmla="*/ 78 h 87"/>
                <a:gd name="T60" fmla="*/ 31 w 88"/>
                <a:gd name="T61" fmla="*/ 81 h 87"/>
                <a:gd name="T62" fmla="*/ 39 w 88"/>
                <a:gd name="T63" fmla="*/ 82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88" h="87">
                  <a:moveTo>
                    <a:pt x="0" y="83"/>
                  </a:moveTo>
                  <a:lnTo>
                    <a:pt x="0" y="83"/>
                  </a:lnTo>
                  <a:lnTo>
                    <a:pt x="7" y="83"/>
                  </a:lnTo>
                  <a:lnTo>
                    <a:pt x="9" y="82"/>
                  </a:lnTo>
                  <a:lnTo>
                    <a:pt x="12" y="81"/>
                  </a:lnTo>
                  <a:lnTo>
                    <a:pt x="13" y="76"/>
                  </a:lnTo>
                  <a:lnTo>
                    <a:pt x="14" y="67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3" y="11"/>
                  </a:lnTo>
                  <a:lnTo>
                    <a:pt x="12" y="6"/>
                  </a:lnTo>
                  <a:lnTo>
                    <a:pt x="9" y="5"/>
                  </a:lnTo>
                  <a:lnTo>
                    <a:pt x="7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51" y="1"/>
                  </a:lnTo>
                  <a:lnTo>
                    <a:pt x="61" y="4"/>
                  </a:lnTo>
                  <a:lnTo>
                    <a:pt x="69" y="8"/>
                  </a:lnTo>
                  <a:lnTo>
                    <a:pt x="75" y="14"/>
                  </a:lnTo>
                  <a:lnTo>
                    <a:pt x="80" y="20"/>
                  </a:lnTo>
                  <a:lnTo>
                    <a:pt x="84" y="27"/>
                  </a:lnTo>
                  <a:lnTo>
                    <a:pt x="86" y="36"/>
                  </a:lnTo>
                  <a:lnTo>
                    <a:pt x="88" y="44"/>
                  </a:lnTo>
                  <a:lnTo>
                    <a:pt x="88" y="44"/>
                  </a:lnTo>
                  <a:lnTo>
                    <a:pt x="86" y="53"/>
                  </a:lnTo>
                  <a:lnTo>
                    <a:pt x="84" y="60"/>
                  </a:lnTo>
                  <a:lnTo>
                    <a:pt x="80" y="67"/>
                  </a:lnTo>
                  <a:lnTo>
                    <a:pt x="75" y="75"/>
                  </a:lnTo>
                  <a:lnTo>
                    <a:pt x="69" y="80"/>
                  </a:lnTo>
                  <a:lnTo>
                    <a:pt x="61" y="83"/>
                  </a:lnTo>
                  <a:lnTo>
                    <a:pt x="51" y="86"/>
                  </a:lnTo>
                  <a:lnTo>
                    <a:pt x="39" y="87"/>
                  </a:lnTo>
                  <a:lnTo>
                    <a:pt x="0" y="87"/>
                  </a:lnTo>
                  <a:lnTo>
                    <a:pt x="0" y="83"/>
                  </a:lnTo>
                  <a:close/>
                  <a:moveTo>
                    <a:pt x="39" y="82"/>
                  </a:moveTo>
                  <a:lnTo>
                    <a:pt x="39" y="82"/>
                  </a:lnTo>
                  <a:lnTo>
                    <a:pt x="48" y="81"/>
                  </a:lnTo>
                  <a:lnTo>
                    <a:pt x="56" y="78"/>
                  </a:lnTo>
                  <a:lnTo>
                    <a:pt x="62" y="74"/>
                  </a:lnTo>
                  <a:lnTo>
                    <a:pt x="67" y="69"/>
                  </a:lnTo>
                  <a:lnTo>
                    <a:pt x="71" y="63"/>
                  </a:lnTo>
                  <a:lnTo>
                    <a:pt x="72" y="56"/>
                  </a:lnTo>
                  <a:lnTo>
                    <a:pt x="73" y="50"/>
                  </a:lnTo>
                  <a:lnTo>
                    <a:pt x="73" y="44"/>
                  </a:lnTo>
                  <a:lnTo>
                    <a:pt x="73" y="44"/>
                  </a:lnTo>
                  <a:lnTo>
                    <a:pt x="73" y="37"/>
                  </a:lnTo>
                  <a:lnTo>
                    <a:pt x="72" y="31"/>
                  </a:lnTo>
                  <a:lnTo>
                    <a:pt x="71" y="25"/>
                  </a:lnTo>
                  <a:lnTo>
                    <a:pt x="67" y="19"/>
                  </a:lnTo>
                  <a:lnTo>
                    <a:pt x="62" y="14"/>
                  </a:lnTo>
                  <a:lnTo>
                    <a:pt x="56" y="10"/>
                  </a:lnTo>
                  <a:lnTo>
                    <a:pt x="48" y="6"/>
                  </a:lnTo>
                  <a:lnTo>
                    <a:pt x="39" y="6"/>
                  </a:lnTo>
                  <a:lnTo>
                    <a:pt x="25" y="6"/>
                  </a:lnTo>
                  <a:lnTo>
                    <a:pt x="25" y="65"/>
                  </a:lnTo>
                  <a:lnTo>
                    <a:pt x="25" y="65"/>
                  </a:lnTo>
                  <a:lnTo>
                    <a:pt x="25" y="74"/>
                  </a:lnTo>
                  <a:lnTo>
                    <a:pt x="28" y="78"/>
                  </a:lnTo>
                  <a:lnTo>
                    <a:pt x="29" y="80"/>
                  </a:lnTo>
                  <a:lnTo>
                    <a:pt x="31" y="81"/>
                  </a:lnTo>
                  <a:lnTo>
                    <a:pt x="39" y="82"/>
                  </a:lnTo>
                  <a:lnTo>
                    <a:pt x="39" y="82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30" name="Freeform 27"/>
            <p:cNvSpPr>
              <a:spLocks/>
            </p:cNvSpPr>
            <p:nvPr userDrawn="1"/>
          </p:nvSpPr>
          <p:spPr bwMode="auto">
            <a:xfrm>
              <a:off x="1739" y="728"/>
              <a:ext cx="72" cy="87"/>
            </a:xfrm>
            <a:custGeom>
              <a:avLst/>
              <a:gdLst>
                <a:gd name="T0" fmla="*/ 0 w 72"/>
                <a:gd name="T1" fmla="*/ 83 h 87"/>
                <a:gd name="T2" fmla="*/ 0 w 72"/>
                <a:gd name="T3" fmla="*/ 83 h 87"/>
                <a:gd name="T4" fmla="*/ 7 w 72"/>
                <a:gd name="T5" fmla="*/ 83 h 87"/>
                <a:gd name="T6" fmla="*/ 9 w 72"/>
                <a:gd name="T7" fmla="*/ 82 h 87"/>
                <a:gd name="T8" fmla="*/ 11 w 72"/>
                <a:gd name="T9" fmla="*/ 81 h 87"/>
                <a:gd name="T10" fmla="*/ 13 w 72"/>
                <a:gd name="T11" fmla="*/ 76 h 87"/>
                <a:gd name="T12" fmla="*/ 13 w 72"/>
                <a:gd name="T13" fmla="*/ 67 h 87"/>
                <a:gd name="T14" fmla="*/ 13 w 72"/>
                <a:gd name="T15" fmla="*/ 20 h 87"/>
                <a:gd name="T16" fmla="*/ 13 w 72"/>
                <a:gd name="T17" fmla="*/ 20 h 87"/>
                <a:gd name="T18" fmla="*/ 13 w 72"/>
                <a:gd name="T19" fmla="*/ 11 h 87"/>
                <a:gd name="T20" fmla="*/ 11 w 72"/>
                <a:gd name="T21" fmla="*/ 6 h 87"/>
                <a:gd name="T22" fmla="*/ 9 w 72"/>
                <a:gd name="T23" fmla="*/ 5 h 87"/>
                <a:gd name="T24" fmla="*/ 7 w 72"/>
                <a:gd name="T25" fmla="*/ 4 h 87"/>
                <a:gd name="T26" fmla="*/ 0 w 72"/>
                <a:gd name="T27" fmla="*/ 4 h 87"/>
                <a:gd name="T28" fmla="*/ 0 w 72"/>
                <a:gd name="T29" fmla="*/ 0 h 87"/>
                <a:gd name="T30" fmla="*/ 66 w 72"/>
                <a:gd name="T31" fmla="*/ 0 h 87"/>
                <a:gd name="T32" fmla="*/ 67 w 72"/>
                <a:gd name="T33" fmla="*/ 20 h 87"/>
                <a:gd name="T34" fmla="*/ 63 w 72"/>
                <a:gd name="T35" fmla="*/ 20 h 87"/>
                <a:gd name="T36" fmla="*/ 63 w 72"/>
                <a:gd name="T37" fmla="*/ 17 h 87"/>
                <a:gd name="T38" fmla="*/ 63 w 72"/>
                <a:gd name="T39" fmla="*/ 17 h 87"/>
                <a:gd name="T40" fmla="*/ 61 w 72"/>
                <a:gd name="T41" fmla="*/ 12 h 87"/>
                <a:gd name="T42" fmla="*/ 58 w 72"/>
                <a:gd name="T43" fmla="*/ 9 h 87"/>
                <a:gd name="T44" fmla="*/ 55 w 72"/>
                <a:gd name="T45" fmla="*/ 6 h 87"/>
                <a:gd name="T46" fmla="*/ 46 w 72"/>
                <a:gd name="T47" fmla="*/ 6 h 87"/>
                <a:gd name="T48" fmla="*/ 25 w 72"/>
                <a:gd name="T49" fmla="*/ 6 h 87"/>
                <a:gd name="T50" fmla="*/ 25 w 72"/>
                <a:gd name="T51" fmla="*/ 38 h 87"/>
                <a:gd name="T52" fmla="*/ 33 w 72"/>
                <a:gd name="T53" fmla="*/ 38 h 87"/>
                <a:gd name="T54" fmla="*/ 33 w 72"/>
                <a:gd name="T55" fmla="*/ 38 h 87"/>
                <a:gd name="T56" fmla="*/ 41 w 72"/>
                <a:gd name="T57" fmla="*/ 38 h 87"/>
                <a:gd name="T58" fmla="*/ 46 w 72"/>
                <a:gd name="T59" fmla="*/ 36 h 87"/>
                <a:gd name="T60" fmla="*/ 47 w 72"/>
                <a:gd name="T61" fmla="*/ 34 h 87"/>
                <a:gd name="T62" fmla="*/ 49 w 72"/>
                <a:gd name="T63" fmla="*/ 32 h 87"/>
                <a:gd name="T64" fmla="*/ 49 w 72"/>
                <a:gd name="T65" fmla="*/ 25 h 87"/>
                <a:gd name="T66" fmla="*/ 52 w 72"/>
                <a:gd name="T67" fmla="*/ 25 h 87"/>
                <a:gd name="T68" fmla="*/ 52 w 72"/>
                <a:gd name="T69" fmla="*/ 58 h 87"/>
                <a:gd name="T70" fmla="*/ 49 w 72"/>
                <a:gd name="T71" fmla="*/ 58 h 87"/>
                <a:gd name="T72" fmla="*/ 49 w 72"/>
                <a:gd name="T73" fmla="*/ 58 h 87"/>
                <a:gd name="T74" fmla="*/ 49 w 72"/>
                <a:gd name="T75" fmla="*/ 50 h 87"/>
                <a:gd name="T76" fmla="*/ 47 w 72"/>
                <a:gd name="T77" fmla="*/ 48 h 87"/>
                <a:gd name="T78" fmla="*/ 46 w 72"/>
                <a:gd name="T79" fmla="*/ 47 h 87"/>
                <a:gd name="T80" fmla="*/ 41 w 72"/>
                <a:gd name="T81" fmla="*/ 44 h 87"/>
                <a:gd name="T82" fmla="*/ 33 w 72"/>
                <a:gd name="T83" fmla="*/ 44 h 87"/>
                <a:gd name="T84" fmla="*/ 25 w 72"/>
                <a:gd name="T85" fmla="*/ 44 h 87"/>
                <a:gd name="T86" fmla="*/ 25 w 72"/>
                <a:gd name="T87" fmla="*/ 65 h 87"/>
                <a:gd name="T88" fmla="*/ 25 w 72"/>
                <a:gd name="T89" fmla="*/ 65 h 87"/>
                <a:gd name="T90" fmla="*/ 25 w 72"/>
                <a:gd name="T91" fmla="*/ 74 h 87"/>
                <a:gd name="T92" fmla="*/ 28 w 72"/>
                <a:gd name="T93" fmla="*/ 78 h 87"/>
                <a:gd name="T94" fmla="*/ 29 w 72"/>
                <a:gd name="T95" fmla="*/ 80 h 87"/>
                <a:gd name="T96" fmla="*/ 31 w 72"/>
                <a:gd name="T97" fmla="*/ 81 h 87"/>
                <a:gd name="T98" fmla="*/ 39 w 72"/>
                <a:gd name="T99" fmla="*/ 82 h 87"/>
                <a:gd name="T100" fmla="*/ 51 w 72"/>
                <a:gd name="T101" fmla="*/ 82 h 87"/>
                <a:gd name="T102" fmla="*/ 51 w 72"/>
                <a:gd name="T103" fmla="*/ 82 h 87"/>
                <a:gd name="T104" fmla="*/ 58 w 72"/>
                <a:gd name="T105" fmla="*/ 81 h 87"/>
                <a:gd name="T106" fmla="*/ 63 w 72"/>
                <a:gd name="T107" fmla="*/ 78 h 87"/>
                <a:gd name="T108" fmla="*/ 66 w 72"/>
                <a:gd name="T109" fmla="*/ 76 h 87"/>
                <a:gd name="T110" fmla="*/ 68 w 72"/>
                <a:gd name="T111" fmla="*/ 71 h 87"/>
                <a:gd name="T112" fmla="*/ 68 w 72"/>
                <a:gd name="T113" fmla="*/ 67 h 87"/>
                <a:gd name="T114" fmla="*/ 72 w 72"/>
                <a:gd name="T115" fmla="*/ 67 h 87"/>
                <a:gd name="T116" fmla="*/ 71 w 72"/>
                <a:gd name="T117" fmla="*/ 87 h 87"/>
                <a:gd name="T118" fmla="*/ 0 w 72"/>
                <a:gd name="T119" fmla="*/ 87 h 87"/>
                <a:gd name="T120" fmla="*/ 0 w 72"/>
                <a:gd name="T121" fmla="*/ 83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2" h="87">
                  <a:moveTo>
                    <a:pt x="0" y="83"/>
                  </a:moveTo>
                  <a:lnTo>
                    <a:pt x="0" y="83"/>
                  </a:lnTo>
                  <a:lnTo>
                    <a:pt x="7" y="83"/>
                  </a:lnTo>
                  <a:lnTo>
                    <a:pt x="9" y="82"/>
                  </a:lnTo>
                  <a:lnTo>
                    <a:pt x="11" y="81"/>
                  </a:lnTo>
                  <a:lnTo>
                    <a:pt x="13" y="76"/>
                  </a:lnTo>
                  <a:lnTo>
                    <a:pt x="13" y="67"/>
                  </a:lnTo>
                  <a:lnTo>
                    <a:pt x="13" y="20"/>
                  </a:lnTo>
                  <a:lnTo>
                    <a:pt x="13" y="20"/>
                  </a:lnTo>
                  <a:lnTo>
                    <a:pt x="13" y="11"/>
                  </a:lnTo>
                  <a:lnTo>
                    <a:pt x="11" y="6"/>
                  </a:lnTo>
                  <a:lnTo>
                    <a:pt x="9" y="5"/>
                  </a:lnTo>
                  <a:lnTo>
                    <a:pt x="7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7" y="20"/>
                  </a:lnTo>
                  <a:lnTo>
                    <a:pt x="63" y="20"/>
                  </a:lnTo>
                  <a:lnTo>
                    <a:pt x="63" y="17"/>
                  </a:lnTo>
                  <a:lnTo>
                    <a:pt x="63" y="17"/>
                  </a:lnTo>
                  <a:lnTo>
                    <a:pt x="61" y="12"/>
                  </a:lnTo>
                  <a:lnTo>
                    <a:pt x="58" y="9"/>
                  </a:lnTo>
                  <a:lnTo>
                    <a:pt x="55" y="6"/>
                  </a:lnTo>
                  <a:lnTo>
                    <a:pt x="46" y="6"/>
                  </a:lnTo>
                  <a:lnTo>
                    <a:pt x="25" y="6"/>
                  </a:lnTo>
                  <a:lnTo>
                    <a:pt x="25" y="38"/>
                  </a:lnTo>
                  <a:lnTo>
                    <a:pt x="33" y="38"/>
                  </a:lnTo>
                  <a:lnTo>
                    <a:pt x="33" y="38"/>
                  </a:lnTo>
                  <a:lnTo>
                    <a:pt x="41" y="38"/>
                  </a:lnTo>
                  <a:lnTo>
                    <a:pt x="46" y="36"/>
                  </a:lnTo>
                  <a:lnTo>
                    <a:pt x="47" y="34"/>
                  </a:lnTo>
                  <a:lnTo>
                    <a:pt x="49" y="32"/>
                  </a:lnTo>
                  <a:lnTo>
                    <a:pt x="49" y="25"/>
                  </a:lnTo>
                  <a:lnTo>
                    <a:pt x="52" y="25"/>
                  </a:lnTo>
                  <a:lnTo>
                    <a:pt x="52" y="58"/>
                  </a:lnTo>
                  <a:lnTo>
                    <a:pt x="49" y="58"/>
                  </a:lnTo>
                  <a:lnTo>
                    <a:pt x="49" y="58"/>
                  </a:lnTo>
                  <a:lnTo>
                    <a:pt x="49" y="50"/>
                  </a:lnTo>
                  <a:lnTo>
                    <a:pt x="47" y="48"/>
                  </a:lnTo>
                  <a:lnTo>
                    <a:pt x="46" y="47"/>
                  </a:lnTo>
                  <a:lnTo>
                    <a:pt x="41" y="44"/>
                  </a:lnTo>
                  <a:lnTo>
                    <a:pt x="33" y="44"/>
                  </a:lnTo>
                  <a:lnTo>
                    <a:pt x="25" y="44"/>
                  </a:lnTo>
                  <a:lnTo>
                    <a:pt x="25" y="65"/>
                  </a:lnTo>
                  <a:lnTo>
                    <a:pt x="25" y="65"/>
                  </a:lnTo>
                  <a:lnTo>
                    <a:pt x="25" y="74"/>
                  </a:lnTo>
                  <a:lnTo>
                    <a:pt x="28" y="78"/>
                  </a:lnTo>
                  <a:lnTo>
                    <a:pt x="29" y="80"/>
                  </a:lnTo>
                  <a:lnTo>
                    <a:pt x="31" y="81"/>
                  </a:lnTo>
                  <a:lnTo>
                    <a:pt x="39" y="82"/>
                  </a:lnTo>
                  <a:lnTo>
                    <a:pt x="51" y="82"/>
                  </a:lnTo>
                  <a:lnTo>
                    <a:pt x="51" y="82"/>
                  </a:lnTo>
                  <a:lnTo>
                    <a:pt x="58" y="81"/>
                  </a:lnTo>
                  <a:lnTo>
                    <a:pt x="63" y="78"/>
                  </a:lnTo>
                  <a:lnTo>
                    <a:pt x="66" y="76"/>
                  </a:lnTo>
                  <a:lnTo>
                    <a:pt x="68" y="71"/>
                  </a:lnTo>
                  <a:lnTo>
                    <a:pt x="68" y="67"/>
                  </a:lnTo>
                  <a:lnTo>
                    <a:pt x="72" y="67"/>
                  </a:lnTo>
                  <a:lnTo>
                    <a:pt x="71" y="87"/>
                  </a:lnTo>
                  <a:lnTo>
                    <a:pt x="0" y="87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31" name="Freeform 28"/>
            <p:cNvSpPr>
              <a:spLocks/>
            </p:cNvSpPr>
            <p:nvPr userDrawn="1"/>
          </p:nvSpPr>
          <p:spPr bwMode="auto">
            <a:xfrm>
              <a:off x="1829" y="728"/>
              <a:ext cx="90" cy="87"/>
            </a:xfrm>
            <a:custGeom>
              <a:avLst/>
              <a:gdLst>
                <a:gd name="T0" fmla="*/ 26 w 90"/>
                <a:gd name="T1" fmla="*/ 83 h 87"/>
                <a:gd name="T2" fmla="*/ 26 w 90"/>
                <a:gd name="T3" fmla="*/ 83 h 87"/>
                <a:gd name="T4" fmla="*/ 32 w 90"/>
                <a:gd name="T5" fmla="*/ 83 h 87"/>
                <a:gd name="T6" fmla="*/ 34 w 90"/>
                <a:gd name="T7" fmla="*/ 82 h 87"/>
                <a:gd name="T8" fmla="*/ 37 w 90"/>
                <a:gd name="T9" fmla="*/ 81 h 87"/>
                <a:gd name="T10" fmla="*/ 38 w 90"/>
                <a:gd name="T11" fmla="*/ 76 h 87"/>
                <a:gd name="T12" fmla="*/ 39 w 90"/>
                <a:gd name="T13" fmla="*/ 67 h 87"/>
                <a:gd name="T14" fmla="*/ 39 w 90"/>
                <a:gd name="T15" fmla="*/ 6 h 87"/>
                <a:gd name="T16" fmla="*/ 21 w 90"/>
                <a:gd name="T17" fmla="*/ 6 h 87"/>
                <a:gd name="T18" fmla="*/ 21 w 90"/>
                <a:gd name="T19" fmla="*/ 6 h 87"/>
                <a:gd name="T20" fmla="*/ 12 w 90"/>
                <a:gd name="T21" fmla="*/ 6 h 87"/>
                <a:gd name="T22" fmla="*/ 8 w 90"/>
                <a:gd name="T23" fmla="*/ 9 h 87"/>
                <a:gd name="T24" fmla="*/ 5 w 90"/>
                <a:gd name="T25" fmla="*/ 12 h 87"/>
                <a:gd name="T26" fmla="*/ 4 w 90"/>
                <a:gd name="T27" fmla="*/ 17 h 87"/>
                <a:gd name="T28" fmla="*/ 3 w 90"/>
                <a:gd name="T29" fmla="*/ 20 h 87"/>
                <a:gd name="T30" fmla="*/ 0 w 90"/>
                <a:gd name="T31" fmla="*/ 20 h 87"/>
                <a:gd name="T32" fmla="*/ 1 w 90"/>
                <a:gd name="T33" fmla="*/ 0 h 87"/>
                <a:gd name="T34" fmla="*/ 88 w 90"/>
                <a:gd name="T35" fmla="*/ 0 h 87"/>
                <a:gd name="T36" fmla="*/ 90 w 90"/>
                <a:gd name="T37" fmla="*/ 20 h 87"/>
                <a:gd name="T38" fmla="*/ 87 w 90"/>
                <a:gd name="T39" fmla="*/ 20 h 87"/>
                <a:gd name="T40" fmla="*/ 86 w 90"/>
                <a:gd name="T41" fmla="*/ 17 h 87"/>
                <a:gd name="T42" fmla="*/ 86 w 90"/>
                <a:gd name="T43" fmla="*/ 17 h 87"/>
                <a:gd name="T44" fmla="*/ 85 w 90"/>
                <a:gd name="T45" fmla="*/ 12 h 87"/>
                <a:gd name="T46" fmla="*/ 82 w 90"/>
                <a:gd name="T47" fmla="*/ 9 h 87"/>
                <a:gd name="T48" fmla="*/ 77 w 90"/>
                <a:gd name="T49" fmla="*/ 6 h 87"/>
                <a:gd name="T50" fmla="*/ 70 w 90"/>
                <a:gd name="T51" fmla="*/ 6 h 87"/>
                <a:gd name="T52" fmla="*/ 50 w 90"/>
                <a:gd name="T53" fmla="*/ 6 h 87"/>
                <a:gd name="T54" fmla="*/ 50 w 90"/>
                <a:gd name="T55" fmla="*/ 67 h 87"/>
                <a:gd name="T56" fmla="*/ 50 w 90"/>
                <a:gd name="T57" fmla="*/ 67 h 87"/>
                <a:gd name="T58" fmla="*/ 52 w 90"/>
                <a:gd name="T59" fmla="*/ 76 h 87"/>
                <a:gd name="T60" fmla="*/ 53 w 90"/>
                <a:gd name="T61" fmla="*/ 81 h 87"/>
                <a:gd name="T62" fmla="*/ 55 w 90"/>
                <a:gd name="T63" fmla="*/ 82 h 87"/>
                <a:gd name="T64" fmla="*/ 58 w 90"/>
                <a:gd name="T65" fmla="*/ 83 h 87"/>
                <a:gd name="T66" fmla="*/ 65 w 90"/>
                <a:gd name="T67" fmla="*/ 83 h 87"/>
                <a:gd name="T68" fmla="*/ 65 w 90"/>
                <a:gd name="T69" fmla="*/ 87 h 87"/>
                <a:gd name="T70" fmla="*/ 26 w 90"/>
                <a:gd name="T71" fmla="*/ 87 h 87"/>
                <a:gd name="T72" fmla="*/ 26 w 90"/>
                <a:gd name="T73" fmla="*/ 83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90" h="87">
                  <a:moveTo>
                    <a:pt x="26" y="83"/>
                  </a:moveTo>
                  <a:lnTo>
                    <a:pt x="26" y="83"/>
                  </a:lnTo>
                  <a:lnTo>
                    <a:pt x="32" y="83"/>
                  </a:lnTo>
                  <a:lnTo>
                    <a:pt x="34" y="82"/>
                  </a:lnTo>
                  <a:lnTo>
                    <a:pt x="37" y="81"/>
                  </a:lnTo>
                  <a:lnTo>
                    <a:pt x="38" y="76"/>
                  </a:lnTo>
                  <a:lnTo>
                    <a:pt x="39" y="67"/>
                  </a:lnTo>
                  <a:lnTo>
                    <a:pt x="39" y="6"/>
                  </a:lnTo>
                  <a:lnTo>
                    <a:pt x="21" y="6"/>
                  </a:lnTo>
                  <a:lnTo>
                    <a:pt x="21" y="6"/>
                  </a:lnTo>
                  <a:lnTo>
                    <a:pt x="12" y="6"/>
                  </a:lnTo>
                  <a:lnTo>
                    <a:pt x="8" y="9"/>
                  </a:lnTo>
                  <a:lnTo>
                    <a:pt x="5" y="12"/>
                  </a:lnTo>
                  <a:lnTo>
                    <a:pt x="4" y="17"/>
                  </a:lnTo>
                  <a:lnTo>
                    <a:pt x="3" y="20"/>
                  </a:lnTo>
                  <a:lnTo>
                    <a:pt x="0" y="20"/>
                  </a:lnTo>
                  <a:lnTo>
                    <a:pt x="1" y="0"/>
                  </a:lnTo>
                  <a:lnTo>
                    <a:pt x="88" y="0"/>
                  </a:lnTo>
                  <a:lnTo>
                    <a:pt x="90" y="20"/>
                  </a:lnTo>
                  <a:lnTo>
                    <a:pt x="87" y="20"/>
                  </a:lnTo>
                  <a:lnTo>
                    <a:pt x="86" y="17"/>
                  </a:lnTo>
                  <a:lnTo>
                    <a:pt x="86" y="17"/>
                  </a:lnTo>
                  <a:lnTo>
                    <a:pt x="85" y="12"/>
                  </a:lnTo>
                  <a:lnTo>
                    <a:pt x="82" y="9"/>
                  </a:lnTo>
                  <a:lnTo>
                    <a:pt x="77" y="6"/>
                  </a:lnTo>
                  <a:lnTo>
                    <a:pt x="70" y="6"/>
                  </a:lnTo>
                  <a:lnTo>
                    <a:pt x="50" y="6"/>
                  </a:lnTo>
                  <a:lnTo>
                    <a:pt x="50" y="67"/>
                  </a:lnTo>
                  <a:lnTo>
                    <a:pt x="50" y="67"/>
                  </a:lnTo>
                  <a:lnTo>
                    <a:pt x="52" y="76"/>
                  </a:lnTo>
                  <a:lnTo>
                    <a:pt x="53" y="81"/>
                  </a:lnTo>
                  <a:lnTo>
                    <a:pt x="55" y="82"/>
                  </a:lnTo>
                  <a:lnTo>
                    <a:pt x="58" y="83"/>
                  </a:lnTo>
                  <a:lnTo>
                    <a:pt x="65" y="83"/>
                  </a:lnTo>
                  <a:lnTo>
                    <a:pt x="65" y="87"/>
                  </a:lnTo>
                  <a:lnTo>
                    <a:pt x="26" y="87"/>
                  </a:lnTo>
                  <a:lnTo>
                    <a:pt x="26" y="83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32" name="Freeform 29"/>
            <p:cNvSpPr>
              <a:spLocks noEditPoints="1"/>
            </p:cNvSpPr>
            <p:nvPr userDrawn="1"/>
          </p:nvSpPr>
          <p:spPr bwMode="auto">
            <a:xfrm>
              <a:off x="443" y="395"/>
              <a:ext cx="415" cy="564"/>
            </a:xfrm>
            <a:custGeom>
              <a:avLst/>
              <a:gdLst>
                <a:gd name="T0" fmla="*/ 323 w 415"/>
                <a:gd name="T1" fmla="*/ 529 h 564"/>
                <a:gd name="T2" fmla="*/ 124 w 415"/>
                <a:gd name="T3" fmla="*/ 503 h 564"/>
                <a:gd name="T4" fmla="*/ 213 w 415"/>
                <a:gd name="T5" fmla="*/ 333 h 564"/>
                <a:gd name="T6" fmla="*/ 193 w 415"/>
                <a:gd name="T7" fmla="*/ 372 h 564"/>
                <a:gd name="T8" fmla="*/ 80 w 415"/>
                <a:gd name="T9" fmla="*/ 398 h 564"/>
                <a:gd name="T10" fmla="*/ 73 w 415"/>
                <a:gd name="T11" fmla="*/ 416 h 564"/>
                <a:gd name="T12" fmla="*/ 111 w 415"/>
                <a:gd name="T13" fmla="*/ 438 h 564"/>
                <a:gd name="T14" fmla="*/ 93 w 415"/>
                <a:gd name="T15" fmla="*/ 465 h 564"/>
                <a:gd name="T16" fmla="*/ 137 w 415"/>
                <a:gd name="T17" fmla="*/ 469 h 564"/>
                <a:gd name="T18" fmla="*/ 181 w 415"/>
                <a:gd name="T19" fmla="*/ 425 h 564"/>
                <a:gd name="T20" fmla="*/ 246 w 415"/>
                <a:gd name="T21" fmla="*/ 410 h 564"/>
                <a:gd name="T22" fmla="*/ 28 w 415"/>
                <a:gd name="T23" fmla="*/ 493 h 564"/>
                <a:gd name="T24" fmla="*/ 91 w 415"/>
                <a:gd name="T25" fmla="*/ 544 h 564"/>
                <a:gd name="T26" fmla="*/ 121 w 415"/>
                <a:gd name="T27" fmla="*/ 515 h 564"/>
                <a:gd name="T28" fmla="*/ 119 w 415"/>
                <a:gd name="T29" fmla="*/ 479 h 564"/>
                <a:gd name="T30" fmla="*/ 33 w 415"/>
                <a:gd name="T31" fmla="*/ 474 h 564"/>
                <a:gd name="T32" fmla="*/ 92 w 415"/>
                <a:gd name="T33" fmla="*/ 71 h 564"/>
                <a:gd name="T34" fmla="*/ 58 w 415"/>
                <a:gd name="T35" fmla="*/ 45 h 564"/>
                <a:gd name="T36" fmla="*/ 77 w 415"/>
                <a:gd name="T37" fmla="*/ 79 h 564"/>
                <a:gd name="T38" fmla="*/ 103 w 415"/>
                <a:gd name="T39" fmla="*/ 48 h 564"/>
                <a:gd name="T40" fmla="*/ 62 w 415"/>
                <a:gd name="T41" fmla="*/ 110 h 564"/>
                <a:gd name="T42" fmla="*/ 117 w 415"/>
                <a:gd name="T43" fmla="*/ 222 h 564"/>
                <a:gd name="T44" fmla="*/ 109 w 415"/>
                <a:gd name="T45" fmla="*/ 73 h 564"/>
                <a:gd name="T46" fmla="*/ 139 w 415"/>
                <a:gd name="T47" fmla="*/ 54 h 564"/>
                <a:gd name="T48" fmla="*/ 283 w 415"/>
                <a:gd name="T49" fmla="*/ 42 h 564"/>
                <a:gd name="T50" fmla="*/ 250 w 415"/>
                <a:gd name="T51" fmla="*/ 46 h 564"/>
                <a:gd name="T52" fmla="*/ 234 w 415"/>
                <a:gd name="T53" fmla="*/ 26 h 564"/>
                <a:gd name="T54" fmla="*/ 201 w 415"/>
                <a:gd name="T55" fmla="*/ 28 h 564"/>
                <a:gd name="T56" fmla="*/ 237 w 415"/>
                <a:gd name="T57" fmla="*/ 55 h 564"/>
                <a:gd name="T58" fmla="*/ 311 w 415"/>
                <a:gd name="T59" fmla="*/ 143 h 564"/>
                <a:gd name="T60" fmla="*/ 363 w 415"/>
                <a:gd name="T61" fmla="*/ 110 h 564"/>
                <a:gd name="T62" fmla="*/ 176 w 415"/>
                <a:gd name="T63" fmla="*/ 89 h 564"/>
                <a:gd name="T64" fmla="*/ 369 w 415"/>
                <a:gd name="T65" fmla="*/ 190 h 564"/>
                <a:gd name="T66" fmla="*/ 310 w 415"/>
                <a:gd name="T67" fmla="*/ 106 h 564"/>
                <a:gd name="T68" fmla="*/ 312 w 415"/>
                <a:gd name="T69" fmla="*/ 255 h 564"/>
                <a:gd name="T70" fmla="*/ 341 w 415"/>
                <a:gd name="T71" fmla="*/ 195 h 564"/>
                <a:gd name="T72" fmla="*/ 346 w 415"/>
                <a:gd name="T73" fmla="*/ 286 h 564"/>
                <a:gd name="T74" fmla="*/ 254 w 415"/>
                <a:gd name="T75" fmla="*/ 178 h 564"/>
                <a:gd name="T76" fmla="*/ 277 w 415"/>
                <a:gd name="T77" fmla="*/ 138 h 564"/>
                <a:gd name="T78" fmla="*/ 234 w 415"/>
                <a:gd name="T79" fmla="*/ 61 h 564"/>
                <a:gd name="T80" fmla="*/ 150 w 415"/>
                <a:gd name="T81" fmla="*/ 116 h 564"/>
                <a:gd name="T82" fmla="*/ 195 w 415"/>
                <a:gd name="T83" fmla="*/ 125 h 564"/>
                <a:gd name="T84" fmla="*/ 135 w 415"/>
                <a:gd name="T85" fmla="*/ 143 h 564"/>
                <a:gd name="T86" fmla="*/ 168 w 415"/>
                <a:gd name="T87" fmla="*/ 140 h 564"/>
                <a:gd name="T88" fmla="*/ 175 w 415"/>
                <a:gd name="T89" fmla="*/ 190 h 564"/>
                <a:gd name="T90" fmla="*/ 16 w 415"/>
                <a:gd name="T91" fmla="*/ 230 h 564"/>
                <a:gd name="T92" fmla="*/ 15 w 415"/>
                <a:gd name="T93" fmla="*/ 244 h 564"/>
                <a:gd name="T94" fmla="*/ 46 w 415"/>
                <a:gd name="T95" fmla="*/ 265 h 564"/>
                <a:gd name="T96" fmla="*/ 53 w 415"/>
                <a:gd name="T97" fmla="*/ 282 h 564"/>
                <a:gd name="T98" fmla="*/ 87 w 415"/>
                <a:gd name="T99" fmla="*/ 284 h 564"/>
                <a:gd name="T100" fmla="*/ 171 w 415"/>
                <a:gd name="T101" fmla="*/ 261 h 564"/>
                <a:gd name="T102" fmla="*/ 300 w 415"/>
                <a:gd name="T103" fmla="*/ 328 h 564"/>
                <a:gd name="T104" fmla="*/ 317 w 415"/>
                <a:gd name="T105" fmla="*/ 419 h 564"/>
                <a:gd name="T106" fmla="*/ 330 w 415"/>
                <a:gd name="T107" fmla="*/ 465 h 564"/>
                <a:gd name="T108" fmla="*/ 346 w 415"/>
                <a:gd name="T109" fmla="*/ 490 h 564"/>
                <a:gd name="T110" fmla="*/ 323 w 415"/>
                <a:gd name="T111" fmla="*/ 516 h 564"/>
                <a:gd name="T112" fmla="*/ 350 w 415"/>
                <a:gd name="T113" fmla="*/ 532 h 564"/>
                <a:gd name="T114" fmla="*/ 384 w 415"/>
                <a:gd name="T115" fmla="*/ 502 h 564"/>
                <a:gd name="T116" fmla="*/ 390 w 415"/>
                <a:gd name="T117" fmla="*/ 459 h 564"/>
                <a:gd name="T118" fmla="*/ 403 w 415"/>
                <a:gd name="T119" fmla="*/ 398 h 564"/>
                <a:gd name="T120" fmla="*/ 368 w 415"/>
                <a:gd name="T121" fmla="*/ 363 h 564"/>
                <a:gd name="T122" fmla="*/ 388 w 415"/>
                <a:gd name="T123" fmla="*/ 291 h 5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15" h="564">
                  <a:moveTo>
                    <a:pt x="114" y="526"/>
                  </a:moveTo>
                  <a:lnTo>
                    <a:pt x="114" y="526"/>
                  </a:lnTo>
                  <a:lnTo>
                    <a:pt x="127" y="536"/>
                  </a:lnTo>
                  <a:lnTo>
                    <a:pt x="139" y="543"/>
                  </a:lnTo>
                  <a:lnTo>
                    <a:pt x="139" y="543"/>
                  </a:lnTo>
                  <a:lnTo>
                    <a:pt x="160" y="551"/>
                  </a:lnTo>
                  <a:lnTo>
                    <a:pt x="174" y="555"/>
                  </a:lnTo>
                  <a:lnTo>
                    <a:pt x="188" y="559"/>
                  </a:lnTo>
                  <a:lnTo>
                    <a:pt x="206" y="562"/>
                  </a:lnTo>
                  <a:lnTo>
                    <a:pt x="224" y="564"/>
                  </a:lnTo>
                  <a:lnTo>
                    <a:pt x="243" y="564"/>
                  </a:lnTo>
                  <a:lnTo>
                    <a:pt x="265" y="563"/>
                  </a:lnTo>
                  <a:lnTo>
                    <a:pt x="265" y="563"/>
                  </a:lnTo>
                  <a:lnTo>
                    <a:pt x="285" y="560"/>
                  </a:lnTo>
                  <a:lnTo>
                    <a:pt x="301" y="557"/>
                  </a:lnTo>
                  <a:lnTo>
                    <a:pt x="316" y="553"/>
                  </a:lnTo>
                  <a:lnTo>
                    <a:pt x="327" y="549"/>
                  </a:lnTo>
                  <a:lnTo>
                    <a:pt x="343" y="541"/>
                  </a:lnTo>
                  <a:lnTo>
                    <a:pt x="347" y="538"/>
                  </a:lnTo>
                  <a:lnTo>
                    <a:pt x="347" y="538"/>
                  </a:lnTo>
                  <a:lnTo>
                    <a:pt x="340" y="536"/>
                  </a:lnTo>
                  <a:lnTo>
                    <a:pt x="334" y="532"/>
                  </a:lnTo>
                  <a:lnTo>
                    <a:pt x="324" y="524"/>
                  </a:lnTo>
                  <a:lnTo>
                    <a:pt x="324" y="524"/>
                  </a:lnTo>
                  <a:lnTo>
                    <a:pt x="323" y="529"/>
                  </a:lnTo>
                  <a:lnTo>
                    <a:pt x="323" y="529"/>
                  </a:lnTo>
                  <a:lnTo>
                    <a:pt x="322" y="537"/>
                  </a:lnTo>
                  <a:lnTo>
                    <a:pt x="322" y="537"/>
                  </a:lnTo>
                  <a:lnTo>
                    <a:pt x="317" y="536"/>
                  </a:lnTo>
                  <a:lnTo>
                    <a:pt x="317" y="536"/>
                  </a:lnTo>
                  <a:lnTo>
                    <a:pt x="313" y="533"/>
                  </a:lnTo>
                  <a:lnTo>
                    <a:pt x="310" y="530"/>
                  </a:lnTo>
                  <a:lnTo>
                    <a:pt x="307" y="525"/>
                  </a:lnTo>
                  <a:lnTo>
                    <a:pt x="306" y="519"/>
                  </a:lnTo>
                  <a:lnTo>
                    <a:pt x="306" y="519"/>
                  </a:lnTo>
                  <a:lnTo>
                    <a:pt x="306" y="518"/>
                  </a:lnTo>
                  <a:lnTo>
                    <a:pt x="306" y="518"/>
                  </a:lnTo>
                  <a:lnTo>
                    <a:pt x="296" y="521"/>
                  </a:lnTo>
                  <a:lnTo>
                    <a:pt x="283" y="525"/>
                  </a:lnTo>
                  <a:lnTo>
                    <a:pt x="267" y="529"/>
                  </a:lnTo>
                  <a:lnTo>
                    <a:pt x="251" y="530"/>
                  </a:lnTo>
                  <a:lnTo>
                    <a:pt x="251" y="530"/>
                  </a:lnTo>
                  <a:lnTo>
                    <a:pt x="221" y="529"/>
                  </a:lnTo>
                  <a:lnTo>
                    <a:pt x="207" y="527"/>
                  </a:lnTo>
                  <a:lnTo>
                    <a:pt x="192" y="525"/>
                  </a:lnTo>
                  <a:lnTo>
                    <a:pt x="177" y="522"/>
                  </a:lnTo>
                  <a:lnTo>
                    <a:pt x="163" y="518"/>
                  </a:lnTo>
                  <a:lnTo>
                    <a:pt x="148" y="513"/>
                  </a:lnTo>
                  <a:lnTo>
                    <a:pt x="135" y="508"/>
                  </a:lnTo>
                  <a:lnTo>
                    <a:pt x="135" y="508"/>
                  </a:lnTo>
                  <a:lnTo>
                    <a:pt x="124" y="503"/>
                  </a:lnTo>
                  <a:lnTo>
                    <a:pt x="124" y="503"/>
                  </a:lnTo>
                  <a:lnTo>
                    <a:pt x="124" y="504"/>
                  </a:lnTo>
                  <a:lnTo>
                    <a:pt x="124" y="507"/>
                  </a:lnTo>
                  <a:lnTo>
                    <a:pt x="126" y="513"/>
                  </a:lnTo>
                  <a:lnTo>
                    <a:pt x="131" y="520"/>
                  </a:lnTo>
                  <a:lnTo>
                    <a:pt x="131" y="520"/>
                  </a:lnTo>
                  <a:lnTo>
                    <a:pt x="125" y="519"/>
                  </a:lnTo>
                  <a:lnTo>
                    <a:pt x="119" y="521"/>
                  </a:lnTo>
                  <a:lnTo>
                    <a:pt x="119" y="521"/>
                  </a:lnTo>
                  <a:lnTo>
                    <a:pt x="115" y="524"/>
                  </a:lnTo>
                  <a:lnTo>
                    <a:pt x="114" y="526"/>
                  </a:lnTo>
                  <a:close/>
                  <a:moveTo>
                    <a:pt x="291" y="327"/>
                  </a:moveTo>
                  <a:lnTo>
                    <a:pt x="291" y="327"/>
                  </a:lnTo>
                  <a:lnTo>
                    <a:pt x="285" y="322"/>
                  </a:lnTo>
                  <a:lnTo>
                    <a:pt x="279" y="320"/>
                  </a:lnTo>
                  <a:lnTo>
                    <a:pt x="268" y="315"/>
                  </a:lnTo>
                  <a:lnTo>
                    <a:pt x="268" y="315"/>
                  </a:lnTo>
                  <a:lnTo>
                    <a:pt x="273" y="311"/>
                  </a:lnTo>
                  <a:lnTo>
                    <a:pt x="275" y="309"/>
                  </a:lnTo>
                  <a:lnTo>
                    <a:pt x="275" y="308"/>
                  </a:lnTo>
                  <a:lnTo>
                    <a:pt x="275" y="308"/>
                  </a:lnTo>
                  <a:lnTo>
                    <a:pt x="272" y="306"/>
                  </a:lnTo>
                  <a:lnTo>
                    <a:pt x="269" y="306"/>
                  </a:lnTo>
                  <a:lnTo>
                    <a:pt x="269" y="306"/>
                  </a:lnTo>
                  <a:lnTo>
                    <a:pt x="248" y="315"/>
                  </a:lnTo>
                  <a:lnTo>
                    <a:pt x="230" y="324"/>
                  </a:lnTo>
                  <a:lnTo>
                    <a:pt x="213" y="333"/>
                  </a:lnTo>
                  <a:lnTo>
                    <a:pt x="201" y="342"/>
                  </a:lnTo>
                  <a:lnTo>
                    <a:pt x="201" y="342"/>
                  </a:lnTo>
                  <a:lnTo>
                    <a:pt x="199" y="342"/>
                  </a:lnTo>
                  <a:lnTo>
                    <a:pt x="199" y="342"/>
                  </a:lnTo>
                  <a:lnTo>
                    <a:pt x="196" y="344"/>
                  </a:lnTo>
                  <a:lnTo>
                    <a:pt x="192" y="344"/>
                  </a:lnTo>
                  <a:lnTo>
                    <a:pt x="185" y="343"/>
                  </a:lnTo>
                  <a:lnTo>
                    <a:pt x="179" y="342"/>
                  </a:lnTo>
                  <a:lnTo>
                    <a:pt x="177" y="341"/>
                  </a:lnTo>
                  <a:lnTo>
                    <a:pt x="175" y="352"/>
                  </a:lnTo>
                  <a:lnTo>
                    <a:pt x="175" y="352"/>
                  </a:lnTo>
                  <a:lnTo>
                    <a:pt x="182" y="354"/>
                  </a:lnTo>
                  <a:lnTo>
                    <a:pt x="187" y="356"/>
                  </a:lnTo>
                  <a:lnTo>
                    <a:pt x="187" y="356"/>
                  </a:lnTo>
                  <a:lnTo>
                    <a:pt x="180" y="358"/>
                  </a:lnTo>
                  <a:lnTo>
                    <a:pt x="176" y="359"/>
                  </a:lnTo>
                  <a:lnTo>
                    <a:pt x="174" y="361"/>
                  </a:lnTo>
                  <a:lnTo>
                    <a:pt x="177" y="371"/>
                  </a:lnTo>
                  <a:lnTo>
                    <a:pt x="177" y="371"/>
                  </a:lnTo>
                  <a:lnTo>
                    <a:pt x="182" y="369"/>
                  </a:lnTo>
                  <a:lnTo>
                    <a:pt x="187" y="367"/>
                  </a:lnTo>
                  <a:lnTo>
                    <a:pt x="193" y="366"/>
                  </a:lnTo>
                  <a:lnTo>
                    <a:pt x="193" y="366"/>
                  </a:lnTo>
                  <a:lnTo>
                    <a:pt x="193" y="367"/>
                  </a:lnTo>
                  <a:lnTo>
                    <a:pt x="193" y="367"/>
                  </a:lnTo>
                  <a:lnTo>
                    <a:pt x="193" y="372"/>
                  </a:lnTo>
                  <a:lnTo>
                    <a:pt x="191" y="377"/>
                  </a:lnTo>
                  <a:lnTo>
                    <a:pt x="187" y="383"/>
                  </a:lnTo>
                  <a:lnTo>
                    <a:pt x="182" y="388"/>
                  </a:lnTo>
                  <a:lnTo>
                    <a:pt x="171" y="398"/>
                  </a:lnTo>
                  <a:lnTo>
                    <a:pt x="165" y="402"/>
                  </a:lnTo>
                  <a:lnTo>
                    <a:pt x="159" y="404"/>
                  </a:lnTo>
                  <a:lnTo>
                    <a:pt x="159" y="404"/>
                  </a:lnTo>
                  <a:lnTo>
                    <a:pt x="147" y="408"/>
                  </a:lnTo>
                  <a:lnTo>
                    <a:pt x="136" y="410"/>
                  </a:lnTo>
                  <a:lnTo>
                    <a:pt x="128" y="410"/>
                  </a:lnTo>
                  <a:lnTo>
                    <a:pt x="125" y="409"/>
                  </a:lnTo>
                  <a:lnTo>
                    <a:pt x="125" y="409"/>
                  </a:lnTo>
                  <a:lnTo>
                    <a:pt x="117" y="403"/>
                  </a:lnTo>
                  <a:lnTo>
                    <a:pt x="114" y="398"/>
                  </a:lnTo>
                  <a:lnTo>
                    <a:pt x="110" y="393"/>
                  </a:lnTo>
                  <a:lnTo>
                    <a:pt x="109" y="391"/>
                  </a:lnTo>
                  <a:lnTo>
                    <a:pt x="106" y="391"/>
                  </a:lnTo>
                  <a:lnTo>
                    <a:pt x="106" y="391"/>
                  </a:lnTo>
                  <a:lnTo>
                    <a:pt x="104" y="391"/>
                  </a:lnTo>
                  <a:lnTo>
                    <a:pt x="102" y="392"/>
                  </a:lnTo>
                  <a:lnTo>
                    <a:pt x="102" y="392"/>
                  </a:lnTo>
                  <a:lnTo>
                    <a:pt x="94" y="391"/>
                  </a:lnTo>
                  <a:lnTo>
                    <a:pt x="88" y="392"/>
                  </a:lnTo>
                  <a:lnTo>
                    <a:pt x="83" y="394"/>
                  </a:lnTo>
                  <a:lnTo>
                    <a:pt x="81" y="396"/>
                  </a:lnTo>
                  <a:lnTo>
                    <a:pt x="80" y="398"/>
                  </a:lnTo>
                  <a:lnTo>
                    <a:pt x="80" y="398"/>
                  </a:lnTo>
                  <a:lnTo>
                    <a:pt x="88" y="398"/>
                  </a:lnTo>
                  <a:lnTo>
                    <a:pt x="93" y="399"/>
                  </a:lnTo>
                  <a:lnTo>
                    <a:pt x="93" y="400"/>
                  </a:lnTo>
                  <a:lnTo>
                    <a:pt x="92" y="402"/>
                  </a:lnTo>
                  <a:lnTo>
                    <a:pt x="92" y="402"/>
                  </a:lnTo>
                  <a:lnTo>
                    <a:pt x="89" y="404"/>
                  </a:lnTo>
                  <a:lnTo>
                    <a:pt x="91" y="407"/>
                  </a:lnTo>
                  <a:lnTo>
                    <a:pt x="92" y="409"/>
                  </a:lnTo>
                  <a:lnTo>
                    <a:pt x="95" y="411"/>
                  </a:lnTo>
                  <a:lnTo>
                    <a:pt x="111" y="420"/>
                  </a:lnTo>
                  <a:lnTo>
                    <a:pt x="111" y="420"/>
                  </a:lnTo>
                  <a:lnTo>
                    <a:pt x="111" y="420"/>
                  </a:lnTo>
                  <a:lnTo>
                    <a:pt x="111" y="421"/>
                  </a:lnTo>
                  <a:lnTo>
                    <a:pt x="111" y="421"/>
                  </a:lnTo>
                  <a:lnTo>
                    <a:pt x="111" y="421"/>
                  </a:lnTo>
                  <a:lnTo>
                    <a:pt x="106" y="421"/>
                  </a:lnTo>
                  <a:lnTo>
                    <a:pt x="100" y="419"/>
                  </a:lnTo>
                  <a:lnTo>
                    <a:pt x="87" y="414"/>
                  </a:lnTo>
                  <a:lnTo>
                    <a:pt x="87" y="414"/>
                  </a:lnTo>
                  <a:lnTo>
                    <a:pt x="84" y="414"/>
                  </a:lnTo>
                  <a:lnTo>
                    <a:pt x="82" y="414"/>
                  </a:lnTo>
                  <a:lnTo>
                    <a:pt x="80" y="416"/>
                  </a:lnTo>
                  <a:lnTo>
                    <a:pt x="80" y="416"/>
                  </a:lnTo>
                  <a:lnTo>
                    <a:pt x="77" y="416"/>
                  </a:lnTo>
                  <a:lnTo>
                    <a:pt x="73" y="416"/>
                  </a:lnTo>
                  <a:lnTo>
                    <a:pt x="69" y="419"/>
                  </a:lnTo>
                  <a:lnTo>
                    <a:pt x="66" y="421"/>
                  </a:lnTo>
                  <a:lnTo>
                    <a:pt x="62" y="424"/>
                  </a:lnTo>
                  <a:lnTo>
                    <a:pt x="61" y="427"/>
                  </a:lnTo>
                  <a:lnTo>
                    <a:pt x="61" y="431"/>
                  </a:lnTo>
                  <a:lnTo>
                    <a:pt x="62" y="436"/>
                  </a:lnTo>
                  <a:lnTo>
                    <a:pt x="62" y="436"/>
                  </a:lnTo>
                  <a:lnTo>
                    <a:pt x="66" y="431"/>
                  </a:lnTo>
                  <a:lnTo>
                    <a:pt x="70" y="427"/>
                  </a:lnTo>
                  <a:lnTo>
                    <a:pt x="72" y="427"/>
                  </a:lnTo>
                  <a:lnTo>
                    <a:pt x="75" y="427"/>
                  </a:lnTo>
                  <a:lnTo>
                    <a:pt x="75" y="427"/>
                  </a:lnTo>
                  <a:lnTo>
                    <a:pt x="76" y="428"/>
                  </a:lnTo>
                  <a:lnTo>
                    <a:pt x="76" y="432"/>
                  </a:lnTo>
                  <a:lnTo>
                    <a:pt x="76" y="435"/>
                  </a:lnTo>
                  <a:lnTo>
                    <a:pt x="77" y="437"/>
                  </a:lnTo>
                  <a:lnTo>
                    <a:pt x="78" y="438"/>
                  </a:lnTo>
                  <a:lnTo>
                    <a:pt x="78" y="438"/>
                  </a:lnTo>
                  <a:lnTo>
                    <a:pt x="81" y="439"/>
                  </a:lnTo>
                  <a:lnTo>
                    <a:pt x="86" y="439"/>
                  </a:lnTo>
                  <a:lnTo>
                    <a:pt x="95" y="438"/>
                  </a:lnTo>
                  <a:lnTo>
                    <a:pt x="105" y="437"/>
                  </a:lnTo>
                  <a:lnTo>
                    <a:pt x="110" y="437"/>
                  </a:lnTo>
                  <a:lnTo>
                    <a:pt x="111" y="437"/>
                  </a:lnTo>
                  <a:lnTo>
                    <a:pt x="111" y="437"/>
                  </a:lnTo>
                  <a:lnTo>
                    <a:pt x="111" y="438"/>
                  </a:lnTo>
                  <a:lnTo>
                    <a:pt x="109" y="439"/>
                  </a:lnTo>
                  <a:lnTo>
                    <a:pt x="100" y="441"/>
                  </a:lnTo>
                  <a:lnTo>
                    <a:pt x="91" y="442"/>
                  </a:lnTo>
                  <a:lnTo>
                    <a:pt x="87" y="444"/>
                  </a:lnTo>
                  <a:lnTo>
                    <a:pt x="86" y="446"/>
                  </a:lnTo>
                  <a:lnTo>
                    <a:pt x="86" y="446"/>
                  </a:lnTo>
                  <a:lnTo>
                    <a:pt x="86" y="449"/>
                  </a:lnTo>
                  <a:lnTo>
                    <a:pt x="86" y="449"/>
                  </a:lnTo>
                  <a:lnTo>
                    <a:pt x="86" y="450"/>
                  </a:lnTo>
                  <a:lnTo>
                    <a:pt x="83" y="453"/>
                  </a:lnTo>
                  <a:lnTo>
                    <a:pt x="81" y="458"/>
                  </a:lnTo>
                  <a:lnTo>
                    <a:pt x="80" y="463"/>
                  </a:lnTo>
                  <a:lnTo>
                    <a:pt x="80" y="463"/>
                  </a:lnTo>
                  <a:lnTo>
                    <a:pt x="80" y="465"/>
                  </a:lnTo>
                  <a:lnTo>
                    <a:pt x="81" y="469"/>
                  </a:lnTo>
                  <a:lnTo>
                    <a:pt x="84" y="472"/>
                  </a:lnTo>
                  <a:lnTo>
                    <a:pt x="88" y="476"/>
                  </a:lnTo>
                  <a:lnTo>
                    <a:pt x="88" y="476"/>
                  </a:lnTo>
                  <a:lnTo>
                    <a:pt x="89" y="475"/>
                  </a:lnTo>
                  <a:lnTo>
                    <a:pt x="88" y="470"/>
                  </a:lnTo>
                  <a:lnTo>
                    <a:pt x="88" y="466"/>
                  </a:lnTo>
                  <a:lnTo>
                    <a:pt x="89" y="465"/>
                  </a:lnTo>
                  <a:lnTo>
                    <a:pt x="89" y="464"/>
                  </a:lnTo>
                  <a:lnTo>
                    <a:pt x="89" y="464"/>
                  </a:lnTo>
                  <a:lnTo>
                    <a:pt x="92" y="464"/>
                  </a:lnTo>
                  <a:lnTo>
                    <a:pt x="93" y="465"/>
                  </a:lnTo>
                  <a:lnTo>
                    <a:pt x="95" y="468"/>
                  </a:lnTo>
                  <a:lnTo>
                    <a:pt x="98" y="469"/>
                  </a:lnTo>
                  <a:lnTo>
                    <a:pt x="98" y="469"/>
                  </a:lnTo>
                  <a:lnTo>
                    <a:pt x="100" y="468"/>
                  </a:lnTo>
                  <a:lnTo>
                    <a:pt x="103" y="466"/>
                  </a:lnTo>
                  <a:lnTo>
                    <a:pt x="109" y="461"/>
                  </a:lnTo>
                  <a:lnTo>
                    <a:pt x="115" y="455"/>
                  </a:lnTo>
                  <a:lnTo>
                    <a:pt x="119" y="452"/>
                  </a:lnTo>
                  <a:lnTo>
                    <a:pt x="124" y="449"/>
                  </a:lnTo>
                  <a:lnTo>
                    <a:pt x="124" y="449"/>
                  </a:lnTo>
                  <a:lnTo>
                    <a:pt x="130" y="447"/>
                  </a:lnTo>
                  <a:lnTo>
                    <a:pt x="132" y="446"/>
                  </a:lnTo>
                  <a:lnTo>
                    <a:pt x="133" y="447"/>
                  </a:lnTo>
                  <a:lnTo>
                    <a:pt x="133" y="448"/>
                  </a:lnTo>
                  <a:lnTo>
                    <a:pt x="133" y="452"/>
                  </a:lnTo>
                  <a:lnTo>
                    <a:pt x="133" y="454"/>
                  </a:lnTo>
                  <a:lnTo>
                    <a:pt x="135" y="455"/>
                  </a:lnTo>
                  <a:lnTo>
                    <a:pt x="135" y="455"/>
                  </a:lnTo>
                  <a:lnTo>
                    <a:pt x="138" y="457"/>
                  </a:lnTo>
                  <a:lnTo>
                    <a:pt x="139" y="458"/>
                  </a:lnTo>
                  <a:lnTo>
                    <a:pt x="139" y="460"/>
                  </a:lnTo>
                  <a:lnTo>
                    <a:pt x="138" y="463"/>
                  </a:lnTo>
                  <a:lnTo>
                    <a:pt x="136" y="466"/>
                  </a:lnTo>
                  <a:lnTo>
                    <a:pt x="133" y="469"/>
                  </a:lnTo>
                  <a:lnTo>
                    <a:pt x="133" y="469"/>
                  </a:lnTo>
                  <a:lnTo>
                    <a:pt x="137" y="469"/>
                  </a:lnTo>
                  <a:lnTo>
                    <a:pt x="142" y="468"/>
                  </a:lnTo>
                  <a:lnTo>
                    <a:pt x="147" y="463"/>
                  </a:lnTo>
                  <a:lnTo>
                    <a:pt x="149" y="460"/>
                  </a:lnTo>
                  <a:lnTo>
                    <a:pt x="152" y="457"/>
                  </a:lnTo>
                  <a:lnTo>
                    <a:pt x="152" y="457"/>
                  </a:lnTo>
                  <a:lnTo>
                    <a:pt x="152" y="454"/>
                  </a:lnTo>
                  <a:lnTo>
                    <a:pt x="153" y="454"/>
                  </a:lnTo>
                  <a:lnTo>
                    <a:pt x="155" y="453"/>
                  </a:lnTo>
                  <a:lnTo>
                    <a:pt x="157" y="452"/>
                  </a:lnTo>
                  <a:lnTo>
                    <a:pt x="157" y="452"/>
                  </a:lnTo>
                  <a:lnTo>
                    <a:pt x="158" y="450"/>
                  </a:lnTo>
                  <a:lnTo>
                    <a:pt x="158" y="448"/>
                  </a:lnTo>
                  <a:lnTo>
                    <a:pt x="158" y="446"/>
                  </a:lnTo>
                  <a:lnTo>
                    <a:pt x="158" y="443"/>
                  </a:lnTo>
                  <a:lnTo>
                    <a:pt x="158" y="443"/>
                  </a:lnTo>
                  <a:lnTo>
                    <a:pt x="159" y="441"/>
                  </a:lnTo>
                  <a:lnTo>
                    <a:pt x="162" y="439"/>
                  </a:lnTo>
                  <a:lnTo>
                    <a:pt x="166" y="438"/>
                  </a:lnTo>
                  <a:lnTo>
                    <a:pt x="171" y="437"/>
                  </a:lnTo>
                  <a:lnTo>
                    <a:pt x="173" y="436"/>
                  </a:lnTo>
                  <a:lnTo>
                    <a:pt x="173" y="435"/>
                  </a:lnTo>
                  <a:lnTo>
                    <a:pt x="173" y="435"/>
                  </a:lnTo>
                  <a:lnTo>
                    <a:pt x="173" y="431"/>
                  </a:lnTo>
                  <a:lnTo>
                    <a:pt x="175" y="427"/>
                  </a:lnTo>
                  <a:lnTo>
                    <a:pt x="179" y="426"/>
                  </a:lnTo>
                  <a:lnTo>
                    <a:pt x="181" y="425"/>
                  </a:lnTo>
                  <a:lnTo>
                    <a:pt x="181" y="425"/>
                  </a:lnTo>
                  <a:lnTo>
                    <a:pt x="182" y="426"/>
                  </a:lnTo>
                  <a:lnTo>
                    <a:pt x="184" y="430"/>
                  </a:lnTo>
                  <a:lnTo>
                    <a:pt x="187" y="433"/>
                  </a:lnTo>
                  <a:lnTo>
                    <a:pt x="191" y="436"/>
                  </a:lnTo>
                  <a:lnTo>
                    <a:pt x="195" y="438"/>
                  </a:lnTo>
                  <a:lnTo>
                    <a:pt x="195" y="438"/>
                  </a:lnTo>
                  <a:lnTo>
                    <a:pt x="209" y="431"/>
                  </a:lnTo>
                  <a:lnTo>
                    <a:pt x="209" y="431"/>
                  </a:lnTo>
                  <a:lnTo>
                    <a:pt x="215" y="428"/>
                  </a:lnTo>
                  <a:lnTo>
                    <a:pt x="218" y="426"/>
                  </a:lnTo>
                  <a:lnTo>
                    <a:pt x="218" y="426"/>
                  </a:lnTo>
                  <a:lnTo>
                    <a:pt x="215" y="422"/>
                  </a:lnTo>
                  <a:lnTo>
                    <a:pt x="213" y="420"/>
                  </a:lnTo>
                  <a:lnTo>
                    <a:pt x="212" y="416"/>
                  </a:lnTo>
                  <a:lnTo>
                    <a:pt x="212" y="416"/>
                  </a:lnTo>
                  <a:lnTo>
                    <a:pt x="210" y="413"/>
                  </a:lnTo>
                  <a:lnTo>
                    <a:pt x="210" y="410"/>
                  </a:lnTo>
                  <a:lnTo>
                    <a:pt x="210" y="410"/>
                  </a:lnTo>
                  <a:lnTo>
                    <a:pt x="214" y="415"/>
                  </a:lnTo>
                  <a:lnTo>
                    <a:pt x="219" y="419"/>
                  </a:lnTo>
                  <a:lnTo>
                    <a:pt x="225" y="422"/>
                  </a:lnTo>
                  <a:lnTo>
                    <a:pt x="225" y="422"/>
                  </a:lnTo>
                  <a:lnTo>
                    <a:pt x="242" y="411"/>
                  </a:lnTo>
                  <a:lnTo>
                    <a:pt x="242" y="411"/>
                  </a:lnTo>
                  <a:lnTo>
                    <a:pt x="246" y="410"/>
                  </a:lnTo>
                  <a:lnTo>
                    <a:pt x="246" y="410"/>
                  </a:lnTo>
                  <a:lnTo>
                    <a:pt x="246" y="410"/>
                  </a:lnTo>
                  <a:lnTo>
                    <a:pt x="246" y="410"/>
                  </a:lnTo>
                  <a:lnTo>
                    <a:pt x="243" y="407"/>
                  </a:lnTo>
                  <a:lnTo>
                    <a:pt x="240" y="403"/>
                  </a:lnTo>
                  <a:lnTo>
                    <a:pt x="236" y="398"/>
                  </a:lnTo>
                  <a:lnTo>
                    <a:pt x="236" y="396"/>
                  </a:lnTo>
                  <a:lnTo>
                    <a:pt x="237" y="394"/>
                  </a:lnTo>
                  <a:lnTo>
                    <a:pt x="237" y="394"/>
                  </a:lnTo>
                  <a:lnTo>
                    <a:pt x="239" y="393"/>
                  </a:lnTo>
                  <a:lnTo>
                    <a:pt x="239" y="391"/>
                  </a:lnTo>
                  <a:lnTo>
                    <a:pt x="236" y="383"/>
                  </a:lnTo>
                  <a:lnTo>
                    <a:pt x="234" y="377"/>
                  </a:lnTo>
                  <a:lnTo>
                    <a:pt x="234" y="374"/>
                  </a:lnTo>
                  <a:lnTo>
                    <a:pt x="236" y="372"/>
                  </a:lnTo>
                  <a:lnTo>
                    <a:pt x="236" y="372"/>
                  </a:lnTo>
                  <a:lnTo>
                    <a:pt x="270" y="355"/>
                  </a:lnTo>
                  <a:lnTo>
                    <a:pt x="300" y="341"/>
                  </a:lnTo>
                  <a:lnTo>
                    <a:pt x="300" y="341"/>
                  </a:lnTo>
                  <a:lnTo>
                    <a:pt x="297" y="337"/>
                  </a:lnTo>
                  <a:lnTo>
                    <a:pt x="295" y="332"/>
                  </a:lnTo>
                  <a:lnTo>
                    <a:pt x="291" y="327"/>
                  </a:lnTo>
                  <a:close/>
                  <a:moveTo>
                    <a:pt x="27" y="487"/>
                  </a:moveTo>
                  <a:lnTo>
                    <a:pt x="27" y="487"/>
                  </a:lnTo>
                  <a:lnTo>
                    <a:pt x="27" y="491"/>
                  </a:lnTo>
                  <a:lnTo>
                    <a:pt x="28" y="493"/>
                  </a:lnTo>
                  <a:lnTo>
                    <a:pt x="29" y="497"/>
                  </a:lnTo>
                  <a:lnTo>
                    <a:pt x="29" y="497"/>
                  </a:lnTo>
                  <a:lnTo>
                    <a:pt x="34" y="498"/>
                  </a:lnTo>
                  <a:lnTo>
                    <a:pt x="37" y="499"/>
                  </a:lnTo>
                  <a:lnTo>
                    <a:pt x="39" y="498"/>
                  </a:lnTo>
                  <a:lnTo>
                    <a:pt x="39" y="498"/>
                  </a:lnTo>
                  <a:lnTo>
                    <a:pt x="40" y="496"/>
                  </a:lnTo>
                  <a:lnTo>
                    <a:pt x="40" y="493"/>
                  </a:lnTo>
                  <a:lnTo>
                    <a:pt x="40" y="491"/>
                  </a:lnTo>
                  <a:lnTo>
                    <a:pt x="42" y="488"/>
                  </a:lnTo>
                  <a:lnTo>
                    <a:pt x="42" y="488"/>
                  </a:lnTo>
                  <a:lnTo>
                    <a:pt x="43" y="487"/>
                  </a:lnTo>
                  <a:lnTo>
                    <a:pt x="44" y="487"/>
                  </a:lnTo>
                  <a:lnTo>
                    <a:pt x="44" y="487"/>
                  </a:lnTo>
                  <a:lnTo>
                    <a:pt x="45" y="486"/>
                  </a:lnTo>
                  <a:lnTo>
                    <a:pt x="45" y="486"/>
                  </a:lnTo>
                  <a:lnTo>
                    <a:pt x="59" y="492"/>
                  </a:lnTo>
                  <a:lnTo>
                    <a:pt x="72" y="499"/>
                  </a:lnTo>
                  <a:lnTo>
                    <a:pt x="98" y="516"/>
                  </a:lnTo>
                  <a:lnTo>
                    <a:pt x="98" y="516"/>
                  </a:lnTo>
                  <a:lnTo>
                    <a:pt x="102" y="519"/>
                  </a:lnTo>
                  <a:lnTo>
                    <a:pt x="102" y="519"/>
                  </a:lnTo>
                  <a:lnTo>
                    <a:pt x="98" y="526"/>
                  </a:lnTo>
                  <a:lnTo>
                    <a:pt x="98" y="526"/>
                  </a:lnTo>
                  <a:lnTo>
                    <a:pt x="92" y="538"/>
                  </a:lnTo>
                  <a:lnTo>
                    <a:pt x="91" y="544"/>
                  </a:lnTo>
                  <a:lnTo>
                    <a:pt x="89" y="549"/>
                  </a:lnTo>
                  <a:lnTo>
                    <a:pt x="89" y="549"/>
                  </a:lnTo>
                  <a:lnTo>
                    <a:pt x="91" y="552"/>
                  </a:lnTo>
                  <a:lnTo>
                    <a:pt x="92" y="554"/>
                  </a:lnTo>
                  <a:lnTo>
                    <a:pt x="94" y="555"/>
                  </a:lnTo>
                  <a:lnTo>
                    <a:pt x="97" y="555"/>
                  </a:lnTo>
                  <a:lnTo>
                    <a:pt x="97" y="555"/>
                  </a:lnTo>
                  <a:lnTo>
                    <a:pt x="100" y="555"/>
                  </a:lnTo>
                  <a:lnTo>
                    <a:pt x="103" y="554"/>
                  </a:lnTo>
                  <a:lnTo>
                    <a:pt x="105" y="552"/>
                  </a:lnTo>
                  <a:lnTo>
                    <a:pt x="106" y="549"/>
                  </a:lnTo>
                  <a:lnTo>
                    <a:pt x="106" y="549"/>
                  </a:lnTo>
                  <a:lnTo>
                    <a:pt x="106" y="547"/>
                  </a:lnTo>
                  <a:lnTo>
                    <a:pt x="106" y="546"/>
                  </a:lnTo>
                  <a:lnTo>
                    <a:pt x="104" y="542"/>
                  </a:lnTo>
                  <a:lnTo>
                    <a:pt x="102" y="541"/>
                  </a:lnTo>
                  <a:lnTo>
                    <a:pt x="100" y="541"/>
                  </a:lnTo>
                  <a:lnTo>
                    <a:pt x="100" y="541"/>
                  </a:lnTo>
                  <a:lnTo>
                    <a:pt x="104" y="532"/>
                  </a:lnTo>
                  <a:lnTo>
                    <a:pt x="104" y="532"/>
                  </a:lnTo>
                  <a:lnTo>
                    <a:pt x="106" y="526"/>
                  </a:lnTo>
                  <a:lnTo>
                    <a:pt x="109" y="521"/>
                  </a:lnTo>
                  <a:lnTo>
                    <a:pt x="113" y="519"/>
                  </a:lnTo>
                  <a:lnTo>
                    <a:pt x="115" y="516"/>
                  </a:lnTo>
                  <a:lnTo>
                    <a:pt x="119" y="515"/>
                  </a:lnTo>
                  <a:lnTo>
                    <a:pt x="121" y="515"/>
                  </a:lnTo>
                  <a:lnTo>
                    <a:pt x="121" y="515"/>
                  </a:lnTo>
                  <a:lnTo>
                    <a:pt x="120" y="513"/>
                  </a:lnTo>
                  <a:lnTo>
                    <a:pt x="117" y="509"/>
                  </a:lnTo>
                  <a:lnTo>
                    <a:pt x="117" y="505"/>
                  </a:lnTo>
                  <a:lnTo>
                    <a:pt x="117" y="502"/>
                  </a:lnTo>
                  <a:lnTo>
                    <a:pt x="119" y="497"/>
                  </a:lnTo>
                  <a:lnTo>
                    <a:pt x="121" y="492"/>
                  </a:lnTo>
                  <a:lnTo>
                    <a:pt x="121" y="492"/>
                  </a:lnTo>
                  <a:lnTo>
                    <a:pt x="126" y="480"/>
                  </a:lnTo>
                  <a:lnTo>
                    <a:pt x="128" y="471"/>
                  </a:lnTo>
                  <a:lnTo>
                    <a:pt x="128" y="471"/>
                  </a:lnTo>
                  <a:lnTo>
                    <a:pt x="128" y="468"/>
                  </a:lnTo>
                  <a:lnTo>
                    <a:pt x="127" y="465"/>
                  </a:lnTo>
                  <a:lnTo>
                    <a:pt x="125" y="463"/>
                  </a:lnTo>
                  <a:lnTo>
                    <a:pt x="121" y="461"/>
                  </a:lnTo>
                  <a:lnTo>
                    <a:pt x="121" y="461"/>
                  </a:lnTo>
                  <a:lnTo>
                    <a:pt x="119" y="463"/>
                  </a:lnTo>
                  <a:lnTo>
                    <a:pt x="115" y="464"/>
                  </a:lnTo>
                  <a:lnTo>
                    <a:pt x="114" y="466"/>
                  </a:lnTo>
                  <a:lnTo>
                    <a:pt x="113" y="469"/>
                  </a:lnTo>
                  <a:lnTo>
                    <a:pt x="113" y="469"/>
                  </a:lnTo>
                  <a:lnTo>
                    <a:pt x="113" y="472"/>
                  </a:lnTo>
                  <a:lnTo>
                    <a:pt x="114" y="475"/>
                  </a:lnTo>
                  <a:lnTo>
                    <a:pt x="116" y="477"/>
                  </a:lnTo>
                  <a:lnTo>
                    <a:pt x="119" y="479"/>
                  </a:lnTo>
                  <a:lnTo>
                    <a:pt x="119" y="479"/>
                  </a:lnTo>
                  <a:lnTo>
                    <a:pt x="119" y="479"/>
                  </a:lnTo>
                  <a:lnTo>
                    <a:pt x="115" y="490"/>
                  </a:lnTo>
                  <a:lnTo>
                    <a:pt x="110" y="496"/>
                  </a:lnTo>
                  <a:lnTo>
                    <a:pt x="110" y="496"/>
                  </a:lnTo>
                  <a:lnTo>
                    <a:pt x="105" y="493"/>
                  </a:lnTo>
                  <a:lnTo>
                    <a:pt x="105" y="493"/>
                  </a:lnTo>
                  <a:lnTo>
                    <a:pt x="81" y="480"/>
                  </a:lnTo>
                  <a:lnTo>
                    <a:pt x="67" y="475"/>
                  </a:lnTo>
                  <a:lnTo>
                    <a:pt x="54" y="471"/>
                  </a:lnTo>
                  <a:lnTo>
                    <a:pt x="54" y="471"/>
                  </a:lnTo>
                  <a:lnTo>
                    <a:pt x="55" y="468"/>
                  </a:lnTo>
                  <a:lnTo>
                    <a:pt x="55" y="468"/>
                  </a:lnTo>
                  <a:lnTo>
                    <a:pt x="59" y="461"/>
                  </a:lnTo>
                  <a:lnTo>
                    <a:pt x="60" y="459"/>
                  </a:lnTo>
                  <a:lnTo>
                    <a:pt x="60" y="459"/>
                  </a:lnTo>
                  <a:lnTo>
                    <a:pt x="58" y="460"/>
                  </a:lnTo>
                  <a:lnTo>
                    <a:pt x="53" y="463"/>
                  </a:lnTo>
                  <a:lnTo>
                    <a:pt x="53" y="463"/>
                  </a:lnTo>
                  <a:lnTo>
                    <a:pt x="46" y="465"/>
                  </a:lnTo>
                  <a:lnTo>
                    <a:pt x="43" y="466"/>
                  </a:lnTo>
                  <a:lnTo>
                    <a:pt x="43" y="466"/>
                  </a:lnTo>
                  <a:lnTo>
                    <a:pt x="39" y="466"/>
                  </a:lnTo>
                  <a:lnTo>
                    <a:pt x="37" y="466"/>
                  </a:lnTo>
                  <a:lnTo>
                    <a:pt x="37" y="466"/>
                  </a:lnTo>
                  <a:lnTo>
                    <a:pt x="35" y="468"/>
                  </a:lnTo>
                  <a:lnTo>
                    <a:pt x="33" y="474"/>
                  </a:lnTo>
                  <a:lnTo>
                    <a:pt x="33" y="474"/>
                  </a:lnTo>
                  <a:lnTo>
                    <a:pt x="31" y="481"/>
                  </a:lnTo>
                  <a:lnTo>
                    <a:pt x="31" y="481"/>
                  </a:lnTo>
                  <a:lnTo>
                    <a:pt x="28" y="485"/>
                  </a:lnTo>
                  <a:lnTo>
                    <a:pt x="27" y="487"/>
                  </a:lnTo>
                  <a:close/>
                  <a:moveTo>
                    <a:pt x="33" y="81"/>
                  </a:moveTo>
                  <a:lnTo>
                    <a:pt x="33" y="81"/>
                  </a:lnTo>
                  <a:lnTo>
                    <a:pt x="43" y="79"/>
                  </a:lnTo>
                  <a:lnTo>
                    <a:pt x="49" y="78"/>
                  </a:lnTo>
                  <a:lnTo>
                    <a:pt x="49" y="54"/>
                  </a:lnTo>
                  <a:lnTo>
                    <a:pt x="49" y="54"/>
                  </a:lnTo>
                  <a:lnTo>
                    <a:pt x="35" y="51"/>
                  </a:lnTo>
                  <a:lnTo>
                    <a:pt x="35" y="51"/>
                  </a:lnTo>
                  <a:lnTo>
                    <a:pt x="32" y="51"/>
                  </a:lnTo>
                  <a:lnTo>
                    <a:pt x="29" y="52"/>
                  </a:lnTo>
                  <a:lnTo>
                    <a:pt x="27" y="54"/>
                  </a:lnTo>
                  <a:lnTo>
                    <a:pt x="26" y="56"/>
                  </a:lnTo>
                  <a:lnTo>
                    <a:pt x="24" y="60"/>
                  </a:lnTo>
                  <a:lnTo>
                    <a:pt x="24" y="62"/>
                  </a:lnTo>
                  <a:lnTo>
                    <a:pt x="24" y="70"/>
                  </a:lnTo>
                  <a:lnTo>
                    <a:pt x="24" y="70"/>
                  </a:lnTo>
                  <a:lnTo>
                    <a:pt x="26" y="74"/>
                  </a:lnTo>
                  <a:lnTo>
                    <a:pt x="28" y="78"/>
                  </a:lnTo>
                  <a:lnTo>
                    <a:pt x="31" y="79"/>
                  </a:lnTo>
                  <a:lnTo>
                    <a:pt x="33" y="81"/>
                  </a:lnTo>
                  <a:close/>
                  <a:moveTo>
                    <a:pt x="92" y="71"/>
                  </a:moveTo>
                  <a:lnTo>
                    <a:pt x="92" y="71"/>
                  </a:lnTo>
                  <a:lnTo>
                    <a:pt x="92" y="63"/>
                  </a:lnTo>
                  <a:lnTo>
                    <a:pt x="92" y="63"/>
                  </a:lnTo>
                  <a:lnTo>
                    <a:pt x="92" y="50"/>
                  </a:lnTo>
                  <a:lnTo>
                    <a:pt x="92" y="50"/>
                  </a:lnTo>
                  <a:lnTo>
                    <a:pt x="92" y="48"/>
                  </a:lnTo>
                  <a:lnTo>
                    <a:pt x="92" y="46"/>
                  </a:lnTo>
                  <a:lnTo>
                    <a:pt x="91" y="45"/>
                  </a:lnTo>
                  <a:lnTo>
                    <a:pt x="91" y="45"/>
                  </a:lnTo>
                  <a:lnTo>
                    <a:pt x="86" y="45"/>
                  </a:lnTo>
                  <a:lnTo>
                    <a:pt x="86" y="45"/>
                  </a:lnTo>
                  <a:lnTo>
                    <a:pt x="83" y="50"/>
                  </a:lnTo>
                  <a:lnTo>
                    <a:pt x="82" y="45"/>
                  </a:lnTo>
                  <a:lnTo>
                    <a:pt x="82" y="45"/>
                  </a:lnTo>
                  <a:lnTo>
                    <a:pt x="75" y="45"/>
                  </a:lnTo>
                  <a:lnTo>
                    <a:pt x="75" y="45"/>
                  </a:lnTo>
                  <a:lnTo>
                    <a:pt x="73" y="50"/>
                  </a:lnTo>
                  <a:lnTo>
                    <a:pt x="72" y="45"/>
                  </a:lnTo>
                  <a:lnTo>
                    <a:pt x="72" y="45"/>
                  </a:lnTo>
                  <a:lnTo>
                    <a:pt x="66" y="45"/>
                  </a:lnTo>
                  <a:lnTo>
                    <a:pt x="66" y="45"/>
                  </a:lnTo>
                  <a:lnTo>
                    <a:pt x="64" y="50"/>
                  </a:lnTo>
                  <a:lnTo>
                    <a:pt x="62" y="45"/>
                  </a:lnTo>
                  <a:lnTo>
                    <a:pt x="62" y="45"/>
                  </a:lnTo>
                  <a:lnTo>
                    <a:pt x="58" y="45"/>
                  </a:lnTo>
                  <a:lnTo>
                    <a:pt x="58" y="45"/>
                  </a:lnTo>
                  <a:lnTo>
                    <a:pt x="56" y="46"/>
                  </a:lnTo>
                  <a:lnTo>
                    <a:pt x="55" y="48"/>
                  </a:lnTo>
                  <a:lnTo>
                    <a:pt x="55" y="50"/>
                  </a:lnTo>
                  <a:lnTo>
                    <a:pt x="55" y="50"/>
                  </a:lnTo>
                  <a:lnTo>
                    <a:pt x="55" y="63"/>
                  </a:lnTo>
                  <a:lnTo>
                    <a:pt x="55" y="63"/>
                  </a:lnTo>
                  <a:lnTo>
                    <a:pt x="55" y="78"/>
                  </a:lnTo>
                  <a:lnTo>
                    <a:pt x="55" y="78"/>
                  </a:lnTo>
                  <a:lnTo>
                    <a:pt x="59" y="78"/>
                  </a:lnTo>
                  <a:lnTo>
                    <a:pt x="61" y="77"/>
                  </a:lnTo>
                  <a:lnTo>
                    <a:pt x="61" y="77"/>
                  </a:lnTo>
                  <a:lnTo>
                    <a:pt x="62" y="73"/>
                  </a:lnTo>
                  <a:lnTo>
                    <a:pt x="64" y="72"/>
                  </a:lnTo>
                  <a:lnTo>
                    <a:pt x="64" y="72"/>
                  </a:lnTo>
                  <a:lnTo>
                    <a:pt x="64" y="81"/>
                  </a:lnTo>
                  <a:lnTo>
                    <a:pt x="64" y="81"/>
                  </a:lnTo>
                  <a:lnTo>
                    <a:pt x="66" y="81"/>
                  </a:lnTo>
                  <a:lnTo>
                    <a:pt x="69" y="79"/>
                  </a:lnTo>
                  <a:lnTo>
                    <a:pt x="71" y="78"/>
                  </a:lnTo>
                  <a:lnTo>
                    <a:pt x="71" y="78"/>
                  </a:lnTo>
                  <a:lnTo>
                    <a:pt x="72" y="74"/>
                  </a:lnTo>
                  <a:lnTo>
                    <a:pt x="73" y="72"/>
                  </a:lnTo>
                  <a:lnTo>
                    <a:pt x="73" y="72"/>
                  </a:lnTo>
                  <a:lnTo>
                    <a:pt x="73" y="81"/>
                  </a:lnTo>
                  <a:lnTo>
                    <a:pt x="73" y="81"/>
                  </a:lnTo>
                  <a:lnTo>
                    <a:pt x="77" y="79"/>
                  </a:lnTo>
                  <a:lnTo>
                    <a:pt x="81" y="78"/>
                  </a:lnTo>
                  <a:lnTo>
                    <a:pt x="81" y="78"/>
                  </a:lnTo>
                  <a:lnTo>
                    <a:pt x="83" y="74"/>
                  </a:lnTo>
                  <a:lnTo>
                    <a:pt x="83" y="72"/>
                  </a:lnTo>
                  <a:lnTo>
                    <a:pt x="83" y="72"/>
                  </a:lnTo>
                  <a:lnTo>
                    <a:pt x="83" y="78"/>
                  </a:lnTo>
                  <a:lnTo>
                    <a:pt x="83" y="78"/>
                  </a:lnTo>
                  <a:lnTo>
                    <a:pt x="86" y="77"/>
                  </a:lnTo>
                  <a:lnTo>
                    <a:pt x="86" y="77"/>
                  </a:lnTo>
                  <a:lnTo>
                    <a:pt x="89" y="76"/>
                  </a:lnTo>
                  <a:lnTo>
                    <a:pt x="89" y="76"/>
                  </a:lnTo>
                  <a:lnTo>
                    <a:pt x="91" y="74"/>
                  </a:lnTo>
                  <a:lnTo>
                    <a:pt x="92" y="71"/>
                  </a:lnTo>
                  <a:close/>
                  <a:moveTo>
                    <a:pt x="105" y="84"/>
                  </a:moveTo>
                  <a:lnTo>
                    <a:pt x="105" y="76"/>
                  </a:lnTo>
                  <a:lnTo>
                    <a:pt x="105" y="76"/>
                  </a:lnTo>
                  <a:lnTo>
                    <a:pt x="104" y="74"/>
                  </a:lnTo>
                  <a:lnTo>
                    <a:pt x="103" y="71"/>
                  </a:lnTo>
                  <a:lnTo>
                    <a:pt x="103" y="66"/>
                  </a:lnTo>
                  <a:lnTo>
                    <a:pt x="103" y="66"/>
                  </a:lnTo>
                  <a:lnTo>
                    <a:pt x="103" y="63"/>
                  </a:lnTo>
                  <a:lnTo>
                    <a:pt x="104" y="60"/>
                  </a:lnTo>
                  <a:lnTo>
                    <a:pt x="105" y="57"/>
                  </a:lnTo>
                  <a:lnTo>
                    <a:pt x="105" y="50"/>
                  </a:lnTo>
                  <a:lnTo>
                    <a:pt x="105" y="50"/>
                  </a:lnTo>
                  <a:lnTo>
                    <a:pt x="103" y="48"/>
                  </a:lnTo>
                  <a:lnTo>
                    <a:pt x="100" y="46"/>
                  </a:lnTo>
                  <a:lnTo>
                    <a:pt x="98" y="46"/>
                  </a:lnTo>
                  <a:lnTo>
                    <a:pt x="98" y="73"/>
                  </a:lnTo>
                  <a:lnTo>
                    <a:pt x="98" y="73"/>
                  </a:lnTo>
                  <a:lnTo>
                    <a:pt x="97" y="77"/>
                  </a:lnTo>
                  <a:lnTo>
                    <a:pt x="94" y="81"/>
                  </a:lnTo>
                  <a:lnTo>
                    <a:pt x="91" y="83"/>
                  </a:lnTo>
                  <a:lnTo>
                    <a:pt x="86" y="84"/>
                  </a:lnTo>
                  <a:lnTo>
                    <a:pt x="86" y="84"/>
                  </a:lnTo>
                  <a:lnTo>
                    <a:pt x="76" y="85"/>
                  </a:lnTo>
                  <a:lnTo>
                    <a:pt x="67" y="87"/>
                  </a:lnTo>
                  <a:lnTo>
                    <a:pt x="60" y="87"/>
                  </a:lnTo>
                  <a:lnTo>
                    <a:pt x="60" y="87"/>
                  </a:lnTo>
                  <a:lnTo>
                    <a:pt x="61" y="93"/>
                  </a:lnTo>
                  <a:lnTo>
                    <a:pt x="61" y="93"/>
                  </a:lnTo>
                  <a:lnTo>
                    <a:pt x="64" y="96"/>
                  </a:lnTo>
                  <a:lnTo>
                    <a:pt x="65" y="98"/>
                  </a:lnTo>
                  <a:lnTo>
                    <a:pt x="97" y="98"/>
                  </a:lnTo>
                  <a:lnTo>
                    <a:pt x="105" y="84"/>
                  </a:lnTo>
                  <a:close/>
                  <a:moveTo>
                    <a:pt x="65" y="116"/>
                  </a:moveTo>
                  <a:lnTo>
                    <a:pt x="97" y="116"/>
                  </a:lnTo>
                  <a:lnTo>
                    <a:pt x="97" y="116"/>
                  </a:lnTo>
                  <a:lnTo>
                    <a:pt x="99" y="110"/>
                  </a:lnTo>
                  <a:lnTo>
                    <a:pt x="98" y="104"/>
                  </a:lnTo>
                  <a:lnTo>
                    <a:pt x="65" y="104"/>
                  </a:lnTo>
                  <a:lnTo>
                    <a:pt x="62" y="110"/>
                  </a:lnTo>
                  <a:lnTo>
                    <a:pt x="65" y="116"/>
                  </a:lnTo>
                  <a:close/>
                  <a:moveTo>
                    <a:pt x="97" y="122"/>
                  </a:moveTo>
                  <a:lnTo>
                    <a:pt x="65" y="122"/>
                  </a:lnTo>
                  <a:lnTo>
                    <a:pt x="65" y="164"/>
                  </a:lnTo>
                  <a:lnTo>
                    <a:pt x="93" y="165"/>
                  </a:lnTo>
                  <a:lnTo>
                    <a:pt x="102" y="157"/>
                  </a:lnTo>
                  <a:lnTo>
                    <a:pt x="97" y="122"/>
                  </a:lnTo>
                  <a:close/>
                  <a:moveTo>
                    <a:pt x="113" y="175"/>
                  </a:moveTo>
                  <a:lnTo>
                    <a:pt x="113" y="175"/>
                  </a:lnTo>
                  <a:lnTo>
                    <a:pt x="106" y="170"/>
                  </a:lnTo>
                  <a:lnTo>
                    <a:pt x="106" y="170"/>
                  </a:lnTo>
                  <a:lnTo>
                    <a:pt x="105" y="164"/>
                  </a:lnTo>
                  <a:lnTo>
                    <a:pt x="95" y="171"/>
                  </a:lnTo>
                  <a:lnTo>
                    <a:pt x="64" y="171"/>
                  </a:lnTo>
                  <a:lnTo>
                    <a:pt x="64" y="171"/>
                  </a:lnTo>
                  <a:lnTo>
                    <a:pt x="64" y="182"/>
                  </a:lnTo>
                  <a:lnTo>
                    <a:pt x="64" y="194"/>
                  </a:lnTo>
                  <a:lnTo>
                    <a:pt x="64" y="194"/>
                  </a:lnTo>
                  <a:lnTo>
                    <a:pt x="71" y="200"/>
                  </a:lnTo>
                  <a:lnTo>
                    <a:pt x="80" y="206"/>
                  </a:lnTo>
                  <a:lnTo>
                    <a:pt x="100" y="181"/>
                  </a:lnTo>
                  <a:lnTo>
                    <a:pt x="113" y="175"/>
                  </a:lnTo>
                  <a:close/>
                  <a:moveTo>
                    <a:pt x="105" y="184"/>
                  </a:moveTo>
                  <a:lnTo>
                    <a:pt x="87" y="209"/>
                  </a:lnTo>
                  <a:lnTo>
                    <a:pt x="117" y="222"/>
                  </a:lnTo>
                  <a:lnTo>
                    <a:pt x="117" y="222"/>
                  </a:lnTo>
                  <a:lnTo>
                    <a:pt x="131" y="214"/>
                  </a:lnTo>
                  <a:lnTo>
                    <a:pt x="144" y="205"/>
                  </a:lnTo>
                  <a:lnTo>
                    <a:pt x="159" y="195"/>
                  </a:lnTo>
                  <a:lnTo>
                    <a:pt x="116" y="179"/>
                  </a:lnTo>
                  <a:lnTo>
                    <a:pt x="105" y="184"/>
                  </a:lnTo>
                  <a:close/>
                  <a:moveTo>
                    <a:pt x="122" y="59"/>
                  </a:moveTo>
                  <a:lnTo>
                    <a:pt x="122" y="59"/>
                  </a:lnTo>
                  <a:lnTo>
                    <a:pt x="122" y="33"/>
                  </a:lnTo>
                  <a:lnTo>
                    <a:pt x="122" y="33"/>
                  </a:lnTo>
                  <a:lnTo>
                    <a:pt x="124" y="31"/>
                  </a:lnTo>
                  <a:lnTo>
                    <a:pt x="124" y="31"/>
                  </a:lnTo>
                  <a:lnTo>
                    <a:pt x="124" y="28"/>
                  </a:lnTo>
                  <a:lnTo>
                    <a:pt x="124" y="26"/>
                  </a:lnTo>
                  <a:lnTo>
                    <a:pt x="109" y="26"/>
                  </a:lnTo>
                  <a:lnTo>
                    <a:pt x="109" y="26"/>
                  </a:lnTo>
                  <a:lnTo>
                    <a:pt x="109" y="29"/>
                  </a:lnTo>
                  <a:lnTo>
                    <a:pt x="109" y="29"/>
                  </a:lnTo>
                  <a:lnTo>
                    <a:pt x="109" y="32"/>
                  </a:lnTo>
                  <a:lnTo>
                    <a:pt x="110" y="33"/>
                  </a:lnTo>
                  <a:lnTo>
                    <a:pt x="110" y="59"/>
                  </a:lnTo>
                  <a:lnTo>
                    <a:pt x="110" y="59"/>
                  </a:lnTo>
                  <a:lnTo>
                    <a:pt x="109" y="60"/>
                  </a:lnTo>
                  <a:lnTo>
                    <a:pt x="108" y="66"/>
                  </a:lnTo>
                  <a:lnTo>
                    <a:pt x="108" y="66"/>
                  </a:lnTo>
                  <a:lnTo>
                    <a:pt x="108" y="70"/>
                  </a:lnTo>
                  <a:lnTo>
                    <a:pt x="109" y="73"/>
                  </a:lnTo>
                  <a:lnTo>
                    <a:pt x="111" y="76"/>
                  </a:lnTo>
                  <a:lnTo>
                    <a:pt x="110" y="96"/>
                  </a:lnTo>
                  <a:lnTo>
                    <a:pt x="110" y="96"/>
                  </a:lnTo>
                  <a:lnTo>
                    <a:pt x="110" y="98"/>
                  </a:lnTo>
                  <a:lnTo>
                    <a:pt x="109" y="100"/>
                  </a:lnTo>
                  <a:lnTo>
                    <a:pt x="109" y="100"/>
                  </a:lnTo>
                  <a:lnTo>
                    <a:pt x="109" y="104"/>
                  </a:lnTo>
                  <a:lnTo>
                    <a:pt x="124" y="104"/>
                  </a:lnTo>
                  <a:lnTo>
                    <a:pt x="124" y="104"/>
                  </a:lnTo>
                  <a:lnTo>
                    <a:pt x="124" y="99"/>
                  </a:lnTo>
                  <a:lnTo>
                    <a:pt x="124" y="99"/>
                  </a:lnTo>
                  <a:lnTo>
                    <a:pt x="122" y="96"/>
                  </a:lnTo>
                  <a:lnTo>
                    <a:pt x="122" y="76"/>
                  </a:lnTo>
                  <a:lnTo>
                    <a:pt x="122" y="76"/>
                  </a:lnTo>
                  <a:lnTo>
                    <a:pt x="125" y="72"/>
                  </a:lnTo>
                  <a:lnTo>
                    <a:pt x="125" y="70"/>
                  </a:lnTo>
                  <a:lnTo>
                    <a:pt x="126" y="67"/>
                  </a:lnTo>
                  <a:lnTo>
                    <a:pt x="126" y="67"/>
                  </a:lnTo>
                  <a:lnTo>
                    <a:pt x="124" y="61"/>
                  </a:lnTo>
                  <a:lnTo>
                    <a:pt x="122" y="59"/>
                  </a:lnTo>
                  <a:close/>
                  <a:moveTo>
                    <a:pt x="154" y="79"/>
                  </a:moveTo>
                  <a:lnTo>
                    <a:pt x="177" y="55"/>
                  </a:lnTo>
                  <a:lnTo>
                    <a:pt x="177" y="55"/>
                  </a:lnTo>
                  <a:lnTo>
                    <a:pt x="143" y="55"/>
                  </a:lnTo>
                  <a:lnTo>
                    <a:pt x="143" y="55"/>
                  </a:lnTo>
                  <a:lnTo>
                    <a:pt x="139" y="54"/>
                  </a:lnTo>
                  <a:lnTo>
                    <a:pt x="136" y="51"/>
                  </a:lnTo>
                  <a:lnTo>
                    <a:pt x="131" y="49"/>
                  </a:lnTo>
                  <a:lnTo>
                    <a:pt x="130" y="49"/>
                  </a:lnTo>
                  <a:lnTo>
                    <a:pt x="130" y="49"/>
                  </a:lnTo>
                  <a:lnTo>
                    <a:pt x="126" y="56"/>
                  </a:lnTo>
                  <a:lnTo>
                    <a:pt x="126" y="56"/>
                  </a:lnTo>
                  <a:lnTo>
                    <a:pt x="128" y="60"/>
                  </a:lnTo>
                  <a:lnTo>
                    <a:pt x="130" y="62"/>
                  </a:lnTo>
                  <a:lnTo>
                    <a:pt x="131" y="67"/>
                  </a:lnTo>
                  <a:lnTo>
                    <a:pt x="131" y="67"/>
                  </a:lnTo>
                  <a:lnTo>
                    <a:pt x="131" y="71"/>
                  </a:lnTo>
                  <a:lnTo>
                    <a:pt x="128" y="74"/>
                  </a:lnTo>
                  <a:lnTo>
                    <a:pt x="126" y="77"/>
                  </a:lnTo>
                  <a:lnTo>
                    <a:pt x="126" y="77"/>
                  </a:lnTo>
                  <a:lnTo>
                    <a:pt x="131" y="85"/>
                  </a:lnTo>
                  <a:lnTo>
                    <a:pt x="131" y="85"/>
                  </a:lnTo>
                  <a:lnTo>
                    <a:pt x="135" y="83"/>
                  </a:lnTo>
                  <a:lnTo>
                    <a:pt x="144" y="79"/>
                  </a:lnTo>
                  <a:lnTo>
                    <a:pt x="144" y="79"/>
                  </a:lnTo>
                  <a:lnTo>
                    <a:pt x="154" y="79"/>
                  </a:lnTo>
                  <a:close/>
                  <a:moveTo>
                    <a:pt x="261" y="79"/>
                  </a:moveTo>
                  <a:lnTo>
                    <a:pt x="291" y="40"/>
                  </a:lnTo>
                  <a:lnTo>
                    <a:pt x="291" y="40"/>
                  </a:lnTo>
                  <a:lnTo>
                    <a:pt x="289" y="39"/>
                  </a:lnTo>
                  <a:lnTo>
                    <a:pt x="286" y="40"/>
                  </a:lnTo>
                  <a:lnTo>
                    <a:pt x="283" y="42"/>
                  </a:lnTo>
                  <a:lnTo>
                    <a:pt x="283" y="42"/>
                  </a:lnTo>
                  <a:lnTo>
                    <a:pt x="280" y="43"/>
                  </a:lnTo>
                  <a:lnTo>
                    <a:pt x="279" y="46"/>
                  </a:lnTo>
                  <a:lnTo>
                    <a:pt x="279" y="50"/>
                  </a:lnTo>
                  <a:lnTo>
                    <a:pt x="279" y="50"/>
                  </a:lnTo>
                  <a:lnTo>
                    <a:pt x="277" y="48"/>
                  </a:lnTo>
                  <a:lnTo>
                    <a:pt x="275" y="46"/>
                  </a:lnTo>
                  <a:lnTo>
                    <a:pt x="270" y="46"/>
                  </a:lnTo>
                  <a:lnTo>
                    <a:pt x="267" y="46"/>
                  </a:lnTo>
                  <a:lnTo>
                    <a:pt x="265" y="48"/>
                  </a:lnTo>
                  <a:lnTo>
                    <a:pt x="265" y="48"/>
                  </a:lnTo>
                  <a:lnTo>
                    <a:pt x="268" y="54"/>
                  </a:lnTo>
                  <a:lnTo>
                    <a:pt x="268" y="57"/>
                  </a:lnTo>
                  <a:lnTo>
                    <a:pt x="265" y="60"/>
                  </a:lnTo>
                  <a:lnTo>
                    <a:pt x="263" y="60"/>
                  </a:lnTo>
                  <a:lnTo>
                    <a:pt x="263" y="60"/>
                  </a:lnTo>
                  <a:lnTo>
                    <a:pt x="259" y="59"/>
                  </a:lnTo>
                  <a:lnTo>
                    <a:pt x="258" y="56"/>
                  </a:lnTo>
                  <a:lnTo>
                    <a:pt x="258" y="52"/>
                  </a:lnTo>
                  <a:lnTo>
                    <a:pt x="258" y="52"/>
                  </a:lnTo>
                  <a:lnTo>
                    <a:pt x="254" y="55"/>
                  </a:lnTo>
                  <a:lnTo>
                    <a:pt x="252" y="55"/>
                  </a:lnTo>
                  <a:lnTo>
                    <a:pt x="248" y="52"/>
                  </a:lnTo>
                  <a:lnTo>
                    <a:pt x="248" y="52"/>
                  </a:lnTo>
                  <a:lnTo>
                    <a:pt x="247" y="50"/>
                  </a:lnTo>
                  <a:lnTo>
                    <a:pt x="250" y="46"/>
                  </a:lnTo>
                  <a:lnTo>
                    <a:pt x="253" y="45"/>
                  </a:lnTo>
                  <a:lnTo>
                    <a:pt x="259" y="44"/>
                  </a:lnTo>
                  <a:lnTo>
                    <a:pt x="259" y="44"/>
                  </a:lnTo>
                  <a:lnTo>
                    <a:pt x="258" y="40"/>
                  </a:lnTo>
                  <a:lnTo>
                    <a:pt x="257" y="38"/>
                  </a:lnTo>
                  <a:lnTo>
                    <a:pt x="254" y="35"/>
                  </a:lnTo>
                  <a:lnTo>
                    <a:pt x="254" y="35"/>
                  </a:lnTo>
                  <a:lnTo>
                    <a:pt x="251" y="34"/>
                  </a:lnTo>
                  <a:lnTo>
                    <a:pt x="248" y="34"/>
                  </a:lnTo>
                  <a:lnTo>
                    <a:pt x="245" y="35"/>
                  </a:lnTo>
                  <a:lnTo>
                    <a:pt x="245" y="35"/>
                  </a:lnTo>
                  <a:lnTo>
                    <a:pt x="247" y="34"/>
                  </a:lnTo>
                  <a:lnTo>
                    <a:pt x="248" y="32"/>
                  </a:lnTo>
                  <a:lnTo>
                    <a:pt x="250" y="29"/>
                  </a:lnTo>
                  <a:lnTo>
                    <a:pt x="250" y="29"/>
                  </a:lnTo>
                  <a:lnTo>
                    <a:pt x="250" y="23"/>
                  </a:lnTo>
                  <a:lnTo>
                    <a:pt x="248" y="21"/>
                  </a:lnTo>
                  <a:lnTo>
                    <a:pt x="246" y="17"/>
                  </a:lnTo>
                  <a:lnTo>
                    <a:pt x="246" y="17"/>
                  </a:lnTo>
                  <a:lnTo>
                    <a:pt x="246" y="17"/>
                  </a:lnTo>
                  <a:lnTo>
                    <a:pt x="246" y="17"/>
                  </a:lnTo>
                  <a:lnTo>
                    <a:pt x="242" y="18"/>
                  </a:lnTo>
                  <a:lnTo>
                    <a:pt x="239" y="20"/>
                  </a:lnTo>
                  <a:lnTo>
                    <a:pt x="235" y="22"/>
                  </a:lnTo>
                  <a:lnTo>
                    <a:pt x="235" y="22"/>
                  </a:lnTo>
                  <a:lnTo>
                    <a:pt x="234" y="26"/>
                  </a:lnTo>
                  <a:lnTo>
                    <a:pt x="234" y="28"/>
                  </a:lnTo>
                  <a:lnTo>
                    <a:pt x="234" y="31"/>
                  </a:lnTo>
                  <a:lnTo>
                    <a:pt x="234" y="31"/>
                  </a:lnTo>
                  <a:lnTo>
                    <a:pt x="231" y="27"/>
                  </a:lnTo>
                  <a:lnTo>
                    <a:pt x="230" y="24"/>
                  </a:lnTo>
                  <a:lnTo>
                    <a:pt x="226" y="23"/>
                  </a:lnTo>
                  <a:lnTo>
                    <a:pt x="226" y="23"/>
                  </a:lnTo>
                  <a:lnTo>
                    <a:pt x="223" y="23"/>
                  </a:lnTo>
                  <a:lnTo>
                    <a:pt x="220" y="24"/>
                  </a:lnTo>
                  <a:lnTo>
                    <a:pt x="218" y="26"/>
                  </a:lnTo>
                  <a:lnTo>
                    <a:pt x="218" y="26"/>
                  </a:lnTo>
                  <a:lnTo>
                    <a:pt x="221" y="31"/>
                  </a:lnTo>
                  <a:lnTo>
                    <a:pt x="221" y="35"/>
                  </a:lnTo>
                  <a:lnTo>
                    <a:pt x="221" y="38"/>
                  </a:lnTo>
                  <a:lnTo>
                    <a:pt x="218" y="39"/>
                  </a:lnTo>
                  <a:lnTo>
                    <a:pt x="218" y="39"/>
                  </a:lnTo>
                  <a:lnTo>
                    <a:pt x="214" y="38"/>
                  </a:lnTo>
                  <a:lnTo>
                    <a:pt x="213" y="35"/>
                  </a:lnTo>
                  <a:lnTo>
                    <a:pt x="212" y="32"/>
                  </a:lnTo>
                  <a:lnTo>
                    <a:pt x="212" y="32"/>
                  </a:lnTo>
                  <a:lnTo>
                    <a:pt x="209" y="34"/>
                  </a:lnTo>
                  <a:lnTo>
                    <a:pt x="207" y="35"/>
                  </a:lnTo>
                  <a:lnTo>
                    <a:pt x="203" y="34"/>
                  </a:lnTo>
                  <a:lnTo>
                    <a:pt x="203" y="34"/>
                  </a:lnTo>
                  <a:lnTo>
                    <a:pt x="201" y="32"/>
                  </a:lnTo>
                  <a:lnTo>
                    <a:pt x="201" y="28"/>
                  </a:lnTo>
                  <a:lnTo>
                    <a:pt x="204" y="26"/>
                  </a:lnTo>
                  <a:lnTo>
                    <a:pt x="210" y="23"/>
                  </a:lnTo>
                  <a:lnTo>
                    <a:pt x="210" y="23"/>
                  </a:lnTo>
                  <a:lnTo>
                    <a:pt x="209" y="22"/>
                  </a:lnTo>
                  <a:lnTo>
                    <a:pt x="208" y="18"/>
                  </a:lnTo>
                  <a:lnTo>
                    <a:pt x="204" y="16"/>
                  </a:lnTo>
                  <a:lnTo>
                    <a:pt x="202" y="15"/>
                  </a:lnTo>
                  <a:lnTo>
                    <a:pt x="199" y="16"/>
                  </a:lnTo>
                  <a:lnTo>
                    <a:pt x="199" y="16"/>
                  </a:lnTo>
                  <a:lnTo>
                    <a:pt x="202" y="12"/>
                  </a:lnTo>
                  <a:lnTo>
                    <a:pt x="203" y="10"/>
                  </a:lnTo>
                  <a:lnTo>
                    <a:pt x="203" y="6"/>
                  </a:lnTo>
                  <a:lnTo>
                    <a:pt x="203" y="6"/>
                  </a:lnTo>
                  <a:lnTo>
                    <a:pt x="202" y="4"/>
                  </a:lnTo>
                  <a:lnTo>
                    <a:pt x="201" y="1"/>
                  </a:lnTo>
                  <a:lnTo>
                    <a:pt x="198" y="0"/>
                  </a:lnTo>
                  <a:lnTo>
                    <a:pt x="190" y="49"/>
                  </a:lnTo>
                  <a:lnTo>
                    <a:pt x="213" y="59"/>
                  </a:lnTo>
                  <a:lnTo>
                    <a:pt x="213" y="59"/>
                  </a:lnTo>
                  <a:lnTo>
                    <a:pt x="220" y="55"/>
                  </a:lnTo>
                  <a:lnTo>
                    <a:pt x="220" y="55"/>
                  </a:lnTo>
                  <a:lnTo>
                    <a:pt x="224" y="52"/>
                  </a:lnTo>
                  <a:lnTo>
                    <a:pt x="229" y="52"/>
                  </a:lnTo>
                  <a:lnTo>
                    <a:pt x="234" y="54"/>
                  </a:lnTo>
                  <a:lnTo>
                    <a:pt x="237" y="55"/>
                  </a:lnTo>
                  <a:lnTo>
                    <a:pt x="237" y="55"/>
                  </a:lnTo>
                  <a:lnTo>
                    <a:pt x="242" y="57"/>
                  </a:lnTo>
                  <a:lnTo>
                    <a:pt x="245" y="60"/>
                  </a:lnTo>
                  <a:lnTo>
                    <a:pt x="246" y="63"/>
                  </a:lnTo>
                  <a:lnTo>
                    <a:pt x="246" y="66"/>
                  </a:lnTo>
                  <a:lnTo>
                    <a:pt x="246" y="66"/>
                  </a:lnTo>
                  <a:lnTo>
                    <a:pt x="246" y="70"/>
                  </a:lnTo>
                  <a:lnTo>
                    <a:pt x="243" y="73"/>
                  </a:lnTo>
                  <a:lnTo>
                    <a:pt x="261" y="79"/>
                  </a:lnTo>
                  <a:close/>
                  <a:moveTo>
                    <a:pt x="373" y="73"/>
                  </a:moveTo>
                  <a:lnTo>
                    <a:pt x="393" y="65"/>
                  </a:lnTo>
                  <a:lnTo>
                    <a:pt x="373" y="56"/>
                  </a:lnTo>
                  <a:lnTo>
                    <a:pt x="373" y="56"/>
                  </a:lnTo>
                  <a:lnTo>
                    <a:pt x="340" y="56"/>
                  </a:lnTo>
                  <a:lnTo>
                    <a:pt x="288" y="55"/>
                  </a:lnTo>
                  <a:lnTo>
                    <a:pt x="272" y="76"/>
                  </a:lnTo>
                  <a:lnTo>
                    <a:pt x="272" y="76"/>
                  </a:lnTo>
                  <a:lnTo>
                    <a:pt x="373" y="73"/>
                  </a:lnTo>
                  <a:close/>
                  <a:moveTo>
                    <a:pt x="347" y="178"/>
                  </a:moveTo>
                  <a:lnTo>
                    <a:pt x="347" y="178"/>
                  </a:lnTo>
                  <a:lnTo>
                    <a:pt x="336" y="172"/>
                  </a:lnTo>
                  <a:lnTo>
                    <a:pt x="328" y="167"/>
                  </a:lnTo>
                  <a:lnTo>
                    <a:pt x="319" y="161"/>
                  </a:lnTo>
                  <a:lnTo>
                    <a:pt x="313" y="154"/>
                  </a:lnTo>
                  <a:lnTo>
                    <a:pt x="313" y="154"/>
                  </a:lnTo>
                  <a:lnTo>
                    <a:pt x="311" y="149"/>
                  </a:lnTo>
                  <a:lnTo>
                    <a:pt x="311" y="143"/>
                  </a:lnTo>
                  <a:lnTo>
                    <a:pt x="311" y="138"/>
                  </a:lnTo>
                  <a:lnTo>
                    <a:pt x="311" y="132"/>
                  </a:lnTo>
                  <a:lnTo>
                    <a:pt x="313" y="126"/>
                  </a:lnTo>
                  <a:lnTo>
                    <a:pt x="316" y="121"/>
                  </a:lnTo>
                  <a:lnTo>
                    <a:pt x="321" y="116"/>
                  </a:lnTo>
                  <a:lnTo>
                    <a:pt x="325" y="112"/>
                  </a:lnTo>
                  <a:lnTo>
                    <a:pt x="325" y="112"/>
                  </a:lnTo>
                  <a:lnTo>
                    <a:pt x="328" y="115"/>
                  </a:lnTo>
                  <a:lnTo>
                    <a:pt x="329" y="117"/>
                  </a:lnTo>
                  <a:lnTo>
                    <a:pt x="329" y="120"/>
                  </a:lnTo>
                  <a:lnTo>
                    <a:pt x="329" y="120"/>
                  </a:lnTo>
                  <a:lnTo>
                    <a:pt x="345" y="118"/>
                  </a:lnTo>
                  <a:lnTo>
                    <a:pt x="345" y="118"/>
                  </a:lnTo>
                  <a:lnTo>
                    <a:pt x="345" y="114"/>
                  </a:lnTo>
                  <a:lnTo>
                    <a:pt x="345" y="110"/>
                  </a:lnTo>
                  <a:lnTo>
                    <a:pt x="344" y="107"/>
                  </a:lnTo>
                  <a:lnTo>
                    <a:pt x="344" y="107"/>
                  </a:lnTo>
                  <a:lnTo>
                    <a:pt x="349" y="111"/>
                  </a:lnTo>
                  <a:lnTo>
                    <a:pt x="350" y="115"/>
                  </a:lnTo>
                  <a:lnTo>
                    <a:pt x="351" y="118"/>
                  </a:lnTo>
                  <a:lnTo>
                    <a:pt x="351" y="118"/>
                  </a:lnTo>
                  <a:lnTo>
                    <a:pt x="366" y="120"/>
                  </a:lnTo>
                  <a:lnTo>
                    <a:pt x="366" y="120"/>
                  </a:lnTo>
                  <a:lnTo>
                    <a:pt x="366" y="115"/>
                  </a:lnTo>
                  <a:lnTo>
                    <a:pt x="363" y="110"/>
                  </a:lnTo>
                  <a:lnTo>
                    <a:pt x="363" y="110"/>
                  </a:lnTo>
                  <a:lnTo>
                    <a:pt x="368" y="114"/>
                  </a:lnTo>
                  <a:lnTo>
                    <a:pt x="373" y="116"/>
                  </a:lnTo>
                  <a:lnTo>
                    <a:pt x="377" y="121"/>
                  </a:lnTo>
                  <a:lnTo>
                    <a:pt x="379" y="125"/>
                  </a:lnTo>
                  <a:lnTo>
                    <a:pt x="382" y="133"/>
                  </a:lnTo>
                  <a:lnTo>
                    <a:pt x="383" y="140"/>
                  </a:lnTo>
                  <a:lnTo>
                    <a:pt x="383" y="140"/>
                  </a:lnTo>
                  <a:lnTo>
                    <a:pt x="382" y="149"/>
                  </a:lnTo>
                  <a:lnTo>
                    <a:pt x="379" y="156"/>
                  </a:lnTo>
                  <a:lnTo>
                    <a:pt x="374" y="162"/>
                  </a:lnTo>
                  <a:lnTo>
                    <a:pt x="368" y="167"/>
                  </a:lnTo>
                  <a:lnTo>
                    <a:pt x="368" y="167"/>
                  </a:lnTo>
                  <a:lnTo>
                    <a:pt x="357" y="173"/>
                  </a:lnTo>
                  <a:lnTo>
                    <a:pt x="347" y="178"/>
                  </a:lnTo>
                  <a:close/>
                  <a:moveTo>
                    <a:pt x="333" y="282"/>
                  </a:moveTo>
                  <a:lnTo>
                    <a:pt x="333" y="282"/>
                  </a:lnTo>
                  <a:lnTo>
                    <a:pt x="332" y="281"/>
                  </a:lnTo>
                  <a:lnTo>
                    <a:pt x="332" y="281"/>
                  </a:lnTo>
                  <a:lnTo>
                    <a:pt x="330" y="281"/>
                  </a:lnTo>
                  <a:lnTo>
                    <a:pt x="330" y="281"/>
                  </a:lnTo>
                  <a:lnTo>
                    <a:pt x="333" y="282"/>
                  </a:lnTo>
                  <a:close/>
                  <a:moveTo>
                    <a:pt x="188" y="88"/>
                  </a:moveTo>
                  <a:lnTo>
                    <a:pt x="188" y="88"/>
                  </a:lnTo>
                  <a:lnTo>
                    <a:pt x="187" y="88"/>
                  </a:lnTo>
                  <a:lnTo>
                    <a:pt x="182" y="89"/>
                  </a:lnTo>
                  <a:lnTo>
                    <a:pt x="176" y="89"/>
                  </a:lnTo>
                  <a:lnTo>
                    <a:pt x="176" y="89"/>
                  </a:lnTo>
                  <a:lnTo>
                    <a:pt x="175" y="87"/>
                  </a:lnTo>
                  <a:lnTo>
                    <a:pt x="175" y="82"/>
                  </a:lnTo>
                  <a:lnTo>
                    <a:pt x="175" y="82"/>
                  </a:lnTo>
                  <a:lnTo>
                    <a:pt x="177" y="82"/>
                  </a:lnTo>
                  <a:lnTo>
                    <a:pt x="182" y="83"/>
                  </a:lnTo>
                  <a:lnTo>
                    <a:pt x="186" y="84"/>
                  </a:lnTo>
                  <a:lnTo>
                    <a:pt x="188" y="88"/>
                  </a:lnTo>
                  <a:close/>
                  <a:moveTo>
                    <a:pt x="404" y="242"/>
                  </a:moveTo>
                  <a:lnTo>
                    <a:pt x="404" y="242"/>
                  </a:lnTo>
                  <a:lnTo>
                    <a:pt x="410" y="243"/>
                  </a:lnTo>
                  <a:lnTo>
                    <a:pt x="415" y="242"/>
                  </a:lnTo>
                  <a:lnTo>
                    <a:pt x="415" y="242"/>
                  </a:lnTo>
                  <a:lnTo>
                    <a:pt x="414" y="234"/>
                  </a:lnTo>
                  <a:lnTo>
                    <a:pt x="412" y="223"/>
                  </a:lnTo>
                  <a:lnTo>
                    <a:pt x="412" y="223"/>
                  </a:lnTo>
                  <a:lnTo>
                    <a:pt x="409" y="223"/>
                  </a:lnTo>
                  <a:lnTo>
                    <a:pt x="405" y="223"/>
                  </a:lnTo>
                  <a:lnTo>
                    <a:pt x="401" y="222"/>
                  </a:lnTo>
                  <a:lnTo>
                    <a:pt x="396" y="219"/>
                  </a:lnTo>
                  <a:lnTo>
                    <a:pt x="396" y="219"/>
                  </a:lnTo>
                  <a:lnTo>
                    <a:pt x="394" y="214"/>
                  </a:lnTo>
                  <a:lnTo>
                    <a:pt x="394" y="214"/>
                  </a:lnTo>
                  <a:lnTo>
                    <a:pt x="387" y="204"/>
                  </a:lnTo>
                  <a:lnTo>
                    <a:pt x="378" y="197"/>
                  </a:lnTo>
                  <a:lnTo>
                    <a:pt x="369" y="190"/>
                  </a:lnTo>
                  <a:lnTo>
                    <a:pt x="362" y="186"/>
                  </a:lnTo>
                  <a:lnTo>
                    <a:pt x="362" y="186"/>
                  </a:lnTo>
                  <a:lnTo>
                    <a:pt x="374" y="178"/>
                  </a:lnTo>
                  <a:lnTo>
                    <a:pt x="383" y="171"/>
                  </a:lnTo>
                  <a:lnTo>
                    <a:pt x="389" y="165"/>
                  </a:lnTo>
                  <a:lnTo>
                    <a:pt x="392" y="160"/>
                  </a:lnTo>
                  <a:lnTo>
                    <a:pt x="392" y="160"/>
                  </a:lnTo>
                  <a:lnTo>
                    <a:pt x="394" y="155"/>
                  </a:lnTo>
                  <a:lnTo>
                    <a:pt x="396" y="148"/>
                  </a:lnTo>
                  <a:lnTo>
                    <a:pt x="396" y="140"/>
                  </a:lnTo>
                  <a:lnTo>
                    <a:pt x="396" y="132"/>
                  </a:lnTo>
                  <a:lnTo>
                    <a:pt x="394" y="123"/>
                  </a:lnTo>
                  <a:lnTo>
                    <a:pt x="390" y="115"/>
                  </a:lnTo>
                  <a:lnTo>
                    <a:pt x="384" y="107"/>
                  </a:lnTo>
                  <a:lnTo>
                    <a:pt x="379" y="104"/>
                  </a:lnTo>
                  <a:lnTo>
                    <a:pt x="374" y="100"/>
                  </a:lnTo>
                  <a:lnTo>
                    <a:pt x="374" y="100"/>
                  </a:lnTo>
                  <a:lnTo>
                    <a:pt x="367" y="96"/>
                  </a:lnTo>
                  <a:lnTo>
                    <a:pt x="358" y="94"/>
                  </a:lnTo>
                  <a:lnTo>
                    <a:pt x="351" y="93"/>
                  </a:lnTo>
                  <a:lnTo>
                    <a:pt x="344" y="93"/>
                  </a:lnTo>
                  <a:lnTo>
                    <a:pt x="332" y="95"/>
                  </a:lnTo>
                  <a:lnTo>
                    <a:pt x="322" y="98"/>
                  </a:lnTo>
                  <a:lnTo>
                    <a:pt x="322" y="98"/>
                  </a:lnTo>
                  <a:lnTo>
                    <a:pt x="316" y="101"/>
                  </a:lnTo>
                  <a:lnTo>
                    <a:pt x="310" y="106"/>
                  </a:lnTo>
                  <a:lnTo>
                    <a:pt x="305" y="111"/>
                  </a:lnTo>
                  <a:lnTo>
                    <a:pt x="301" y="117"/>
                  </a:lnTo>
                  <a:lnTo>
                    <a:pt x="299" y="125"/>
                  </a:lnTo>
                  <a:lnTo>
                    <a:pt x="296" y="132"/>
                  </a:lnTo>
                  <a:lnTo>
                    <a:pt x="296" y="139"/>
                  </a:lnTo>
                  <a:lnTo>
                    <a:pt x="296" y="149"/>
                  </a:lnTo>
                  <a:lnTo>
                    <a:pt x="296" y="149"/>
                  </a:lnTo>
                  <a:lnTo>
                    <a:pt x="299" y="155"/>
                  </a:lnTo>
                  <a:lnTo>
                    <a:pt x="301" y="161"/>
                  </a:lnTo>
                  <a:lnTo>
                    <a:pt x="305" y="167"/>
                  </a:lnTo>
                  <a:lnTo>
                    <a:pt x="308" y="171"/>
                  </a:lnTo>
                  <a:lnTo>
                    <a:pt x="319" y="178"/>
                  </a:lnTo>
                  <a:lnTo>
                    <a:pt x="332" y="186"/>
                  </a:lnTo>
                  <a:lnTo>
                    <a:pt x="332" y="186"/>
                  </a:lnTo>
                  <a:lnTo>
                    <a:pt x="322" y="190"/>
                  </a:lnTo>
                  <a:lnTo>
                    <a:pt x="314" y="198"/>
                  </a:lnTo>
                  <a:lnTo>
                    <a:pt x="312" y="201"/>
                  </a:lnTo>
                  <a:lnTo>
                    <a:pt x="311" y="206"/>
                  </a:lnTo>
                  <a:lnTo>
                    <a:pt x="310" y="211"/>
                  </a:lnTo>
                  <a:lnTo>
                    <a:pt x="308" y="217"/>
                  </a:lnTo>
                  <a:lnTo>
                    <a:pt x="308" y="217"/>
                  </a:lnTo>
                  <a:lnTo>
                    <a:pt x="310" y="225"/>
                  </a:lnTo>
                  <a:lnTo>
                    <a:pt x="312" y="233"/>
                  </a:lnTo>
                  <a:lnTo>
                    <a:pt x="313" y="243"/>
                  </a:lnTo>
                  <a:lnTo>
                    <a:pt x="313" y="249"/>
                  </a:lnTo>
                  <a:lnTo>
                    <a:pt x="312" y="255"/>
                  </a:lnTo>
                  <a:lnTo>
                    <a:pt x="312" y="255"/>
                  </a:lnTo>
                  <a:lnTo>
                    <a:pt x="313" y="255"/>
                  </a:lnTo>
                  <a:lnTo>
                    <a:pt x="318" y="254"/>
                  </a:lnTo>
                  <a:lnTo>
                    <a:pt x="324" y="249"/>
                  </a:lnTo>
                  <a:lnTo>
                    <a:pt x="324" y="249"/>
                  </a:lnTo>
                  <a:lnTo>
                    <a:pt x="327" y="242"/>
                  </a:lnTo>
                  <a:lnTo>
                    <a:pt x="328" y="234"/>
                  </a:lnTo>
                  <a:lnTo>
                    <a:pt x="328" y="226"/>
                  </a:lnTo>
                  <a:lnTo>
                    <a:pt x="328" y="226"/>
                  </a:lnTo>
                  <a:lnTo>
                    <a:pt x="330" y="230"/>
                  </a:lnTo>
                  <a:lnTo>
                    <a:pt x="332" y="236"/>
                  </a:lnTo>
                  <a:lnTo>
                    <a:pt x="332" y="240"/>
                  </a:lnTo>
                  <a:lnTo>
                    <a:pt x="330" y="245"/>
                  </a:lnTo>
                  <a:lnTo>
                    <a:pt x="330" y="245"/>
                  </a:lnTo>
                  <a:lnTo>
                    <a:pt x="335" y="243"/>
                  </a:lnTo>
                  <a:lnTo>
                    <a:pt x="338" y="240"/>
                  </a:lnTo>
                  <a:lnTo>
                    <a:pt x="340" y="238"/>
                  </a:lnTo>
                  <a:lnTo>
                    <a:pt x="340" y="238"/>
                  </a:lnTo>
                  <a:lnTo>
                    <a:pt x="341" y="230"/>
                  </a:lnTo>
                  <a:lnTo>
                    <a:pt x="341" y="221"/>
                  </a:lnTo>
                  <a:lnTo>
                    <a:pt x="339" y="215"/>
                  </a:lnTo>
                  <a:lnTo>
                    <a:pt x="338" y="210"/>
                  </a:lnTo>
                  <a:lnTo>
                    <a:pt x="338" y="210"/>
                  </a:lnTo>
                  <a:lnTo>
                    <a:pt x="336" y="205"/>
                  </a:lnTo>
                  <a:lnTo>
                    <a:pt x="338" y="200"/>
                  </a:lnTo>
                  <a:lnTo>
                    <a:pt x="341" y="195"/>
                  </a:lnTo>
                  <a:lnTo>
                    <a:pt x="345" y="193"/>
                  </a:lnTo>
                  <a:lnTo>
                    <a:pt x="345" y="193"/>
                  </a:lnTo>
                  <a:lnTo>
                    <a:pt x="357" y="199"/>
                  </a:lnTo>
                  <a:lnTo>
                    <a:pt x="357" y="199"/>
                  </a:lnTo>
                  <a:lnTo>
                    <a:pt x="362" y="203"/>
                  </a:lnTo>
                  <a:lnTo>
                    <a:pt x="369" y="209"/>
                  </a:lnTo>
                  <a:lnTo>
                    <a:pt x="377" y="217"/>
                  </a:lnTo>
                  <a:lnTo>
                    <a:pt x="381" y="222"/>
                  </a:lnTo>
                  <a:lnTo>
                    <a:pt x="383" y="228"/>
                  </a:lnTo>
                  <a:lnTo>
                    <a:pt x="383" y="228"/>
                  </a:lnTo>
                  <a:lnTo>
                    <a:pt x="387" y="236"/>
                  </a:lnTo>
                  <a:lnTo>
                    <a:pt x="388" y="243"/>
                  </a:lnTo>
                  <a:lnTo>
                    <a:pt x="388" y="249"/>
                  </a:lnTo>
                  <a:lnTo>
                    <a:pt x="388" y="255"/>
                  </a:lnTo>
                  <a:lnTo>
                    <a:pt x="385" y="264"/>
                  </a:lnTo>
                  <a:lnTo>
                    <a:pt x="383" y="269"/>
                  </a:lnTo>
                  <a:lnTo>
                    <a:pt x="383" y="269"/>
                  </a:lnTo>
                  <a:lnTo>
                    <a:pt x="378" y="275"/>
                  </a:lnTo>
                  <a:lnTo>
                    <a:pt x="373" y="281"/>
                  </a:lnTo>
                  <a:lnTo>
                    <a:pt x="366" y="284"/>
                  </a:lnTo>
                  <a:lnTo>
                    <a:pt x="357" y="286"/>
                  </a:lnTo>
                  <a:lnTo>
                    <a:pt x="357" y="286"/>
                  </a:lnTo>
                  <a:lnTo>
                    <a:pt x="356" y="286"/>
                  </a:lnTo>
                  <a:lnTo>
                    <a:pt x="356" y="286"/>
                  </a:lnTo>
                  <a:lnTo>
                    <a:pt x="346" y="286"/>
                  </a:lnTo>
                  <a:lnTo>
                    <a:pt x="346" y="286"/>
                  </a:lnTo>
                  <a:lnTo>
                    <a:pt x="338" y="283"/>
                  </a:lnTo>
                  <a:lnTo>
                    <a:pt x="338" y="283"/>
                  </a:lnTo>
                  <a:lnTo>
                    <a:pt x="330" y="281"/>
                  </a:lnTo>
                  <a:lnTo>
                    <a:pt x="330" y="281"/>
                  </a:lnTo>
                  <a:lnTo>
                    <a:pt x="323" y="277"/>
                  </a:lnTo>
                  <a:lnTo>
                    <a:pt x="312" y="270"/>
                  </a:lnTo>
                  <a:lnTo>
                    <a:pt x="300" y="261"/>
                  </a:lnTo>
                  <a:lnTo>
                    <a:pt x="288" y="249"/>
                  </a:lnTo>
                  <a:lnTo>
                    <a:pt x="288" y="249"/>
                  </a:lnTo>
                  <a:lnTo>
                    <a:pt x="272" y="230"/>
                  </a:lnTo>
                  <a:lnTo>
                    <a:pt x="261" y="216"/>
                  </a:lnTo>
                  <a:lnTo>
                    <a:pt x="261" y="216"/>
                  </a:lnTo>
                  <a:lnTo>
                    <a:pt x="267" y="219"/>
                  </a:lnTo>
                  <a:lnTo>
                    <a:pt x="272" y="219"/>
                  </a:lnTo>
                  <a:lnTo>
                    <a:pt x="278" y="219"/>
                  </a:lnTo>
                  <a:lnTo>
                    <a:pt x="278" y="219"/>
                  </a:lnTo>
                  <a:lnTo>
                    <a:pt x="279" y="208"/>
                  </a:lnTo>
                  <a:lnTo>
                    <a:pt x="279" y="197"/>
                  </a:lnTo>
                  <a:lnTo>
                    <a:pt x="279" y="197"/>
                  </a:lnTo>
                  <a:lnTo>
                    <a:pt x="279" y="187"/>
                  </a:lnTo>
                  <a:lnTo>
                    <a:pt x="279" y="187"/>
                  </a:lnTo>
                  <a:lnTo>
                    <a:pt x="275" y="187"/>
                  </a:lnTo>
                  <a:lnTo>
                    <a:pt x="267" y="184"/>
                  </a:lnTo>
                  <a:lnTo>
                    <a:pt x="263" y="183"/>
                  </a:lnTo>
                  <a:lnTo>
                    <a:pt x="258" y="181"/>
                  </a:lnTo>
                  <a:lnTo>
                    <a:pt x="254" y="178"/>
                  </a:lnTo>
                  <a:lnTo>
                    <a:pt x="252" y="175"/>
                  </a:lnTo>
                  <a:lnTo>
                    <a:pt x="252" y="175"/>
                  </a:lnTo>
                  <a:lnTo>
                    <a:pt x="256" y="176"/>
                  </a:lnTo>
                  <a:lnTo>
                    <a:pt x="259" y="177"/>
                  </a:lnTo>
                  <a:lnTo>
                    <a:pt x="264" y="178"/>
                  </a:lnTo>
                  <a:lnTo>
                    <a:pt x="264" y="178"/>
                  </a:lnTo>
                  <a:lnTo>
                    <a:pt x="275" y="177"/>
                  </a:lnTo>
                  <a:lnTo>
                    <a:pt x="280" y="177"/>
                  </a:lnTo>
                  <a:lnTo>
                    <a:pt x="280" y="177"/>
                  </a:lnTo>
                  <a:lnTo>
                    <a:pt x="281" y="166"/>
                  </a:lnTo>
                  <a:lnTo>
                    <a:pt x="281" y="156"/>
                  </a:lnTo>
                  <a:lnTo>
                    <a:pt x="281" y="156"/>
                  </a:lnTo>
                  <a:lnTo>
                    <a:pt x="281" y="146"/>
                  </a:lnTo>
                  <a:lnTo>
                    <a:pt x="281" y="146"/>
                  </a:lnTo>
                  <a:lnTo>
                    <a:pt x="274" y="146"/>
                  </a:lnTo>
                  <a:lnTo>
                    <a:pt x="265" y="145"/>
                  </a:lnTo>
                  <a:lnTo>
                    <a:pt x="265" y="145"/>
                  </a:lnTo>
                  <a:lnTo>
                    <a:pt x="257" y="142"/>
                  </a:lnTo>
                  <a:lnTo>
                    <a:pt x="253" y="139"/>
                  </a:lnTo>
                  <a:lnTo>
                    <a:pt x="251" y="136"/>
                  </a:lnTo>
                  <a:lnTo>
                    <a:pt x="251" y="136"/>
                  </a:lnTo>
                  <a:lnTo>
                    <a:pt x="254" y="137"/>
                  </a:lnTo>
                  <a:lnTo>
                    <a:pt x="264" y="139"/>
                  </a:lnTo>
                  <a:lnTo>
                    <a:pt x="264" y="139"/>
                  </a:lnTo>
                  <a:lnTo>
                    <a:pt x="270" y="139"/>
                  </a:lnTo>
                  <a:lnTo>
                    <a:pt x="277" y="138"/>
                  </a:lnTo>
                  <a:lnTo>
                    <a:pt x="281" y="138"/>
                  </a:lnTo>
                  <a:lnTo>
                    <a:pt x="283" y="137"/>
                  </a:lnTo>
                  <a:lnTo>
                    <a:pt x="283" y="137"/>
                  </a:lnTo>
                  <a:lnTo>
                    <a:pt x="283" y="117"/>
                  </a:lnTo>
                  <a:lnTo>
                    <a:pt x="283" y="117"/>
                  </a:lnTo>
                  <a:lnTo>
                    <a:pt x="284" y="112"/>
                  </a:lnTo>
                  <a:lnTo>
                    <a:pt x="284" y="106"/>
                  </a:lnTo>
                  <a:lnTo>
                    <a:pt x="284" y="106"/>
                  </a:lnTo>
                  <a:lnTo>
                    <a:pt x="280" y="106"/>
                  </a:lnTo>
                  <a:lnTo>
                    <a:pt x="273" y="105"/>
                  </a:lnTo>
                  <a:lnTo>
                    <a:pt x="264" y="101"/>
                  </a:lnTo>
                  <a:lnTo>
                    <a:pt x="261" y="99"/>
                  </a:lnTo>
                  <a:lnTo>
                    <a:pt x="256" y="95"/>
                  </a:lnTo>
                  <a:lnTo>
                    <a:pt x="256" y="95"/>
                  </a:lnTo>
                  <a:lnTo>
                    <a:pt x="254" y="93"/>
                  </a:lnTo>
                  <a:lnTo>
                    <a:pt x="254" y="90"/>
                  </a:lnTo>
                  <a:lnTo>
                    <a:pt x="256" y="85"/>
                  </a:lnTo>
                  <a:lnTo>
                    <a:pt x="256" y="85"/>
                  </a:lnTo>
                  <a:lnTo>
                    <a:pt x="234" y="76"/>
                  </a:lnTo>
                  <a:lnTo>
                    <a:pt x="234" y="76"/>
                  </a:lnTo>
                  <a:lnTo>
                    <a:pt x="236" y="73"/>
                  </a:lnTo>
                  <a:lnTo>
                    <a:pt x="239" y="70"/>
                  </a:lnTo>
                  <a:lnTo>
                    <a:pt x="239" y="67"/>
                  </a:lnTo>
                  <a:lnTo>
                    <a:pt x="239" y="67"/>
                  </a:lnTo>
                  <a:lnTo>
                    <a:pt x="237" y="63"/>
                  </a:lnTo>
                  <a:lnTo>
                    <a:pt x="234" y="61"/>
                  </a:lnTo>
                  <a:lnTo>
                    <a:pt x="230" y="60"/>
                  </a:lnTo>
                  <a:lnTo>
                    <a:pt x="225" y="60"/>
                  </a:lnTo>
                  <a:lnTo>
                    <a:pt x="225" y="60"/>
                  </a:lnTo>
                  <a:lnTo>
                    <a:pt x="220" y="61"/>
                  </a:lnTo>
                  <a:lnTo>
                    <a:pt x="218" y="63"/>
                  </a:lnTo>
                  <a:lnTo>
                    <a:pt x="214" y="67"/>
                  </a:lnTo>
                  <a:lnTo>
                    <a:pt x="187" y="55"/>
                  </a:lnTo>
                  <a:lnTo>
                    <a:pt x="165" y="77"/>
                  </a:lnTo>
                  <a:lnTo>
                    <a:pt x="165" y="77"/>
                  </a:lnTo>
                  <a:lnTo>
                    <a:pt x="164" y="78"/>
                  </a:lnTo>
                  <a:lnTo>
                    <a:pt x="164" y="81"/>
                  </a:lnTo>
                  <a:lnTo>
                    <a:pt x="164" y="83"/>
                  </a:lnTo>
                  <a:lnTo>
                    <a:pt x="164" y="83"/>
                  </a:lnTo>
                  <a:lnTo>
                    <a:pt x="164" y="84"/>
                  </a:lnTo>
                  <a:lnTo>
                    <a:pt x="163" y="85"/>
                  </a:lnTo>
                  <a:lnTo>
                    <a:pt x="163" y="85"/>
                  </a:lnTo>
                  <a:lnTo>
                    <a:pt x="157" y="93"/>
                  </a:lnTo>
                  <a:lnTo>
                    <a:pt x="157" y="93"/>
                  </a:lnTo>
                  <a:lnTo>
                    <a:pt x="153" y="99"/>
                  </a:lnTo>
                  <a:lnTo>
                    <a:pt x="153" y="99"/>
                  </a:lnTo>
                  <a:lnTo>
                    <a:pt x="150" y="104"/>
                  </a:lnTo>
                  <a:lnTo>
                    <a:pt x="149" y="107"/>
                  </a:lnTo>
                  <a:lnTo>
                    <a:pt x="149" y="107"/>
                  </a:lnTo>
                  <a:lnTo>
                    <a:pt x="148" y="109"/>
                  </a:lnTo>
                  <a:lnTo>
                    <a:pt x="148" y="111"/>
                  </a:lnTo>
                  <a:lnTo>
                    <a:pt x="150" y="116"/>
                  </a:lnTo>
                  <a:lnTo>
                    <a:pt x="157" y="121"/>
                  </a:lnTo>
                  <a:lnTo>
                    <a:pt x="157" y="122"/>
                  </a:lnTo>
                  <a:lnTo>
                    <a:pt x="157" y="122"/>
                  </a:lnTo>
                  <a:lnTo>
                    <a:pt x="158" y="121"/>
                  </a:lnTo>
                  <a:lnTo>
                    <a:pt x="159" y="121"/>
                  </a:lnTo>
                  <a:lnTo>
                    <a:pt x="159" y="121"/>
                  </a:lnTo>
                  <a:lnTo>
                    <a:pt x="163" y="125"/>
                  </a:lnTo>
                  <a:lnTo>
                    <a:pt x="163" y="125"/>
                  </a:lnTo>
                  <a:lnTo>
                    <a:pt x="164" y="122"/>
                  </a:lnTo>
                  <a:lnTo>
                    <a:pt x="166" y="118"/>
                  </a:lnTo>
                  <a:lnTo>
                    <a:pt x="166" y="118"/>
                  </a:lnTo>
                  <a:lnTo>
                    <a:pt x="170" y="114"/>
                  </a:lnTo>
                  <a:lnTo>
                    <a:pt x="175" y="110"/>
                  </a:lnTo>
                  <a:lnTo>
                    <a:pt x="175" y="110"/>
                  </a:lnTo>
                  <a:lnTo>
                    <a:pt x="180" y="107"/>
                  </a:lnTo>
                  <a:lnTo>
                    <a:pt x="185" y="107"/>
                  </a:lnTo>
                  <a:lnTo>
                    <a:pt x="185" y="107"/>
                  </a:lnTo>
                  <a:lnTo>
                    <a:pt x="190" y="107"/>
                  </a:lnTo>
                  <a:lnTo>
                    <a:pt x="193" y="110"/>
                  </a:lnTo>
                  <a:lnTo>
                    <a:pt x="193" y="110"/>
                  </a:lnTo>
                  <a:lnTo>
                    <a:pt x="196" y="114"/>
                  </a:lnTo>
                  <a:lnTo>
                    <a:pt x="197" y="118"/>
                  </a:lnTo>
                  <a:lnTo>
                    <a:pt x="197" y="123"/>
                  </a:lnTo>
                  <a:lnTo>
                    <a:pt x="197" y="127"/>
                  </a:lnTo>
                  <a:lnTo>
                    <a:pt x="197" y="127"/>
                  </a:lnTo>
                  <a:lnTo>
                    <a:pt x="195" y="125"/>
                  </a:lnTo>
                  <a:lnTo>
                    <a:pt x="195" y="125"/>
                  </a:lnTo>
                  <a:lnTo>
                    <a:pt x="191" y="123"/>
                  </a:lnTo>
                  <a:lnTo>
                    <a:pt x="185" y="122"/>
                  </a:lnTo>
                  <a:lnTo>
                    <a:pt x="177" y="122"/>
                  </a:lnTo>
                  <a:lnTo>
                    <a:pt x="170" y="123"/>
                  </a:lnTo>
                  <a:lnTo>
                    <a:pt x="170" y="123"/>
                  </a:lnTo>
                  <a:lnTo>
                    <a:pt x="162" y="127"/>
                  </a:lnTo>
                  <a:lnTo>
                    <a:pt x="147" y="132"/>
                  </a:lnTo>
                  <a:lnTo>
                    <a:pt x="147" y="132"/>
                  </a:lnTo>
                  <a:lnTo>
                    <a:pt x="143" y="133"/>
                  </a:lnTo>
                  <a:lnTo>
                    <a:pt x="139" y="133"/>
                  </a:lnTo>
                  <a:lnTo>
                    <a:pt x="137" y="131"/>
                  </a:lnTo>
                  <a:lnTo>
                    <a:pt x="136" y="128"/>
                  </a:lnTo>
                  <a:lnTo>
                    <a:pt x="136" y="128"/>
                  </a:lnTo>
                  <a:lnTo>
                    <a:pt x="136" y="125"/>
                  </a:lnTo>
                  <a:lnTo>
                    <a:pt x="136" y="122"/>
                  </a:lnTo>
                  <a:lnTo>
                    <a:pt x="137" y="120"/>
                  </a:lnTo>
                  <a:lnTo>
                    <a:pt x="137" y="120"/>
                  </a:lnTo>
                  <a:lnTo>
                    <a:pt x="133" y="122"/>
                  </a:lnTo>
                  <a:lnTo>
                    <a:pt x="130" y="125"/>
                  </a:lnTo>
                  <a:lnTo>
                    <a:pt x="127" y="128"/>
                  </a:lnTo>
                  <a:lnTo>
                    <a:pt x="127" y="128"/>
                  </a:lnTo>
                  <a:lnTo>
                    <a:pt x="127" y="133"/>
                  </a:lnTo>
                  <a:lnTo>
                    <a:pt x="128" y="138"/>
                  </a:lnTo>
                  <a:lnTo>
                    <a:pt x="131" y="140"/>
                  </a:lnTo>
                  <a:lnTo>
                    <a:pt x="135" y="143"/>
                  </a:lnTo>
                  <a:lnTo>
                    <a:pt x="135" y="143"/>
                  </a:lnTo>
                  <a:lnTo>
                    <a:pt x="139" y="143"/>
                  </a:lnTo>
                  <a:lnTo>
                    <a:pt x="146" y="142"/>
                  </a:lnTo>
                  <a:lnTo>
                    <a:pt x="157" y="137"/>
                  </a:lnTo>
                  <a:lnTo>
                    <a:pt x="157" y="137"/>
                  </a:lnTo>
                  <a:lnTo>
                    <a:pt x="168" y="131"/>
                  </a:lnTo>
                  <a:lnTo>
                    <a:pt x="168" y="131"/>
                  </a:lnTo>
                  <a:lnTo>
                    <a:pt x="173" y="129"/>
                  </a:lnTo>
                  <a:lnTo>
                    <a:pt x="176" y="128"/>
                  </a:lnTo>
                  <a:lnTo>
                    <a:pt x="181" y="129"/>
                  </a:lnTo>
                  <a:lnTo>
                    <a:pt x="186" y="131"/>
                  </a:lnTo>
                  <a:lnTo>
                    <a:pt x="186" y="131"/>
                  </a:lnTo>
                  <a:lnTo>
                    <a:pt x="191" y="134"/>
                  </a:lnTo>
                  <a:lnTo>
                    <a:pt x="193" y="136"/>
                  </a:lnTo>
                  <a:lnTo>
                    <a:pt x="193" y="136"/>
                  </a:lnTo>
                  <a:lnTo>
                    <a:pt x="191" y="139"/>
                  </a:lnTo>
                  <a:lnTo>
                    <a:pt x="188" y="142"/>
                  </a:lnTo>
                  <a:lnTo>
                    <a:pt x="184" y="142"/>
                  </a:lnTo>
                  <a:lnTo>
                    <a:pt x="184" y="142"/>
                  </a:lnTo>
                  <a:lnTo>
                    <a:pt x="179" y="142"/>
                  </a:lnTo>
                  <a:lnTo>
                    <a:pt x="175" y="140"/>
                  </a:lnTo>
                  <a:lnTo>
                    <a:pt x="171" y="138"/>
                  </a:lnTo>
                  <a:lnTo>
                    <a:pt x="170" y="136"/>
                  </a:lnTo>
                  <a:lnTo>
                    <a:pt x="170" y="136"/>
                  </a:lnTo>
                  <a:lnTo>
                    <a:pt x="168" y="140"/>
                  </a:lnTo>
                  <a:lnTo>
                    <a:pt x="168" y="140"/>
                  </a:lnTo>
                  <a:lnTo>
                    <a:pt x="166" y="143"/>
                  </a:lnTo>
                  <a:lnTo>
                    <a:pt x="166" y="145"/>
                  </a:lnTo>
                  <a:lnTo>
                    <a:pt x="168" y="146"/>
                  </a:lnTo>
                  <a:lnTo>
                    <a:pt x="166" y="149"/>
                  </a:lnTo>
                  <a:lnTo>
                    <a:pt x="166" y="149"/>
                  </a:lnTo>
                  <a:lnTo>
                    <a:pt x="165" y="150"/>
                  </a:lnTo>
                  <a:lnTo>
                    <a:pt x="164" y="153"/>
                  </a:lnTo>
                  <a:lnTo>
                    <a:pt x="159" y="156"/>
                  </a:lnTo>
                  <a:lnTo>
                    <a:pt x="159" y="156"/>
                  </a:lnTo>
                  <a:lnTo>
                    <a:pt x="152" y="160"/>
                  </a:lnTo>
                  <a:lnTo>
                    <a:pt x="147" y="161"/>
                  </a:lnTo>
                  <a:lnTo>
                    <a:pt x="147" y="161"/>
                  </a:lnTo>
                  <a:lnTo>
                    <a:pt x="152" y="172"/>
                  </a:lnTo>
                  <a:lnTo>
                    <a:pt x="152" y="172"/>
                  </a:lnTo>
                  <a:lnTo>
                    <a:pt x="155" y="179"/>
                  </a:lnTo>
                  <a:lnTo>
                    <a:pt x="158" y="184"/>
                  </a:lnTo>
                  <a:lnTo>
                    <a:pt x="160" y="188"/>
                  </a:lnTo>
                  <a:lnTo>
                    <a:pt x="160" y="188"/>
                  </a:lnTo>
                  <a:lnTo>
                    <a:pt x="165" y="187"/>
                  </a:lnTo>
                  <a:lnTo>
                    <a:pt x="174" y="183"/>
                  </a:lnTo>
                  <a:lnTo>
                    <a:pt x="174" y="183"/>
                  </a:lnTo>
                  <a:lnTo>
                    <a:pt x="180" y="178"/>
                  </a:lnTo>
                  <a:lnTo>
                    <a:pt x="184" y="173"/>
                  </a:lnTo>
                  <a:lnTo>
                    <a:pt x="184" y="173"/>
                  </a:lnTo>
                  <a:lnTo>
                    <a:pt x="179" y="184"/>
                  </a:lnTo>
                  <a:lnTo>
                    <a:pt x="175" y="190"/>
                  </a:lnTo>
                  <a:lnTo>
                    <a:pt x="170" y="195"/>
                  </a:lnTo>
                  <a:lnTo>
                    <a:pt x="166" y="199"/>
                  </a:lnTo>
                  <a:lnTo>
                    <a:pt x="166" y="199"/>
                  </a:lnTo>
                  <a:lnTo>
                    <a:pt x="150" y="210"/>
                  </a:lnTo>
                  <a:lnTo>
                    <a:pt x="128" y="222"/>
                  </a:lnTo>
                  <a:lnTo>
                    <a:pt x="115" y="230"/>
                  </a:lnTo>
                  <a:lnTo>
                    <a:pt x="103" y="234"/>
                  </a:lnTo>
                  <a:lnTo>
                    <a:pt x="89" y="239"/>
                  </a:lnTo>
                  <a:lnTo>
                    <a:pt x="76" y="242"/>
                  </a:lnTo>
                  <a:lnTo>
                    <a:pt x="76" y="242"/>
                  </a:lnTo>
                  <a:lnTo>
                    <a:pt x="72" y="240"/>
                  </a:lnTo>
                  <a:lnTo>
                    <a:pt x="67" y="239"/>
                  </a:lnTo>
                  <a:lnTo>
                    <a:pt x="59" y="233"/>
                  </a:lnTo>
                  <a:lnTo>
                    <a:pt x="50" y="227"/>
                  </a:lnTo>
                  <a:lnTo>
                    <a:pt x="45" y="221"/>
                  </a:lnTo>
                  <a:lnTo>
                    <a:pt x="45" y="221"/>
                  </a:lnTo>
                  <a:lnTo>
                    <a:pt x="44" y="221"/>
                  </a:lnTo>
                  <a:lnTo>
                    <a:pt x="42" y="220"/>
                  </a:lnTo>
                  <a:lnTo>
                    <a:pt x="39" y="221"/>
                  </a:lnTo>
                  <a:lnTo>
                    <a:pt x="35" y="223"/>
                  </a:lnTo>
                  <a:lnTo>
                    <a:pt x="35" y="223"/>
                  </a:lnTo>
                  <a:lnTo>
                    <a:pt x="33" y="223"/>
                  </a:lnTo>
                  <a:lnTo>
                    <a:pt x="28" y="223"/>
                  </a:lnTo>
                  <a:lnTo>
                    <a:pt x="21" y="225"/>
                  </a:lnTo>
                  <a:lnTo>
                    <a:pt x="18" y="227"/>
                  </a:lnTo>
                  <a:lnTo>
                    <a:pt x="16" y="230"/>
                  </a:lnTo>
                  <a:lnTo>
                    <a:pt x="16" y="230"/>
                  </a:lnTo>
                  <a:lnTo>
                    <a:pt x="16" y="231"/>
                  </a:lnTo>
                  <a:lnTo>
                    <a:pt x="20" y="231"/>
                  </a:lnTo>
                  <a:lnTo>
                    <a:pt x="23" y="230"/>
                  </a:lnTo>
                  <a:lnTo>
                    <a:pt x="28" y="231"/>
                  </a:lnTo>
                  <a:lnTo>
                    <a:pt x="28" y="231"/>
                  </a:lnTo>
                  <a:lnTo>
                    <a:pt x="29" y="232"/>
                  </a:lnTo>
                  <a:lnTo>
                    <a:pt x="28" y="233"/>
                  </a:lnTo>
                  <a:lnTo>
                    <a:pt x="27" y="234"/>
                  </a:lnTo>
                  <a:lnTo>
                    <a:pt x="27" y="237"/>
                  </a:lnTo>
                  <a:lnTo>
                    <a:pt x="27" y="237"/>
                  </a:lnTo>
                  <a:lnTo>
                    <a:pt x="27" y="238"/>
                  </a:lnTo>
                  <a:lnTo>
                    <a:pt x="29" y="240"/>
                  </a:lnTo>
                  <a:lnTo>
                    <a:pt x="35" y="243"/>
                  </a:lnTo>
                  <a:lnTo>
                    <a:pt x="48" y="248"/>
                  </a:lnTo>
                  <a:lnTo>
                    <a:pt x="48" y="248"/>
                  </a:lnTo>
                  <a:lnTo>
                    <a:pt x="49" y="249"/>
                  </a:lnTo>
                  <a:lnTo>
                    <a:pt x="49" y="250"/>
                  </a:lnTo>
                  <a:lnTo>
                    <a:pt x="49" y="250"/>
                  </a:lnTo>
                  <a:lnTo>
                    <a:pt x="40" y="249"/>
                  </a:lnTo>
                  <a:lnTo>
                    <a:pt x="34" y="247"/>
                  </a:lnTo>
                  <a:lnTo>
                    <a:pt x="26" y="243"/>
                  </a:lnTo>
                  <a:lnTo>
                    <a:pt x="26" y="243"/>
                  </a:lnTo>
                  <a:lnTo>
                    <a:pt x="20" y="242"/>
                  </a:lnTo>
                  <a:lnTo>
                    <a:pt x="16" y="242"/>
                  </a:lnTo>
                  <a:lnTo>
                    <a:pt x="15" y="244"/>
                  </a:lnTo>
                  <a:lnTo>
                    <a:pt x="13" y="247"/>
                  </a:lnTo>
                  <a:lnTo>
                    <a:pt x="13" y="247"/>
                  </a:lnTo>
                  <a:lnTo>
                    <a:pt x="12" y="248"/>
                  </a:lnTo>
                  <a:lnTo>
                    <a:pt x="11" y="248"/>
                  </a:lnTo>
                  <a:lnTo>
                    <a:pt x="7" y="250"/>
                  </a:lnTo>
                  <a:lnTo>
                    <a:pt x="5" y="251"/>
                  </a:lnTo>
                  <a:lnTo>
                    <a:pt x="2" y="255"/>
                  </a:lnTo>
                  <a:lnTo>
                    <a:pt x="1" y="259"/>
                  </a:lnTo>
                  <a:lnTo>
                    <a:pt x="0" y="265"/>
                  </a:lnTo>
                  <a:lnTo>
                    <a:pt x="0" y="265"/>
                  </a:lnTo>
                  <a:lnTo>
                    <a:pt x="2" y="264"/>
                  </a:lnTo>
                  <a:lnTo>
                    <a:pt x="6" y="260"/>
                  </a:lnTo>
                  <a:lnTo>
                    <a:pt x="10" y="258"/>
                  </a:lnTo>
                  <a:lnTo>
                    <a:pt x="12" y="256"/>
                  </a:lnTo>
                  <a:lnTo>
                    <a:pt x="12" y="258"/>
                  </a:lnTo>
                  <a:lnTo>
                    <a:pt x="12" y="258"/>
                  </a:lnTo>
                  <a:lnTo>
                    <a:pt x="15" y="262"/>
                  </a:lnTo>
                  <a:lnTo>
                    <a:pt x="18" y="265"/>
                  </a:lnTo>
                  <a:lnTo>
                    <a:pt x="23" y="265"/>
                  </a:lnTo>
                  <a:lnTo>
                    <a:pt x="28" y="265"/>
                  </a:lnTo>
                  <a:lnTo>
                    <a:pt x="39" y="264"/>
                  </a:lnTo>
                  <a:lnTo>
                    <a:pt x="44" y="264"/>
                  </a:lnTo>
                  <a:lnTo>
                    <a:pt x="46" y="264"/>
                  </a:lnTo>
                  <a:lnTo>
                    <a:pt x="46" y="264"/>
                  </a:lnTo>
                  <a:lnTo>
                    <a:pt x="46" y="265"/>
                  </a:lnTo>
                  <a:lnTo>
                    <a:pt x="46" y="265"/>
                  </a:lnTo>
                  <a:lnTo>
                    <a:pt x="44" y="266"/>
                  </a:lnTo>
                  <a:lnTo>
                    <a:pt x="35" y="267"/>
                  </a:lnTo>
                  <a:lnTo>
                    <a:pt x="31" y="269"/>
                  </a:lnTo>
                  <a:lnTo>
                    <a:pt x="26" y="271"/>
                  </a:lnTo>
                  <a:lnTo>
                    <a:pt x="24" y="272"/>
                  </a:lnTo>
                  <a:lnTo>
                    <a:pt x="23" y="275"/>
                  </a:lnTo>
                  <a:lnTo>
                    <a:pt x="24" y="276"/>
                  </a:lnTo>
                  <a:lnTo>
                    <a:pt x="24" y="276"/>
                  </a:lnTo>
                  <a:lnTo>
                    <a:pt x="22" y="278"/>
                  </a:lnTo>
                  <a:lnTo>
                    <a:pt x="20" y="283"/>
                  </a:lnTo>
                  <a:lnTo>
                    <a:pt x="18" y="286"/>
                  </a:lnTo>
                  <a:lnTo>
                    <a:pt x="18" y="289"/>
                  </a:lnTo>
                  <a:lnTo>
                    <a:pt x="20" y="293"/>
                  </a:lnTo>
                  <a:lnTo>
                    <a:pt x="23" y="298"/>
                  </a:lnTo>
                  <a:lnTo>
                    <a:pt x="23" y="298"/>
                  </a:lnTo>
                  <a:lnTo>
                    <a:pt x="24" y="291"/>
                  </a:lnTo>
                  <a:lnTo>
                    <a:pt x="27" y="287"/>
                  </a:lnTo>
                  <a:lnTo>
                    <a:pt x="28" y="286"/>
                  </a:lnTo>
                  <a:lnTo>
                    <a:pt x="31" y="286"/>
                  </a:lnTo>
                  <a:lnTo>
                    <a:pt x="31" y="286"/>
                  </a:lnTo>
                  <a:lnTo>
                    <a:pt x="35" y="286"/>
                  </a:lnTo>
                  <a:lnTo>
                    <a:pt x="39" y="288"/>
                  </a:lnTo>
                  <a:lnTo>
                    <a:pt x="43" y="288"/>
                  </a:lnTo>
                  <a:lnTo>
                    <a:pt x="48" y="286"/>
                  </a:lnTo>
                  <a:lnTo>
                    <a:pt x="48" y="286"/>
                  </a:lnTo>
                  <a:lnTo>
                    <a:pt x="53" y="282"/>
                  </a:lnTo>
                  <a:lnTo>
                    <a:pt x="56" y="280"/>
                  </a:lnTo>
                  <a:lnTo>
                    <a:pt x="64" y="277"/>
                  </a:lnTo>
                  <a:lnTo>
                    <a:pt x="64" y="277"/>
                  </a:lnTo>
                  <a:lnTo>
                    <a:pt x="64" y="280"/>
                  </a:lnTo>
                  <a:lnTo>
                    <a:pt x="66" y="283"/>
                  </a:lnTo>
                  <a:lnTo>
                    <a:pt x="66" y="283"/>
                  </a:lnTo>
                  <a:lnTo>
                    <a:pt x="69" y="284"/>
                  </a:lnTo>
                  <a:lnTo>
                    <a:pt x="70" y="286"/>
                  </a:lnTo>
                  <a:lnTo>
                    <a:pt x="70" y="286"/>
                  </a:lnTo>
                  <a:lnTo>
                    <a:pt x="70" y="286"/>
                  </a:lnTo>
                  <a:lnTo>
                    <a:pt x="69" y="289"/>
                  </a:lnTo>
                  <a:lnTo>
                    <a:pt x="66" y="293"/>
                  </a:lnTo>
                  <a:lnTo>
                    <a:pt x="64" y="295"/>
                  </a:lnTo>
                  <a:lnTo>
                    <a:pt x="64" y="295"/>
                  </a:lnTo>
                  <a:lnTo>
                    <a:pt x="65" y="295"/>
                  </a:lnTo>
                  <a:lnTo>
                    <a:pt x="69" y="295"/>
                  </a:lnTo>
                  <a:lnTo>
                    <a:pt x="72" y="294"/>
                  </a:lnTo>
                  <a:lnTo>
                    <a:pt x="75" y="292"/>
                  </a:lnTo>
                  <a:lnTo>
                    <a:pt x="77" y="288"/>
                  </a:lnTo>
                  <a:lnTo>
                    <a:pt x="77" y="288"/>
                  </a:lnTo>
                  <a:lnTo>
                    <a:pt x="78" y="287"/>
                  </a:lnTo>
                  <a:lnTo>
                    <a:pt x="80" y="287"/>
                  </a:lnTo>
                  <a:lnTo>
                    <a:pt x="83" y="287"/>
                  </a:lnTo>
                  <a:lnTo>
                    <a:pt x="83" y="287"/>
                  </a:lnTo>
                  <a:lnTo>
                    <a:pt x="86" y="286"/>
                  </a:lnTo>
                  <a:lnTo>
                    <a:pt x="87" y="284"/>
                  </a:lnTo>
                  <a:lnTo>
                    <a:pt x="87" y="281"/>
                  </a:lnTo>
                  <a:lnTo>
                    <a:pt x="87" y="277"/>
                  </a:lnTo>
                  <a:lnTo>
                    <a:pt x="87" y="275"/>
                  </a:lnTo>
                  <a:lnTo>
                    <a:pt x="88" y="273"/>
                  </a:lnTo>
                  <a:lnTo>
                    <a:pt x="88" y="273"/>
                  </a:lnTo>
                  <a:lnTo>
                    <a:pt x="93" y="270"/>
                  </a:lnTo>
                  <a:lnTo>
                    <a:pt x="98" y="266"/>
                  </a:lnTo>
                  <a:lnTo>
                    <a:pt x="109" y="261"/>
                  </a:lnTo>
                  <a:lnTo>
                    <a:pt x="109" y="261"/>
                  </a:lnTo>
                  <a:lnTo>
                    <a:pt x="108" y="266"/>
                  </a:lnTo>
                  <a:lnTo>
                    <a:pt x="108" y="271"/>
                  </a:lnTo>
                  <a:lnTo>
                    <a:pt x="110" y="277"/>
                  </a:lnTo>
                  <a:lnTo>
                    <a:pt x="137" y="270"/>
                  </a:lnTo>
                  <a:lnTo>
                    <a:pt x="137" y="270"/>
                  </a:lnTo>
                  <a:lnTo>
                    <a:pt x="136" y="264"/>
                  </a:lnTo>
                  <a:lnTo>
                    <a:pt x="137" y="259"/>
                  </a:lnTo>
                  <a:lnTo>
                    <a:pt x="141" y="253"/>
                  </a:lnTo>
                  <a:lnTo>
                    <a:pt x="144" y="247"/>
                  </a:lnTo>
                  <a:lnTo>
                    <a:pt x="144" y="247"/>
                  </a:lnTo>
                  <a:lnTo>
                    <a:pt x="144" y="249"/>
                  </a:lnTo>
                  <a:lnTo>
                    <a:pt x="143" y="255"/>
                  </a:lnTo>
                  <a:lnTo>
                    <a:pt x="143" y="262"/>
                  </a:lnTo>
                  <a:lnTo>
                    <a:pt x="143" y="266"/>
                  </a:lnTo>
                  <a:lnTo>
                    <a:pt x="144" y="267"/>
                  </a:lnTo>
                  <a:lnTo>
                    <a:pt x="171" y="261"/>
                  </a:lnTo>
                  <a:lnTo>
                    <a:pt x="171" y="261"/>
                  </a:lnTo>
                  <a:lnTo>
                    <a:pt x="170" y="258"/>
                  </a:lnTo>
                  <a:lnTo>
                    <a:pt x="170" y="253"/>
                  </a:lnTo>
                  <a:lnTo>
                    <a:pt x="173" y="244"/>
                  </a:lnTo>
                  <a:lnTo>
                    <a:pt x="173" y="244"/>
                  </a:lnTo>
                  <a:lnTo>
                    <a:pt x="175" y="254"/>
                  </a:lnTo>
                  <a:lnTo>
                    <a:pt x="180" y="262"/>
                  </a:lnTo>
                  <a:lnTo>
                    <a:pt x="186" y="270"/>
                  </a:lnTo>
                  <a:lnTo>
                    <a:pt x="190" y="272"/>
                  </a:lnTo>
                  <a:lnTo>
                    <a:pt x="193" y="275"/>
                  </a:lnTo>
                  <a:lnTo>
                    <a:pt x="193" y="275"/>
                  </a:lnTo>
                  <a:lnTo>
                    <a:pt x="208" y="281"/>
                  </a:lnTo>
                  <a:lnTo>
                    <a:pt x="224" y="286"/>
                  </a:lnTo>
                  <a:lnTo>
                    <a:pt x="262" y="297"/>
                  </a:lnTo>
                  <a:lnTo>
                    <a:pt x="262" y="297"/>
                  </a:lnTo>
                  <a:lnTo>
                    <a:pt x="273" y="300"/>
                  </a:lnTo>
                  <a:lnTo>
                    <a:pt x="281" y="304"/>
                  </a:lnTo>
                  <a:lnTo>
                    <a:pt x="281" y="304"/>
                  </a:lnTo>
                  <a:lnTo>
                    <a:pt x="284" y="305"/>
                  </a:lnTo>
                  <a:lnTo>
                    <a:pt x="284" y="306"/>
                  </a:lnTo>
                  <a:lnTo>
                    <a:pt x="283" y="310"/>
                  </a:lnTo>
                  <a:lnTo>
                    <a:pt x="279" y="313"/>
                  </a:lnTo>
                  <a:lnTo>
                    <a:pt x="279" y="313"/>
                  </a:lnTo>
                  <a:lnTo>
                    <a:pt x="284" y="316"/>
                  </a:lnTo>
                  <a:lnTo>
                    <a:pt x="294" y="322"/>
                  </a:lnTo>
                  <a:lnTo>
                    <a:pt x="294" y="322"/>
                  </a:lnTo>
                  <a:lnTo>
                    <a:pt x="300" y="328"/>
                  </a:lnTo>
                  <a:lnTo>
                    <a:pt x="303" y="336"/>
                  </a:lnTo>
                  <a:lnTo>
                    <a:pt x="307" y="345"/>
                  </a:lnTo>
                  <a:lnTo>
                    <a:pt x="310" y="355"/>
                  </a:lnTo>
                  <a:lnTo>
                    <a:pt x="310" y="355"/>
                  </a:lnTo>
                  <a:lnTo>
                    <a:pt x="312" y="364"/>
                  </a:lnTo>
                  <a:lnTo>
                    <a:pt x="312" y="372"/>
                  </a:lnTo>
                  <a:lnTo>
                    <a:pt x="312" y="380"/>
                  </a:lnTo>
                  <a:lnTo>
                    <a:pt x="312" y="383"/>
                  </a:lnTo>
                  <a:lnTo>
                    <a:pt x="311" y="385"/>
                  </a:lnTo>
                  <a:lnTo>
                    <a:pt x="311" y="385"/>
                  </a:lnTo>
                  <a:lnTo>
                    <a:pt x="308" y="387"/>
                  </a:lnTo>
                  <a:lnTo>
                    <a:pt x="306" y="388"/>
                  </a:lnTo>
                  <a:lnTo>
                    <a:pt x="302" y="389"/>
                  </a:lnTo>
                  <a:lnTo>
                    <a:pt x="295" y="392"/>
                  </a:lnTo>
                  <a:lnTo>
                    <a:pt x="297" y="402"/>
                  </a:lnTo>
                  <a:lnTo>
                    <a:pt x="297" y="402"/>
                  </a:lnTo>
                  <a:lnTo>
                    <a:pt x="302" y="402"/>
                  </a:lnTo>
                  <a:lnTo>
                    <a:pt x="307" y="400"/>
                  </a:lnTo>
                  <a:lnTo>
                    <a:pt x="312" y="399"/>
                  </a:lnTo>
                  <a:lnTo>
                    <a:pt x="312" y="399"/>
                  </a:lnTo>
                  <a:lnTo>
                    <a:pt x="311" y="400"/>
                  </a:lnTo>
                  <a:lnTo>
                    <a:pt x="311" y="400"/>
                  </a:lnTo>
                  <a:lnTo>
                    <a:pt x="307" y="407"/>
                  </a:lnTo>
                  <a:lnTo>
                    <a:pt x="306" y="411"/>
                  </a:lnTo>
                  <a:lnTo>
                    <a:pt x="317" y="419"/>
                  </a:lnTo>
                  <a:lnTo>
                    <a:pt x="317" y="419"/>
                  </a:lnTo>
                  <a:lnTo>
                    <a:pt x="322" y="407"/>
                  </a:lnTo>
                  <a:lnTo>
                    <a:pt x="324" y="403"/>
                  </a:lnTo>
                  <a:lnTo>
                    <a:pt x="327" y="400"/>
                  </a:lnTo>
                  <a:lnTo>
                    <a:pt x="327" y="400"/>
                  </a:lnTo>
                  <a:lnTo>
                    <a:pt x="329" y="400"/>
                  </a:lnTo>
                  <a:lnTo>
                    <a:pt x="333" y="402"/>
                  </a:lnTo>
                  <a:lnTo>
                    <a:pt x="338" y="404"/>
                  </a:lnTo>
                  <a:lnTo>
                    <a:pt x="343" y="407"/>
                  </a:lnTo>
                  <a:lnTo>
                    <a:pt x="349" y="411"/>
                  </a:lnTo>
                  <a:lnTo>
                    <a:pt x="354" y="418"/>
                  </a:lnTo>
                  <a:lnTo>
                    <a:pt x="358" y="424"/>
                  </a:lnTo>
                  <a:lnTo>
                    <a:pt x="362" y="431"/>
                  </a:lnTo>
                  <a:lnTo>
                    <a:pt x="362" y="431"/>
                  </a:lnTo>
                  <a:lnTo>
                    <a:pt x="363" y="437"/>
                  </a:lnTo>
                  <a:lnTo>
                    <a:pt x="365" y="443"/>
                  </a:lnTo>
                  <a:lnTo>
                    <a:pt x="365" y="449"/>
                  </a:lnTo>
                  <a:lnTo>
                    <a:pt x="363" y="457"/>
                  </a:lnTo>
                  <a:lnTo>
                    <a:pt x="362" y="463"/>
                  </a:lnTo>
                  <a:lnTo>
                    <a:pt x="360" y="468"/>
                  </a:lnTo>
                  <a:lnTo>
                    <a:pt x="356" y="471"/>
                  </a:lnTo>
                  <a:lnTo>
                    <a:pt x="352" y="474"/>
                  </a:lnTo>
                  <a:lnTo>
                    <a:pt x="352" y="474"/>
                  </a:lnTo>
                  <a:lnTo>
                    <a:pt x="349" y="474"/>
                  </a:lnTo>
                  <a:lnTo>
                    <a:pt x="346" y="472"/>
                  </a:lnTo>
                  <a:lnTo>
                    <a:pt x="338" y="469"/>
                  </a:lnTo>
                  <a:lnTo>
                    <a:pt x="330" y="465"/>
                  </a:lnTo>
                  <a:lnTo>
                    <a:pt x="328" y="465"/>
                  </a:lnTo>
                  <a:lnTo>
                    <a:pt x="325" y="468"/>
                  </a:lnTo>
                  <a:lnTo>
                    <a:pt x="325" y="468"/>
                  </a:lnTo>
                  <a:lnTo>
                    <a:pt x="324" y="469"/>
                  </a:lnTo>
                  <a:lnTo>
                    <a:pt x="321" y="471"/>
                  </a:lnTo>
                  <a:lnTo>
                    <a:pt x="314" y="475"/>
                  </a:lnTo>
                  <a:lnTo>
                    <a:pt x="312" y="477"/>
                  </a:lnTo>
                  <a:lnTo>
                    <a:pt x="310" y="481"/>
                  </a:lnTo>
                  <a:lnTo>
                    <a:pt x="310" y="486"/>
                  </a:lnTo>
                  <a:lnTo>
                    <a:pt x="311" y="492"/>
                  </a:lnTo>
                  <a:lnTo>
                    <a:pt x="311" y="492"/>
                  </a:lnTo>
                  <a:lnTo>
                    <a:pt x="317" y="486"/>
                  </a:lnTo>
                  <a:lnTo>
                    <a:pt x="319" y="483"/>
                  </a:lnTo>
                  <a:lnTo>
                    <a:pt x="322" y="483"/>
                  </a:lnTo>
                  <a:lnTo>
                    <a:pt x="322" y="483"/>
                  </a:lnTo>
                  <a:lnTo>
                    <a:pt x="323" y="485"/>
                  </a:lnTo>
                  <a:lnTo>
                    <a:pt x="323" y="486"/>
                  </a:lnTo>
                  <a:lnTo>
                    <a:pt x="325" y="488"/>
                  </a:lnTo>
                  <a:lnTo>
                    <a:pt x="325" y="488"/>
                  </a:lnTo>
                  <a:lnTo>
                    <a:pt x="327" y="490"/>
                  </a:lnTo>
                  <a:lnTo>
                    <a:pt x="329" y="490"/>
                  </a:lnTo>
                  <a:lnTo>
                    <a:pt x="336" y="490"/>
                  </a:lnTo>
                  <a:lnTo>
                    <a:pt x="343" y="488"/>
                  </a:lnTo>
                  <a:lnTo>
                    <a:pt x="345" y="488"/>
                  </a:lnTo>
                  <a:lnTo>
                    <a:pt x="346" y="490"/>
                  </a:lnTo>
                  <a:lnTo>
                    <a:pt x="346" y="490"/>
                  </a:lnTo>
                  <a:lnTo>
                    <a:pt x="346" y="491"/>
                  </a:lnTo>
                  <a:lnTo>
                    <a:pt x="345" y="491"/>
                  </a:lnTo>
                  <a:lnTo>
                    <a:pt x="341" y="491"/>
                  </a:lnTo>
                  <a:lnTo>
                    <a:pt x="341" y="491"/>
                  </a:lnTo>
                  <a:lnTo>
                    <a:pt x="329" y="493"/>
                  </a:lnTo>
                  <a:lnTo>
                    <a:pt x="324" y="496"/>
                  </a:lnTo>
                  <a:lnTo>
                    <a:pt x="321" y="498"/>
                  </a:lnTo>
                  <a:lnTo>
                    <a:pt x="321" y="498"/>
                  </a:lnTo>
                  <a:lnTo>
                    <a:pt x="321" y="499"/>
                  </a:lnTo>
                  <a:lnTo>
                    <a:pt x="321" y="502"/>
                  </a:lnTo>
                  <a:lnTo>
                    <a:pt x="321" y="502"/>
                  </a:lnTo>
                  <a:lnTo>
                    <a:pt x="318" y="505"/>
                  </a:lnTo>
                  <a:lnTo>
                    <a:pt x="314" y="508"/>
                  </a:lnTo>
                  <a:lnTo>
                    <a:pt x="312" y="512"/>
                  </a:lnTo>
                  <a:lnTo>
                    <a:pt x="311" y="515"/>
                  </a:lnTo>
                  <a:lnTo>
                    <a:pt x="311" y="519"/>
                  </a:lnTo>
                  <a:lnTo>
                    <a:pt x="311" y="519"/>
                  </a:lnTo>
                  <a:lnTo>
                    <a:pt x="312" y="524"/>
                  </a:lnTo>
                  <a:lnTo>
                    <a:pt x="314" y="526"/>
                  </a:lnTo>
                  <a:lnTo>
                    <a:pt x="318" y="530"/>
                  </a:lnTo>
                  <a:lnTo>
                    <a:pt x="318" y="530"/>
                  </a:lnTo>
                  <a:lnTo>
                    <a:pt x="318" y="527"/>
                  </a:lnTo>
                  <a:lnTo>
                    <a:pt x="319" y="524"/>
                  </a:lnTo>
                  <a:lnTo>
                    <a:pt x="321" y="519"/>
                  </a:lnTo>
                  <a:lnTo>
                    <a:pt x="321" y="516"/>
                  </a:lnTo>
                  <a:lnTo>
                    <a:pt x="323" y="516"/>
                  </a:lnTo>
                  <a:lnTo>
                    <a:pt x="323" y="516"/>
                  </a:lnTo>
                  <a:lnTo>
                    <a:pt x="324" y="516"/>
                  </a:lnTo>
                  <a:lnTo>
                    <a:pt x="327" y="518"/>
                  </a:lnTo>
                  <a:lnTo>
                    <a:pt x="328" y="520"/>
                  </a:lnTo>
                  <a:lnTo>
                    <a:pt x="330" y="520"/>
                  </a:lnTo>
                  <a:lnTo>
                    <a:pt x="330" y="520"/>
                  </a:lnTo>
                  <a:lnTo>
                    <a:pt x="333" y="520"/>
                  </a:lnTo>
                  <a:lnTo>
                    <a:pt x="336" y="518"/>
                  </a:lnTo>
                  <a:lnTo>
                    <a:pt x="344" y="510"/>
                  </a:lnTo>
                  <a:lnTo>
                    <a:pt x="351" y="504"/>
                  </a:lnTo>
                  <a:lnTo>
                    <a:pt x="354" y="502"/>
                  </a:lnTo>
                  <a:lnTo>
                    <a:pt x="356" y="502"/>
                  </a:lnTo>
                  <a:lnTo>
                    <a:pt x="356" y="502"/>
                  </a:lnTo>
                  <a:lnTo>
                    <a:pt x="357" y="503"/>
                  </a:lnTo>
                  <a:lnTo>
                    <a:pt x="356" y="504"/>
                  </a:lnTo>
                  <a:lnTo>
                    <a:pt x="351" y="508"/>
                  </a:lnTo>
                  <a:lnTo>
                    <a:pt x="346" y="513"/>
                  </a:lnTo>
                  <a:lnTo>
                    <a:pt x="344" y="515"/>
                  </a:lnTo>
                  <a:lnTo>
                    <a:pt x="343" y="519"/>
                  </a:lnTo>
                  <a:lnTo>
                    <a:pt x="343" y="519"/>
                  </a:lnTo>
                  <a:lnTo>
                    <a:pt x="344" y="522"/>
                  </a:lnTo>
                  <a:lnTo>
                    <a:pt x="345" y="525"/>
                  </a:lnTo>
                  <a:lnTo>
                    <a:pt x="347" y="527"/>
                  </a:lnTo>
                  <a:lnTo>
                    <a:pt x="349" y="530"/>
                  </a:lnTo>
                  <a:lnTo>
                    <a:pt x="349" y="530"/>
                  </a:lnTo>
                  <a:lnTo>
                    <a:pt x="350" y="532"/>
                  </a:lnTo>
                  <a:lnTo>
                    <a:pt x="352" y="536"/>
                  </a:lnTo>
                  <a:lnTo>
                    <a:pt x="355" y="538"/>
                  </a:lnTo>
                  <a:lnTo>
                    <a:pt x="358" y="540"/>
                  </a:lnTo>
                  <a:lnTo>
                    <a:pt x="366" y="542"/>
                  </a:lnTo>
                  <a:lnTo>
                    <a:pt x="369" y="542"/>
                  </a:lnTo>
                  <a:lnTo>
                    <a:pt x="369" y="542"/>
                  </a:lnTo>
                  <a:lnTo>
                    <a:pt x="368" y="540"/>
                  </a:lnTo>
                  <a:lnTo>
                    <a:pt x="365" y="536"/>
                  </a:lnTo>
                  <a:lnTo>
                    <a:pt x="361" y="531"/>
                  </a:lnTo>
                  <a:lnTo>
                    <a:pt x="361" y="530"/>
                  </a:lnTo>
                  <a:lnTo>
                    <a:pt x="361" y="527"/>
                  </a:lnTo>
                  <a:lnTo>
                    <a:pt x="361" y="527"/>
                  </a:lnTo>
                  <a:lnTo>
                    <a:pt x="362" y="526"/>
                  </a:lnTo>
                  <a:lnTo>
                    <a:pt x="365" y="527"/>
                  </a:lnTo>
                  <a:lnTo>
                    <a:pt x="367" y="527"/>
                  </a:lnTo>
                  <a:lnTo>
                    <a:pt x="369" y="526"/>
                  </a:lnTo>
                  <a:lnTo>
                    <a:pt x="369" y="526"/>
                  </a:lnTo>
                  <a:lnTo>
                    <a:pt x="369" y="524"/>
                  </a:lnTo>
                  <a:lnTo>
                    <a:pt x="369" y="516"/>
                  </a:lnTo>
                  <a:lnTo>
                    <a:pt x="369" y="513"/>
                  </a:lnTo>
                  <a:lnTo>
                    <a:pt x="371" y="508"/>
                  </a:lnTo>
                  <a:lnTo>
                    <a:pt x="374" y="503"/>
                  </a:lnTo>
                  <a:lnTo>
                    <a:pt x="379" y="497"/>
                  </a:lnTo>
                  <a:lnTo>
                    <a:pt x="379" y="497"/>
                  </a:lnTo>
                  <a:lnTo>
                    <a:pt x="382" y="501"/>
                  </a:lnTo>
                  <a:lnTo>
                    <a:pt x="384" y="502"/>
                  </a:lnTo>
                  <a:lnTo>
                    <a:pt x="389" y="503"/>
                  </a:lnTo>
                  <a:lnTo>
                    <a:pt x="389" y="503"/>
                  </a:lnTo>
                  <a:lnTo>
                    <a:pt x="390" y="504"/>
                  </a:lnTo>
                  <a:lnTo>
                    <a:pt x="392" y="505"/>
                  </a:lnTo>
                  <a:lnTo>
                    <a:pt x="392" y="510"/>
                  </a:lnTo>
                  <a:lnTo>
                    <a:pt x="392" y="516"/>
                  </a:lnTo>
                  <a:lnTo>
                    <a:pt x="392" y="516"/>
                  </a:lnTo>
                  <a:lnTo>
                    <a:pt x="393" y="515"/>
                  </a:lnTo>
                  <a:lnTo>
                    <a:pt x="395" y="512"/>
                  </a:lnTo>
                  <a:lnTo>
                    <a:pt x="398" y="505"/>
                  </a:lnTo>
                  <a:lnTo>
                    <a:pt x="398" y="498"/>
                  </a:lnTo>
                  <a:lnTo>
                    <a:pt x="398" y="498"/>
                  </a:lnTo>
                  <a:lnTo>
                    <a:pt x="400" y="497"/>
                  </a:lnTo>
                  <a:lnTo>
                    <a:pt x="403" y="492"/>
                  </a:lnTo>
                  <a:lnTo>
                    <a:pt x="403" y="492"/>
                  </a:lnTo>
                  <a:lnTo>
                    <a:pt x="404" y="490"/>
                  </a:lnTo>
                  <a:lnTo>
                    <a:pt x="403" y="488"/>
                  </a:lnTo>
                  <a:lnTo>
                    <a:pt x="399" y="485"/>
                  </a:lnTo>
                  <a:lnTo>
                    <a:pt x="398" y="482"/>
                  </a:lnTo>
                  <a:lnTo>
                    <a:pt x="396" y="479"/>
                  </a:lnTo>
                  <a:lnTo>
                    <a:pt x="395" y="472"/>
                  </a:lnTo>
                  <a:lnTo>
                    <a:pt x="395" y="465"/>
                  </a:lnTo>
                  <a:lnTo>
                    <a:pt x="395" y="465"/>
                  </a:lnTo>
                  <a:lnTo>
                    <a:pt x="395" y="463"/>
                  </a:lnTo>
                  <a:lnTo>
                    <a:pt x="394" y="461"/>
                  </a:lnTo>
                  <a:lnTo>
                    <a:pt x="390" y="459"/>
                  </a:lnTo>
                  <a:lnTo>
                    <a:pt x="390" y="459"/>
                  </a:lnTo>
                  <a:lnTo>
                    <a:pt x="388" y="455"/>
                  </a:lnTo>
                  <a:lnTo>
                    <a:pt x="388" y="454"/>
                  </a:lnTo>
                  <a:lnTo>
                    <a:pt x="389" y="454"/>
                  </a:lnTo>
                  <a:lnTo>
                    <a:pt x="389" y="454"/>
                  </a:lnTo>
                  <a:lnTo>
                    <a:pt x="394" y="455"/>
                  </a:lnTo>
                  <a:lnTo>
                    <a:pt x="399" y="455"/>
                  </a:lnTo>
                  <a:lnTo>
                    <a:pt x="404" y="454"/>
                  </a:lnTo>
                  <a:lnTo>
                    <a:pt x="404" y="454"/>
                  </a:lnTo>
                  <a:lnTo>
                    <a:pt x="404" y="439"/>
                  </a:lnTo>
                  <a:lnTo>
                    <a:pt x="405" y="432"/>
                  </a:lnTo>
                  <a:lnTo>
                    <a:pt x="404" y="428"/>
                  </a:lnTo>
                  <a:lnTo>
                    <a:pt x="404" y="428"/>
                  </a:lnTo>
                  <a:lnTo>
                    <a:pt x="399" y="428"/>
                  </a:lnTo>
                  <a:lnTo>
                    <a:pt x="394" y="427"/>
                  </a:lnTo>
                  <a:lnTo>
                    <a:pt x="392" y="426"/>
                  </a:lnTo>
                  <a:lnTo>
                    <a:pt x="389" y="424"/>
                  </a:lnTo>
                  <a:lnTo>
                    <a:pt x="389" y="424"/>
                  </a:lnTo>
                  <a:lnTo>
                    <a:pt x="393" y="424"/>
                  </a:lnTo>
                  <a:lnTo>
                    <a:pt x="398" y="424"/>
                  </a:lnTo>
                  <a:lnTo>
                    <a:pt x="401" y="424"/>
                  </a:lnTo>
                  <a:lnTo>
                    <a:pt x="404" y="421"/>
                  </a:lnTo>
                  <a:lnTo>
                    <a:pt x="404" y="421"/>
                  </a:lnTo>
                  <a:lnTo>
                    <a:pt x="404" y="409"/>
                  </a:lnTo>
                  <a:lnTo>
                    <a:pt x="403" y="400"/>
                  </a:lnTo>
                  <a:lnTo>
                    <a:pt x="403" y="398"/>
                  </a:lnTo>
                  <a:lnTo>
                    <a:pt x="401" y="397"/>
                  </a:lnTo>
                  <a:lnTo>
                    <a:pt x="401" y="397"/>
                  </a:lnTo>
                  <a:lnTo>
                    <a:pt x="396" y="398"/>
                  </a:lnTo>
                  <a:lnTo>
                    <a:pt x="393" y="398"/>
                  </a:lnTo>
                  <a:lnTo>
                    <a:pt x="389" y="397"/>
                  </a:lnTo>
                  <a:lnTo>
                    <a:pt x="385" y="396"/>
                  </a:lnTo>
                  <a:lnTo>
                    <a:pt x="385" y="396"/>
                  </a:lnTo>
                  <a:lnTo>
                    <a:pt x="384" y="394"/>
                  </a:lnTo>
                  <a:lnTo>
                    <a:pt x="383" y="392"/>
                  </a:lnTo>
                  <a:lnTo>
                    <a:pt x="383" y="388"/>
                  </a:lnTo>
                  <a:lnTo>
                    <a:pt x="382" y="386"/>
                  </a:lnTo>
                  <a:lnTo>
                    <a:pt x="382" y="385"/>
                  </a:lnTo>
                  <a:lnTo>
                    <a:pt x="381" y="383"/>
                  </a:lnTo>
                  <a:lnTo>
                    <a:pt x="381" y="383"/>
                  </a:lnTo>
                  <a:lnTo>
                    <a:pt x="373" y="381"/>
                  </a:lnTo>
                  <a:lnTo>
                    <a:pt x="366" y="377"/>
                  </a:lnTo>
                  <a:lnTo>
                    <a:pt x="362" y="374"/>
                  </a:lnTo>
                  <a:lnTo>
                    <a:pt x="358" y="371"/>
                  </a:lnTo>
                  <a:lnTo>
                    <a:pt x="358" y="371"/>
                  </a:lnTo>
                  <a:lnTo>
                    <a:pt x="356" y="367"/>
                  </a:lnTo>
                  <a:lnTo>
                    <a:pt x="356" y="364"/>
                  </a:lnTo>
                  <a:lnTo>
                    <a:pt x="356" y="361"/>
                  </a:lnTo>
                  <a:lnTo>
                    <a:pt x="356" y="361"/>
                  </a:lnTo>
                  <a:lnTo>
                    <a:pt x="362" y="364"/>
                  </a:lnTo>
                  <a:lnTo>
                    <a:pt x="365" y="364"/>
                  </a:lnTo>
                  <a:lnTo>
                    <a:pt x="368" y="363"/>
                  </a:lnTo>
                  <a:lnTo>
                    <a:pt x="369" y="343"/>
                  </a:lnTo>
                  <a:lnTo>
                    <a:pt x="369" y="343"/>
                  </a:lnTo>
                  <a:lnTo>
                    <a:pt x="367" y="343"/>
                  </a:lnTo>
                  <a:lnTo>
                    <a:pt x="362" y="342"/>
                  </a:lnTo>
                  <a:lnTo>
                    <a:pt x="362" y="342"/>
                  </a:lnTo>
                  <a:lnTo>
                    <a:pt x="360" y="339"/>
                  </a:lnTo>
                  <a:lnTo>
                    <a:pt x="357" y="337"/>
                  </a:lnTo>
                  <a:lnTo>
                    <a:pt x="356" y="334"/>
                  </a:lnTo>
                  <a:lnTo>
                    <a:pt x="356" y="334"/>
                  </a:lnTo>
                  <a:lnTo>
                    <a:pt x="358" y="336"/>
                  </a:lnTo>
                  <a:lnTo>
                    <a:pt x="363" y="337"/>
                  </a:lnTo>
                  <a:lnTo>
                    <a:pt x="363" y="337"/>
                  </a:lnTo>
                  <a:lnTo>
                    <a:pt x="368" y="337"/>
                  </a:lnTo>
                  <a:lnTo>
                    <a:pt x="371" y="336"/>
                  </a:lnTo>
                  <a:lnTo>
                    <a:pt x="373" y="314"/>
                  </a:lnTo>
                  <a:lnTo>
                    <a:pt x="373" y="314"/>
                  </a:lnTo>
                  <a:lnTo>
                    <a:pt x="369" y="314"/>
                  </a:lnTo>
                  <a:lnTo>
                    <a:pt x="366" y="313"/>
                  </a:lnTo>
                  <a:lnTo>
                    <a:pt x="362" y="311"/>
                  </a:lnTo>
                  <a:lnTo>
                    <a:pt x="361" y="308"/>
                  </a:lnTo>
                  <a:lnTo>
                    <a:pt x="361" y="306"/>
                  </a:lnTo>
                  <a:lnTo>
                    <a:pt x="361" y="306"/>
                  </a:lnTo>
                  <a:lnTo>
                    <a:pt x="369" y="304"/>
                  </a:lnTo>
                  <a:lnTo>
                    <a:pt x="377" y="300"/>
                  </a:lnTo>
                  <a:lnTo>
                    <a:pt x="383" y="295"/>
                  </a:lnTo>
                  <a:lnTo>
                    <a:pt x="388" y="291"/>
                  </a:lnTo>
                  <a:lnTo>
                    <a:pt x="393" y="284"/>
                  </a:lnTo>
                  <a:lnTo>
                    <a:pt x="396" y="277"/>
                  </a:lnTo>
                  <a:lnTo>
                    <a:pt x="400" y="271"/>
                  </a:lnTo>
                  <a:lnTo>
                    <a:pt x="401" y="264"/>
                  </a:lnTo>
                  <a:lnTo>
                    <a:pt x="401" y="264"/>
                  </a:lnTo>
                  <a:lnTo>
                    <a:pt x="407" y="266"/>
                  </a:lnTo>
                  <a:lnTo>
                    <a:pt x="411" y="266"/>
                  </a:lnTo>
                  <a:lnTo>
                    <a:pt x="414" y="266"/>
                  </a:lnTo>
                  <a:lnTo>
                    <a:pt x="414" y="266"/>
                  </a:lnTo>
                  <a:lnTo>
                    <a:pt x="415" y="258"/>
                  </a:lnTo>
                  <a:lnTo>
                    <a:pt x="415" y="248"/>
                  </a:lnTo>
                  <a:lnTo>
                    <a:pt x="415" y="248"/>
                  </a:lnTo>
                  <a:lnTo>
                    <a:pt x="409" y="247"/>
                  </a:lnTo>
                  <a:lnTo>
                    <a:pt x="406" y="245"/>
                  </a:lnTo>
                  <a:lnTo>
                    <a:pt x="404" y="242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33" name="Freeform 30"/>
            <p:cNvSpPr>
              <a:spLocks/>
            </p:cNvSpPr>
            <p:nvPr userDrawn="1"/>
          </p:nvSpPr>
          <p:spPr bwMode="auto">
            <a:xfrm>
              <a:off x="557" y="898"/>
              <a:ext cx="233" cy="61"/>
            </a:xfrm>
            <a:custGeom>
              <a:avLst/>
              <a:gdLst>
                <a:gd name="T0" fmla="*/ 0 w 233"/>
                <a:gd name="T1" fmla="*/ 23 h 61"/>
                <a:gd name="T2" fmla="*/ 0 w 233"/>
                <a:gd name="T3" fmla="*/ 23 h 61"/>
                <a:gd name="T4" fmla="*/ 13 w 233"/>
                <a:gd name="T5" fmla="*/ 33 h 61"/>
                <a:gd name="T6" fmla="*/ 25 w 233"/>
                <a:gd name="T7" fmla="*/ 40 h 61"/>
                <a:gd name="T8" fmla="*/ 25 w 233"/>
                <a:gd name="T9" fmla="*/ 40 h 61"/>
                <a:gd name="T10" fmla="*/ 46 w 233"/>
                <a:gd name="T11" fmla="*/ 48 h 61"/>
                <a:gd name="T12" fmla="*/ 60 w 233"/>
                <a:gd name="T13" fmla="*/ 52 h 61"/>
                <a:gd name="T14" fmla="*/ 74 w 233"/>
                <a:gd name="T15" fmla="*/ 56 h 61"/>
                <a:gd name="T16" fmla="*/ 92 w 233"/>
                <a:gd name="T17" fmla="*/ 59 h 61"/>
                <a:gd name="T18" fmla="*/ 110 w 233"/>
                <a:gd name="T19" fmla="*/ 61 h 61"/>
                <a:gd name="T20" fmla="*/ 129 w 233"/>
                <a:gd name="T21" fmla="*/ 61 h 61"/>
                <a:gd name="T22" fmla="*/ 151 w 233"/>
                <a:gd name="T23" fmla="*/ 60 h 61"/>
                <a:gd name="T24" fmla="*/ 151 w 233"/>
                <a:gd name="T25" fmla="*/ 60 h 61"/>
                <a:gd name="T26" fmla="*/ 171 w 233"/>
                <a:gd name="T27" fmla="*/ 57 h 61"/>
                <a:gd name="T28" fmla="*/ 187 w 233"/>
                <a:gd name="T29" fmla="*/ 54 h 61"/>
                <a:gd name="T30" fmla="*/ 202 w 233"/>
                <a:gd name="T31" fmla="*/ 50 h 61"/>
                <a:gd name="T32" fmla="*/ 213 w 233"/>
                <a:gd name="T33" fmla="*/ 46 h 61"/>
                <a:gd name="T34" fmla="*/ 229 w 233"/>
                <a:gd name="T35" fmla="*/ 38 h 61"/>
                <a:gd name="T36" fmla="*/ 233 w 233"/>
                <a:gd name="T37" fmla="*/ 35 h 61"/>
                <a:gd name="T38" fmla="*/ 233 w 233"/>
                <a:gd name="T39" fmla="*/ 35 h 61"/>
                <a:gd name="T40" fmla="*/ 226 w 233"/>
                <a:gd name="T41" fmla="*/ 33 h 61"/>
                <a:gd name="T42" fmla="*/ 220 w 233"/>
                <a:gd name="T43" fmla="*/ 29 h 61"/>
                <a:gd name="T44" fmla="*/ 210 w 233"/>
                <a:gd name="T45" fmla="*/ 21 h 61"/>
                <a:gd name="T46" fmla="*/ 210 w 233"/>
                <a:gd name="T47" fmla="*/ 21 h 61"/>
                <a:gd name="T48" fmla="*/ 209 w 233"/>
                <a:gd name="T49" fmla="*/ 26 h 61"/>
                <a:gd name="T50" fmla="*/ 209 w 233"/>
                <a:gd name="T51" fmla="*/ 26 h 61"/>
                <a:gd name="T52" fmla="*/ 208 w 233"/>
                <a:gd name="T53" fmla="*/ 34 h 61"/>
                <a:gd name="T54" fmla="*/ 208 w 233"/>
                <a:gd name="T55" fmla="*/ 34 h 61"/>
                <a:gd name="T56" fmla="*/ 203 w 233"/>
                <a:gd name="T57" fmla="*/ 33 h 61"/>
                <a:gd name="T58" fmla="*/ 203 w 233"/>
                <a:gd name="T59" fmla="*/ 33 h 61"/>
                <a:gd name="T60" fmla="*/ 199 w 233"/>
                <a:gd name="T61" fmla="*/ 30 h 61"/>
                <a:gd name="T62" fmla="*/ 196 w 233"/>
                <a:gd name="T63" fmla="*/ 27 h 61"/>
                <a:gd name="T64" fmla="*/ 193 w 233"/>
                <a:gd name="T65" fmla="*/ 22 h 61"/>
                <a:gd name="T66" fmla="*/ 192 w 233"/>
                <a:gd name="T67" fmla="*/ 16 h 61"/>
                <a:gd name="T68" fmla="*/ 192 w 233"/>
                <a:gd name="T69" fmla="*/ 16 h 61"/>
                <a:gd name="T70" fmla="*/ 192 w 233"/>
                <a:gd name="T71" fmla="*/ 15 h 61"/>
                <a:gd name="T72" fmla="*/ 192 w 233"/>
                <a:gd name="T73" fmla="*/ 15 h 61"/>
                <a:gd name="T74" fmla="*/ 182 w 233"/>
                <a:gd name="T75" fmla="*/ 18 h 61"/>
                <a:gd name="T76" fmla="*/ 169 w 233"/>
                <a:gd name="T77" fmla="*/ 22 h 61"/>
                <a:gd name="T78" fmla="*/ 153 w 233"/>
                <a:gd name="T79" fmla="*/ 26 h 61"/>
                <a:gd name="T80" fmla="*/ 137 w 233"/>
                <a:gd name="T81" fmla="*/ 27 h 61"/>
                <a:gd name="T82" fmla="*/ 137 w 233"/>
                <a:gd name="T83" fmla="*/ 27 h 61"/>
                <a:gd name="T84" fmla="*/ 107 w 233"/>
                <a:gd name="T85" fmla="*/ 26 h 61"/>
                <a:gd name="T86" fmla="*/ 93 w 233"/>
                <a:gd name="T87" fmla="*/ 24 h 61"/>
                <a:gd name="T88" fmla="*/ 78 w 233"/>
                <a:gd name="T89" fmla="*/ 22 h 61"/>
                <a:gd name="T90" fmla="*/ 63 w 233"/>
                <a:gd name="T91" fmla="*/ 19 h 61"/>
                <a:gd name="T92" fmla="*/ 49 w 233"/>
                <a:gd name="T93" fmla="*/ 15 h 61"/>
                <a:gd name="T94" fmla="*/ 34 w 233"/>
                <a:gd name="T95" fmla="*/ 10 h 61"/>
                <a:gd name="T96" fmla="*/ 21 w 233"/>
                <a:gd name="T97" fmla="*/ 5 h 61"/>
                <a:gd name="T98" fmla="*/ 21 w 233"/>
                <a:gd name="T99" fmla="*/ 5 h 61"/>
                <a:gd name="T100" fmla="*/ 10 w 233"/>
                <a:gd name="T101" fmla="*/ 0 h 61"/>
                <a:gd name="T102" fmla="*/ 10 w 233"/>
                <a:gd name="T103" fmla="*/ 0 h 61"/>
                <a:gd name="T104" fmla="*/ 10 w 233"/>
                <a:gd name="T105" fmla="*/ 1 h 61"/>
                <a:gd name="T106" fmla="*/ 10 w 233"/>
                <a:gd name="T107" fmla="*/ 4 h 61"/>
                <a:gd name="T108" fmla="*/ 12 w 233"/>
                <a:gd name="T109" fmla="*/ 10 h 61"/>
                <a:gd name="T110" fmla="*/ 17 w 233"/>
                <a:gd name="T111" fmla="*/ 17 h 61"/>
                <a:gd name="T112" fmla="*/ 17 w 233"/>
                <a:gd name="T113" fmla="*/ 17 h 61"/>
                <a:gd name="T114" fmla="*/ 11 w 233"/>
                <a:gd name="T115" fmla="*/ 16 h 61"/>
                <a:gd name="T116" fmla="*/ 5 w 233"/>
                <a:gd name="T117" fmla="*/ 18 h 61"/>
                <a:gd name="T118" fmla="*/ 5 w 233"/>
                <a:gd name="T119" fmla="*/ 18 h 61"/>
                <a:gd name="T120" fmla="*/ 1 w 233"/>
                <a:gd name="T121" fmla="*/ 21 h 61"/>
                <a:gd name="T122" fmla="*/ 0 w 233"/>
                <a:gd name="T123" fmla="*/ 23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3" h="61">
                  <a:moveTo>
                    <a:pt x="0" y="23"/>
                  </a:moveTo>
                  <a:lnTo>
                    <a:pt x="0" y="23"/>
                  </a:lnTo>
                  <a:lnTo>
                    <a:pt x="13" y="33"/>
                  </a:lnTo>
                  <a:lnTo>
                    <a:pt x="25" y="40"/>
                  </a:lnTo>
                  <a:lnTo>
                    <a:pt x="25" y="40"/>
                  </a:lnTo>
                  <a:lnTo>
                    <a:pt x="46" y="48"/>
                  </a:lnTo>
                  <a:lnTo>
                    <a:pt x="60" y="52"/>
                  </a:lnTo>
                  <a:lnTo>
                    <a:pt x="74" y="56"/>
                  </a:lnTo>
                  <a:lnTo>
                    <a:pt x="92" y="59"/>
                  </a:lnTo>
                  <a:lnTo>
                    <a:pt x="110" y="61"/>
                  </a:lnTo>
                  <a:lnTo>
                    <a:pt x="129" y="61"/>
                  </a:lnTo>
                  <a:lnTo>
                    <a:pt x="151" y="60"/>
                  </a:lnTo>
                  <a:lnTo>
                    <a:pt x="151" y="60"/>
                  </a:lnTo>
                  <a:lnTo>
                    <a:pt x="171" y="57"/>
                  </a:lnTo>
                  <a:lnTo>
                    <a:pt x="187" y="54"/>
                  </a:lnTo>
                  <a:lnTo>
                    <a:pt x="202" y="50"/>
                  </a:lnTo>
                  <a:lnTo>
                    <a:pt x="213" y="46"/>
                  </a:lnTo>
                  <a:lnTo>
                    <a:pt x="229" y="38"/>
                  </a:lnTo>
                  <a:lnTo>
                    <a:pt x="233" y="35"/>
                  </a:lnTo>
                  <a:lnTo>
                    <a:pt x="233" y="35"/>
                  </a:lnTo>
                  <a:lnTo>
                    <a:pt x="226" y="33"/>
                  </a:lnTo>
                  <a:lnTo>
                    <a:pt x="220" y="29"/>
                  </a:lnTo>
                  <a:lnTo>
                    <a:pt x="210" y="21"/>
                  </a:lnTo>
                  <a:lnTo>
                    <a:pt x="210" y="21"/>
                  </a:lnTo>
                  <a:lnTo>
                    <a:pt x="209" y="26"/>
                  </a:lnTo>
                  <a:lnTo>
                    <a:pt x="209" y="26"/>
                  </a:lnTo>
                  <a:lnTo>
                    <a:pt x="208" y="34"/>
                  </a:lnTo>
                  <a:lnTo>
                    <a:pt x="208" y="34"/>
                  </a:lnTo>
                  <a:lnTo>
                    <a:pt x="203" y="33"/>
                  </a:lnTo>
                  <a:lnTo>
                    <a:pt x="203" y="33"/>
                  </a:lnTo>
                  <a:lnTo>
                    <a:pt x="199" y="30"/>
                  </a:lnTo>
                  <a:lnTo>
                    <a:pt x="196" y="27"/>
                  </a:lnTo>
                  <a:lnTo>
                    <a:pt x="193" y="22"/>
                  </a:lnTo>
                  <a:lnTo>
                    <a:pt x="192" y="16"/>
                  </a:lnTo>
                  <a:lnTo>
                    <a:pt x="192" y="16"/>
                  </a:lnTo>
                  <a:lnTo>
                    <a:pt x="192" y="15"/>
                  </a:lnTo>
                  <a:lnTo>
                    <a:pt x="192" y="15"/>
                  </a:lnTo>
                  <a:lnTo>
                    <a:pt x="182" y="18"/>
                  </a:lnTo>
                  <a:lnTo>
                    <a:pt x="169" y="22"/>
                  </a:lnTo>
                  <a:lnTo>
                    <a:pt x="153" y="26"/>
                  </a:lnTo>
                  <a:lnTo>
                    <a:pt x="137" y="27"/>
                  </a:lnTo>
                  <a:lnTo>
                    <a:pt x="137" y="27"/>
                  </a:lnTo>
                  <a:lnTo>
                    <a:pt x="107" y="26"/>
                  </a:lnTo>
                  <a:lnTo>
                    <a:pt x="93" y="24"/>
                  </a:lnTo>
                  <a:lnTo>
                    <a:pt x="78" y="22"/>
                  </a:lnTo>
                  <a:lnTo>
                    <a:pt x="63" y="19"/>
                  </a:lnTo>
                  <a:lnTo>
                    <a:pt x="49" y="15"/>
                  </a:lnTo>
                  <a:lnTo>
                    <a:pt x="34" y="10"/>
                  </a:lnTo>
                  <a:lnTo>
                    <a:pt x="21" y="5"/>
                  </a:lnTo>
                  <a:lnTo>
                    <a:pt x="21" y="5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1"/>
                  </a:lnTo>
                  <a:lnTo>
                    <a:pt x="10" y="4"/>
                  </a:lnTo>
                  <a:lnTo>
                    <a:pt x="12" y="10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11" y="16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1" y="21"/>
                  </a:lnTo>
                  <a:lnTo>
                    <a:pt x="0" y="2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34" name="Freeform 31"/>
            <p:cNvSpPr>
              <a:spLocks/>
            </p:cNvSpPr>
            <p:nvPr userDrawn="1"/>
          </p:nvSpPr>
          <p:spPr bwMode="auto">
            <a:xfrm>
              <a:off x="504" y="701"/>
              <a:ext cx="239" cy="170"/>
            </a:xfrm>
            <a:custGeom>
              <a:avLst/>
              <a:gdLst>
                <a:gd name="T0" fmla="*/ 218 w 239"/>
                <a:gd name="T1" fmla="*/ 14 h 170"/>
                <a:gd name="T2" fmla="*/ 214 w 239"/>
                <a:gd name="T3" fmla="*/ 3 h 170"/>
                <a:gd name="T4" fmla="*/ 208 w 239"/>
                <a:gd name="T5" fmla="*/ 0 h 170"/>
                <a:gd name="T6" fmla="*/ 152 w 239"/>
                <a:gd name="T7" fmla="*/ 27 h 170"/>
                <a:gd name="T8" fmla="*/ 138 w 239"/>
                <a:gd name="T9" fmla="*/ 36 h 170"/>
                <a:gd name="T10" fmla="*/ 118 w 239"/>
                <a:gd name="T11" fmla="*/ 36 h 170"/>
                <a:gd name="T12" fmla="*/ 121 w 239"/>
                <a:gd name="T13" fmla="*/ 48 h 170"/>
                <a:gd name="T14" fmla="*/ 115 w 239"/>
                <a:gd name="T15" fmla="*/ 53 h 170"/>
                <a:gd name="T16" fmla="*/ 121 w 239"/>
                <a:gd name="T17" fmla="*/ 63 h 170"/>
                <a:gd name="T18" fmla="*/ 132 w 239"/>
                <a:gd name="T19" fmla="*/ 61 h 170"/>
                <a:gd name="T20" fmla="*/ 126 w 239"/>
                <a:gd name="T21" fmla="*/ 77 h 170"/>
                <a:gd name="T22" fmla="*/ 98 w 239"/>
                <a:gd name="T23" fmla="*/ 98 h 170"/>
                <a:gd name="T24" fmla="*/ 67 w 239"/>
                <a:gd name="T25" fmla="*/ 104 h 170"/>
                <a:gd name="T26" fmla="*/ 53 w 239"/>
                <a:gd name="T27" fmla="*/ 92 h 170"/>
                <a:gd name="T28" fmla="*/ 45 w 239"/>
                <a:gd name="T29" fmla="*/ 85 h 170"/>
                <a:gd name="T30" fmla="*/ 33 w 239"/>
                <a:gd name="T31" fmla="*/ 85 h 170"/>
                <a:gd name="T32" fmla="*/ 19 w 239"/>
                <a:gd name="T33" fmla="*/ 92 h 170"/>
                <a:gd name="T34" fmla="*/ 32 w 239"/>
                <a:gd name="T35" fmla="*/ 94 h 170"/>
                <a:gd name="T36" fmla="*/ 30 w 239"/>
                <a:gd name="T37" fmla="*/ 101 h 170"/>
                <a:gd name="T38" fmla="*/ 50 w 239"/>
                <a:gd name="T39" fmla="*/ 114 h 170"/>
                <a:gd name="T40" fmla="*/ 50 w 239"/>
                <a:gd name="T41" fmla="*/ 115 h 170"/>
                <a:gd name="T42" fmla="*/ 26 w 239"/>
                <a:gd name="T43" fmla="*/ 108 h 170"/>
                <a:gd name="T44" fmla="*/ 19 w 239"/>
                <a:gd name="T45" fmla="*/ 110 h 170"/>
                <a:gd name="T46" fmla="*/ 5 w 239"/>
                <a:gd name="T47" fmla="*/ 115 h 170"/>
                <a:gd name="T48" fmla="*/ 1 w 239"/>
                <a:gd name="T49" fmla="*/ 130 h 170"/>
                <a:gd name="T50" fmla="*/ 11 w 239"/>
                <a:gd name="T51" fmla="*/ 121 h 170"/>
                <a:gd name="T52" fmla="*/ 15 w 239"/>
                <a:gd name="T53" fmla="*/ 126 h 170"/>
                <a:gd name="T54" fmla="*/ 17 w 239"/>
                <a:gd name="T55" fmla="*/ 132 h 170"/>
                <a:gd name="T56" fmla="*/ 44 w 239"/>
                <a:gd name="T57" fmla="*/ 131 h 170"/>
                <a:gd name="T58" fmla="*/ 50 w 239"/>
                <a:gd name="T59" fmla="*/ 132 h 170"/>
                <a:gd name="T60" fmla="*/ 26 w 239"/>
                <a:gd name="T61" fmla="*/ 138 h 170"/>
                <a:gd name="T62" fmla="*/ 25 w 239"/>
                <a:gd name="T63" fmla="*/ 143 h 170"/>
                <a:gd name="T64" fmla="*/ 19 w 239"/>
                <a:gd name="T65" fmla="*/ 157 h 170"/>
                <a:gd name="T66" fmla="*/ 23 w 239"/>
                <a:gd name="T67" fmla="*/ 166 h 170"/>
                <a:gd name="T68" fmla="*/ 27 w 239"/>
                <a:gd name="T69" fmla="*/ 164 h 170"/>
                <a:gd name="T70" fmla="*/ 28 w 239"/>
                <a:gd name="T71" fmla="*/ 158 h 170"/>
                <a:gd name="T72" fmla="*/ 37 w 239"/>
                <a:gd name="T73" fmla="*/ 163 h 170"/>
                <a:gd name="T74" fmla="*/ 48 w 239"/>
                <a:gd name="T75" fmla="*/ 155 h 170"/>
                <a:gd name="T76" fmla="*/ 63 w 239"/>
                <a:gd name="T77" fmla="*/ 143 h 170"/>
                <a:gd name="T78" fmla="*/ 72 w 239"/>
                <a:gd name="T79" fmla="*/ 142 h 170"/>
                <a:gd name="T80" fmla="*/ 74 w 239"/>
                <a:gd name="T81" fmla="*/ 149 h 170"/>
                <a:gd name="T82" fmla="*/ 77 w 239"/>
                <a:gd name="T83" fmla="*/ 157 h 170"/>
                <a:gd name="T84" fmla="*/ 76 w 239"/>
                <a:gd name="T85" fmla="*/ 163 h 170"/>
                <a:gd name="T86" fmla="*/ 91 w 239"/>
                <a:gd name="T87" fmla="*/ 151 h 170"/>
                <a:gd name="T88" fmla="*/ 94 w 239"/>
                <a:gd name="T89" fmla="*/ 147 h 170"/>
                <a:gd name="T90" fmla="*/ 97 w 239"/>
                <a:gd name="T91" fmla="*/ 142 h 170"/>
                <a:gd name="T92" fmla="*/ 98 w 239"/>
                <a:gd name="T93" fmla="*/ 135 h 170"/>
                <a:gd name="T94" fmla="*/ 112 w 239"/>
                <a:gd name="T95" fmla="*/ 130 h 170"/>
                <a:gd name="T96" fmla="*/ 114 w 239"/>
                <a:gd name="T97" fmla="*/ 121 h 170"/>
                <a:gd name="T98" fmla="*/ 121 w 239"/>
                <a:gd name="T99" fmla="*/ 120 h 170"/>
                <a:gd name="T100" fmla="*/ 134 w 239"/>
                <a:gd name="T101" fmla="*/ 132 h 170"/>
                <a:gd name="T102" fmla="*/ 154 w 239"/>
                <a:gd name="T103" fmla="*/ 122 h 170"/>
                <a:gd name="T104" fmla="*/ 152 w 239"/>
                <a:gd name="T105" fmla="*/ 114 h 170"/>
                <a:gd name="T106" fmla="*/ 149 w 239"/>
                <a:gd name="T107" fmla="*/ 104 h 170"/>
                <a:gd name="T108" fmla="*/ 164 w 239"/>
                <a:gd name="T109" fmla="*/ 116 h 170"/>
                <a:gd name="T110" fmla="*/ 185 w 239"/>
                <a:gd name="T111" fmla="*/ 104 h 170"/>
                <a:gd name="T112" fmla="*/ 182 w 239"/>
                <a:gd name="T113" fmla="*/ 101 h 170"/>
                <a:gd name="T114" fmla="*/ 176 w 239"/>
                <a:gd name="T115" fmla="*/ 88 h 170"/>
                <a:gd name="T116" fmla="*/ 175 w 239"/>
                <a:gd name="T117" fmla="*/ 77 h 170"/>
                <a:gd name="T118" fmla="*/ 175 w 239"/>
                <a:gd name="T119" fmla="*/ 66 h 170"/>
                <a:gd name="T120" fmla="*/ 236 w 239"/>
                <a:gd name="T121" fmla="*/ 31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39" h="170">
                  <a:moveTo>
                    <a:pt x="230" y="21"/>
                  </a:moveTo>
                  <a:lnTo>
                    <a:pt x="230" y="21"/>
                  </a:lnTo>
                  <a:lnTo>
                    <a:pt x="224" y="16"/>
                  </a:lnTo>
                  <a:lnTo>
                    <a:pt x="218" y="14"/>
                  </a:lnTo>
                  <a:lnTo>
                    <a:pt x="207" y="9"/>
                  </a:lnTo>
                  <a:lnTo>
                    <a:pt x="207" y="9"/>
                  </a:lnTo>
                  <a:lnTo>
                    <a:pt x="212" y="5"/>
                  </a:lnTo>
                  <a:lnTo>
                    <a:pt x="214" y="3"/>
                  </a:lnTo>
                  <a:lnTo>
                    <a:pt x="214" y="2"/>
                  </a:lnTo>
                  <a:lnTo>
                    <a:pt x="214" y="2"/>
                  </a:lnTo>
                  <a:lnTo>
                    <a:pt x="211" y="0"/>
                  </a:lnTo>
                  <a:lnTo>
                    <a:pt x="208" y="0"/>
                  </a:lnTo>
                  <a:lnTo>
                    <a:pt x="208" y="0"/>
                  </a:lnTo>
                  <a:lnTo>
                    <a:pt x="187" y="9"/>
                  </a:lnTo>
                  <a:lnTo>
                    <a:pt x="169" y="18"/>
                  </a:lnTo>
                  <a:lnTo>
                    <a:pt x="152" y="27"/>
                  </a:lnTo>
                  <a:lnTo>
                    <a:pt x="140" y="36"/>
                  </a:lnTo>
                  <a:lnTo>
                    <a:pt x="140" y="36"/>
                  </a:lnTo>
                  <a:lnTo>
                    <a:pt x="138" y="36"/>
                  </a:lnTo>
                  <a:lnTo>
                    <a:pt x="138" y="36"/>
                  </a:lnTo>
                  <a:lnTo>
                    <a:pt x="135" y="38"/>
                  </a:lnTo>
                  <a:lnTo>
                    <a:pt x="131" y="38"/>
                  </a:lnTo>
                  <a:lnTo>
                    <a:pt x="124" y="37"/>
                  </a:lnTo>
                  <a:lnTo>
                    <a:pt x="118" y="36"/>
                  </a:lnTo>
                  <a:lnTo>
                    <a:pt x="116" y="35"/>
                  </a:lnTo>
                  <a:lnTo>
                    <a:pt x="114" y="46"/>
                  </a:lnTo>
                  <a:lnTo>
                    <a:pt x="114" y="46"/>
                  </a:lnTo>
                  <a:lnTo>
                    <a:pt x="121" y="48"/>
                  </a:lnTo>
                  <a:lnTo>
                    <a:pt x="126" y="50"/>
                  </a:lnTo>
                  <a:lnTo>
                    <a:pt x="126" y="50"/>
                  </a:lnTo>
                  <a:lnTo>
                    <a:pt x="119" y="52"/>
                  </a:lnTo>
                  <a:lnTo>
                    <a:pt x="115" y="53"/>
                  </a:lnTo>
                  <a:lnTo>
                    <a:pt x="113" y="55"/>
                  </a:lnTo>
                  <a:lnTo>
                    <a:pt x="116" y="65"/>
                  </a:lnTo>
                  <a:lnTo>
                    <a:pt x="116" y="65"/>
                  </a:lnTo>
                  <a:lnTo>
                    <a:pt x="121" y="63"/>
                  </a:lnTo>
                  <a:lnTo>
                    <a:pt x="126" y="61"/>
                  </a:lnTo>
                  <a:lnTo>
                    <a:pt x="132" y="60"/>
                  </a:lnTo>
                  <a:lnTo>
                    <a:pt x="132" y="60"/>
                  </a:lnTo>
                  <a:lnTo>
                    <a:pt x="132" y="61"/>
                  </a:lnTo>
                  <a:lnTo>
                    <a:pt x="132" y="61"/>
                  </a:lnTo>
                  <a:lnTo>
                    <a:pt x="132" y="66"/>
                  </a:lnTo>
                  <a:lnTo>
                    <a:pt x="130" y="71"/>
                  </a:lnTo>
                  <a:lnTo>
                    <a:pt x="126" y="77"/>
                  </a:lnTo>
                  <a:lnTo>
                    <a:pt x="121" y="82"/>
                  </a:lnTo>
                  <a:lnTo>
                    <a:pt x="110" y="92"/>
                  </a:lnTo>
                  <a:lnTo>
                    <a:pt x="104" y="96"/>
                  </a:lnTo>
                  <a:lnTo>
                    <a:pt x="98" y="98"/>
                  </a:lnTo>
                  <a:lnTo>
                    <a:pt x="98" y="98"/>
                  </a:lnTo>
                  <a:lnTo>
                    <a:pt x="86" y="102"/>
                  </a:lnTo>
                  <a:lnTo>
                    <a:pt x="75" y="104"/>
                  </a:lnTo>
                  <a:lnTo>
                    <a:pt x="67" y="104"/>
                  </a:lnTo>
                  <a:lnTo>
                    <a:pt x="64" y="103"/>
                  </a:lnTo>
                  <a:lnTo>
                    <a:pt x="64" y="103"/>
                  </a:lnTo>
                  <a:lnTo>
                    <a:pt x="56" y="97"/>
                  </a:lnTo>
                  <a:lnTo>
                    <a:pt x="53" y="92"/>
                  </a:lnTo>
                  <a:lnTo>
                    <a:pt x="49" y="87"/>
                  </a:lnTo>
                  <a:lnTo>
                    <a:pt x="48" y="85"/>
                  </a:lnTo>
                  <a:lnTo>
                    <a:pt x="45" y="85"/>
                  </a:lnTo>
                  <a:lnTo>
                    <a:pt x="45" y="85"/>
                  </a:lnTo>
                  <a:lnTo>
                    <a:pt x="43" y="85"/>
                  </a:lnTo>
                  <a:lnTo>
                    <a:pt x="41" y="86"/>
                  </a:lnTo>
                  <a:lnTo>
                    <a:pt x="41" y="86"/>
                  </a:lnTo>
                  <a:lnTo>
                    <a:pt x="33" y="85"/>
                  </a:lnTo>
                  <a:lnTo>
                    <a:pt x="27" y="86"/>
                  </a:lnTo>
                  <a:lnTo>
                    <a:pt x="22" y="88"/>
                  </a:lnTo>
                  <a:lnTo>
                    <a:pt x="20" y="90"/>
                  </a:lnTo>
                  <a:lnTo>
                    <a:pt x="19" y="92"/>
                  </a:lnTo>
                  <a:lnTo>
                    <a:pt x="19" y="92"/>
                  </a:lnTo>
                  <a:lnTo>
                    <a:pt x="27" y="92"/>
                  </a:lnTo>
                  <a:lnTo>
                    <a:pt x="32" y="93"/>
                  </a:lnTo>
                  <a:lnTo>
                    <a:pt x="32" y="94"/>
                  </a:lnTo>
                  <a:lnTo>
                    <a:pt x="31" y="96"/>
                  </a:lnTo>
                  <a:lnTo>
                    <a:pt x="31" y="96"/>
                  </a:lnTo>
                  <a:lnTo>
                    <a:pt x="28" y="98"/>
                  </a:lnTo>
                  <a:lnTo>
                    <a:pt x="30" y="101"/>
                  </a:lnTo>
                  <a:lnTo>
                    <a:pt x="31" y="103"/>
                  </a:lnTo>
                  <a:lnTo>
                    <a:pt x="34" y="105"/>
                  </a:lnTo>
                  <a:lnTo>
                    <a:pt x="50" y="114"/>
                  </a:lnTo>
                  <a:lnTo>
                    <a:pt x="50" y="114"/>
                  </a:lnTo>
                  <a:lnTo>
                    <a:pt x="50" y="114"/>
                  </a:lnTo>
                  <a:lnTo>
                    <a:pt x="50" y="115"/>
                  </a:lnTo>
                  <a:lnTo>
                    <a:pt x="50" y="115"/>
                  </a:lnTo>
                  <a:lnTo>
                    <a:pt x="50" y="115"/>
                  </a:lnTo>
                  <a:lnTo>
                    <a:pt x="45" y="115"/>
                  </a:lnTo>
                  <a:lnTo>
                    <a:pt x="39" y="113"/>
                  </a:lnTo>
                  <a:lnTo>
                    <a:pt x="26" y="108"/>
                  </a:lnTo>
                  <a:lnTo>
                    <a:pt x="26" y="108"/>
                  </a:lnTo>
                  <a:lnTo>
                    <a:pt x="23" y="108"/>
                  </a:lnTo>
                  <a:lnTo>
                    <a:pt x="21" y="108"/>
                  </a:lnTo>
                  <a:lnTo>
                    <a:pt x="19" y="110"/>
                  </a:lnTo>
                  <a:lnTo>
                    <a:pt x="19" y="110"/>
                  </a:lnTo>
                  <a:lnTo>
                    <a:pt x="16" y="110"/>
                  </a:lnTo>
                  <a:lnTo>
                    <a:pt x="12" y="110"/>
                  </a:lnTo>
                  <a:lnTo>
                    <a:pt x="8" y="113"/>
                  </a:lnTo>
                  <a:lnTo>
                    <a:pt x="5" y="115"/>
                  </a:lnTo>
                  <a:lnTo>
                    <a:pt x="1" y="118"/>
                  </a:lnTo>
                  <a:lnTo>
                    <a:pt x="0" y="121"/>
                  </a:lnTo>
                  <a:lnTo>
                    <a:pt x="0" y="125"/>
                  </a:lnTo>
                  <a:lnTo>
                    <a:pt x="1" y="130"/>
                  </a:lnTo>
                  <a:lnTo>
                    <a:pt x="1" y="130"/>
                  </a:lnTo>
                  <a:lnTo>
                    <a:pt x="5" y="125"/>
                  </a:lnTo>
                  <a:lnTo>
                    <a:pt x="9" y="121"/>
                  </a:lnTo>
                  <a:lnTo>
                    <a:pt x="11" y="121"/>
                  </a:lnTo>
                  <a:lnTo>
                    <a:pt x="14" y="121"/>
                  </a:lnTo>
                  <a:lnTo>
                    <a:pt x="14" y="121"/>
                  </a:lnTo>
                  <a:lnTo>
                    <a:pt x="15" y="122"/>
                  </a:lnTo>
                  <a:lnTo>
                    <a:pt x="15" y="126"/>
                  </a:lnTo>
                  <a:lnTo>
                    <a:pt x="15" y="129"/>
                  </a:lnTo>
                  <a:lnTo>
                    <a:pt x="16" y="131"/>
                  </a:lnTo>
                  <a:lnTo>
                    <a:pt x="17" y="132"/>
                  </a:lnTo>
                  <a:lnTo>
                    <a:pt x="17" y="132"/>
                  </a:lnTo>
                  <a:lnTo>
                    <a:pt x="20" y="133"/>
                  </a:lnTo>
                  <a:lnTo>
                    <a:pt x="25" y="133"/>
                  </a:lnTo>
                  <a:lnTo>
                    <a:pt x="34" y="132"/>
                  </a:lnTo>
                  <a:lnTo>
                    <a:pt x="44" y="131"/>
                  </a:lnTo>
                  <a:lnTo>
                    <a:pt x="49" y="131"/>
                  </a:lnTo>
                  <a:lnTo>
                    <a:pt x="50" y="131"/>
                  </a:lnTo>
                  <a:lnTo>
                    <a:pt x="50" y="131"/>
                  </a:lnTo>
                  <a:lnTo>
                    <a:pt x="50" y="132"/>
                  </a:lnTo>
                  <a:lnTo>
                    <a:pt x="48" y="133"/>
                  </a:lnTo>
                  <a:lnTo>
                    <a:pt x="39" y="135"/>
                  </a:lnTo>
                  <a:lnTo>
                    <a:pt x="30" y="136"/>
                  </a:lnTo>
                  <a:lnTo>
                    <a:pt x="26" y="138"/>
                  </a:lnTo>
                  <a:lnTo>
                    <a:pt x="25" y="140"/>
                  </a:lnTo>
                  <a:lnTo>
                    <a:pt x="25" y="140"/>
                  </a:lnTo>
                  <a:lnTo>
                    <a:pt x="25" y="143"/>
                  </a:lnTo>
                  <a:lnTo>
                    <a:pt x="25" y="143"/>
                  </a:lnTo>
                  <a:lnTo>
                    <a:pt x="25" y="144"/>
                  </a:lnTo>
                  <a:lnTo>
                    <a:pt x="22" y="147"/>
                  </a:lnTo>
                  <a:lnTo>
                    <a:pt x="20" y="152"/>
                  </a:lnTo>
                  <a:lnTo>
                    <a:pt x="19" y="157"/>
                  </a:lnTo>
                  <a:lnTo>
                    <a:pt x="19" y="157"/>
                  </a:lnTo>
                  <a:lnTo>
                    <a:pt x="19" y="159"/>
                  </a:lnTo>
                  <a:lnTo>
                    <a:pt x="20" y="163"/>
                  </a:lnTo>
                  <a:lnTo>
                    <a:pt x="23" y="166"/>
                  </a:lnTo>
                  <a:lnTo>
                    <a:pt x="27" y="170"/>
                  </a:lnTo>
                  <a:lnTo>
                    <a:pt x="27" y="170"/>
                  </a:lnTo>
                  <a:lnTo>
                    <a:pt x="28" y="169"/>
                  </a:lnTo>
                  <a:lnTo>
                    <a:pt x="27" y="164"/>
                  </a:lnTo>
                  <a:lnTo>
                    <a:pt x="27" y="160"/>
                  </a:lnTo>
                  <a:lnTo>
                    <a:pt x="28" y="159"/>
                  </a:lnTo>
                  <a:lnTo>
                    <a:pt x="28" y="158"/>
                  </a:lnTo>
                  <a:lnTo>
                    <a:pt x="28" y="158"/>
                  </a:lnTo>
                  <a:lnTo>
                    <a:pt x="31" y="158"/>
                  </a:lnTo>
                  <a:lnTo>
                    <a:pt x="32" y="159"/>
                  </a:lnTo>
                  <a:lnTo>
                    <a:pt x="34" y="162"/>
                  </a:lnTo>
                  <a:lnTo>
                    <a:pt x="37" y="163"/>
                  </a:lnTo>
                  <a:lnTo>
                    <a:pt x="37" y="163"/>
                  </a:lnTo>
                  <a:lnTo>
                    <a:pt x="39" y="162"/>
                  </a:lnTo>
                  <a:lnTo>
                    <a:pt x="42" y="160"/>
                  </a:lnTo>
                  <a:lnTo>
                    <a:pt x="48" y="155"/>
                  </a:lnTo>
                  <a:lnTo>
                    <a:pt x="54" y="149"/>
                  </a:lnTo>
                  <a:lnTo>
                    <a:pt x="58" y="146"/>
                  </a:lnTo>
                  <a:lnTo>
                    <a:pt x="63" y="143"/>
                  </a:lnTo>
                  <a:lnTo>
                    <a:pt x="63" y="143"/>
                  </a:lnTo>
                  <a:lnTo>
                    <a:pt x="69" y="141"/>
                  </a:lnTo>
                  <a:lnTo>
                    <a:pt x="71" y="140"/>
                  </a:lnTo>
                  <a:lnTo>
                    <a:pt x="72" y="141"/>
                  </a:lnTo>
                  <a:lnTo>
                    <a:pt x="72" y="142"/>
                  </a:lnTo>
                  <a:lnTo>
                    <a:pt x="72" y="146"/>
                  </a:lnTo>
                  <a:lnTo>
                    <a:pt x="72" y="148"/>
                  </a:lnTo>
                  <a:lnTo>
                    <a:pt x="74" y="149"/>
                  </a:lnTo>
                  <a:lnTo>
                    <a:pt x="74" y="149"/>
                  </a:lnTo>
                  <a:lnTo>
                    <a:pt x="77" y="151"/>
                  </a:lnTo>
                  <a:lnTo>
                    <a:pt x="78" y="152"/>
                  </a:lnTo>
                  <a:lnTo>
                    <a:pt x="78" y="154"/>
                  </a:lnTo>
                  <a:lnTo>
                    <a:pt x="77" y="157"/>
                  </a:lnTo>
                  <a:lnTo>
                    <a:pt x="75" y="160"/>
                  </a:lnTo>
                  <a:lnTo>
                    <a:pt x="72" y="163"/>
                  </a:lnTo>
                  <a:lnTo>
                    <a:pt x="72" y="163"/>
                  </a:lnTo>
                  <a:lnTo>
                    <a:pt x="76" y="163"/>
                  </a:lnTo>
                  <a:lnTo>
                    <a:pt x="81" y="162"/>
                  </a:lnTo>
                  <a:lnTo>
                    <a:pt x="86" y="157"/>
                  </a:lnTo>
                  <a:lnTo>
                    <a:pt x="88" y="154"/>
                  </a:lnTo>
                  <a:lnTo>
                    <a:pt x="91" y="151"/>
                  </a:lnTo>
                  <a:lnTo>
                    <a:pt x="91" y="151"/>
                  </a:lnTo>
                  <a:lnTo>
                    <a:pt x="91" y="148"/>
                  </a:lnTo>
                  <a:lnTo>
                    <a:pt x="92" y="148"/>
                  </a:lnTo>
                  <a:lnTo>
                    <a:pt x="94" y="147"/>
                  </a:lnTo>
                  <a:lnTo>
                    <a:pt x="96" y="146"/>
                  </a:lnTo>
                  <a:lnTo>
                    <a:pt x="96" y="146"/>
                  </a:lnTo>
                  <a:lnTo>
                    <a:pt x="97" y="144"/>
                  </a:lnTo>
                  <a:lnTo>
                    <a:pt x="97" y="142"/>
                  </a:lnTo>
                  <a:lnTo>
                    <a:pt x="97" y="140"/>
                  </a:lnTo>
                  <a:lnTo>
                    <a:pt x="97" y="137"/>
                  </a:lnTo>
                  <a:lnTo>
                    <a:pt x="97" y="137"/>
                  </a:lnTo>
                  <a:lnTo>
                    <a:pt x="98" y="135"/>
                  </a:lnTo>
                  <a:lnTo>
                    <a:pt x="101" y="133"/>
                  </a:lnTo>
                  <a:lnTo>
                    <a:pt x="105" y="132"/>
                  </a:lnTo>
                  <a:lnTo>
                    <a:pt x="110" y="131"/>
                  </a:lnTo>
                  <a:lnTo>
                    <a:pt x="112" y="130"/>
                  </a:lnTo>
                  <a:lnTo>
                    <a:pt x="112" y="129"/>
                  </a:lnTo>
                  <a:lnTo>
                    <a:pt x="112" y="129"/>
                  </a:lnTo>
                  <a:lnTo>
                    <a:pt x="112" y="125"/>
                  </a:lnTo>
                  <a:lnTo>
                    <a:pt x="114" y="121"/>
                  </a:lnTo>
                  <a:lnTo>
                    <a:pt x="118" y="120"/>
                  </a:lnTo>
                  <a:lnTo>
                    <a:pt x="120" y="119"/>
                  </a:lnTo>
                  <a:lnTo>
                    <a:pt x="120" y="119"/>
                  </a:lnTo>
                  <a:lnTo>
                    <a:pt x="121" y="120"/>
                  </a:lnTo>
                  <a:lnTo>
                    <a:pt x="123" y="124"/>
                  </a:lnTo>
                  <a:lnTo>
                    <a:pt x="126" y="127"/>
                  </a:lnTo>
                  <a:lnTo>
                    <a:pt x="130" y="130"/>
                  </a:lnTo>
                  <a:lnTo>
                    <a:pt x="134" y="132"/>
                  </a:lnTo>
                  <a:lnTo>
                    <a:pt x="134" y="132"/>
                  </a:lnTo>
                  <a:lnTo>
                    <a:pt x="148" y="125"/>
                  </a:lnTo>
                  <a:lnTo>
                    <a:pt x="148" y="125"/>
                  </a:lnTo>
                  <a:lnTo>
                    <a:pt x="154" y="122"/>
                  </a:lnTo>
                  <a:lnTo>
                    <a:pt x="157" y="120"/>
                  </a:lnTo>
                  <a:lnTo>
                    <a:pt x="157" y="120"/>
                  </a:lnTo>
                  <a:lnTo>
                    <a:pt x="154" y="116"/>
                  </a:lnTo>
                  <a:lnTo>
                    <a:pt x="152" y="114"/>
                  </a:lnTo>
                  <a:lnTo>
                    <a:pt x="151" y="110"/>
                  </a:lnTo>
                  <a:lnTo>
                    <a:pt x="151" y="110"/>
                  </a:lnTo>
                  <a:lnTo>
                    <a:pt x="149" y="107"/>
                  </a:lnTo>
                  <a:lnTo>
                    <a:pt x="149" y="104"/>
                  </a:lnTo>
                  <a:lnTo>
                    <a:pt x="149" y="104"/>
                  </a:lnTo>
                  <a:lnTo>
                    <a:pt x="153" y="109"/>
                  </a:lnTo>
                  <a:lnTo>
                    <a:pt x="158" y="113"/>
                  </a:lnTo>
                  <a:lnTo>
                    <a:pt x="164" y="116"/>
                  </a:lnTo>
                  <a:lnTo>
                    <a:pt x="164" y="116"/>
                  </a:lnTo>
                  <a:lnTo>
                    <a:pt x="181" y="105"/>
                  </a:lnTo>
                  <a:lnTo>
                    <a:pt x="181" y="105"/>
                  </a:lnTo>
                  <a:lnTo>
                    <a:pt x="185" y="104"/>
                  </a:lnTo>
                  <a:lnTo>
                    <a:pt x="185" y="104"/>
                  </a:lnTo>
                  <a:lnTo>
                    <a:pt x="185" y="104"/>
                  </a:lnTo>
                  <a:lnTo>
                    <a:pt x="185" y="104"/>
                  </a:lnTo>
                  <a:lnTo>
                    <a:pt x="182" y="101"/>
                  </a:lnTo>
                  <a:lnTo>
                    <a:pt x="179" y="97"/>
                  </a:lnTo>
                  <a:lnTo>
                    <a:pt x="175" y="92"/>
                  </a:lnTo>
                  <a:lnTo>
                    <a:pt x="175" y="90"/>
                  </a:lnTo>
                  <a:lnTo>
                    <a:pt x="176" y="88"/>
                  </a:lnTo>
                  <a:lnTo>
                    <a:pt x="176" y="88"/>
                  </a:lnTo>
                  <a:lnTo>
                    <a:pt x="178" y="87"/>
                  </a:lnTo>
                  <a:lnTo>
                    <a:pt x="178" y="85"/>
                  </a:lnTo>
                  <a:lnTo>
                    <a:pt x="175" y="77"/>
                  </a:lnTo>
                  <a:lnTo>
                    <a:pt x="173" y="71"/>
                  </a:lnTo>
                  <a:lnTo>
                    <a:pt x="173" y="68"/>
                  </a:lnTo>
                  <a:lnTo>
                    <a:pt x="175" y="66"/>
                  </a:lnTo>
                  <a:lnTo>
                    <a:pt x="175" y="66"/>
                  </a:lnTo>
                  <a:lnTo>
                    <a:pt x="209" y="49"/>
                  </a:lnTo>
                  <a:lnTo>
                    <a:pt x="239" y="35"/>
                  </a:lnTo>
                  <a:lnTo>
                    <a:pt x="239" y="35"/>
                  </a:lnTo>
                  <a:lnTo>
                    <a:pt x="236" y="31"/>
                  </a:lnTo>
                  <a:lnTo>
                    <a:pt x="234" y="26"/>
                  </a:lnTo>
                  <a:lnTo>
                    <a:pt x="230" y="21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35" name="Freeform 32"/>
            <p:cNvSpPr>
              <a:spLocks/>
            </p:cNvSpPr>
            <p:nvPr userDrawn="1"/>
          </p:nvSpPr>
          <p:spPr bwMode="auto">
            <a:xfrm>
              <a:off x="470" y="854"/>
              <a:ext cx="101" cy="96"/>
            </a:xfrm>
            <a:custGeom>
              <a:avLst/>
              <a:gdLst>
                <a:gd name="T0" fmla="*/ 0 w 101"/>
                <a:gd name="T1" fmla="*/ 28 h 96"/>
                <a:gd name="T2" fmla="*/ 1 w 101"/>
                <a:gd name="T3" fmla="*/ 34 h 96"/>
                <a:gd name="T4" fmla="*/ 2 w 101"/>
                <a:gd name="T5" fmla="*/ 38 h 96"/>
                <a:gd name="T6" fmla="*/ 10 w 101"/>
                <a:gd name="T7" fmla="*/ 40 h 96"/>
                <a:gd name="T8" fmla="*/ 12 w 101"/>
                <a:gd name="T9" fmla="*/ 39 h 96"/>
                <a:gd name="T10" fmla="*/ 13 w 101"/>
                <a:gd name="T11" fmla="*/ 34 h 96"/>
                <a:gd name="T12" fmla="*/ 15 w 101"/>
                <a:gd name="T13" fmla="*/ 29 h 96"/>
                <a:gd name="T14" fmla="*/ 16 w 101"/>
                <a:gd name="T15" fmla="*/ 28 h 96"/>
                <a:gd name="T16" fmla="*/ 17 w 101"/>
                <a:gd name="T17" fmla="*/ 28 h 96"/>
                <a:gd name="T18" fmla="*/ 18 w 101"/>
                <a:gd name="T19" fmla="*/ 27 h 96"/>
                <a:gd name="T20" fmla="*/ 45 w 101"/>
                <a:gd name="T21" fmla="*/ 40 h 96"/>
                <a:gd name="T22" fmla="*/ 71 w 101"/>
                <a:gd name="T23" fmla="*/ 57 h 96"/>
                <a:gd name="T24" fmla="*/ 75 w 101"/>
                <a:gd name="T25" fmla="*/ 60 h 96"/>
                <a:gd name="T26" fmla="*/ 71 w 101"/>
                <a:gd name="T27" fmla="*/ 67 h 96"/>
                <a:gd name="T28" fmla="*/ 64 w 101"/>
                <a:gd name="T29" fmla="*/ 85 h 96"/>
                <a:gd name="T30" fmla="*/ 62 w 101"/>
                <a:gd name="T31" fmla="*/ 90 h 96"/>
                <a:gd name="T32" fmla="*/ 65 w 101"/>
                <a:gd name="T33" fmla="*/ 95 h 96"/>
                <a:gd name="T34" fmla="*/ 70 w 101"/>
                <a:gd name="T35" fmla="*/ 96 h 96"/>
                <a:gd name="T36" fmla="*/ 73 w 101"/>
                <a:gd name="T37" fmla="*/ 96 h 96"/>
                <a:gd name="T38" fmla="*/ 78 w 101"/>
                <a:gd name="T39" fmla="*/ 93 h 96"/>
                <a:gd name="T40" fmla="*/ 79 w 101"/>
                <a:gd name="T41" fmla="*/ 90 h 96"/>
                <a:gd name="T42" fmla="*/ 79 w 101"/>
                <a:gd name="T43" fmla="*/ 87 h 96"/>
                <a:gd name="T44" fmla="*/ 75 w 101"/>
                <a:gd name="T45" fmla="*/ 82 h 96"/>
                <a:gd name="T46" fmla="*/ 73 w 101"/>
                <a:gd name="T47" fmla="*/ 82 h 96"/>
                <a:gd name="T48" fmla="*/ 77 w 101"/>
                <a:gd name="T49" fmla="*/ 73 h 96"/>
                <a:gd name="T50" fmla="*/ 82 w 101"/>
                <a:gd name="T51" fmla="*/ 62 h 96"/>
                <a:gd name="T52" fmla="*/ 88 w 101"/>
                <a:gd name="T53" fmla="*/ 57 h 96"/>
                <a:gd name="T54" fmla="*/ 94 w 101"/>
                <a:gd name="T55" fmla="*/ 56 h 96"/>
                <a:gd name="T56" fmla="*/ 93 w 101"/>
                <a:gd name="T57" fmla="*/ 54 h 96"/>
                <a:gd name="T58" fmla="*/ 90 w 101"/>
                <a:gd name="T59" fmla="*/ 46 h 96"/>
                <a:gd name="T60" fmla="*/ 92 w 101"/>
                <a:gd name="T61" fmla="*/ 38 h 96"/>
                <a:gd name="T62" fmla="*/ 94 w 101"/>
                <a:gd name="T63" fmla="*/ 33 h 96"/>
                <a:gd name="T64" fmla="*/ 101 w 101"/>
                <a:gd name="T65" fmla="*/ 12 h 96"/>
                <a:gd name="T66" fmla="*/ 101 w 101"/>
                <a:gd name="T67" fmla="*/ 9 h 96"/>
                <a:gd name="T68" fmla="*/ 98 w 101"/>
                <a:gd name="T69" fmla="*/ 4 h 96"/>
                <a:gd name="T70" fmla="*/ 94 w 101"/>
                <a:gd name="T71" fmla="*/ 2 h 96"/>
                <a:gd name="T72" fmla="*/ 88 w 101"/>
                <a:gd name="T73" fmla="*/ 5 h 96"/>
                <a:gd name="T74" fmla="*/ 86 w 101"/>
                <a:gd name="T75" fmla="*/ 10 h 96"/>
                <a:gd name="T76" fmla="*/ 86 w 101"/>
                <a:gd name="T77" fmla="*/ 13 h 96"/>
                <a:gd name="T78" fmla="*/ 89 w 101"/>
                <a:gd name="T79" fmla="*/ 18 h 96"/>
                <a:gd name="T80" fmla="*/ 92 w 101"/>
                <a:gd name="T81" fmla="*/ 20 h 96"/>
                <a:gd name="T82" fmla="*/ 88 w 101"/>
                <a:gd name="T83" fmla="*/ 31 h 96"/>
                <a:gd name="T84" fmla="*/ 83 w 101"/>
                <a:gd name="T85" fmla="*/ 37 h 96"/>
                <a:gd name="T86" fmla="*/ 78 w 101"/>
                <a:gd name="T87" fmla="*/ 34 h 96"/>
                <a:gd name="T88" fmla="*/ 40 w 101"/>
                <a:gd name="T89" fmla="*/ 16 h 96"/>
                <a:gd name="T90" fmla="*/ 27 w 101"/>
                <a:gd name="T91" fmla="*/ 12 h 96"/>
                <a:gd name="T92" fmla="*/ 28 w 101"/>
                <a:gd name="T93" fmla="*/ 9 h 96"/>
                <a:gd name="T94" fmla="*/ 33 w 101"/>
                <a:gd name="T95" fmla="*/ 0 h 96"/>
                <a:gd name="T96" fmla="*/ 31 w 101"/>
                <a:gd name="T97" fmla="*/ 1 h 96"/>
                <a:gd name="T98" fmla="*/ 26 w 101"/>
                <a:gd name="T99" fmla="*/ 4 h 96"/>
                <a:gd name="T100" fmla="*/ 16 w 101"/>
                <a:gd name="T101" fmla="*/ 7 h 96"/>
                <a:gd name="T102" fmla="*/ 12 w 101"/>
                <a:gd name="T103" fmla="*/ 7 h 96"/>
                <a:gd name="T104" fmla="*/ 10 w 101"/>
                <a:gd name="T105" fmla="*/ 7 h 96"/>
                <a:gd name="T106" fmla="*/ 6 w 101"/>
                <a:gd name="T107" fmla="*/ 15 h 96"/>
                <a:gd name="T108" fmla="*/ 4 w 101"/>
                <a:gd name="T109" fmla="*/ 22 h 96"/>
                <a:gd name="T110" fmla="*/ 1 w 101"/>
                <a:gd name="T111" fmla="*/ 2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01" h="96">
                  <a:moveTo>
                    <a:pt x="0" y="28"/>
                  </a:moveTo>
                  <a:lnTo>
                    <a:pt x="0" y="28"/>
                  </a:lnTo>
                  <a:lnTo>
                    <a:pt x="0" y="32"/>
                  </a:lnTo>
                  <a:lnTo>
                    <a:pt x="1" y="34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7" y="39"/>
                  </a:lnTo>
                  <a:lnTo>
                    <a:pt x="10" y="40"/>
                  </a:lnTo>
                  <a:lnTo>
                    <a:pt x="12" y="39"/>
                  </a:lnTo>
                  <a:lnTo>
                    <a:pt x="12" y="39"/>
                  </a:lnTo>
                  <a:lnTo>
                    <a:pt x="13" y="37"/>
                  </a:lnTo>
                  <a:lnTo>
                    <a:pt x="13" y="34"/>
                  </a:lnTo>
                  <a:lnTo>
                    <a:pt x="13" y="32"/>
                  </a:lnTo>
                  <a:lnTo>
                    <a:pt x="15" y="29"/>
                  </a:lnTo>
                  <a:lnTo>
                    <a:pt x="15" y="29"/>
                  </a:lnTo>
                  <a:lnTo>
                    <a:pt x="16" y="28"/>
                  </a:lnTo>
                  <a:lnTo>
                    <a:pt x="17" y="28"/>
                  </a:lnTo>
                  <a:lnTo>
                    <a:pt x="17" y="28"/>
                  </a:lnTo>
                  <a:lnTo>
                    <a:pt x="18" y="27"/>
                  </a:lnTo>
                  <a:lnTo>
                    <a:pt x="18" y="27"/>
                  </a:lnTo>
                  <a:lnTo>
                    <a:pt x="32" y="33"/>
                  </a:lnTo>
                  <a:lnTo>
                    <a:pt x="45" y="40"/>
                  </a:lnTo>
                  <a:lnTo>
                    <a:pt x="71" y="57"/>
                  </a:lnTo>
                  <a:lnTo>
                    <a:pt x="71" y="57"/>
                  </a:lnTo>
                  <a:lnTo>
                    <a:pt x="75" y="60"/>
                  </a:lnTo>
                  <a:lnTo>
                    <a:pt x="75" y="60"/>
                  </a:lnTo>
                  <a:lnTo>
                    <a:pt x="71" y="67"/>
                  </a:lnTo>
                  <a:lnTo>
                    <a:pt x="71" y="67"/>
                  </a:lnTo>
                  <a:lnTo>
                    <a:pt x="65" y="79"/>
                  </a:lnTo>
                  <a:lnTo>
                    <a:pt x="64" y="85"/>
                  </a:lnTo>
                  <a:lnTo>
                    <a:pt x="62" y="90"/>
                  </a:lnTo>
                  <a:lnTo>
                    <a:pt x="62" y="90"/>
                  </a:lnTo>
                  <a:lnTo>
                    <a:pt x="64" y="93"/>
                  </a:lnTo>
                  <a:lnTo>
                    <a:pt x="65" y="95"/>
                  </a:lnTo>
                  <a:lnTo>
                    <a:pt x="67" y="96"/>
                  </a:lnTo>
                  <a:lnTo>
                    <a:pt x="70" y="96"/>
                  </a:lnTo>
                  <a:lnTo>
                    <a:pt x="70" y="96"/>
                  </a:lnTo>
                  <a:lnTo>
                    <a:pt x="73" y="96"/>
                  </a:lnTo>
                  <a:lnTo>
                    <a:pt x="76" y="95"/>
                  </a:lnTo>
                  <a:lnTo>
                    <a:pt x="78" y="93"/>
                  </a:lnTo>
                  <a:lnTo>
                    <a:pt x="79" y="90"/>
                  </a:lnTo>
                  <a:lnTo>
                    <a:pt x="79" y="90"/>
                  </a:lnTo>
                  <a:lnTo>
                    <a:pt x="79" y="88"/>
                  </a:lnTo>
                  <a:lnTo>
                    <a:pt x="79" y="87"/>
                  </a:lnTo>
                  <a:lnTo>
                    <a:pt x="77" y="83"/>
                  </a:lnTo>
                  <a:lnTo>
                    <a:pt x="75" y="82"/>
                  </a:lnTo>
                  <a:lnTo>
                    <a:pt x="73" y="82"/>
                  </a:lnTo>
                  <a:lnTo>
                    <a:pt x="73" y="82"/>
                  </a:lnTo>
                  <a:lnTo>
                    <a:pt x="77" y="73"/>
                  </a:lnTo>
                  <a:lnTo>
                    <a:pt x="77" y="73"/>
                  </a:lnTo>
                  <a:lnTo>
                    <a:pt x="79" y="67"/>
                  </a:lnTo>
                  <a:lnTo>
                    <a:pt x="82" y="62"/>
                  </a:lnTo>
                  <a:lnTo>
                    <a:pt x="86" y="60"/>
                  </a:lnTo>
                  <a:lnTo>
                    <a:pt x="88" y="57"/>
                  </a:lnTo>
                  <a:lnTo>
                    <a:pt x="92" y="56"/>
                  </a:lnTo>
                  <a:lnTo>
                    <a:pt x="94" y="56"/>
                  </a:lnTo>
                  <a:lnTo>
                    <a:pt x="94" y="56"/>
                  </a:lnTo>
                  <a:lnTo>
                    <a:pt x="93" y="54"/>
                  </a:lnTo>
                  <a:lnTo>
                    <a:pt x="90" y="50"/>
                  </a:lnTo>
                  <a:lnTo>
                    <a:pt x="90" y="46"/>
                  </a:lnTo>
                  <a:lnTo>
                    <a:pt x="90" y="43"/>
                  </a:lnTo>
                  <a:lnTo>
                    <a:pt x="92" y="38"/>
                  </a:lnTo>
                  <a:lnTo>
                    <a:pt x="94" y="33"/>
                  </a:lnTo>
                  <a:lnTo>
                    <a:pt x="94" y="33"/>
                  </a:lnTo>
                  <a:lnTo>
                    <a:pt x="99" y="21"/>
                  </a:lnTo>
                  <a:lnTo>
                    <a:pt x="101" y="12"/>
                  </a:lnTo>
                  <a:lnTo>
                    <a:pt x="101" y="12"/>
                  </a:lnTo>
                  <a:lnTo>
                    <a:pt x="101" y="9"/>
                  </a:lnTo>
                  <a:lnTo>
                    <a:pt x="100" y="6"/>
                  </a:lnTo>
                  <a:lnTo>
                    <a:pt x="98" y="4"/>
                  </a:lnTo>
                  <a:lnTo>
                    <a:pt x="94" y="2"/>
                  </a:lnTo>
                  <a:lnTo>
                    <a:pt x="94" y="2"/>
                  </a:lnTo>
                  <a:lnTo>
                    <a:pt x="92" y="4"/>
                  </a:lnTo>
                  <a:lnTo>
                    <a:pt x="88" y="5"/>
                  </a:lnTo>
                  <a:lnTo>
                    <a:pt x="87" y="7"/>
                  </a:lnTo>
                  <a:lnTo>
                    <a:pt x="86" y="10"/>
                  </a:lnTo>
                  <a:lnTo>
                    <a:pt x="86" y="10"/>
                  </a:lnTo>
                  <a:lnTo>
                    <a:pt x="86" y="13"/>
                  </a:lnTo>
                  <a:lnTo>
                    <a:pt x="87" y="16"/>
                  </a:lnTo>
                  <a:lnTo>
                    <a:pt x="89" y="18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88" y="31"/>
                  </a:lnTo>
                  <a:lnTo>
                    <a:pt x="83" y="37"/>
                  </a:lnTo>
                  <a:lnTo>
                    <a:pt x="83" y="37"/>
                  </a:lnTo>
                  <a:lnTo>
                    <a:pt x="78" y="34"/>
                  </a:lnTo>
                  <a:lnTo>
                    <a:pt x="78" y="34"/>
                  </a:lnTo>
                  <a:lnTo>
                    <a:pt x="54" y="21"/>
                  </a:lnTo>
                  <a:lnTo>
                    <a:pt x="40" y="16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8" y="9"/>
                  </a:lnTo>
                  <a:lnTo>
                    <a:pt x="28" y="9"/>
                  </a:lnTo>
                  <a:lnTo>
                    <a:pt x="32" y="2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31" y="1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19" y="6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2" y="7"/>
                  </a:lnTo>
                  <a:lnTo>
                    <a:pt x="10" y="7"/>
                  </a:lnTo>
                  <a:lnTo>
                    <a:pt x="10" y="7"/>
                  </a:lnTo>
                  <a:lnTo>
                    <a:pt x="8" y="9"/>
                  </a:lnTo>
                  <a:lnTo>
                    <a:pt x="6" y="15"/>
                  </a:lnTo>
                  <a:lnTo>
                    <a:pt x="6" y="15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1" y="26"/>
                  </a:lnTo>
                  <a:lnTo>
                    <a:pt x="0" y="2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36" name="Freeform 33"/>
            <p:cNvSpPr>
              <a:spLocks/>
            </p:cNvSpPr>
            <p:nvPr userDrawn="1"/>
          </p:nvSpPr>
          <p:spPr bwMode="auto">
            <a:xfrm>
              <a:off x="467" y="446"/>
              <a:ext cx="25" cy="30"/>
            </a:xfrm>
            <a:custGeom>
              <a:avLst/>
              <a:gdLst>
                <a:gd name="T0" fmla="*/ 9 w 25"/>
                <a:gd name="T1" fmla="*/ 30 h 30"/>
                <a:gd name="T2" fmla="*/ 9 w 25"/>
                <a:gd name="T3" fmla="*/ 30 h 30"/>
                <a:gd name="T4" fmla="*/ 19 w 25"/>
                <a:gd name="T5" fmla="*/ 28 h 30"/>
                <a:gd name="T6" fmla="*/ 25 w 25"/>
                <a:gd name="T7" fmla="*/ 27 h 30"/>
                <a:gd name="T8" fmla="*/ 25 w 25"/>
                <a:gd name="T9" fmla="*/ 3 h 30"/>
                <a:gd name="T10" fmla="*/ 25 w 25"/>
                <a:gd name="T11" fmla="*/ 3 h 30"/>
                <a:gd name="T12" fmla="*/ 11 w 25"/>
                <a:gd name="T13" fmla="*/ 0 h 30"/>
                <a:gd name="T14" fmla="*/ 11 w 25"/>
                <a:gd name="T15" fmla="*/ 0 h 30"/>
                <a:gd name="T16" fmla="*/ 8 w 25"/>
                <a:gd name="T17" fmla="*/ 0 h 30"/>
                <a:gd name="T18" fmla="*/ 5 w 25"/>
                <a:gd name="T19" fmla="*/ 1 h 30"/>
                <a:gd name="T20" fmla="*/ 3 w 25"/>
                <a:gd name="T21" fmla="*/ 3 h 30"/>
                <a:gd name="T22" fmla="*/ 2 w 25"/>
                <a:gd name="T23" fmla="*/ 5 h 30"/>
                <a:gd name="T24" fmla="*/ 0 w 25"/>
                <a:gd name="T25" fmla="*/ 9 h 30"/>
                <a:gd name="T26" fmla="*/ 0 w 25"/>
                <a:gd name="T27" fmla="*/ 11 h 30"/>
                <a:gd name="T28" fmla="*/ 0 w 25"/>
                <a:gd name="T29" fmla="*/ 19 h 30"/>
                <a:gd name="T30" fmla="*/ 0 w 25"/>
                <a:gd name="T31" fmla="*/ 19 h 30"/>
                <a:gd name="T32" fmla="*/ 2 w 25"/>
                <a:gd name="T33" fmla="*/ 23 h 30"/>
                <a:gd name="T34" fmla="*/ 4 w 25"/>
                <a:gd name="T35" fmla="*/ 27 h 30"/>
                <a:gd name="T36" fmla="*/ 7 w 25"/>
                <a:gd name="T37" fmla="*/ 28 h 30"/>
                <a:gd name="T38" fmla="*/ 9 w 25"/>
                <a:gd name="T39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5" h="30">
                  <a:moveTo>
                    <a:pt x="9" y="30"/>
                  </a:moveTo>
                  <a:lnTo>
                    <a:pt x="9" y="30"/>
                  </a:lnTo>
                  <a:lnTo>
                    <a:pt x="19" y="28"/>
                  </a:lnTo>
                  <a:lnTo>
                    <a:pt x="25" y="27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8" y="0"/>
                  </a:lnTo>
                  <a:lnTo>
                    <a:pt x="5" y="1"/>
                  </a:lnTo>
                  <a:lnTo>
                    <a:pt x="3" y="3"/>
                  </a:lnTo>
                  <a:lnTo>
                    <a:pt x="2" y="5"/>
                  </a:lnTo>
                  <a:lnTo>
                    <a:pt x="0" y="9"/>
                  </a:lnTo>
                  <a:lnTo>
                    <a:pt x="0" y="11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2" y="23"/>
                  </a:lnTo>
                  <a:lnTo>
                    <a:pt x="4" y="27"/>
                  </a:lnTo>
                  <a:lnTo>
                    <a:pt x="7" y="28"/>
                  </a:lnTo>
                  <a:lnTo>
                    <a:pt x="9" y="3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37" name="Freeform 34"/>
            <p:cNvSpPr>
              <a:spLocks/>
            </p:cNvSpPr>
            <p:nvPr userDrawn="1"/>
          </p:nvSpPr>
          <p:spPr bwMode="auto">
            <a:xfrm>
              <a:off x="498" y="440"/>
              <a:ext cx="37" cy="36"/>
            </a:xfrm>
            <a:custGeom>
              <a:avLst/>
              <a:gdLst>
                <a:gd name="T0" fmla="*/ 37 w 37"/>
                <a:gd name="T1" fmla="*/ 26 h 36"/>
                <a:gd name="T2" fmla="*/ 37 w 37"/>
                <a:gd name="T3" fmla="*/ 18 h 36"/>
                <a:gd name="T4" fmla="*/ 37 w 37"/>
                <a:gd name="T5" fmla="*/ 5 h 36"/>
                <a:gd name="T6" fmla="*/ 37 w 37"/>
                <a:gd name="T7" fmla="*/ 1 h 36"/>
                <a:gd name="T8" fmla="*/ 36 w 37"/>
                <a:gd name="T9" fmla="*/ 0 h 36"/>
                <a:gd name="T10" fmla="*/ 31 w 37"/>
                <a:gd name="T11" fmla="*/ 0 h 36"/>
                <a:gd name="T12" fmla="*/ 27 w 37"/>
                <a:gd name="T13" fmla="*/ 0 h 36"/>
                <a:gd name="T14" fmla="*/ 20 w 37"/>
                <a:gd name="T15" fmla="*/ 0 h 36"/>
                <a:gd name="T16" fmla="*/ 18 w 37"/>
                <a:gd name="T17" fmla="*/ 5 h 36"/>
                <a:gd name="T18" fmla="*/ 17 w 37"/>
                <a:gd name="T19" fmla="*/ 0 h 36"/>
                <a:gd name="T20" fmla="*/ 11 w 37"/>
                <a:gd name="T21" fmla="*/ 0 h 36"/>
                <a:gd name="T22" fmla="*/ 7 w 37"/>
                <a:gd name="T23" fmla="*/ 0 h 36"/>
                <a:gd name="T24" fmla="*/ 3 w 37"/>
                <a:gd name="T25" fmla="*/ 0 h 36"/>
                <a:gd name="T26" fmla="*/ 1 w 37"/>
                <a:gd name="T27" fmla="*/ 1 h 36"/>
                <a:gd name="T28" fmla="*/ 0 w 37"/>
                <a:gd name="T29" fmla="*/ 5 h 36"/>
                <a:gd name="T30" fmla="*/ 0 w 37"/>
                <a:gd name="T31" fmla="*/ 18 h 36"/>
                <a:gd name="T32" fmla="*/ 0 w 37"/>
                <a:gd name="T33" fmla="*/ 33 h 36"/>
                <a:gd name="T34" fmla="*/ 4 w 37"/>
                <a:gd name="T35" fmla="*/ 33 h 36"/>
                <a:gd name="T36" fmla="*/ 6 w 37"/>
                <a:gd name="T37" fmla="*/ 32 h 36"/>
                <a:gd name="T38" fmla="*/ 9 w 37"/>
                <a:gd name="T39" fmla="*/ 27 h 36"/>
                <a:gd name="T40" fmla="*/ 9 w 37"/>
                <a:gd name="T41" fmla="*/ 36 h 36"/>
                <a:gd name="T42" fmla="*/ 11 w 37"/>
                <a:gd name="T43" fmla="*/ 36 h 36"/>
                <a:gd name="T44" fmla="*/ 16 w 37"/>
                <a:gd name="T45" fmla="*/ 33 h 36"/>
                <a:gd name="T46" fmla="*/ 17 w 37"/>
                <a:gd name="T47" fmla="*/ 29 h 36"/>
                <a:gd name="T48" fmla="*/ 18 w 37"/>
                <a:gd name="T49" fmla="*/ 27 h 36"/>
                <a:gd name="T50" fmla="*/ 18 w 37"/>
                <a:gd name="T51" fmla="*/ 36 h 36"/>
                <a:gd name="T52" fmla="*/ 26 w 37"/>
                <a:gd name="T53" fmla="*/ 33 h 36"/>
                <a:gd name="T54" fmla="*/ 28 w 37"/>
                <a:gd name="T55" fmla="*/ 29 h 36"/>
                <a:gd name="T56" fmla="*/ 28 w 37"/>
                <a:gd name="T57" fmla="*/ 27 h 36"/>
                <a:gd name="T58" fmla="*/ 28 w 37"/>
                <a:gd name="T59" fmla="*/ 33 h 36"/>
                <a:gd name="T60" fmla="*/ 31 w 37"/>
                <a:gd name="T61" fmla="*/ 32 h 36"/>
                <a:gd name="T62" fmla="*/ 34 w 37"/>
                <a:gd name="T63" fmla="*/ 31 h 36"/>
                <a:gd name="T64" fmla="*/ 37 w 37"/>
                <a:gd name="T65" fmla="*/ 2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7" h="36">
                  <a:moveTo>
                    <a:pt x="37" y="26"/>
                  </a:moveTo>
                  <a:lnTo>
                    <a:pt x="37" y="26"/>
                  </a:lnTo>
                  <a:lnTo>
                    <a:pt x="37" y="18"/>
                  </a:lnTo>
                  <a:lnTo>
                    <a:pt x="37" y="18"/>
                  </a:lnTo>
                  <a:lnTo>
                    <a:pt x="37" y="5"/>
                  </a:lnTo>
                  <a:lnTo>
                    <a:pt x="37" y="5"/>
                  </a:lnTo>
                  <a:lnTo>
                    <a:pt x="37" y="3"/>
                  </a:lnTo>
                  <a:lnTo>
                    <a:pt x="37" y="1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28" y="5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18" y="5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9" y="5"/>
                  </a:lnTo>
                  <a:lnTo>
                    <a:pt x="7" y="0"/>
                  </a:lnTo>
                  <a:lnTo>
                    <a:pt x="7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1" y="1"/>
                  </a:lnTo>
                  <a:lnTo>
                    <a:pt x="0" y="3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4" y="33"/>
                  </a:lnTo>
                  <a:lnTo>
                    <a:pt x="6" y="32"/>
                  </a:lnTo>
                  <a:lnTo>
                    <a:pt x="6" y="32"/>
                  </a:lnTo>
                  <a:lnTo>
                    <a:pt x="7" y="28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11" y="36"/>
                  </a:lnTo>
                  <a:lnTo>
                    <a:pt x="14" y="34"/>
                  </a:lnTo>
                  <a:lnTo>
                    <a:pt x="16" y="33"/>
                  </a:lnTo>
                  <a:lnTo>
                    <a:pt x="16" y="33"/>
                  </a:lnTo>
                  <a:lnTo>
                    <a:pt x="17" y="29"/>
                  </a:lnTo>
                  <a:lnTo>
                    <a:pt x="18" y="27"/>
                  </a:lnTo>
                  <a:lnTo>
                    <a:pt x="18" y="27"/>
                  </a:lnTo>
                  <a:lnTo>
                    <a:pt x="18" y="36"/>
                  </a:lnTo>
                  <a:lnTo>
                    <a:pt x="18" y="36"/>
                  </a:lnTo>
                  <a:lnTo>
                    <a:pt x="22" y="34"/>
                  </a:lnTo>
                  <a:lnTo>
                    <a:pt x="26" y="33"/>
                  </a:lnTo>
                  <a:lnTo>
                    <a:pt x="26" y="33"/>
                  </a:lnTo>
                  <a:lnTo>
                    <a:pt x="28" y="29"/>
                  </a:lnTo>
                  <a:lnTo>
                    <a:pt x="28" y="27"/>
                  </a:lnTo>
                  <a:lnTo>
                    <a:pt x="28" y="27"/>
                  </a:lnTo>
                  <a:lnTo>
                    <a:pt x="28" y="33"/>
                  </a:lnTo>
                  <a:lnTo>
                    <a:pt x="28" y="33"/>
                  </a:lnTo>
                  <a:lnTo>
                    <a:pt x="31" y="32"/>
                  </a:lnTo>
                  <a:lnTo>
                    <a:pt x="31" y="32"/>
                  </a:lnTo>
                  <a:lnTo>
                    <a:pt x="34" y="31"/>
                  </a:lnTo>
                  <a:lnTo>
                    <a:pt x="34" y="31"/>
                  </a:lnTo>
                  <a:lnTo>
                    <a:pt x="36" y="29"/>
                  </a:lnTo>
                  <a:lnTo>
                    <a:pt x="37" y="2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38" name="Freeform 35"/>
            <p:cNvSpPr>
              <a:spLocks/>
            </p:cNvSpPr>
            <p:nvPr userDrawn="1"/>
          </p:nvSpPr>
          <p:spPr bwMode="auto">
            <a:xfrm>
              <a:off x="503" y="441"/>
              <a:ext cx="45" cy="52"/>
            </a:xfrm>
            <a:custGeom>
              <a:avLst/>
              <a:gdLst>
                <a:gd name="T0" fmla="*/ 45 w 45"/>
                <a:gd name="T1" fmla="*/ 38 h 52"/>
                <a:gd name="T2" fmla="*/ 45 w 45"/>
                <a:gd name="T3" fmla="*/ 30 h 52"/>
                <a:gd name="T4" fmla="*/ 45 w 45"/>
                <a:gd name="T5" fmla="*/ 30 h 52"/>
                <a:gd name="T6" fmla="*/ 44 w 45"/>
                <a:gd name="T7" fmla="*/ 28 h 52"/>
                <a:gd name="T8" fmla="*/ 43 w 45"/>
                <a:gd name="T9" fmla="*/ 25 h 52"/>
                <a:gd name="T10" fmla="*/ 43 w 45"/>
                <a:gd name="T11" fmla="*/ 20 h 52"/>
                <a:gd name="T12" fmla="*/ 43 w 45"/>
                <a:gd name="T13" fmla="*/ 20 h 52"/>
                <a:gd name="T14" fmla="*/ 43 w 45"/>
                <a:gd name="T15" fmla="*/ 17 h 52"/>
                <a:gd name="T16" fmla="*/ 44 w 45"/>
                <a:gd name="T17" fmla="*/ 14 h 52"/>
                <a:gd name="T18" fmla="*/ 45 w 45"/>
                <a:gd name="T19" fmla="*/ 11 h 52"/>
                <a:gd name="T20" fmla="*/ 45 w 45"/>
                <a:gd name="T21" fmla="*/ 4 h 52"/>
                <a:gd name="T22" fmla="*/ 45 w 45"/>
                <a:gd name="T23" fmla="*/ 4 h 52"/>
                <a:gd name="T24" fmla="*/ 43 w 45"/>
                <a:gd name="T25" fmla="*/ 2 h 52"/>
                <a:gd name="T26" fmla="*/ 40 w 45"/>
                <a:gd name="T27" fmla="*/ 0 h 52"/>
                <a:gd name="T28" fmla="*/ 38 w 45"/>
                <a:gd name="T29" fmla="*/ 0 h 52"/>
                <a:gd name="T30" fmla="*/ 38 w 45"/>
                <a:gd name="T31" fmla="*/ 27 h 52"/>
                <a:gd name="T32" fmla="*/ 38 w 45"/>
                <a:gd name="T33" fmla="*/ 27 h 52"/>
                <a:gd name="T34" fmla="*/ 37 w 45"/>
                <a:gd name="T35" fmla="*/ 31 h 52"/>
                <a:gd name="T36" fmla="*/ 34 w 45"/>
                <a:gd name="T37" fmla="*/ 35 h 52"/>
                <a:gd name="T38" fmla="*/ 31 w 45"/>
                <a:gd name="T39" fmla="*/ 37 h 52"/>
                <a:gd name="T40" fmla="*/ 26 w 45"/>
                <a:gd name="T41" fmla="*/ 38 h 52"/>
                <a:gd name="T42" fmla="*/ 26 w 45"/>
                <a:gd name="T43" fmla="*/ 38 h 52"/>
                <a:gd name="T44" fmla="*/ 16 w 45"/>
                <a:gd name="T45" fmla="*/ 39 h 52"/>
                <a:gd name="T46" fmla="*/ 7 w 45"/>
                <a:gd name="T47" fmla="*/ 41 h 52"/>
                <a:gd name="T48" fmla="*/ 0 w 45"/>
                <a:gd name="T49" fmla="*/ 41 h 52"/>
                <a:gd name="T50" fmla="*/ 0 w 45"/>
                <a:gd name="T51" fmla="*/ 41 h 52"/>
                <a:gd name="T52" fmla="*/ 1 w 45"/>
                <a:gd name="T53" fmla="*/ 47 h 52"/>
                <a:gd name="T54" fmla="*/ 1 w 45"/>
                <a:gd name="T55" fmla="*/ 47 h 52"/>
                <a:gd name="T56" fmla="*/ 4 w 45"/>
                <a:gd name="T57" fmla="*/ 50 h 52"/>
                <a:gd name="T58" fmla="*/ 5 w 45"/>
                <a:gd name="T59" fmla="*/ 52 h 52"/>
                <a:gd name="T60" fmla="*/ 37 w 45"/>
                <a:gd name="T61" fmla="*/ 52 h 52"/>
                <a:gd name="T62" fmla="*/ 45 w 45"/>
                <a:gd name="T63" fmla="*/ 38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5" h="52">
                  <a:moveTo>
                    <a:pt x="45" y="38"/>
                  </a:moveTo>
                  <a:lnTo>
                    <a:pt x="45" y="30"/>
                  </a:lnTo>
                  <a:lnTo>
                    <a:pt x="45" y="30"/>
                  </a:lnTo>
                  <a:lnTo>
                    <a:pt x="44" y="28"/>
                  </a:lnTo>
                  <a:lnTo>
                    <a:pt x="43" y="25"/>
                  </a:lnTo>
                  <a:lnTo>
                    <a:pt x="43" y="20"/>
                  </a:lnTo>
                  <a:lnTo>
                    <a:pt x="43" y="20"/>
                  </a:lnTo>
                  <a:lnTo>
                    <a:pt x="43" y="17"/>
                  </a:lnTo>
                  <a:lnTo>
                    <a:pt x="44" y="14"/>
                  </a:lnTo>
                  <a:lnTo>
                    <a:pt x="45" y="11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3" y="2"/>
                  </a:lnTo>
                  <a:lnTo>
                    <a:pt x="40" y="0"/>
                  </a:lnTo>
                  <a:lnTo>
                    <a:pt x="38" y="0"/>
                  </a:lnTo>
                  <a:lnTo>
                    <a:pt x="38" y="27"/>
                  </a:lnTo>
                  <a:lnTo>
                    <a:pt x="38" y="27"/>
                  </a:lnTo>
                  <a:lnTo>
                    <a:pt x="37" y="31"/>
                  </a:lnTo>
                  <a:lnTo>
                    <a:pt x="34" y="35"/>
                  </a:lnTo>
                  <a:lnTo>
                    <a:pt x="31" y="37"/>
                  </a:lnTo>
                  <a:lnTo>
                    <a:pt x="26" y="38"/>
                  </a:lnTo>
                  <a:lnTo>
                    <a:pt x="26" y="38"/>
                  </a:lnTo>
                  <a:lnTo>
                    <a:pt x="16" y="39"/>
                  </a:lnTo>
                  <a:lnTo>
                    <a:pt x="7" y="41"/>
                  </a:lnTo>
                  <a:lnTo>
                    <a:pt x="0" y="41"/>
                  </a:lnTo>
                  <a:lnTo>
                    <a:pt x="0" y="41"/>
                  </a:lnTo>
                  <a:lnTo>
                    <a:pt x="1" y="47"/>
                  </a:lnTo>
                  <a:lnTo>
                    <a:pt x="1" y="47"/>
                  </a:lnTo>
                  <a:lnTo>
                    <a:pt x="4" y="50"/>
                  </a:lnTo>
                  <a:lnTo>
                    <a:pt x="5" y="52"/>
                  </a:lnTo>
                  <a:lnTo>
                    <a:pt x="37" y="52"/>
                  </a:lnTo>
                  <a:lnTo>
                    <a:pt x="45" y="3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39" name="Freeform 36"/>
            <p:cNvSpPr>
              <a:spLocks/>
            </p:cNvSpPr>
            <p:nvPr userDrawn="1"/>
          </p:nvSpPr>
          <p:spPr bwMode="auto">
            <a:xfrm>
              <a:off x="505" y="499"/>
              <a:ext cx="37" cy="12"/>
            </a:xfrm>
            <a:custGeom>
              <a:avLst/>
              <a:gdLst>
                <a:gd name="T0" fmla="*/ 3 w 37"/>
                <a:gd name="T1" fmla="*/ 12 h 12"/>
                <a:gd name="T2" fmla="*/ 35 w 37"/>
                <a:gd name="T3" fmla="*/ 12 h 12"/>
                <a:gd name="T4" fmla="*/ 35 w 37"/>
                <a:gd name="T5" fmla="*/ 12 h 12"/>
                <a:gd name="T6" fmla="*/ 37 w 37"/>
                <a:gd name="T7" fmla="*/ 6 h 12"/>
                <a:gd name="T8" fmla="*/ 36 w 37"/>
                <a:gd name="T9" fmla="*/ 0 h 12"/>
                <a:gd name="T10" fmla="*/ 3 w 37"/>
                <a:gd name="T11" fmla="*/ 0 h 12"/>
                <a:gd name="T12" fmla="*/ 0 w 37"/>
                <a:gd name="T13" fmla="*/ 6 h 12"/>
                <a:gd name="T14" fmla="*/ 3 w 37"/>
                <a:gd name="T1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" h="12">
                  <a:moveTo>
                    <a:pt x="3" y="12"/>
                  </a:moveTo>
                  <a:lnTo>
                    <a:pt x="35" y="12"/>
                  </a:lnTo>
                  <a:lnTo>
                    <a:pt x="35" y="12"/>
                  </a:lnTo>
                  <a:lnTo>
                    <a:pt x="37" y="6"/>
                  </a:lnTo>
                  <a:lnTo>
                    <a:pt x="36" y="0"/>
                  </a:lnTo>
                  <a:lnTo>
                    <a:pt x="3" y="0"/>
                  </a:lnTo>
                  <a:lnTo>
                    <a:pt x="0" y="6"/>
                  </a:lnTo>
                  <a:lnTo>
                    <a:pt x="3" y="1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40" name="Freeform 37"/>
            <p:cNvSpPr>
              <a:spLocks/>
            </p:cNvSpPr>
            <p:nvPr userDrawn="1"/>
          </p:nvSpPr>
          <p:spPr bwMode="auto">
            <a:xfrm>
              <a:off x="508" y="517"/>
              <a:ext cx="37" cy="43"/>
            </a:xfrm>
            <a:custGeom>
              <a:avLst/>
              <a:gdLst>
                <a:gd name="T0" fmla="*/ 32 w 37"/>
                <a:gd name="T1" fmla="*/ 0 h 43"/>
                <a:gd name="T2" fmla="*/ 0 w 37"/>
                <a:gd name="T3" fmla="*/ 0 h 43"/>
                <a:gd name="T4" fmla="*/ 0 w 37"/>
                <a:gd name="T5" fmla="*/ 42 h 43"/>
                <a:gd name="T6" fmla="*/ 28 w 37"/>
                <a:gd name="T7" fmla="*/ 43 h 43"/>
                <a:gd name="T8" fmla="*/ 37 w 37"/>
                <a:gd name="T9" fmla="*/ 35 h 43"/>
                <a:gd name="T10" fmla="*/ 32 w 37"/>
                <a:gd name="T11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" h="43">
                  <a:moveTo>
                    <a:pt x="32" y="0"/>
                  </a:moveTo>
                  <a:lnTo>
                    <a:pt x="0" y="0"/>
                  </a:lnTo>
                  <a:lnTo>
                    <a:pt x="0" y="42"/>
                  </a:lnTo>
                  <a:lnTo>
                    <a:pt x="28" y="43"/>
                  </a:lnTo>
                  <a:lnTo>
                    <a:pt x="37" y="35"/>
                  </a:lnTo>
                  <a:lnTo>
                    <a:pt x="3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41" name="Freeform 38"/>
            <p:cNvSpPr>
              <a:spLocks/>
            </p:cNvSpPr>
            <p:nvPr userDrawn="1"/>
          </p:nvSpPr>
          <p:spPr bwMode="auto">
            <a:xfrm>
              <a:off x="507" y="559"/>
              <a:ext cx="49" cy="42"/>
            </a:xfrm>
            <a:custGeom>
              <a:avLst/>
              <a:gdLst>
                <a:gd name="T0" fmla="*/ 49 w 49"/>
                <a:gd name="T1" fmla="*/ 11 h 42"/>
                <a:gd name="T2" fmla="*/ 49 w 49"/>
                <a:gd name="T3" fmla="*/ 11 h 42"/>
                <a:gd name="T4" fmla="*/ 42 w 49"/>
                <a:gd name="T5" fmla="*/ 6 h 42"/>
                <a:gd name="T6" fmla="*/ 42 w 49"/>
                <a:gd name="T7" fmla="*/ 6 h 42"/>
                <a:gd name="T8" fmla="*/ 41 w 49"/>
                <a:gd name="T9" fmla="*/ 0 h 42"/>
                <a:gd name="T10" fmla="*/ 31 w 49"/>
                <a:gd name="T11" fmla="*/ 7 h 42"/>
                <a:gd name="T12" fmla="*/ 0 w 49"/>
                <a:gd name="T13" fmla="*/ 7 h 42"/>
                <a:gd name="T14" fmla="*/ 0 w 49"/>
                <a:gd name="T15" fmla="*/ 7 h 42"/>
                <a:gd name="T16" fmla="*/ 0 w 49"/>
                <a:gd name="T17" fmla="*/ 18 h 42"/>
                <a:gd name="T18" fmla="*/ 0 w 49"/>
                <a:gd name="T19" fmla="*/ 30 h 42"/>
                <a:gd name="T20" fmla="*/ 0 w 49"/>
                <a:gd name="T21" fmla="*/ 30 h 42"/>
                <a:gd name="T22" fmla="*/ 7 w 49"/>
                <a:gd name="T23" fmla="*/ 36 h 42"/>
                <a:gd name="T24" fmla="*/ 16 w 49"/>
                <a:gd name="T25" fmla="*/ 42 h 42"/>
                <a:gd name="T26" fmla="*/ 36 w 49"/>
                <a:gd name="T27" fmla="*/ 17 h 42"/>
                <a:gd name="T28" fmla="*/ 49 w 49"/>
                <a:gd name="T29" fmla="*/ 1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9" h="42">
                  <a:moveTo>
                    <a:pt x="49" y="11"/>
                  </a:moveTo>
                  <a:lnTo>
                    <a:pt x="49" y="11"/>
                  </a:lnTo>
                  <a:lnTo>
                    <a:pt x="42" y="6"/>
                  </a:lnTo>
                  <a:lnTo>
                    <a:pt x="42" y="6"/>
                  </a:lnTo>
                  <a:lnTo>
                    <a:pt x="41" y="0"/>
                  </a:lnTo>
                  <a:lnTo>
                    <a:pt x="31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18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7" y="36"/>
                  </a:lnTo>
                  <a:lnTo>
                    <a:pt x="16" y="42"/>
                  </a:lnTo>
                  <a:lnTo>
                    <a:pt x="36" y="17"/>
                  </a:lnTo>
                  <a:lnTo>
                    <a:pt x="49" y="11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42" name="Freeform 39"/>
            <p:cNvSpPr>
              <a:spLocks/>
            </p:cNvSpPr>
            <p:nvPr userDrawn="1"/>
          </p:nvSpPr>
          <p:spPr bwMode="auto">
            <a:xfrm>
              <a:off x="530" y="574"/>
              <a:ext cx="72" cy="43"/>
            </a:xfrm>
            <a:custGeom>
              <a:avLst/>
              <a:gdLst>
                <a:gd name="T0" fmla="*/ 18 w 72"/>
                <a:gd name="T1" fmla="*/ 5 h 43"/>
                <a:gd name="T2" fmla="*/ 0 w 72"/>
                <a:gd name="T3" fmla="*/ 30 h 43"/>
                <a:gd name="T4" fmla="*/ 30 w 72"/>
                <a:gd name="T5" fmla="*/ 43 h 43"/>
                <a:gd name="T6" fmla="*/ 30 w 72"/>
                <a:gd name="T7" fmla="*/ 43 h 43"/>
                <a:gd name="T8" fmla="*/ 44 w 72"/>
                <a:gd name="T9" fmla="*/ 35 h 43"/>
                <a:gd name="T10" fmla="*/ 57 w 72"/>
                <a:gd name="T11" fmla="*/ 26 h 43"/>
                <a:gd name="T12" fmla="*/ 72 w 72"/>
                <a:gd name="T13" fmla="*/ 16 h 43"/>
                <a:gd name="T14" fmla="*/ 29 w 72"/>
                <a:gd name="T15" fmla="*/ 0 h 43"/>
                <a:gd name="T16" fmla="*/ 18 w 72"/>
                <a:gd name="T17" fmla="*/ 5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43">
                  <a:moveTo>
                    <a:pt x="18" y="5"/>
                  </a:moveTo>
                  <a:lnTo>
                    <a:pt x="0" y="30"/>
                  </a:lnTo>
                  <a:lnTo>
                    <a:pt x="30" y="43"/>
                  </a:lnTo>
                  <a:lnTo>
                    <a:pt x="30" y="43"/>
                  </a:lnTo>
                  <a:lnTo>
                    <a:pt x="44" y="35"/>
                  </a:lnTo>
                  <a:lnTo>
                    <a:pt x="57" y="26"/>
                  </a:lnTo>
                  <a:lnTo>
                    <a:pt x="72" y="16"/>
                  </a:lnTo>
                  <a:lnTo>
                    <a:pt x="29" y="0"/>
                  </a:lnTo>
                  <a:lnTo>
                    <a:pt x="18" y="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43" name="Freeform 40"/>
            <p:cNvSpPr>
              <a:spLocks/>
            </p:cNvSpPr>
            <p:nvPr userDrawn="1"/>
          </p:nvSpPr>
          <p:spPr bwMode="auto">
            <a:xfrm>
              <a:off x="551" y="421"/>
              <a:ext cx="18" cy="78"/>
            </a:xfrm>
            <a:custGeom>
              <a:avLst/>
              <a:gdLst>
                <a:gd name="T0" fmla="*/ 14 w 18"/>
                <a:gd name="T1" fmla="*/ 33 h 78"/>
                <a:gd name="T2" fmla="*/ 14 w 18"/>
                <a:gd name="T3" fmla="*/ 33 h 78"/>
                <a:gd name="T4" fmla="*/ 14 w 18"/>
                <a:gd name="T5" fmla="*/ 7 h 78"/>
                <a:gd name="T6" fmla="*/ 14 w 18"/>
                <a:gd name="T7" fmla="*/ 7 h 78"/>
                <a:gd name="T8" fmla="*/ 16 w 18"/>
                <a:gd name="T9" fmla="*/ 5 h 78"/>
                <a:gd name="T10" fmla="*/ 16 w 18"/>
                <a:gd name="T11" fmla="*/ 5 h 78"/>
                <a:gd name="T12" fmla="*/ 16 w 18"/>
                <a:gd name="T13" fmla="*/ 2 h 78"/>
                <a:gd name="T14" fmla="*/ 16 w 18"/>
                <a:gd name="T15" fmla="*/ 0 h 78"/>
                <a:gd name="T16" fmla="*/ 1 w 18"/>
                <a:gd name="T17" fmla="*/ 0 h 78"/>
                <a:gd name="T18" fmla="*/ 1 w 18"/>
                <a:gd name="T19" fmla="*/ 0 h 78"/>
                <a:gd name="T20" fmla="*/ 1 w 18"/>
                <a:gd name="T21" fmla="*/ 3 h 78"/>
                <a:gd name="T22" fmla="*/ 1 w 18"/>
                <a:gd name="T23" fmla="*/ 3 h 78"/>
                <a:gd name="T24" fmla="*/ 1 w 18"/>
                <a:gd name="T25" fmla="*/ 6 h 78"/>
                <a:gd name="T26" fmla="*/ 2 w 18"/>
                <a:gd name="T27" fmla="*/ 7 h 78"/>
                <a:gd name="T28" fmla="*/ 2 w 18"/>
                <a:gd name="T29" fmla="*/ 33 h 78"/>
                <a:gd name="T30" fmla="*/ 2 w 18"/>
                <a:gd name="T31" fmla="*/ 33 h 78"/>
                <a:gd name="T32" fmla="*/ 1 w 18"/>
                <a:gd name="T33" fmla="*/ 34 h 78"/>
                <a:gd name="T34" fmla="*/ 0 w 18"/>
                <a:gd name="T35" fmla="*/ 40 h 78"/>
                <a:gd name="T36" fmla="*/ 0 w 18"/>
                <a:gd name="T37" fmla="*/ 40 h 78"/>
                <a:gd name="T38" fmla="*/ 0 w 18"/>
                <a:gd name="T39" fmla="*/ 44 h 78"/>
                <a:gd name="T40" fmla="*/ 1 w 18"/>
                <a:gd name="T41" fmla="*/ 47 h 78"/>
                <a:gd name="T42" fmla="*/ 3 w 18"/>
                <a:gd name="T43" fmla="*/ 50 h 78"/>
                <a:gd name="T44" fmla="*/ 2 w 18"/>
                <a:gd name="T45" fmla="*/ 70 h 78"/>
                <a:gd name="T46" fmla="*/ 2 w 18"/>
                <a:gd name="T47" fmla="*/ 70 h 78"/>
                <a:gd name="T48" fmla="*/ 2 w 18"/>
                <a:gd name="T49" fmla="*/ 72 h 78"/>
                <a:gd name="T50" fmla="*/ 1 w 18"/>
                <a:gd name="T51" fmla="*/ 74 h 78"/>
                <a:gd name="T52" fmla="*/ 1 w 18"/>
                <a:gd name="T53" fmla="*/ 74 h 78"/>
                <a:gd name="T54" fmla="*/ 1 w 18"/>
                <a:gd name="T55" fmla="*/ 78 h 78"/>
                <a:gd name="T56" fmla="*/ 16 w 18"/>
                <a:gd name="T57" fmla="*/ 78 h 78"/>
                <a:gd name="T58" fmla="*/ 16 w 18"/>
                <a:gd name="T59" fmla="*/ 78 h 78"/>
                <a:gd name="T60" fmla="*/ 16 w 18"/>
                <a:gd name="T61" fmla="*/ 73 h 78"/>
                <a:gd name="T62" fmla="*/ 16 w 18"/>
                <a:gd name="T63" fmla="*/ 73 h 78"/>
                <a:gd name="T64" fmla="*/ 14 w 18"/>
                <a:gd name="T65" fmla="*/ 70 h 78"/>
                <a:gd name="T66" fmla="*/ 14 w 18"/>
                <a:gd name="T67" fmla="*/ 50 h 78"/>
                <a:gd name="T68" fmla="*/ 14 w 18"/>
                <a:gd name="T69" fmla="*/ 50 h 78"/>
                <a:gd name="T70" fmla="*/ 17 w 18"/>
                <a:gd name="T71" fmla="*/ 46 h 78"/>
                <a:gd name="T72" fmla="*/ 17 w 18"/>
                <a:gd name="T73" fmla="*/ 44 h 78"/>
                <a:gd name="T74" fmla="*/ 18 w 18"/>
                <a:gd name="T75" fmla="*/ 41 h 78"/>
                <a:gd name="T76" fmla="*/ 18 w 18"/>
                <a:gd name="T77" fmla="*/ 41 h 78"/>
                <a:gd name="T78" fmla="*/ 16 w 18"/>
                <a:gd name="T79" fmla="*/ 35 h 78"/>
                <a:gd name="T80" fmla="*/ 14 w 18"/>
                <a:gd name="T81" fmla="*/ 33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8" h="78">
                  <a:moveTo>
                    <a:pt x="14" y="33"/>
                  </a:moveTo>
                  <a:lnTo>
                    <a:pt x="14" y="33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6" y="2"/>
                  </a:lnTo>
                  <a:lnTo>
                    <a:pt x="16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6"/>
                  </a:lnTo>
                  <a:lnTo>
                    <a:pt x="2" y="7"/>
                  </a:lnTo>
                  <a:lnTo>
                    <a:pt x="2" y="33"/>
                  </a:lnTo>
                  <a:lnTo>
                    <a:pt x="2" y="33"/>
                  </a:lnTo>
                  <a:lnTo>
                    <a:pt x="1" y="34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44"/>
                  </a:lnTo>
                  <a:lnTo>
                    <a:pt x="1" y="47"/>
                  </a:lnTo>
                  <a:lnTo>
                    <a:pt x="3" y="50"/>
                  </a:lnTo>
                  <a:lnTo>
                    <a:pt x="2" y="70"/>
                  </a:lnTo>
                  <a:lnTo>
                    <a:pt x="2" y="70"/>
                  </a:lnTo>
                  <a:lnTo>
                    <a:pt x="2" y="72"/>
                  </a:lnTo>
                  <a:lnTo>
                    <a:pt x="1" y="74"/>
                  </a:lnTo>
                  <a:lnTo>
                    <a:pt x="1" y="74"/>
                  </a:lnTo>
                  <a:lnTo>
                    <a:pt x="1" y="78"/>
                  </a:lnTo>
                  <a:lnTo>
                    <a:pt x="16" y="78"/>
                  </a:lnTo>
                  <a:lnTo>
                    <a:pt x="16" y="78"/>
                  </a:lnTo>
                  <a:lnTo>
                    <a:pt x="16" y="73"/>
                  </a:lnTo>
                  <a:lnTo>
                    <a:pt x="16" y="73"/>
                  </a:lnTo>
                  <a:lnTo>
                    <a:pt x="14" y="70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7" y="46"/>
                  </a:lnTo>
                  <a:lnTo>
                    <a:pt x="17" y="44"/>
                  </a:lnTo>
                  <a:lnTo>
                    <a:pt x="18" y="41"/>
                  </a:lnTo>
                  <a:lnTo>
                    <a:pt x="18" y="41"/>
                  </a:lnTo>
                  <a:lnTo>
                    <a:pt x="16" y="35"/>
                  </a:lnTo>
                  <a:lnTo>
                    <a:pt x="14" y="3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44" name="Freeform 41"/>
            <p:cNvSpPr>
              <a:spLocks/>
            </p:cNvSpPr>
            <p:nvPr userDrawn="1"/>
          </p:nvSpPr>
          <p:spPr bwMode="auto">
            <a:xfrm>
              <a:off x="569" y="444"/>
              <a:ext cx="51" cy="36"/>
            </a:xfrm>
            <a:custGeom>
              <a:avLst/>
              <a:gdLst>
                <a:gd name="T0" fmla="*/ 28 w 51"/>
                <a:gd name="T1" fmla="*/ 30 h 36"/>
                <a:gd name="T2" fmla="*/ 51 w 51"/>
                <a:gd name="T3" fmla="*/ 6 h 36"/>
                <a:gd name="T4" fmla="*/ 51 w 51"/>
                <a:gd name="T5" fmla="*/ 6 h 36"/>
                <a:gd name="T6" fmla="*/ 17 w 51"/>
                <a:gd name="T7" fmla="*/ 6 h 36"/>
                <a:gd name="T8" fmla="*/ 17 w 51"/>
                <a:gd name="T9" fmla="*/ 6 h 36"/>
                <a:gd name="T10" fmla="*/ 13 w 51"/>
                <a:gd name="T11" fmla="*/ 5 h 36"/>
                <a:gd name="T12" fmla="*/ 10 w 51"/>
                <a:gd name="T13" fmla="*/ 2 h 36"/>
                <a:gd name="T14" fmla="*/ 5 w 51"/>
                <a:gd name="T15" fmla="*/ 0 h 36"/>
                <a:gd name="T16" fmla="*/ 4 w 51"/>
                <a:gd name="T17" fmla="*/ 0 h 36"/>
                <a:gd name="T18" fmla="*/ 4 w 51"/>
                <a:gd name="T19" fmla="*/ 0 h 36"/>
                <a:gd name="T20" fmla="*/ 0 w 51"/>
                <a:gd name="T21" fmla="*/ 7 h 36"/>
                <a:gd name="T22" fmla="*/ 0 w 51"/>
                <a:gd name="T23" fmla="*/ 7 h 36"/>
                <a:gd name="T24" fmla="*/ 2 w 51"/>
                <a:gd name="T25" fmla="*/ 11 h 36"/>
                <a:gd name="T26" fmla="*/ 4 w 51"/>
                <a:gd name="T27" fmla="*/ 13 h 36"/>
                <a:gd name="T28" fmla="*/ 5 w 51"/>
                <a:gd name="T29" fmla="*/ 18 h 36"/>
                <a:gd name="T30" fmla="*/ 5 w 51"/>
                <a:gd name="T31" fmla="*/ 18 h 36"/>
                <a:gd name="T32" fmla="*/ 5 w 51"/>
                <a:gd name="T33" fmla="*/ 22 h 36"/>
                <a:gd name="T34" fmla="*/ 2 w 51"/>
                <a:gd name="T35" fmla="*/ 25 h 36"/>
                <a:gd name="T36" fmla="*/ 0 w 51"/>
                <a:gd name="T37" fmla="*/ 28 h 36"/>
                <a:gd name="T38" fmla="*/ 0 w 51"/>
                <a:gd name="T39" fmla="*/ 28 h 36"/>
                <a:gd name="T40" fmla="*/ 5 w 51"/>
                <a:gd name="T41" fmla="*/ 36 h 36"/>
                <a:gd name="T42" fmla="*/ 5 w 51"/>
                <a:gd name="T43" fmla="*/ 36 h 36"/>
                <a:gd name="T44" fmla="*/ 9 w 51"/>
                <a:gd name="T45" fmla="*/ 34 h 36"/>
                <a:gd name="T46" fmla="*/ 18 w 51"/>
                <a:gd name="T47" fmla="*/ 30 h 36"/>
                <a:gd name="T48" fmla="*/ 18 w 51"/>
                <a:gd name="T49" fmla="*/ 30 h 36"/>
                <a:gd name="T50" fmla="*/ 28 w 51"/>
                <a:gd name="T51" fmla="*/ 3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1" h="36">
                  <a:moveTo>
                    <a:pt x="28" y="30"/>
                  </a:moveTo>
                  <a:lnTo>
                    <a:pt x="51" y="6"/>
                  </a:lnTo>
                  <a:lnTo>
                    <a:pt x="51" y="6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3" y="5"/>
                  </a:lnTo>
                  <a:lnTo>
                    <a:pt x="10" y="2"/>
                  </a:lnTo>
                  <a:lnTo>
                    <a:pt x="5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0" y="7"/>
                  </a:lnTo>
                  <a:lnTo>
                    <a:pt x="0" y="7"/>
                  </a:lnTo>
                  <a:lnTo>
                    <a:pt x="2" y="11"/>
                  </a:lnTo>
                  <a:lnTo>
                    <a:pt x="4" y="13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22"/>
                  </a:lnTo>
                  <a:lnTo>
                    <a:pt x="2" y="25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9" y="34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28" y="3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45" name="Freeform 42"/>
            <p:cNvSpPr>
              <a:spLocks/>
            </p:cNvSpPr>
            <p:nvPr userDrawn="1"/>
          </p:nvSpPr>
          <p:spPr bwMode="auto">
            <a:xfrm>
              <a:off x="633" y="395"/>
              <a:ext cx="101" cy="79"/>
            </a:xfrm>
            <a:custGeom>
              <a:avLst/>
              <a:gdLst>
                <a:gd name="T0" fmla="*/ 101 w 101"/>
                <a:gd name="T1" fmla="*/ 40 h 79"/>
                <a:gd name="T2" fmla="*/ 99 w 101"/>
                <a:gd name="T3" fmla="*/ 39 h 79"/>
                <a:gd name="T4" fmla="*/ 93 w 101"/>
                <a:gd name="T5" fmla="*/ 42 h 79"/>
                <a:gd name="T6" fmla="*/ 90 w 101"/>
                <a:gd name="T7" fmla="*/ 43 h 79"/>
                <a:gd name="T8" fmla="*/ 89 w 101"/>
                <a:gd name="T9" fmla="*/ 50 h 79"/>
                <a:gd name="T10" fmla="*/ 87 w 101"/>
                <a:gd name="T11" fmla="*/ 48 h 79"/>
                <a:gd name="T12" fmla="*/ 80 w 101"/>
                <a:gd name="T13" fmla="*/ 46 h 79"/>
                <a:gd name="T14" fmla="*/ 75 w 101"/>
                <a:gd name="T15" fmla="*/ 48 h 79"/>
                <a:gd name="T16" fmla="*/ 78 w 101"/>
                <a:gd name="T17" fmla="*/ 54 h 79"/>
                <a:gd name="T18" fmla="*/ 75 w 101"/>
                <a:gd name="T19" fmla="*/ 60 h 79"/>
                <a:gd name="T20" fmla="*/ 73 w 101"/>
                <a:gd name="T21" fmla="*/ 60 h 79"/>
                <a:gd name="T22" fmla="*/ 68 w 101"/>
                <a:gd name="T23" fmla="*/ 56 h 79"/>
                <a:gd name="T24" fmla="*/ 68 w 101"/>
                <a:gd name="T25" fmla="*/ 52 h 79"/>
                <a:gd name="T26" fmla="*/ 62 w 101"/>
                <a:gd name="T27" fmla="*/ 55 h 79"/>
                <a:gd name="T28" fmla="*/ 58 w 101"/>
                <a:gd name="T29" fmla="*/ 52 h 79"/>
                <a:gd name="T30" fmla="*/ 60 w 101"/>
                <a:gd name="T31" fmla="*/ 46 h 79"/>
                <a:gd name="T32" fmla="*/ 69 w 101"/>
                <a:gd name="T33" fmla="*/ 44 h 79"/>
                <a:gd name="T34" fmla="*/ 68 w 101"/>
                <a:gd name="T35" fmla="*/ 40 h 79"/>
                <a:gd name="T36" fmla="*/ 64 w 101"/>
                <a:gd name="T37" fmla="*/ 35 h 79"/>
                <a:gd name="T38" fmla="*/ 61 w 101"/>
                <a:gd name="T39" fmla="*/ 34 h 79"/>
                <a:gd name="T40" fmla="*/ 55 w 101"/>
                <a:gd name="T41" fmla="*/ 35 h 79"/>
                <a:gd name="T42" fmla="*/ 57 w 101"/>
                <a:gd name="T43" fmla="*/ 34 h 79"/>
                <a:gd name="T44" fmla="*/ 60 w 101"/>
                <a:gd name="T45" fmla="*/ 29 h 79"/>
                <a:gd name="T46" fmla="*/ 60 w 101"/>
                <a:gd name="T47" fmla="*/ 23 h 79"/>
                <a:gd name="T48" fmla="*/ 56 w 101"/>
                <a:gd name="T49" fmla="*/ 17 h 79"/>
                <a:gd name="T50" fmla="*/ 56 w 101"/>
                <a:gd name="T51" fmla="*/ 17 h 79"/>
                <a:gd name="T52" fmla="*/ 52 w 101"/>
                <a:gd name="T53" fmla="*/ 18 h 79"/>
                <a:gd name="T54" fmla="*/ 45 w 101"/>
                <a:gd name="T55" fmla="*/ 22 h 79"/>
                <a:gd name="T56" fmla="*/ 44 w 101"/>
                <a:gd name="T57" fmla="*/ 26 h 79"/>
                <a:gd name="T58" fmla="*/ 44 w 101"/>
                <a:gd name="T59" fmla="*/ 31 h 79"/>
                <a:gd name="T60" fmla="*/ 41 w 101"/>
                <a:gd name="T61" fmla="*/ 27 h 79"/>
                <a:gd name="T62" fmla="*/ 36 w 101"/>
                <a:gd name="T63" fmla="*/ 23 h 79"/>
                <a:gd name="T64" fmla="*/ 33 w 101"/>
                <a:gd name="T65" fmla="*/ 23 h 79"/>
                <a:gd name="T66" fmla="*/ 28 w 101"/>
                <a:gd name="T67" fmla="*/ 26 h 79"/>
                <a:gd name="T68" fmla="*/ 31 w 101"/>
                <a:gd name="T69" fmla="*/ 31 h 79"/>
                <a:gd name="T70" fmla="*/ 31 w 101"/>
                <a:gd name="T71" fmla="*/ 38 h 79"/>
                <a:gd name="T72" fmla="*/ 28 w 101"/>
                <a:gd name="T73" fmla="*/ 39 h 79"/>
                <a:gd name="T74" fmla="*/ 23 w 101"/>
                <a:gd name="T75" fmla="*/ 35 h 79"/>
                <a:gd name="T76" fmla="*/ 22 w 101"/>
                <a:gd name="T77" fmla="*/ 32 h 79"/>
                <a:gd name="T78" fmla="*/ 17 w 101"/>
                <a:gd name="T79" fmla="*/ 35 h 79"/>
                <a:gd name="T80" fmla="*/ 13 w 101"/>
                <a:gd name="T81" fmla="*/ 34 h 79"/>
                <a:gd name="T82" fmla="*/ 11 w 101"/>
                <a:gd name="T83" fmla="*/ 28 h 79"/>
                <a:gd name="T84" fmla="*/ 20 w 101"/>
                <a:gd name="T85" fmla="*/ 23 h 79"/>
                <a:gd name="T86" fmla="*/ 19 w 101"/>
                <a:gd name="T87" fmla="*/ 22 h 79"/>
                <a:gd name="T88" fmla="*/ 14 w 101"/>
                <a:gd name="T89" fmla="*/ 16 h 79"/>
                <a:gd name="T90" fmla="*/ 9 w 101"/>
                <a:gd name="T91" fmla="*/ 16 h 79"/>
                <a:gd name="T92" fmla="*/ 12 w 101"/>
                <a:gd name="T93" fmla="*/ 12 h 79"/>
                <a:gd name="T94" fmla="*/ 13 w 101"/>
                <a:gd name="T95" fmla="*/ 6 h 79"/>
                <a:gd name="T96" fmla="*/ 12 w 101"/>
                <a:gd name="T97" fmla="*/ 4 h 79"/>
                <a:gd name="T98" fmla="*/ 8 w 101"/>
                <a:gd name="T99" fmla="*/ 0 h 79"/>
                <a:gd name="T100" fmla="*/ 23 w 101"/>
                <a:gd name="T101" fmla="*/ 59 h 79"/>
                <a:gd name="T102" fmla="*/ 30 w 101"/>
                <a:gd name="T103" fmla="*/ 55 h 79"/>
                <a:gd name="T104" fmla="*/ 34 w 101"/>
                <a:gd name="T105" fmla="*/ 52 h 79"/>
                <a:gd name="T106" fmla="*/ 44 w 101"/>
                <a:gd name="T107" fmla="*/ 54 h 79"/>
                <a:gd name="T108" fmla="*/ 47 w 101"/>
                <a:gd name="T109" fmla="*/ 55 h 79"/>
                <a:gd name="T110" fmla="*/ 55 w 101"/>
                <a:gd name="T111" fmla="*/ 60 h 79"/>
                <a:gd name="T112" fmla="*/ 56 w 101"/>
                <a:gd name="T113" fmla="*/ 66 h 79"/>
                <a:gd name="T114" fmla="*/ 56 w 101"/>
                <a:gd name="T115" fmla="*/ 70 h 79"/>
                <a:gd name="T116" fmla="*/ 71 w 101"/>
                <a:gd name="T117" fmla="*/ 7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01" h="79">
                  <a:moveTo>
                    <a:pt x="71" y="79"/>
                  </a:moveTo>
                  <a:lnTo>
                    <a:pt x="101" y="40"/>
                  </a:lnTo>
                  <a:lnTo>
                    <a:pt x="101" y="40"/>
                  </a:lnTo>
                  <a:lnTo>
                    <a:pt x="99" y="39"/>
                  </a:lnTo>
                  <a:lnTo>
                    <a:pt x="96" y="40"/>
                  </a:lnTo>
                  <a:lnTo>
                    <a:pt x="93" y="42"/>
                  </a:lnTo>
                  <a:lnTo>
                    <a:pt x="93" y="42"/>
                  </a:lnTo>
                  <a:lnTo>
                    <a:pt x="90" y="43"/>
                  </a:lnTo>
                  <a:lnTo>
                    <a:pt x="89" y="46"/>
                  </a:lnTo>
                  <a:lnTo>
                    <a:pt x="89" y="50"/>
                  </a:lnTo>
                  <a:lnTo>
                    <a:pt x="89" y="50"/>
                  </a:lnTo>
                  <a:lnTo>
                    <a:pt x="87" y="48"/>
                  </a:lnTo>
                  <a:lnTo>
                    <a:pt x="85" y="46"/>
                  </a:lnTo>
                  <a:lnTo>
                    <a:pt x="80" y="46"/>
                  </a:lnTo>
                  <a:lnTo>
                    <a:pt x="77" y="46"/>
                  </a:lnTo>
                  <a:lnTo>
                    <a:pt x="75" y="48"/>
                  </a:lnTo>
                  <a:lnTo>
                    <a:pt x="75" y="48"/>
                  </a:lnTo>
                  <a:lnTo>
                    <a:pt x="78" y="54"/>
                  </a:lnTo>
                  <a:lnTo>
                    <a:pt x="78" y="57"/>
                  </a:lnTo>
                  <a:lnTo>
                    <a:pt x="75" y="60"/>
                  </a:lnTo>
                  <a:lnTo>
                    <a:pt x="73" y="60"/>
                  </a:lnTo>
                  <a:lnTo>
                    <a:pt x="73" y="60"/>
                  </a:lnTo>
                  <a:lnTo>
                    <a:pt x="69" y="59"/>
                  </a:lnTo>
                  <a:lnTo>
                    <a:pt x="68" y="56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64" y="55"/>
                  </a:lnTo>
                  <a:lnTo>
                    <a:pt x="62" y="55"/>
                  </a:lnTo>
                  <a:lnTo>
                    <a:pt x="58" y="52"/>
                  </a:lnTo>
                  <a:lnTo>
                    <a:pt x="58" y="52"/>
                  </a:lnTo>
                  <a:lnTo>
                    <a:pt x="57" y="50"/>
                  </a:lnTo>
                  <a:lnTo>
                    <a:pt x="60" y="46"/>
                  </a:lnTo>
                  <a:lnTo>
                    <a:pt x="63" y="45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8" y="40"/>
                  </a:lnTo>
                  <a:lnTo>
                    <a:pt x="67" y="38"/>
                  </a:lnTo>
                  <a:lnTo>
                    <a:pt x="64" y="35"/>
                  </a:lnTo>
                  <a:lnTo>
                    <a:pt x="64" y="35"/>
                  </a:lnTo>
                  <a:lnTo>
                    <a:pt x="61" y="34"/>
                  </a:lnTo>
                  <a:lnTo>
                    <a:pt x="58" y="34"/>
                  </a:lnTo>
                  <a:lnTo>
                    <a:pt x="55" y="35"/>
                  </a:lnTo>
                  <a:lnTo>
                    <a:pt x="55" y="35"/>
                  </a:lnTo>
                  <a:lnTo>
                    <a:pt x="57" y="34"/>
                  </a:lnTo>
                  <a:lnTo>
                    <a:pt x="58" y="32"/>
                  </a:lnTo>
                  <a:lnTo>
                    <a:pt x="60" y="29"/>
                  </a:lnTo>
                  <a:lnTo>
                    <a:pt x="60" y="29"/>
                  </a:lnTo>
                  <a:lnTo>
                    <a:pt x="60" y="23"/>
                  </a:lnTo>
                  <a:lnTo>
                    <a:pt x="58" y="21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2" y="18"/>
                  </a:lnTo>
                  <a:lnTo>
                    <a:pt x="49" y="20"/>
                  </a:lnTo>
                  <a:lnTo>
                    <a:pt x="45" y="22"/>
                  </a:lnTo>
                  <a:lnTo>
                    <a:pt x="45" y="22"/>
                  </a:lnTo>
                  <a:lnTo>
                    <a:pt x="44" y="26"/>
                  </a:lnTo>
                  <a:lnTo>
                    <a:pt x="44" y="28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1" y="27"/>
                  </a:lnTo>
                  <a:lnTo>
                    <a:pt x="40" y="24"/>
                  </a:lnTo>
                  <a:lnTo>
                    <a:pt x="36" y="23"/>
                  </a:lnTo>
                  <a:lnTo>
                    <a:pt x="36" y="23"/>
                  </a:lnTo>
                  <a:lnTo>
                    <a:pt x="33" y="23"/>
                  </a:lnTo>
                  <a:lnTo>
                    <a:pt x="30" y="24"/>
                  </a:lnTo>
                  <a:lnTo>
                    <a:pt x="28" y="26"/>
                  </a:lnTo>
                  <a:lnTo>
                    <a:pt x="28" y="26"/>
                  </a:lnTo>
                  <a:lnTo>
                    <a:pt x="31" y="31"/>
                  </a:lnTo>
                  <a:lnTo>
                    <a:pt x="31" y="35"/>
                  </a:lnTo>
                  <a:lnTo>
                    <a:pt x="31" y="38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4" y="38"/>
                  </a:lnTo>
                  <a:lnTo>
                    <a:pt x="23" y="35"/>
                  </a:lnTo>
                  <a:lnTo>
                    <a:pt x="22" y="32"/>
                  </a:lnTo>
                  <a:lnTo>
                    <a:pt x="22" y="32"/>
                  </a:lnTo>
                  <a:lnTo>
                    <a:pt x="19" y="34"/>
                  </a:lnTo>
                  <a:lnTo>
                    <a:pt x="17" y="35"/>
                  </a:lnTo>
                  <a:lnTo>
                    <a:pt x="13" y="34"/>
                  </a:lnTo>
                  <a:lnTo>
                    <a:pt x="13" y="34"/>
                  </a:lnTo>
                  <a:lnTo>
                    <a:pt x="11" y="32"/>
                  </a:lnTo>
                  <a:lnTo>
                    <a:pt x="11" y="28"/>
                  </a:lnTo>
                  <a:lnTo>
                    <a:pt x="14" y="26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19" y="22"/>
                  </a:lnTo>
                  <a:lnTo>
                    <a:pt x="18" y="18"/>
                  </a:lnTo>
                  <a:lnTo>
                    <a:pt x="14" y="16"/>
                  </a:lnTo>
                  <a:lnTo>
                    <a:pt x="12" y="15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12" y="12"/>
                  </a:lnTo>
                  <a:lnTo>
                    <a:pt x="13" y="10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2" y="4"/>
                  </a:lnTo>
                  <a:lnTo>
                    <a:pt x="11" y="1"/>
                  </a:lnTo>
                  <a:lnTo>
                    <a:pt x="8" y="0"/>
                  </a:lnTo>
                  <a:lnTo>
                    <a:pt x="0" y="49"/>
                  </a:lnTo>
                  <a:lnTo>
                    <a:pt x="23" y="59"/>
                  </a:lnTo>
                  <a:lnTo>
                    <a:pt x="23" y="59"/>
                  </a:lnTo>
                  <a:lnTo>
                    <a:pt x="30" y="55"/>
                  </a:lnTo>
                  <a:lnTo>
                    <a:pt x="30" y="55"/>
                  </a:lnTo>
                  <a:lnTo>
                    <a:pt x="34" y="52"/>
                  </a:lnTo>
                  <a:lnTo>
                    <a:pt x="39" y="52"/>
                  </a:lnTo>
                  <a:lnTo>
                    <a:pt x="44" y="54"/>
                  </a:lnTo>
                  <a:lnTo>
                    <a:pt x="47" y="55"/>
                  </a:lnTo>
                  <a:lnTo>
                    <a:pt x="47" y="55"/>
                  </a:lnTo>
                  <a:lnTo>
                    <a:pt x="52" y="57"/>
                  </a:lnTo>
                  <a:lnTo>
                    <a:pt x="55" y="60"/>
                  </a:lnTo>
                  <a:lnTo>
                    <a:pt x="56" y="63"/>
                  </a:lnTo>
                  <a:lnTo>
                    <a:pt x="56" y="66"/>
                  </a:lnTo>
                  <a:lnTo>
                    <a:pt x="56" y="66"/>
                  </a:lnTo>
                  <a:lnTo>
                    <a:pt x="56" y="70"/>
                  </a:lnTo>
                  <a:lnTo>
                    <a:pt x="53" y="73"/>
                  </a:lnTo>
                  <a:lnTo>
                    <a:pt x="71" y="79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46" name="Freeform 43"/>
            <p:cNvSpPr>
              <a:spLocks/>
            </p:cNvSpPr>
            <p:nvPr userDrawn="1"/>
          </p:nvSpPr>
          <p:spPr bwMode="auto">
            <a:xfrm>
              <a:off x="715" y="450"/>
              <a:ext cx="121" cy="21"/>
            </a:xfrm>
            <a:custGeom>
              <a:avLst/>
              <a:gdLst>
                <a:gd name="T0" fmla="*/ 101 w 121"/>
                <a:gd name="T1" fmla="*/ 18 h 21"/>
                <a:gd name="T2" fmla="*/ 121 w 121"/>
                <a:gd name="T3" fmla="*/ 10 h 21"/>
                <a:gd name="T4" fmla="*/ 101 w 121"/>
                <a:gd name="T5" fmla="*/ 1 h 21"/>
                <a:gd name="T6" fmla="*/ 101 w 121"/>
                <a:gd name="T7" fmla="*/ 1 h 21"/>
                <a:gd name="T8" fmla="*/ 68 w 121"/>
                <a:gd name="T9" fmla="*/ 1 h 21"/>
                <a:gd name="T10" fmla="*/ 16 w 121"/>
                <a:gd name="T11" fmla="*/ 0 h 21"/>
                <a:gd name="T12" fmla="*/ 0 w 121"/>
                <a:gd name="T13" fmla="*/ 21 h 21"/>
                <a:gd name="T14" fmla="*/ 0 w 121"/>
                <a:gd name="T15" fmla="*/ 21 h 21"/>
                <a:gd name="T16" fmla="*/ 101 w 121"/>
                <a:gd name="T17" fmla="*/ 1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1" h="21">
                  <a:moveTo>
                    <a:pt x="101" y="18"/>
                  </a:moveTo>
                  <a:lnTo>
                    <a:pt x="121" y="10"/>
                  </a:lnTo>
                  <a:lnTo>
                    <a:pt x="101" y="1"/>
                  </a:lnTo>
                  <a:lnTo>
                    <a:pt x="101" y="1"/>
                  </a:lnTo>
                  <a:lnTo>
                    <a:pt x="68" y="1"/>
                  </a:lnTo>
                  <a:lnTo>
                    <a:pt x="16" y="0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101" y="1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47" name="Freeform 44"/>
            <p:cNvSpPr>
              <a:spLocks/>
            </p:cNvSpPr>
            <p:nvPr userDrawn="1"/>
          </p:nvSpPr>
          <p:spPr bwMode="auto">
            <a:xfrm>
              <a:off x="754" y="502"/>
              <a:ext cx="72" cy="71"/>
            </a:xfrm>
            <a:custGeom>
              <a:avLst/>
              <a:gdLst>
                <a:gd name="T0" fmla="*/ 36 w 72"/>
                <a:gd name="T1" fmla="*/ 71 h 71"/>
                <a:gd name="T2" fmla="*/ 36 w 72"/>
                <a:gd name="T3" fmla="*/ 71 h 71"/>
                <a:gd name="T4" fmla="*/ 25 w 72"/>
                <a:gd name="T5" fmla="*/ 65 h 71"/>
                <a:gd name="T6" fmla="*/ 17 w 72"/>
                <a:gd name="T7" fmla="*/ 60 h 71"/>
                <a:gd name="T8" fmla="*/ 8 w 72"/>
                <a:gd name="T9" fmla="*/ 54 h 71"/>
                <a:gd name="T10" fmla="*/ 2 w 72"/>
                <a:gd name="T11" fmla="*/ 47 h 71"/>
                <a:gd name="T12" fmla="*/ 2 w 72"/>
                <a:gd name="T13" fmla="*/ 47 h 71"/>
                <a:gd name="T14" fmla="*/ 0 w 72"/>
                <a:gd name="T15" fmla="*/ 42 h 71"/>
                <a:gd name="T16" fmla="*/ 0 w 72"/>
                <a:gd name="T17" fmla="*/ 36 h 71"/>
                <a:gd name="T18" fmla="*/ 0 w 72"/>
                <a:gd name="T19" fmla="*/ 31 h 71"/>
                <a:gd name="T20" fmla="*/ 0 w 72"/>
                <a:gd name="T21" fmla="*/ 25 h 71"/>
                <a:gd name="T22" fmla="*/ 2 w 72"/>
                <a:gd name="T23" fmla="*/ 19 h 71"/>
                <a:gd name="T24" fmla="*/ 5 w 72"/>
                <a:gd name="T25" fmla="*/ 14 h 71"/>
                <a:gd name="T26" fmla="*/ 10 w 72"/>
                <a:gd name="T27" fmla="*/ 9 h 71"/>
                <a:gd name="T28" fmla="*/ 14 w 72"/>
                <a:gd name="T29" fmla="*/ 5 h 71"/>
                <a:gd name="T30" fmla="*/ 14 w 72"/>
                <a:gd name="T31" fmla="*/ 5 h 71"/>
                <a:gd name="T32" fmla="*/ 17 w 72"/>
                <a:gd name="T33" fmla="*/ 8 h 71"/>
                <a:gd name="T34" fmla="*/ 18 w 72"/>
                <a:gd name="T35" fmla="*/ 10 h 71"/>
                <a:gd name="T36" fmla="*/ 18 w 72"/>
                <a:gd name="T37" fmla="*/ 13 h 71"/>
                <a:gd name="T38" fmla="*/ 18 w 72"/>
                <a:gd name="T39" fmla="*/ 13 h 71"/>
                <a:gd name="T40" fmla="*/ 34 w 72"/>
                <a:gd name="T41" fmla="*/ 11 h 71"/>
                <a:gd name="T42" fmla="*/ 34 w 72"/>
                <a:gd name="T43" fmla="*/ 11 h 71"/>
                <a:gd name="T44" fmla="*/ 34 w 72"/>
                <a:gd name="T45" fmla="*/ 7 h 71"/>
                <a:gd name="T46" fmla="*/ 34 w 72"/>
                <a:gd name="T47" fmla="*/ 3 h 71"/>
                <a:gd name="T48" fmla="*/ 33 w 72"/>
                <a:gd name="T49" fmla="*/ 0 h 71"/>
                <a:gd name="T50" fmla="*/ 33 w 72"/>
                <a:gd name="T51" fmla="*/ 0 h 71"/>
                <a:gd name="T52" fmla="*/ 38 w 72"/>
                <a:gd name="T53" fmla="*/ 4 h 71"/>
                <a:gd name="T54" fmla="*/ 39 w 72"/>
                <a:gd name="T55" fmla="*/ 8 h 71"/>
                <a:gd name="T56" fmla="*/ 40 w 72"/>
                <a:gd name="T57" fmla="*/ 11 h 71"/>
                <a:gd name="T58" fmla="*/ 40 w 72"/>
                <a:gd name="T59" fmla="*/ 11 h 71"/>
                <a:gd name="T60" fmla="*/ 55 w 72"/>
                <a:gd name="T61" fmla="*/ 13 h 71"/>
                <a:gd name="T62" fmla="*/ 55 w 72"/>
                <a:gd name="T63" fmla="*/ 13 h 71"/>
                <a:gd name="T64" fmla="*/ 55 w 72"/>
                <a:gd name="T65" fmla="*/ 8 h 71"/>
                <a:gd name="T66" fmla="*/ 52 w 72"/>
                <a:gd name="T67" fmla="*/ 3 h 71"/>
                <a:gd name="T68" fmla="*/ 52 w 72"/>
                <a:gd name="T69" fmla="*/ 3 h 71"/>
                <a:gd name="T70" fmla="*/ 57 w 72"/>
                <a:gd name="T71" fmla="*/ 7 h 71"/>
                <a:gd name="T72" fmla="*/ 62 w 72"/>
                <a:gd name="T73" fmla="*/ 9 h 71"/>
                <a:gd name="T74" fmla="*/ 66 w 72"/>
                <a:gd name="T75" fmla="*/ 14 h 71"/>
                <a:gd name="T76" fmla="*/ 68 w 72"/>
                <a:gd name="T77" fmla="*/ 18 h 71"/>
                <a:gd name="T78" fmla="*/ 71 w 72"/>
                <a:gd name="T79" fmla="*/ 26 h 71"/>
                <a:gd name="T80" fmla="*/ 72 w 72"/>
                <a:gd name="T81" fmla="*/ 33 h 71"/>
                <a:gd name="T82" fmla="*/ 72 w 72"/>
                <a:gd name="T83" fmla="*/ 33 h 71"/>
                <a:gd name="T84" fmla="*/ 71 w 72"/>
                <a:gd name="T85" fmla="*/ 42 h 71"/>
                <a:gd name="T86" fmla="*/ 68 w 72"/>
                <a:gd name="T87" fmla="*/ 49 h 71"/>
                <a:gd name="T88" fmla="*/ 63 w 72"/>
                <a:gd name="T89" fmla="*/ 55 h 71"/>
                <a:gd name="T90" fmla="*/ 57 w 72"/>
                <a:gd name="T91" fmla="*/ 60 h 71"/>
                <a:gd name="T92" fmla="*/ 57 w 72"/>
                <a:gd name="T93" fmla="*/ 60 h 71"/>
                <a:gd name="T94" fmla="*/ 46 w 72"/>
                <a:gd name="T95" fmla="*/ 66 h 71"/>
                <a:gd name="T96" fmla="*/ 36 w 72"/>
                <a:gd name="T9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" h="71">
                  <a:moveTo>
                    <a:pt x="36" y="71"/>
                  </a:moveTo>
                  <a:lnTo>
                    <a:pt x="36" y="71"/>
                  </a:lnTo>
                  <a:lnTo>
                    <a:pt x="25" y="65"/>
                  </a:lnTo>
                  <a:lnTo>
                    <a:pt x="17" y="60"/>
                  </a:lnTo>
                  <a:lnTo>
                    <a:pt x="8" y="54"/>
                  </a:lnTo>
                  <a:lnTo>
                    <a:pt x="2" y="47"/>
                  </a:lnTo>
                  <a:lnTo>
                    <a:pt x="2" y="47"/>
                  </a:lnTo>
                  <a:lnTo>
                    <a:pt x="0" y="42"/>
                  </a:lnTo>
                  <a:lnTo>
                    <a:pt x="0" y="36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2" y="19"/>
                  </a:lnTo>
                  <a:lnTo>
                    <a:pt x="5" y="14"/>
                  </a:lnTo>
                  <a:lnTo>
                    <a:pt x="10" y="9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7" y="8"/>
                  </a:lnTo>
                  <a:lnTo>
                    <a:pt x="18" y="10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7"/>
                  </a:lnTo>
                  <a:lnTo>
                    <a:pt x="34" y="3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38" y="4"/>
                  </a:lnTo>
                  <a:lnTo>
                    <a:pt x="39" y="8"/>
                  </a:lnTo>
                  <a:lnTo>
                    <a:pt x="40" y="11"/>
                  </a:lnTo>
                  <a:lnTo>
                    <a:pt x="40" y="11"/>
                  </a:lnTo>
                  <a:lnTo>
                    <a:pt x="55" y="13"/>
                  </a:lnTo>
                  <a:lnTo>
                    <a:pt x="55" y="13"/>
                  </a:lnTo>
                  <a:lnTo>
                    <a:pt x="55" y="8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7" y="7"/>
                  </a:lnTo>
                  <a:lnTo>
                    <a:pt x="62" y="9"/>
                  </a:lnTo>
                  <a:lnTo>
                    <a:pt x="66" y="14"/>
                  </a:lnTo>
                  <a:lnTo>
                    <a:pt x="68" y="18"/>
                  </a:lnTo>
                  <a:lnTo>
                    <a:pt x="71" y="26"/>
                  </a:lnTo>
                  <a:lnTo>
                    <a:pt x="72" y="33"/>
                  </a:lnTo>
                  <a:lnTo>
                    <a:pt x="72" y="33"/>
                  </a:lnTo>
                  <a:lnTo>
                    <a:pt x="71" y="42"/>
                  </a:lnTo>
                  <a:lnTo>
                    <a:pt x="68" y="49"/>
                  </a:lnTo>
                  <a:lnTo>
                    <a:pt x="63" y="55"/>
                  </a:lnTo>
                  <a:lnTo>
                    <a:pt x="57" y="60"/>
                  </a:lnTo>
                  <a:lnTo>
                    <a:pt x="57" y="60"/>
                  </a:lnTo>
                  <a:lnTo>
                    <a:pt x="46" y="66"/>
                  </a:lnTo>
                  <a:lnTo>
                    <a:pt x="36" y="71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48" name="Freeform 45"/>
            <p:cNvSpPr>
              <a:spLocks/>
            </p:cNvSpPr>
            <p:nvPr userDrawn="1"/>
          </p:nvSpPr>
          <p:spPr bwMode="auto">
            <a:xfrm>
              <a:off x="773" y="676"/>
              <a:ext cx="3" cy="1"/>
            </a:xfrm>
            <a:custGeom>
              <a:avLst/>
              <a:gdLst>
                <a:gd name="T0" fmla="*/ 3 w 3"/>
                <a:gd name="T1" fmla="*/ 1 h 1"/>
                <a:gd name="T2" fmla="*/ 3 w 3"/>
                <a:gd name="T3" fmla="*/ 1 h 1"/>
                <a:gd name="T4" fmla="*/ 2 w 3"/>
                <a:gd name="T5" fmla="*/ 0 h 1"/>
                <a:gd name="T6" fmla="*/ 2 w 3"/>
                <a:gd name="T7" fmla="*/ 0 h 1"/>
                <a:gd name="T8" fmla="*/ 0 w 3"/>
                <a:gd name="T9" fmla="*/ 0 h 1"/>
                <a:gd name="T10" fmla="*/ 0 w 3"/>
                <a:gd name="T11" fmla="*/ 0 h 1"/>
                <a:gd name="T12" fmla="*/ 3 w 3"/>
                <a:gd name="T13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1">
                  <a:moveTo>
                    <a:pt x="3" y="1"/>
                  </a:moveTo>
                  <a:lnTo>
                    <a:pt x="3" y="1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3" y="1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49" name="Freeform 46"/>
            <p:cNvSpPr>
              <a:spLocks/>
            </p:cNvSpPr>
            <p:nvPr userDrawn="1"/>
          </p:nvSpPr>
          <p:spPr bwMode="auto">
            <a:xfrm>
              <a:off x="618" y="477"/>
              <a:ext cx="13" cy="7"/>
            </a:xfrm>
            <a:custGeom>
              <a:avLst/>
              <a:gdLst>
                <a:gd name="T0" fmla="*/ 13 w 13"/>
                <a:gd name="T1" fmla="*/ 6 h 7"/>
                <a:gd name="T2" fmla="*/ 13 w 13"/>
                <a:gd name="T3" fmla="*/ 6 h 7"/>
                <a:gd name="T4" fmla="*/ 12 w 13"/>
                <a:gd name="T5" fmla="*/ 6 h 7"/>
                <a:gd name="T6" fmla="*/ 7 w 13"/>
                <a:gd name="T7" fmla="*/ 7 h 7"/>
                <a:gd name="T8" fmla="*/ 1 w 13"/>
                <a:gd name="T9" fmla="*/ 7 h 7"/>
                <a:gd name="T10" fmla="*/ 1 w 13"/>
                <a:gd name="T11" fmla="*/ 7 h 7"/>
                <a:gd name="T12" fmla="*/ 0 w 13"/>
                <a:gd name="T13" fmla="*/ 5 h 7"/>
                <a:gd name="T14" fmla="*/ 0 w 13"/>
                <a:gd name="T15" fmla="*/ 0 h 7"/>
                <a:gd name="T16" fmla="*/ 0 w 13"/>
                <a:gd name="T17" fmla="*/ 0 h 7"/>
                <a:gd name="T18" fmla="*/ 2 w 13"/>
                <a:gd name="T19" fmla="*/ 0 h 7"/>
                <a:gd name="T20" fmla="*/ 7 w 13"/>
                <a:gd name="T21" fmla="*/ 1 h 7"/>
                <a:gd name="T22" fmla="*/ 11 w 13"/>
                <a:gd name="T23" fmla="*/ 2 h 7"/>
                <a:gd name="T24" fmla="*/ 13 w 13"/>
                <a:gd name="T25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" h="7">
                  <a:moveTo>
                    <a:pt x="13" y="6"/>
                  </a:moveTo>
                  <a:lnTo>
                    <a:pt x="13" y="6"/>
                  </a:lnTo>
                  <a:lnTo>
                    <a:pt x="12" y="6"/>
                  </a:lnTo>
                  <a:lnTo>
                    <a:pt x="7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0" y="5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7" y="1"/>
                  </a:lnTo>
                  <a:lnTo>
                    <a:pt x="11" y="2"/>
                  </a:lnTo>
                  <a:lnTo>
                    <a:pt x="13" y="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50" name="Freeform 47"/>
            <p:cNvSpPr>
              <a:spLocks/>
            </p:cNvSpPr>
            <p:nvPr userDrawn="1"/>
          </p:nvSpPr>
          <p:spPr bwMode="auto">
            <a:xfrm>
              <a:off x="443" y="450"/>
              <a:ext cx="415" cy="487"/>
            </a:xfrm>
            <a:custGeom>
              <a:avLst/>
              <a:gdLst>
                <a:gd name="T0" fmla="*/ 396 w 415"/>
                <a:gd name="T1" fmla="*/ 164 h 487"/>
                <a:gd name="T2" fmla="*/ 394 w 415"/>
                <a:gd name="T3" fmla="*/ 100 h 487"/>
                <a:gd name="T4" fmla="*/ 344 w 415"/>
                <a:gd name="T5" fmla="*/ 38 h 487"/>
                <a:gd name="T6" fmla="*/ 299 w 415"/>
                <a:gd name="T7" fmla="*/ 100 h 487"/>
                <a:gd name="T8" fmla="*/ 308 w 415"/>
                <a:gd name="T9" fmla="*/ 162 h 487"/>
                <a:gd name="T10" fmla="*/ 328 w 415"/>
                <a:gd name="T11" fmla="*/ 171 h 487"/>
                <a:gd name="T12" fmla="*/ 339 w 415"/>
                <a:gd name="T13" fmla="*/ 160 h 487"/>
                <a:gd name="T14" fmla="*/ 381 w 415"/>
                <a:gd name="T15" fmla="*/ 167 h 487"/>
                <a:gd name="T16" fmla="*/ 357 w 415"/>
                <a:gd name="T17" fmla="*/ 231 h 487"/>
                <a:gd name="T18" fmla="*/ 288 w 415"/>
                <a:gd name="T19" fmla="*/ 194 h 487"/>
                <a:gd name="T20" fmla="*/ 279 w 415"/>
                <a:gd name="T21" fmla="*/ 132 h 487"/>
                <a:gd name="T22" fmla="*/ 280 w 415"/>
                <a:gd name="T23" fmla="*/ 122 h 487"/>
                <a:gd name="T24" fmla="*/ 251 w 415"/>
                <a:gd name="T25" fmla="*/ 81 h 487"/>
                <a:gd name="T26" fmla="*/ 284 w 415"/>
                <a:gd name="T27" fmla="*/ 51 h 487"/>
                <a:gd name="T28" fmla="*/ 236 w 415"/>
                <a:gd name="T29" fmla="*/ 18 h 487"/>
                <a:gd name="T30" fmla="*/ 165 w 415"/>
                <a:gd name="T31" fmla="*/ 22 h 487"/>
                <a:gd name="T32" fmla="*/ 150 w 415"/>
                <a:gd name="T33" fmla="*/ 49 h 487"/>
                <a:gd name="T34" fmla="*/ 163 w 415"/>
                <a:gd name="T35" fmla="*/ 70 h 487"/>
                <a:gd name="T36" fmla="*/ 196 w 415"/>
                <a:gd name="T37" fmla="*/ 59 h 487"/>
                <a:gd name="T38" fmla="*/ 147 w 415"/>
                <a:gd name="T39" fmla="*/ 77 h 487"/>
                <a:gd name="T40" fmla="*/ 127 w 415"/>
                <a:gd name="T41" fmla="*/ 73 h 487"/>
                <a:gd name="T42" fmla="*/ 173 w 415"/>
                <a:gd name="T43" fmla="*/ 74 h 487"/>
                <a:gd name="T44" fmla="*/ 175 w 415"/>
                <a:gd name="T45" fmla="*/ 85 h 487"/>
                <a:gd name="T46" fmla="*/ 159 w 415"/>
                <a:gd name="T47" fmla="*/ 101 h 487"/>
                <a:gd name="T48" fmla="*/ 174 w 415"/>
                <a:gd name="T49" fmla="*/ 128 h 487"/>
                <a:gd name="T50" fmla="*/ 89 w 415"/>
                <a:gd name="T51" fmla="*/ 184 h 487"/>
                <a:gd name="T52" fmla="*/ 35 w 415"/>
                <a:gd name="T53" fmla="*/ 168 h 487"/>
                <a:gd name="T54" fmla="*/ 28 w 415"/>
                <a:gd name="T55" fmla="*/ 178 h 487"/>
                <a:gd name="T56" fmla="*/ 34 w 415"/>
                <a:gd name="T57" fmla="*/ 192 h 487"/>
                <a:gd name="T58" fmla="*/ 1 w 415"/>
                <a:gd name="T59" fmla="*/ 204 h 487"/>
                <a:gd name="T60" fmla="*/ 39 w 415"/>
                <a:gd name="T61" fmla="*/ 209 h 487"/>
                <a:gd name="T62" fmla="*/ 24 w 415"/>
                <a:gd name="T63" fmla="*/ 221 h 487"/>
                <a:gd name="T64" fmla="*/ 35 w 415"/>
                <a:gd name="T65" fmla="*/ 231 h 487"/>
                <a:gd name="T66" fmla="*/ 70 w 415"/>
                <a:gd name="T67" fmla="*/ 231 h 487"/>
                <a:gd name="T68" fmla="*/ 78 w 415"/>
                <a:gd name="T69" fmla="*/ 232 h 487"/>
                <a:gd name="T70" fmla="*/ 109 w 415"/>
                <a:gd name="T71" fmla="*/ 206 h 487"/>
                <a:gd name="T72" fmla="*/ 143 w 415"/>
                <a:gd name="T73" fmla="*/ 200 h 487"/>
                <a:gd name="T74" fmla="*/ 190 w 415"/>
                <a:gd name="T75" fmla="*/ 217 h 487"/>
                <a:gd name="T76" fmla="*/ 279 w 415"/>
                <a:gd name="T77" fmla="*/ 258 h 487"/>
                <a:gd name="T78" fmla="*/ 312 w 415"/>
                <a:gd name="T79" fmla="*/ 328 h 487"/>
                <a:gd name="T80" fmla="*/ 311 w 415"/>
                <a:gd name="T81" fmla="*/ 345 h 487"/>
                <a:gd name="T82" fmla="*/ 343 w 415"/>
                <a:gd name="T83" fmla="*/ 352 h 487"/>
                <a:gd name="T84" fmla="*/ 352 w 415"/>
                <a:gd name="T85" fmla="*/ 419 h 487"/>
                <a:gd name="T86" fmla="*/ 310 w 415"/>
                <a:gd name="T87" fmla="*/ 426 h 487"/>
                <a:gd name="T88" fmla="*/ 329 w 415"/>
                <a:gd name="T89" fmla="*/ 435 h 487"/>
                <a:gd name="T90" fmla="*/ 321 w 415"/>
                <a:gd name="T91" fmla="*/ 443 h 487"/>
                <a:gd name="T92" fmla="*/ 318 w 415"/>
                <a:gd name="T93" fmla="*/ 475 h 487"/>
                <a:gd name="T94" fmla="*/ 336 w 415"/>
                <a:gd name="T95" fmla="*/ 463 h 487"/>
                <a:gd name="T96" fmla="*/ 344 w 415"/>
                <a:gd name="T97" fmla="*/ 467 h 487"/>
                <a:gd name="T98" fmla="*/ 365 w 415"/>
                <a:gd name="T99" fmla="*/ 481 h 487"/>
                <a:gd name="T100" fmla="*/ 371 w 415"/>
                <a:gd name="T101" fmla="*/ 453 h 487"/>
                <a:gd name="T102" fmla="*/ 393 w 415"/>
                <a:gd name="T103" fmla="*/ 460 h 487"/>
                <a:gd name="T104" fmla="*/ 395 w 415"/>
                <a:gd name="T105" fmla="*/ 417 h 487"/>
                <a:gd name="T106" fmla="*/ 404 w 415"/>
                <a:gd name="T107" fmla="*/ 399 h 487"/>
                <a:gd name="T108" fmla="*/ 401 w 415"/>
                <a:gd name="T109" fmla="*/ 369 h 487"/>
                <a:gd name="T110" fmla="*/ 384 w 415"/>
                <a:gd name="T111" fmla="*/ 339 h 487"/>
                <a:gd name="T112" fmla="*/ 356 w 415"/>
                <a:gd name="T113" fmla="*/ 309 h 487"/>
                <a:gd name="T114" fmla="*/ 356 w 415"/>
                <a:gd name="T115" fmla="*/ 279 h 487"/>
                <a:gd name="T116" fmla="*/ 361 w 415"/>
                <a:gd name="T117" fmla="*/ 251 h 487"/>
                <a:gd name="T118" fmla="*/ 414 w 415"/>
                <a:gd name="T119" fmla="*/ 211 h 4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15" h="487">
                  <a:moveTo>
                    <a:pt x="404" y="187"/>
                  </a:moveTo>
                  <a:lnTo>
                    <a:pt x="404" y="187"/>
                  </a:lnTo>
                  <a:lnTo>
                    <a:pt x="410" y="188"/>
                  </a:lnTo>
                  <a:lnTo>
                    <a:pt x="415" y="187"/>
                  </a:lnTo>
                  <a:lnTo>
                    <a:pt x="415" y="187"/>
                  </a:lnTo>
                  <a:lnTo>
                    <a:pt x="414" y="179"/>
                  </a:lnTo>
                  <a:lnTo>
                    <a:pt x="412" y="168"/>
                  </a:lnTo>
                  <a:lnTo>
                    <a:pt x="412" y="168"/>
                  </a:lnTo>
                  <a:lnTo>
                    <a:pt x="409" y="168"/>
                  </a:lnTo>
                  <a:lnTo>
                    <a:pt x="405" y="168"/>
                  </a:lnTo>
                  <a:lnTo>
                    <a:pt x="401" y="167"/>
                  </a:lnTo>
                  <a:lnTo>
                    <a:pt x="396" y="164"/>
                  </a:lnTo>
                  <a:lnTo>
                    <a:pt x="396" y="164"/>
                  </a:lnTo>
                  <a:lnTo>
                    <a:pt x="394" y="159"/>
                  </a:lnTo>
                  <a:lnTo>
                    <a:pt x="394" y="159"/>
                  </a:lnTo>
                  <a:lnTo>
                    <a:pt x="387" y="149"/>
                  </a:lnTo>
                  <a:lnTo>
                    <a:pt x="378" y="142"/>
                  </a:lnTo>
                  <a:lnTo>
                    <a:pt x="369" y="135"/>
                  </a:lnTo>
                  <a:lnTo>
                    <a:pt x="362" y="131"/>
                  </a:lnTo>
                  <a:lnTo>
                    <a:pt x="362" y="131"/>
                  </a:lnTo>
                  <a:lnTo>
                    <a:pt x="374" y="123"/>
                  </a:lnTo>
                  <a:lnTo>
                    <a:pt x="383" y="116"/>
                  </a:lnTo>
                  <a:lnTo>
                    <a:pt x="389" y="110"/>
                  </a:lnTo>
                  <a:lnTo>
                    <a:pt x="392" y="105"/>
                  </a:lnTo>
                  <a:lnTo>
                    <a:pt x="392" y="105"/>
                  </a:lnTo>
                  <a:lnTo>
                    <a:pt x="394" y="100"/>
                  </a:lnTo>
                  <a:lnTo>
                    <a:pt x="396" y="93"/>
                  </a:lnTo>
                  <a:lnTo>
                    <a:pt x="396" y="85"/>
                  </a:lnTo>
                  <a:lnTo>
                    <a:pt x="396" y="77"/>
                  </a:lnTo>
                  <a:lnTo>
                    <a:pt x="394" y="68"/>
                  </a:lnTo>
                  <a:lnTo>
                    <a:pt x="390" y="60"/>
                  </a:lnTo>
                  <a:lnTo>
                    <a:pt x="384" y="52"/>
                  </a:lnTo>
                  <a:lnTo>
                    <a:pt x="379" y="49"/>
                  </a:lnTo>
                  <a:lnTo>
                    <a:pt x="374" y="45"/>
                  </a:lnTo>
                  <a:lnTo>
                    <a:pt x="374" y="45"/>
                  </a:lnTo>
                  <a:lnTo>
                    <a:pt x="367" y="41"/>
                  </a:lnTo>
                  <a:lnTo>
                    <a:pt x="358" y="39"/>
                  </a:lnTo>
                  <a:lnTo>
                    <a:pt x="351" y="38"/>
                  </a:lnTo>
                  <a:lnTo>
                    <a:pt x="344" y="38"/>
                  </a:lnTo>
                  <a:lnTo>
                    <a:pt x="332" y="40"/>
                  </a:lnTo>
                  <a:lnTo>
                    <a:pt x="322" y="43"/>
                  </a:lnTo>
                  <a:lnTo>
                    <a:pt x="322" y="43"/>
                  </a:lnTo>
                  <a:lnTo>
                    <a:pt x="316" y="46"/>
                  </a:lnTo>
                  <a:lnTo>
                    <a:pt x="310" y="51"/>
                  </a:lnTo>
                  <a:lnTo>
                    <a:pt x="305" y="56"/>
                  </a:lnTo>
                  <a:lnTo>
                    <a:pt x="301" y="62"/>
                  </a:lnTo>
                  <a:lnTo>
                    <a:pt x="299" y="70"/>
                  </a:lnTo>
                  <a:lnTo>
                    <a:pt x="296" y="77"/>
                  </a:lnTo>
                  <a:lnTo>
                    <a:pt x="296" y="84"/>
                  </a:lnTo>
                  <a:lnTo>
                    <a:pt x="296" y="94"/>
                  </a:lnTo>
                  <a:lnTo>
                    <a:pt x="296" y="94"/>
                  </a:lnTo>
                  <a:lnTo>
                    <a:pt x="299" y="100"/>
                  </a:lnTo>
                  <a:lnTo>
                    <a:pt x="301" y="106"/>
                  </a:lnTo>
                  <a:lnTo>
                    <a:pt x="305" y="112"/>
                  </a:lnTo>
                  <a:lnTo>
                    <a:pt x="308" y="116"/>
                  </a:lnTo>
                  <a:lnTo>
                    <a:pt x="319" y="123"/>
                  </a:lnTo>
                  <a:lnTo>
                    <a:pt x="332" y="131"/>
                  </a:lnTo>
                  <a:lnTo>
                    <a:pt x="332" y="131"/>
                  </a:lnTo>
                  <a:lnTo>
                    <a:pt x="322" y="135"/>
                  </a:lnTo>
                  <a:lnTo>
                    <a:pt x="314" y="143"/>
                  </a:lnTo>
                  <a:lnTo>
                    <a:pt x="312" y="146"/>
                  </a:lnTo>
                  <a:lnTo>
                    <a:pt x="311" y="151"/>
                  </a:lnTo>
                  <a:lnTo>
                    <a:pt x="310" y="156"/>
                  </a:lnTo>
                  <a:lnTo>
                    <a:pt x="308" y="162"/>
                  </a:lnTo>
                  <a:lnTo>
                    <a:pt x="308" y="162"/>
                  </a:lnTo>
                  <a:lnTo>
                    <a:pt x="310" y="170"/>
                  </a:lnTo>
                  <a:lnTo>
                    <a:pt x="312" y="178"/>
                  </a:lnTo>
                  <a:lnTo>
                    <a:pt x="313" y="188"/>
                  </a:lnTo>
                  <a:lnTo>
                    <a:pt x="313" y="194"/>
                  </a:lnTo>
                  <a:lnTo>
                    <a:pt x="312" y="200"/>
                  </a:lnTo>
                  <a:lnTo>
                    <a:pt x="312" y="200"/>
                  </a:lnTo>
                  <a:lnTo>
                    <a:pt x="313" y="200"/>
                  </a:lnTo>
                  <a:lnTo>
                    <a:pt x="318" y="199"/>
                  </a:lnTo>
                  <a:lnTo>
                    <a:pt x="324" y="194"/>
                  </a:lnTo>
                  <a:lnTo>
                    <a:pt x="324" y="194"/>
                  </a:lnTo>
                  <a:lnTo>
                    <a:pt x="327" y="187"/>
                  </a:lnTo>
                  <a:lnTo>
                    <a:pt x="328" y="179"/>
                  </a:lnTo>
                  <a:lnTo>
                    <a:pt x="328" y="171"/>
                  </a:lnTo>
                  <a:lnTo>
                    <a:pt x="328" y="171"/>
                  </a:lnTo>
                  <a:lnTo>
                    <a:pt x="330" y="175"/>
                  </a:lnTo>
                  <a:lnTo>
                    <a:pt x="332" y="181"/>
                  </a:lnTo>
                  <a:lnTo>
                    <a:pt x="332" y="185"/>
                  </a:lnTo>
                  <a:lnTo>
                    <a:pt x="330" y="190"/>
                  </a:lnTo>
                  <a:lnTo>
                    <a:pt x="330" y="190"/>
                  </a:lnTo>
                  <a:lnTo>
                    <a:pt x="335" y="188"/>
                  </a:lnTo>
                  <a:lnTo>
                    <a:pt x="338" y="185"/>
                  </a:lnTo>
                  <a:lnTo>
                    <a:pt x="340" y="183"/>
                  </a:lnTo>
                  <a:lnTo>
                    <a:pt x="340" y="183"/>
                  </a:lnTo>
                  <a:lnTo>
                    <a:pt x="341" y="175"/>
                  </a:lnTo>
                  <a:lnTo>
                    <a:pt x="341" y="166"/>
                  </a:lnTo>
                  <a:lnTo>
                    <a:pt x="339" y="160"/>
                  </a:lnTo>
                  <a:lnTo>
                    <a:pt x="338" y="155"/>
                  </a:lnTo>
                  <a:lnTo>
                    <a:pt x="338" y="155"/>
                  </a:lnTo>
                  <a:lnTo>
                    <a:pt x="336" y="150"/>
                  </a:lnTo>
                  <a:lnTo>
                    <a:pt x="338" y="145"/>
                  </a:lnTo>
                  <a:lnTo>
                    <a:pt x="341" y="140"/>
                  </a:lnTo>
                  <a:lnTo>
                    <a:pt x="345" y="138"/>
                  </a:lnTo>
                  <a:lnTo>
                    <a:pt x="345" y="138"/>
                  </a:lnTo>
                  <a:lnTo>
                    <a:pt x="357" y="144"/>
                  </a:lnTo>
                  <a:lnTo>
                    <a:pt x="357" y="144"/>
                  </a:lnTo>
                  <a:lnTo>
                    <a:pt x="362" y="148"/>
                  </a:lnTo>
                  <a:lnTo>
                    <a:pt x="369" y="154"/>
                  </a:lnTo>
                  <a:lnTo>
                    <a:pt x="377" y="162"/>
                  </a:lnTo>
                  <a:lnTo>
                    <a:pt x="381" y="167"/>
                  </a:lnTo>
                  <a:lnTo>
                    <a:pt x="383" y="173"/>
                  </a:lnTo>
                  <a:lnTo>
                    <a:pt x="383" y="173"/>
                  </a:lnTo>
                  <a:lnTo>
                    <a:pt x="387" y="181"/>
                  </a:lnTo>
                  <a:lnTo>
                    <a:pt x="388" y="188"/>
                  </a:lnTo>
                  <a:lnTo>
                    <a:pt x="388" y="194"/>
                  </a:lnTo>
                  <a:lnTo>
                    <a:pt x="388" y="200"/>
                  </a:lnTo>
                  <a:lnTo>
                    <a:pt x="385" y="209"/>
                  </a:lnTo>
                  <a:lnTo>
                    <a:pt x="383" y="214"/>
                  </a:lnTo>
                  <a:lnTo>
                    <a:pt x="383" y="214"/>
                  </a:lnTo>
                  <a:lnTo>
                    <a:pt x="378" y="220"/>
                  </a:lnTo>
                  <a:lnTo>
                    <a:pt x="373" y="226"/>
                  </a:lnTo>
                  <a:lnTo>
                    <a:pt x="366" y="229"/>
                  </a:lnTo>
                  <a:lnTo>
                    <a:pt x="357" y="231"/>
                  </a:lnTo>
                  <a:lnTo>
                    <a:pt x="357" y="231"/>
                  </a:lnTo>
                  <a:lnTo>
                    <a:pt x="356" y="231"/>
                  </a:lnTo>
                  <a:lnTo>
                    <a:pt x="356" y="231"/>
                  </a:lnTo>
                  <a:lnTo>
                    <a:pt x="346" y="231"/>
                  </a:lnTo>
                  <a:lnTo>
                    <a:pt x="346" y="231"/>
                  </a:lnTo>
                  <a:lnTo>
                    <a:pt x="338" y="228"/>
                  </a:lnTo>
                  <a:lnTo>
                    <a:pt x="338" y="228"/>
                  </a:lnTo>
                  <a:lnTo>
                    <a:pt x="330" y="226"/>
                  </a:lnTo>
                  <a:lnTo>
                    <a:pt x="330" y="226"/>
                  </a:lnTo>
                  <a:lnTo>
                    <a:pt x="323" y="222"/>
                  </a:lnTo>
                  <a:lnTo>
                    <a:pt x="312" y="215"/>
                  </a:lnTo>
                  <a:lnTo>
                    <a:pt x="300" y="206"/>
                  </a:lnTo>
                  <a:lnTo>
                    <a:pt x="288" y="194"/>
                  </a:lnTo>
                  <a:lnTo>
                    <a:pt x="288" y="194"/>
                  </a:lnTo>
                  <a:lnTo>
                    <a:pt x="272" y="175"/>
                  </a:lnTo>
                  <a:lnTo>
                    <a:pt x="261" y="161"/>
                  </a:lnTo>
                  <a:lnTo>
                    <a:pt x="261" y="161"/>
                  </a:lnTo>
                  <a:lnTo>
                    <a:pt x="267" y="164"/>
                  </a:lnTo>
                  <a:lnTo>
                    <a:pt x="272" y="164"/>
                  </a:lnTo>
                  <a:lnTo>
                    <a:pt x="278" y="164"/>
                  </a:lnTo>
                  <a:lnTo>
                    <a:pt x="278" y="164"/>
                  </a:lnTo>
                  <a:lnTo>
                    <a:pt x="279" y="153"/>
                  </a:lnTo>
                  <a:lnTo>
                    <a:pt x="279" y="142"/>
                  </a:lnTo>
                  <a:lnTo>
                    <a:pt x="279" y="142"/>
                  </a:lnTo>
                  <a:lnTo>
                    <a:pt x="279" y="132"/>
                  </a:lnTo>
                  <a:lnTo>
                    <a:pt x="279" y="132"/>
                  </a:lnTo>
                  <a:lnTo>
                    <a:pt x="275" y="132"/>
                  </a:lnTo>
                  <a:lnTo>
                    <a:pt x="267" y="129"/>
                  </a:lnTo>
                  <a:lnTo>
                    <a:pt x="263" y="128"/>
                  </a:lnTo>
                  <a:lnTo>
                    <a:pt x="258" y="126"/>
                  </a:lnTo>
                  <a:lnTo>
                    <a:pt x="254" y="123"/>
                  </a:lnTo>
                  <a:lnTo>
                    <a:pt x="252" y="120"/>
                  </a:lnTo>
                  <a:lnTo>
                    <a:pt x="252" y="120"/>
                  </a:lnTo>
                  <a:lnTo>
                    <a:pt x="256" y="121"/>
                  </a:lnTo>
                  <a:lnTo>
                    <a:pt x="259" y="122"/>
                  </a:lnTo>
                  <a:lnTo>
                    <a:pt x="264" y="123"/>
                  </a:lnTo>
                  <a:lnTo>
                    <a:pt x="264" y="123"/>
                  </a:lnTo>
                  <a:lnTo>
                    <a:pt x="275" y="122"/>
                  </a:lnTo>
                  <a:lnTo>
                    <a:pt x="280" y="122"/>
                  </a:lnTo>
                  <a:lnTo>
                    <a:pt x="280" y="122"/>
                  </a:lnTo>
                  <a:lnTo>
                    <a:pt x="281" y="111"/>
                  </a:lnTo>
                  <a:lnTo>
                    <a:pt x="281" y="101"/>
                  </a:lnTo>
                  <a:lnTo>
                    <a:pt x="281" y="101"/>
                  </a:lnTo>
                  <a:lnTo>
                    <a:pt x="281" y="91"/>
                  </a:lnTo>
                  <a:lnTo>
                    <a:pt x="281" y="91"/>
                  </a:lnTo>
                  <a:lnTo>
                    <a:pt x="274" y="91"/>
                  </a:lnTo>
                  <a:lnTo>
                    <a:pt x="265" y="90"/>
                  </a:lnTo>
                  <a:lnTo>
                    <a:pt x="265" y="90"/>
                  </a:lnTo>
                  <a:lnTo>
                    <a:pt x="257" y="87"/>
                  </a:lnTo>
                  <a:lnTo>
                    <a:pt x="253" y="84"/>
                  </a:lnTo>
                  <a:lnTo>
                    <a:pt x="251" y="81"/>
                  </a:lnTo>
                  <a:lnTo>
                    <a:pt x="251" y="81"/>
                  </a:lnTo>
                  <a:lnTo>
                    <a:pt x="254" y="82"/>
                  </a:lnTo>
                  <a:lnTo>
                    <a:pt x="264" y="84"/>
                  </a:lnTo>
                  <a:lnTo>
                    <a:pt x="264" y="84"/>
                  </a:lnTo>
                  <a:lnTo>
                    <a:pt x="270" y="84"/>
                  </a:lnTo>
                  <a:lnTo>
                    <a:pt x="277" y="83"/>
                  </a:lnTo>
                  <a:lnTo>
                    <a:pt x="281" y="83"/>
                  </a:lnTo>
                  <a:lnTo>
                    <a:pt x="283" y="82"/>
                  </a:lnTo>
                  <a:lnTo>
                    <a:pt x="283" y="82"/>
                  </a:lnTo>
                  <a:lnTo>
                    <a:pt x="283" y="62"/>
                  </a:lnTo>
                  <a:lnTo>
                    <a:pt x="283" y="62"/>
                  </a:lnTo>
                  <a:lnTo>
                    <a:pt x="284" y="57"/>
                  </a:lnTo>
                  <a:lnTo>
                    <a:pt x="284" y="51"/>
                  </a:lnTo>
                  <a:lnTo>
                    <a:pt x="284" y="51"/>
                  </a:lnTo>
                  <a:lnTo>
                    <a:pt x="280" y="51"/>
                  </a:lnTo>
                  <a:lnTo>
                    <a:pt x="273" y="50"/>
                  </a:lnTo>
                  <a:lnTo>
                    <a:pt x="264" y="46"/>
                  </a:lnTo>
                  <a:lnTo>
                    <a:pt x="261" y="44"/>
                  </a:lnTo>
                  <a:lnTo>
                    <a:pt x="256" y="40"/>
                  </a:lnTo>
                  <a:lnTo>
                    <a:pt x="256" y="40"/>
                  </a:lnTo>
                  <a:lnTo>
                    <a:pt x="254" y="38"/>
                  </a:lnTo>
                  <a:lnTo>
                    <a:pt x="254" y="35"/>
                  </a:lnTo>
                  <a:lnTo>
                    <a:pt x="256" y="30"/>
                  </a:lnTo>
                  <a:lnTo>
                    <a:pt x="256" y="30"/>
                  </a:lnTo>
                  <a:lnTo>
                    <a:pt x="234" y="21"/>
                  </a:lnTo>
                  <a:lnTo>
                    <a:pt x="234" y="21"/>
                  </a:lnTo>
                  <a:lnTo>
                    <a:pt x="236" y="18"/>
                  </a:lnTo>
                  <a:lnTo>
                    <a:pt x="239" y="15"/>
                  </a:lnTo>
                  <a:lnTo>
                    <a:pt x="239" y="12"/>
                  </a:lnTo>
                  <a:lnTo>
                    <a:pt x="239" y="12"/>
                  </a:lnTo>
                  <a:lnTo>
                    <a:pt x="237" y="8"/>
                  </a:lnTo>
                  <a:lnTo>
                    <a:pt x="234" y="6"/>
                  </a:lnTo>
                  <a:lnTo>
                    <a:pt x="230" y="5"/>
                  </a:lnTo>
                  <a:lnTo>
                    <a:pt x="225" y="5"/>
                  </a:lnTo>
                  <a:lnTo>
                    <a:pt x="225" y="5"/>
                  </a:lnTo>
                  <a:lnTo>
                    <a:pt x="220" y="6"/>
                  </a:lnTo>
                  <a:lnTo>
                    <a:pt x="218" y="8"/>
                  </a:lnTo>
                  <a:lnTo>
                    <a:pt x="214" y="12"/>
                  </a:lnTo>
                  <a:lnTo>
                    <a:pt x="187" y="0"/>
                  </a:lnTo>
                  <a:lnTo>
                    <a:pt x="165" y="22"/>
                  </a:lnTo>
                  <a:lnTo>
                    <a:pt x="165" y="22"/>
                  </a:lnTo>
                  <a:lnTo>
                    <a:pt x="164" y="23"/>
                  </a:lnTo>
                  <a:lnTo>
                    <a:pt x="164" y="26"/>
                  </a:lnTo>
                  <a:lnTo>
                    <a:pt x="164" y="28"/>
                  </a:lnTo>
                  <a:lnTo>
                    <a:pt x="164" y="28"/>
                  </a:lnTo>
                  <a:lnTo>
                    <a:pt x="164" y="29"/>
                  </a:lnTo>
                  <a:lnTo>
                    <a:pt x="163" y="30"/>
                  </a:lnTo>
                  <a:lnTo>
                    <a:pt x="163" y="30"/>
                  </a:lnTo>
                  <a:lnTo>
                    <a:pt x="157" y="38"/>
                  </a:lnTo>
                  <a:lnTo>
                    <a:pt x="157" y="38"/>
                  </a:lnTo>
                  <a:lnTo>
                    <a:pt x="153" y="44"/>
                  </a:lnTo>
                  <a:lnTo>
                    <a:pt x="153" y="44"/>
                  </a:lnTo>
                  <a:lnTo>
                    <a:pt x="150" y="49"/>
                  </a:lnTo>
                  <a:lnTo>
                    <a:pt x="149" y="52"/>
                  </a:lnTo>
                  <a:lnTo>
                    <a:pt x="149" y="52"/>
                  </a:lnTo>
                  <a:lnTo>
                    <a:pt x="148" y="54"/>
                  </a:lnTo>
                  <a:lnTo>
                    <a:pt x="148" y="56"/>
                  </a:lnTo>
                  <a:lnTo>
                    <a:pt x="150" y="61"/>
                  </a:lnTo>
                  <a:lnTo>
                    <a:pt x="157" y="66"/>
                  </a:lnTo>
                  <a:lnTo>
                    <a:pt x="157" y="67"/>
                  </a:lnTo>
                  <a:lnTo>
                    <a:pt x="157" y="67"/>
                  </a:lnTo>
                  <a:lnTo>
                    <a:pt x="158" y="66"/>
                  </a:lnTo>
                  <a:lnTo>
                    <a:pt x="159" y="66"/>
                  </a:lnTo>
                  <a:lnTo>
                    <a:pt x="159" y="66"/>
                  </a:lnTo>
                  <a:lnTo>
                    <a:pt x="163" y="70"/>
                  </a:lnTo>
                  <a:lnTo>
                    <a:pt x="163" y="70"/>
                  </a:lnTo>
                  <a:lnTo>
                    <a:pt x="164" y="67"/>
                  </a:lnTo>
                  <a:lnTo>
                    <a:pt x="166" y="63"/>
                  </a:lnTo>
                  <a:lnTo>
                    <a:pt x="166" y="63"/>
                  </a:lnTo>
                  <a:lnTo>
                    <a:pt x="170" y="59"/>
                  </a:lnTo>
                  <a:lnTo>
                    <a:pt x="175" y="55"/>
                  </a:lnTo>
                  <a:lnTo>
                    <a:pt x="175" y="55"/>
                  </a:lnTo>
                  <a:lnTo>
                    <a:pt x="180" y="52"/>
                  </a:lnTo>
                  <a:lnTo>
                    <a:pt x="185" y="52"/>
                  </a:lnTo>
                  <a:lnTo>
                    <a:pt x="185" y="52"/>
                  </a:lnTo>
                  <a:lnTo>
                    <a:pt x="190" y="52"/>
                  </a:lnTo>
                  <a:lnTo>
                    <a:pt x="193" y="55"/>
                  </a:lnTo>
                  <a:lnTo>
                    <a:pt x="193" y="55"/>
                  </a:lnTo>
                  <a:lnTo>
                    <a:pt x="196" y="59"/>
                  </a:lnTo>
                  <a:lnTo>
                    <a:pt x="197" y="63"/>
                  </a:lnTo>
                  <a:lnTo>
                    <a:pt x="197" y="68"/>
                  </a:lnTo>
                  <a:lnTo>
                    <a:pt x="197" y="72"/>
                  </a:lnTo>
                  <a:lnTo>
                    <a:pt x="197" y="72"/>
                  </a:lnTo>
                  <a:lnTo>
                    <a:pt x="195" y="70"/>
                  </a:lnTo>
                  <a:lnTo>
                    <a:pt x="195" y="70"/>
                  </a:lnTo>
                  <a:lnTo>
                    <a:pt x="191" y="68"/>
                  </a:lnTo>
                  <a:lnTo>
                    <a:pt x="185" y="67"/>
                  </a:lnTo>
                  <a:lnTo>
                    <a:pt x="177" y="67"/>
                  </a:lnTo>
                  <a:lnTo>
                    <a:pt x="170" y="68"/>
                  </a:lnTo>
                  <a:lnTo>
                    <a:pt x="170" y="68"/>
                  </a:lnTo>
                  <a:lnTo>
                    <a:pt x="162" y="72"/>
                  </a:lnTo>
                  <a:lnTo>
                    <a:pt x="147" y="77"/>
                  </a:lnTo>
                  <a:lnTo>
                    <a:pt x="147" y="77"/>
                  </a:lnTo>
                  <a:lnTo>
                    <a:pt x="143" y="78"/>
                  </a:lnTo>
                  <a:lnTo>
                    <a:pt x="139" y="78"/>
                  </a:lnTo>
                  <a:lnTo>
                    <a:pt x="137" y="76"/>
                  </a:lnTo>
                  <a:lnTo>
                    <a:pt x="136" y="73"/>
                  </a:lnTo>
                  <a:lnTo>
                    <a:pt x="136" y="73"/>
                  </a:lnTo>
                  <a:lnTo>
                    <a:pt x="136" y="70"/>
                  </a:lnTo>
                  <a:lnTo>
                    <a:pt x="136" y="67"/>
                  </a:lnTo>
                  <a:lnTo>
                    <a:pt x="137" y="65"/>
                  </a:lnTo>
                  <a:lnTo>
                    <a:pt x="137" y="65"/>
                  </a:lnTo>
                  <a:lnTo>
                    <a:pt x="133" y="67"/>
                  </a:lnTo>
                  <a:lnTo>
                    <a:pt x="130" y="70"/>
                  </a:lnTo>
                  <a:lnTo>
                    <a:pt x="127" y="73"/>
                  </a:lnTo>
                  <a:lnTo>
                    <a:pt x="127" y="73"/>
                  </a:lnTo>
                  <a:lnTo>
                    <a:pt x="127" y="78"/>
                  </a:lnTo>
                  <a:lnTo>
                    <a:pt x="128" y="83"/>
                  </a:lnTo>
                  <a:lnTo>
                    <a:pt x="131" y="85"/>
                  </a:lnTo>
                  <a:lnTo>
                    <a:pt x="135" y="88"/>
                  </a:lnTo>
                  <a:lnTo>
                    <a:pt x="135" y="88"/>
                  </a:lnTo>
                  <a:lnTo>
                    <a:pt x="139" y="88"/>
                  </a:lnTo>
                  <a:lnTo>
                    <a:pt x="146" y="87"/>
                  </a:lnTo>
                  <a:lnTo>
                    <a:pt x="157" y="82"/>
                  </a:lnTo>
                  <a:lnTo>
                    <a:pt x="157" y="82"/>
                  </a:lnTo>
                  <a:lnTo>
                    <a:pt x="168" y="76"/>
                  </a:lnTo>
                  <a:lnTo>
                    <a:pt x="168" y="76"/>
                  </a:lnTo>
                  <a:lnTo>
                    <a:pt x="173" y="74"/>
                  </a:lnTo>
                  <a:lnTo>
                    <a:pt x="176" y="73"/>
                  </a:lnTo>
                  <a:lnTo>
                    <a:pt x="181" y="74"/>
                  </a:lnTo>
                  <a:lnTo>
                    <a:pt x="186" y="76"/>
                  </a:lnTo>
                  <a:lnTo>
                    <a:pt x="186" y="76"/>
                  </a:lnTo>
                  <a:lnTo>
                    <a:pt x="191" y="79"/>
                  </a:lnTo>
                  <a:lnTo>
                    <a:pt x="193" y="81"/>
                  </a:lnTo>
                  <a:lnTo>
                    <a:pt x="193" y="81"/>
                  </a:lnTo>
                  <a:lnTo>
                    <a:pt x="191" y="84"/>
                  </a:lnTo>
                  <a:lnTo>
                    <a:pt x="188" y="87"/>
                  </a:lnTo>
                  <a:lnTo>
                    <a:pt x="184" y="87"/>
                  </a:lnTo>
                  <a:lnTo>
                    <a:pt x="184" y="87"/>
                  </a:lnTo>
                  <a:lnTo>
                    <a:pt x="179" y="87"/>
                  </a:lnTo>
                  <a:lnTo>
                    <a:pt x="175" y="85"/>
                  </a:lnTo>
                  <a:lnTo>
                    <a:pt x="171" y="83"/>
                  </a:lnTo>
                  <a:lnTo>
                    <a:pt x="170" y="81"/>
                  </a:lnTo>
                  <a:lnTo>
                    <a:pt x="170" y="81"/>
                  </a:lnTo>
                  <a:lnTo>
                    <a:pt x="168" y="85"/>
                  </a:lnTo>
                  <a:lnTo>
                    <a:pt x="168" y="85"/>
                  </a:lnTo>
                  <a:lnTo>
                    <a:pt x="166" y="88"/>
                  </a:lnTo>
                  <a:lnTo>
                    <a:pt x="166" y="90"/>
                  </a:lnTo>
                  <a:lnTo>
                    <a:pt x="168" y="91"/>
                  </a:lnTo>
                  <a:lnTo>
                    <a:pt x="166" y="94"/>
                  </a:lnTo>
                  <a:lnTo>
                    <a:pt x="166" y="94"/>
                  </a:lnTo>
                  <a:lnTo>
                    <a:pt x="165" y="95"/>
                  </a:lnTo>
                  <a:lnTo>
                    <a:pt x="164" y="98"/>
                  </a:lnTo>
                  <a:lnTo>
                    <a:pt x="159" y="101"/>
                  </a:lnTo>
                  <a:lnTo>
                    <a:pt x="159" y="101"/>
                  </a:lnTo>
                  <a:lnTo>
                    <a:pt x="152" y="105"/>
                  </a:lnTo>
                  <a:lnTo>
                    <a:pt x="147" y="106"/>
                  </a:lnTo>
                  <a:lnTo>
                    <a:pt x="147" y="106"/>
                  </a:lnTo>
                  <a:lnTo>
                    <a:pt x="152" y="117"/>
                  </a:lnTo>
                  <a:lnTo>
                    <a:pt x="152" y="117"/>
                  </a:lnTo>
                  <a:lnTo>
                    <a:pt x="155" y="124"/>
                  </a:lnTo>
                  <a:lnTo>
                    <a:pt x="158" y="129"/>
                  </a:lnTo>
                  <a:lnTo>
                    <a:pt x="160" y="133"/>
                  </a:lnTo>
                  <a:lnTo>
                    <a:pt x="160" y="133"/>
                  </a:lnTo>
                  <a:lnTo>
                    <a:pt x="165" y="132"/>
                  </a:lnTo>
                  <a:lnTo>
                    <a:pt x="174" y="128"/>
                  </a:lnTo>
                  <a:lnTo>
                    <a:pt x="174" y="128"/>
                  </a:lnTo>
                  <a:lnTo>
                    <a:pt x="180" y="123"/>
                  </a:lnTo>
                  <a:lnTo>
                    <a:pt x="184" y="118"/>
                  </a:lnTo>
                  <a:lnTo>
                    <a:pt x="184" y="118"/>
                  </a:lnTo>
                  <a:lnTo>
                    <a:pt x="179" y="129"/>
                  </a:lnTo>
                  <a:lnTo>
                    <a:pt x="175" y="135"/>
                  </a:lnTo>
                  <a:lnTo>
                    <a:pt x="170" y="140"/>
                  </a:lnTo>
                  <a:lnTo>
                    <a:pt x="166" y="144"/>
                  </a:lnTo>
                  <a:lnTo>
                    <a:pt x="166" y="144"/>
                  </a:lnTo>
                  <a:lnTo>
                    <a:pt x="150" y="155"/>
                  </a:lnTo>
                  <a:lnTo>
                    <a:pt x="128" y="167"/>
                  </a:lnTo>
                  <a:lnTo>
                    <a:pt x="115" y="175"/>
                  </a:lnTo>
                  <a:lnTo>
                    <a:pt x="103" y="179"/>
                  </a:lnTo>
                  <a:lnTo>
                    <a:pt x="89" y="184"/>
                  </a:lnTo>
                  <a:lnTo>
                    <a:pt x="76" y="187"/>
                  </a:lnTo>
                  <a:lnTo>
                    <a:pt x="76" y="187"/>
                  </a:lnTo>
                  <a:lnTo>
                    <a:pt x="72" y="185"/>
                  </a:lnTo>
                  <a:lnTo>
                    <a:pt x="67" y="184"/>
                  </a:lnTo>
                  <a:lnTo>
                    <a:pt x="59" y="178"/>
                  </a:lnTo>
                  <a:lnTo>
                    <a:pt x="50" y="172"/>
                  </a:lnTo>
                  <a:lnTo>
                    <a:pt x="45" y="166"/>
                  </a:lnTo>
                  <a:lnTo>
                    <a:pt x="45" y="166"/>
                  </a:lnTo>
                  <a:lnTo>
                    <a:pt x="44" y="166"/>
                  </a:lnTo>
                  <a:lnTo>
                    <a:pt x="42" y="165"/>
                  </a:lnTo>
                  <a:lnTo>
                    <a:pt x="39" y="166"/>
                  </a:lnTo>
                  <a:lnTo>
                    <a:pt x="35" y="168"/>
                  </a:lnTo>
                  <a:lnTo>
                    <a:pt x="35" y="168"/>
                  </a:lnTo>
                  <a:lnTo>
                    <a:pt x="33" y="168"/>
                  </a:lnTo>
                  <a:lnTo>
                    <a:pt x="28" y="168"/>
                  </a:lnTo>
                  <a:lnTo>
                    <a:pt x="21" y="170"/>
                  </a:lnTo>
                  <a:lnTo>
                    <a:pt x="18" y="172"/>
                  </a:lnTo>
                  <a:lnTo>
                    <a:pt x="16" y="175"/>
                  </a:lnTo>
                  <a:lnTo>
                    <a:pt x="16" y="175"/>
                  </a:lnTo>
                  <a:lnTo>
                    <a:pt x="16" y="176"/>
                  </a:lnTo>
                  <a:lnTo>
                    <a:pt x="20" y="176"/>
                  </a:lnTo>
                  <a:lnTo>
                    <a:pt x="23" y="175"/>
                  </a:lnTo>
                  <a:lnTo>
                    <a:pt x="28" y="176"/>
                  </a:lnTo>
                  <a:lnTo>
                    <a:pt x="28" y="176"/>
                  </a:lnTo>
                  <a:lnTo>
                    <a:pt x="29" y="177"/>
                  </a:lnTo>
                  <a:lnTo>
                    <a:pt x="28" y="178"/>
                  </a:lnTo>
                  <a:lnTo>
                    <a:pt x="27" y="179"/>
                  </a:lnTo>
                  <a:lnTo>
                    <a:pt x="27" y="182"/>
                  </a:lnTo>
                  <a:lnTo>
                    <a:pt x="27" y="182"/>
                  </a:lnTo>
                  <a:lnTo>
                    <a:pt x="27" y="183"/>
                  </a:lnTo>
                  <a:lnTo>
                    <a:pt x="29" y="185"/>
                  </a:lnTo>
                  <a:lnTo>
                    <a:pt x="35" y="188"/>
                  </a:lnTo>
                  <a:lnTo>
                    <a:pt x="48" y="193"/>
                  </a:lnTo>
                  <a:lnTo>
                    <a:pt x="48" y="193"/>
                  </a:lnTo>
                  <a:lnTo>
                    <a:pt x="49" y="194"/>
                  </a:lnTo>
                  <a:lnTo>
                    <a:pt x="49" y="195"/>
                  </a:lnTo>
                  <a:lnTo>
                    <a:pt x="49" y="195"/>
                  </a:lnTo>
                  <a:lnTo>
                    <a:pt x="40" y="194"/>
                  </a:lnTo>
                  <a:lnTo>
                    <a:pt x="34" y="192"/>
                  </a:lnTo>
                  <a:lnTo>
                    <a:pt x="26" y="188"/>
                  </a:lnTo>
                  <a:lnTo>
                    <a:pt x="26" y="188"/>
                  </a:lnTo>
                  <a:lnTo>
                    <a:pt x="20" y="187"/>
                  </a:lnTo>
                  <a:lnTo>
                    <a:pt x="16" y="187"/>
                  </a:lnTo>
                  <a:lnTo>
                    <a:pt x="15" y="189"/>
                  </a:lnTo>
                  <a:lnTo>
                    <a:pt x="13" y="192"/>
                  </a:lnTo>
                  <a:lnTo>
                    <a:pt x="13" y="192"/>
                  </a:lnTo>
                  <a:lnTo>
                    <a:pt x="12" y="193"/>
                  </a:lnTo>
                  <a:lnTo>
                    <a:pt x="11" y="193"/>
                  </a:lnTo>
                  <a:lnTo>
                    <a:pt x="7" y="195"/>
                  </a:lnTo>
                  <a:lnTo>
                    <a:pt x="5" y="196"/>
                  </a:lnTo>
                  <a:lnTo>
                    <a:pt x="2" y="200"/>
                  </a:lnTo>
                  <a:lnTo>
                    <a:pt x="1" y="204"/>
                  </a:lnTo>
                  <a:lnTo>
                    <a:pt x="0" y="210"/>
                  </a:lnTo>
                  <a:lnTo>
                    <a:pt x="0" y="210"/>
                  </a:lnTo>
                  <a:lnTo>
                    <a:pt x="2" y="209"/>
                  </a:lnTo>
                  <a:lnTo>
                    <a:pt x="6" y="205"/>
                  </a:lnTo>
                  <a:lnTo>
                    <a:pt x="10" y="203"/>
                  </a:lnTo>
                  <a:lnTo>
                    <a:pt x="12" y="201"/>
                  </a:lnTo>
                  <a:lnTo>
                    <a:pt x="12" y="203"/>
                  </a:lnTo>
                  <a:lnTo>
                    <a:pt x="12" y="203"/>
                  </a:lnTo>
                  <a:lnTo>
                    <a:pt x="15" y="207"/>
                  </a:lnTo>
                  <a:lnTo>
                    <a:pt x="18" y="210"/>
                  </a:lnTo>
                  <a:lnTo>
                    <a:pt x="23" y="210"/>
                  </a:lnTo>
                  <a:lnTo>
                    <a:pt x="28" y="210"/>
                  </a:lnTo>
                  <a:lnTo>
                    <a:pt x="39" y="209"/>
                  </a:lnTo>
                  <a:lnTo>
                    <a:pt x="44" y="209"/>
                  </a:lnTo>
                  <a:lnTo>
                    <a:pt x="46" y="209"/>
                  </a:lnTo>
                  <a:lnTo>
                    <a:pt x="46" y="209"/>
                  </a:lnTo>
                  <a:lnTo>
                    <a:pt x="46" y="210"/>
                  </a:lnTo>
                  <a:lnTo>
                    <a:pt x="46" y="210"/>
                  </a:lnTo>
                  <a:lnTo>
                    <a:pt x="44" y="211"/>
                  </a:lnTo>
                  <a:lnTo>
                    <a:pt x="35" y="212"/>
                  </a:lnTo>
                  <a:lnTo>
                    <a:pt x="31" y="214"/>
                  </a:lnTo>
                  <a:lnTo>
                    <a:pt x="26" y="216"/>
                  </a:lnTo>
                  <a:lnTo>
                    <a:pt x="24" y="217"/>
                  </a:lnTo>
                  <a:lnTo>
                    <a:pt x="23" y="220"/>
                  </a:lnTo>
                  <a:lnTo>
                    <a:pt x="24" y="221"/>
                  </a:lnTo>
                  <a:lnTo>
                    <a:pt x="24" y="221"/>
                  </a:lnTo>
                  <a:lnTo>
                    <a:pt x="22" y="223"/>
                  </a:lnTo>
                  <a:lnTo>
                    <a:pt x="20" y="228"/>
                  </a:lnTo>
                  <a:lnTo>
                    <a:pt x="18" y="231"/>
                  </a:lnTo>
                  <a:lnTo>
                    <a:pt x="18" y="234"/>
                  </a:lnTo>
                  <a:lnTo>
                    <a:pt x="20" y="238"/>
                  </a:lnTo>
                  <a:lnTo>
                    <a:pt x="23" y="243"/>
                  </a:lnTo>
                  <a:lnTo>
                    <a:pt x="23" y="243"/>
                  </a:lnTo>
                  <a:lnTo>
                    <a:pt x="24" y="236"/>
                  </a:lnTo>
                  <a:lnTo>
                    <a:pt x="27" y="232"/>
                  </a:lnTo>
                  <a:lnTo>
                    <a:pt x="28" y="231"/>
                  </a:lnTo>
                  <a:lnTo>
                    <a:pt x="31" y="231"/>
                  </a:lnTo>
                  <a:lnTo>
                    <a:pt x="31" y="231"/>
                  </a:lnTo>
                  <a:lnTo>
                    <a:pt x="35" y="231"/>
                  </a:lnTo>
                  <a:lnTo>
                    <a:pt x="39" y="233"/>
                  </a:lnTo>
                  <a:lnTo>
                    <a:pt x="43" y="233"/>
                  </a:lnTo>
                  <a:lnTo>
                    <a:pt x="48" y="231"/>
                  </a:lnTo>
                  <a:lnTo>
                    <a:pt x="48" y="231"/>
                  </a:lnTo>
                  <a:lnTo>
                    <a:pt x="53" y="227"/>
                  </a:lnTo>
                  <a:lnTo>
                    <a:pt x="56" y="225"/>
                  </a:lnTo>
                  <a:lnTo>
                    <a:pt x="64" y="222"/>
                  </a:lnTo>
                  <a:lnTo>
                    <a:pt x="64" y="222"/>
                  </a:lnTo>
                  <a:lnTo>
                    <a:pt x="64" y="225"/>
                  </a:lnTo>
                  <a:lnTo>
                    <a:pt x="66" y="228"/>
                  </a:lnTo>
                  <a:lnTo>
                    <a:pt x="66" y="228"/>
                  </a:lnTo>
                  <a:lnTo>
                    <a:pt x="69" y="229"/>
                  </a:lnTo>
                  <a:lnTo>
                    <a:pt x="70" y="231"/>
                  </a:lnTo>
                  <a:lnTo>
                    <a:pt x="70" y="231"/>
                  </a:lnTo>
                  <a:lnTo>
                    <a:pt x="70" y="231"/>
                  </a:lnTo>
                  <a:lnTo>
                    <a:pt x="69" y="234"/>
                  </a:lnTo>
                  <a:lnTo>
                    <a:pt x="66" y="238"/>
                  </a:lnTo>
                  <a:lnTo>
                    <a:pt x="64" y="240"/>
                  </a:lnTo>
                  <a:lnTo>
                    <a:pt x="64" y="240"/>
                  </a:lnTo>
                  <a:lnTo>
                    <a:pt x="65" y="240"/>
                  </a:lnTo>
                  <a:lnTo>
                    <a:pt x="69" y="240"/>
                  </a:lnTo>
                  <a:lnTo>
                    <a:pt x="72" y="239"/>
                  </a:lnTo>
                  <a:lnTo>
                    <a:pt x="75" y="237"/>
                  </a:lnTo>
                  <a:lnTo>
                    <a:pt x="77" y="233"/>
                  </a:lnTo>
                  <a:lnTo>
                    <a:pt x="77" y="233"/>
                  </a:lnTo>
                  <a:lnTo>
                    <a:pt x="78" y="232"/>
                  </a:lnTo>
                  <a:lnTo>
                    <a:pt x="80" y="232"/>
                  </a:lnTo>
                  <a:lnTo>
                    <a:pt x="83" y="232"/>
                  </a:lnTo>
                  <a:lnTo>
                    <a:pt x="83" y="232"/>
                  </a:lnTo>
                  <a:lnTo>
                    <a:pt x="86" y="231"/>
                  </a:lnTo>
                  <a:lnTo>
                    <a:pt x="87" y="229"/>
                  </a:lnTo>
                  <a:lnTo>
                    <a:pt x="87" y="226"/>
                  </a:lnTo>
                  <a:lnTo>
                    <a:pt x="87" y="222"/>
                  </a:lnTo>
                  <a:lnTo>
                    <a:pt x="87" y="220"/>
                  </a:lnTo>
                  <a:lnTo>
                    <a:pt x="88" y="218"/>
                  </a:lnTo>
                  <a:lnTo>
                    <a:pt x="88" y="218"/>
                  </a:lnTo>
                  <a:lnTo>
                    <a:pt x="93" y="215"/>
                  </a:lnTo>
                  <a:lnTo>
                    <a:pt x="98" y="211"/>
                  </a:lnTo>
                  <a:lnTo>
                    <a:pt x="109" y="206"/>
                  </a:lnTo>
                  <a:lnTo>
                    <a:pt x="109" y="206"/>
                  </a:lnTo>
                  <a:lnTo>
                    <a:pt x="108" y="211"/>
                  </a:lnTo>
                  <a:lnTo>
                    <a:pt x="108" y="216"/>
                  </a:lnTo>
                  <a:lnTo>
                    <a:pt x="110" y="222"/>
                  </a:lnTo>
                  <a:lnTo>
                    <a:pt x="137" y="215"/>
                  </a:lnTo>
                  <a:lnTo>
                    <a:pt x="137" y="215"/>
                  </a:lnTo>
                  <a:lnTo>
                    <a:pt x="136" y="209"/>
                  </a:lnTo>
                  <a:lnTo>
                    <a:pt x="137" y="204"/>
                  </a:lnTo>
                  <a:lnTo>
                    <a:pt x="141" y="198"/>
                  </a:lnTo>
                  <a:lnTo>
                    <a:pt x="144" y="192"/>
                  </a:lnTo>
                  <a:lnTo>
                    <a:pt x="144" y="192"/>
                  </a:lnTo>
                  <a:lnTo>
                    <a:pt x="144" y="194"/>
                  </a:lnTo>
                  <a:lnTo>
                    <a:pt x="143" y="200"/>
                  </a:lnTo>
                  <a:lnTo>
                    <a:pt x="143" y="207"/>
                  </a:lnTo>
                  <a:lnTo>
                    <a:pt x="143" y="211"/>
                  </a:lnTo>
                  <a:lnTo>
                    <a:pt x="144" y="212"/>
                  </a:lnTo>
                  <a:lnTo>
                    <a:pt x="171" y="206"/>
                  </a:lnTo>
                  <a:lnTo>
                    <a:pt x="171" y="206"/>
                  </a:lnTo>
                  <a:lnTo>
                    <a:pt x="170" y="203"/>
                  </a:lnTo>
                  <a:lnTo>
                    <a:pt x="170" y="198"/>
                  </a:lnTo>
                  <a:lnTo>
                    <a:pt x="173" y="189"/>
                  </a:lnTo>
                  <a:lnTo>
                    <a:pt x="173" y="189"/>
                  </a:lnTo>
                  <a:lnTo>
                    <a:pt x="175" y="199"/>
                  </a:lnTo>
                  <a:lnTo>
                    <a:pt x="180" y="207"/>
                  </a:lnTo>
                  <a:lnTo>
                    <a:pt x="186" y="215"/>
                  </a:lnTo>
                  <a:lnTo>
                    <a:pt x="190" y="217"/>
                  </a:lnTo>
                  <a:lnTo>
                    <a:pt x="193" y="220"/>
                  </a:lnTo>
                  <a:lnTo>
                    <a:pt x="193" y="220"/>
                  </a:lnTo>
                  <a:lnTo>
                    <a:pt x="208" y="226"/>
                  </a:lnTo>
                  <a:lnTo>
                    <a:pt x="224" y="231"/>
                  </a:lnTo>
                  <a:lnTo>
                    <a:pt x="262" y="242"/>
                  </a:lnTo>
                  <a:lnTo>
                    <a:pt x="262" y="242"/>
                  </a:lnTo>
                  <a:lnTo>
                    <a:pt x="273" y="245"/>
                  </a:lnTo>
                  <a:lnTo>
                    <a:pt x="281" y="249"/>
                  </a:lnTo>
                  <a:lnTo>
                    <a:pt x="281" y="249"/>
                  </a:lnTo>
                  <a:lnTo>
                    <a:pt x="284" y="250"/>
                  </a:lnTo>
                  <a:lnTo>
                    <a:pt x="284" y="251"/>
                  </a:lnTo>
                  <a:lnTo>
                    <a:pt x="283" y="255"/>
                  </a:lnTo>
                  <a:lnTo>
                    <a:pt x="279" y="258"/>
                  </a:lnTo>
                  <a:lnTo>
                    <a:pt x="279" y="258"/>
                  </a:lnTo>
                  <a:lnTo>
                    <a:pt x="284" y="261"/>
                  </a:lnTo>
                  <a:lnTo>
                    <a:pt x="294" y="267"/>
                  </a:lnTo>
                  <a:lnTo>
                    <a:pt x="294" y="267"/>
                  </a:lnTo>
                  <a:lnTo>
                    <a:pt x="300" y="273"/>
                  </a:lnTo>
                  <a:lnTo>
                    <a:pt x="303" y="281"/>
                  </a:lnTo>
                  <a:lnTo>
                    <a:pt x="307" y="290"/>
                  </a:lnTo>
                  <a:lnTo>
                    <a:pt x="310" y="300"/>
                  </a:lnTo>
                  <a:lnTo>
                    <a:pt x="310" y="300"/>
                  </a:lnTo>
                  <a:lnTo>
                    <a:pt x="312" y="309"/>
                  </a:lnTo>
                  <a:lnTo>
                    <a:pt x="312" y="317"/>
                  </a:lnTo>
                  <a:lnTo>
                    <a:pt x="312" y="325"/>
                  </a:lnTo>
                  <a:lnTo>
                    <a:pt x="312" y="328"/>
                  </a:lnTo>
                  <a:lnTo>
                    <a:pt x="311" y="330"/>
                  </a:lnTo>
                  <a:lnTo>
                    <a:pt x="311" y="330"/>
                  </a:lnTo>
                  <a:lnTo>
                    <a:pt x="308" y="332"/>
                  </a:lnTo>
                  <a:lnTo>
                    <a:pt x="306" y="333"/>
                  </a:lnTo>
                  <a:lnTo>
                    <a:pt x="302" y="334"/>
                  </a:lnTo>
                  <a:lnTo>
                    <a:pt x="295" y="337"/>
                  </a:lnTo>
                  <a:lnTo>
                    <a:pt x="297" y="347"/>
                  </a:lnTo>
                  <a:lnTo>
                    <a:pt x="297" y="347"/>
                  </a:lnTo>
                  <a:lnTo>
                    <a:pt x="302" y="347"/>
                  </a:lnTo>
                  <a:lnTo>
                    <a:pt x="307" y="345"/>
                  </a:lnTo>
                  <a:lnTo>
                    <a:pt x="312" y="344"/>
                  </a:lnTo>
                  <a:lnTo>
                    <a:pt x="312" y="344"/>
                  </a:lnTo>
                  <a:lnTo>
                    <a:pt x="311" y="345"/>
                  </a:lnTo>
                  <a:lnTo>
                    <a:pt x="311" y="345"/>
                  </a:lnTo>
                  <a:lnTo>
                    <a:pt x="307" y="352"/>
                  </a:lnTo>
                  <a:lnTo>
                    <a:pt x="306" y="356"/>
                  </a:lnTo>
                  <a:lnTo>
                    <a:pt x="317" y="364"/>
                  </a:lnTo>
                  <a:lnTo>
                    <a:pt x="317" y="364"/>
                  </a:lnTo>
                  <a:lnTo>
                    <a:pt x="322" y="352"/>
                  </a:lnTo>
                  <a:lnTo>
                    <a:pt x="324" y="348"/>
                  </a:lnTo>
                  <a:lnTo>
                    <a:pt x="327" y="345"/>
                  </a:lnTo>
                  <a:lnTo>
                    <a:pt x="327" y="345"/>
                  </a:lnTo>
                  <a:lnTo>
                    <a:pt x="329" y="345"/>
                  </a:lnTo>
                  <a:lnTo>
                    <a:pt x="333" y="347"/>
                  </a:lnTo>
                  <a:lnTo>
                    <a:pt x="338" y="349"/>
                  </a:lnTo>
                  <a:lnTo>
                    <a:pt x="343" y="352"/>
                  </a:lnTo>
                  <a:lnTo>
                    <a:pt x="349" y="356"/>
                  </a:lnTo>
                  <a:lnTo>
                    <a:pt x="354" y="363"/>
                  </a:lnTo>
                  <a:lnTo>
                    <a:pt x="358" y="369"/>
                  </a:lnTo>
                  <a:lnTo>
                    <a:pt x="362" y="376"/>
                  </a:lnTo>
                  <a:lnTo>
                    <a:pt x="362" y="376"/>
                  </a:lnTo>
                  <a:lnTo>
                    <a:pt x="363" y="382"/>
                  </a:lnTo>
                  <a:lnTo>
                    <a:pt x="365" y="388"/>
                  </a:lnTo>
                  <a:lnTo>
                    <a:pt x="365" y="394"/>
                  </a:lnTo>
                  <a:lnTo>
                    <a:pt x="363" y="402"/>
                  </a:lnTo>
                  <a:lnTo>
                    <a:pt x="362" y="408"/>
                  </a:lnTo>
                  <a:lnTo>
                    <a:pt x="360" y="413"/>
                  </a:lnTo>
                  <a:lnTo>
                    <a:pt x="356" y="416"/>
                  </a:lnTo>
                  <a:lnTo>
                    <a:pt x="352" y="419"/>
                  </a:lnTo>
                  <a:lnTo>
                    <a:pt x="352" y="419"/>
                  </a:lnTo>
                  <a:lnTo>
                    <a:pt x="349" y="419"/>
                  </a:lnTo>
                  <a:lnTo>
                    <a:pt x="346" y="417"/>
                  </a:lnTo>
                  <a:lnTo>
                    <a:pt x="338" y="414"/>
                  </a:lnTo>
                  <a:lnTo>
                    <a:pt x="330" y="410"/>
                  </a:lnTo>
                  <a:lnTo>
                    <a:pt x="328" y="410"/>
                  </a:lnTo>
                  <a:lnTo>
                    <a:pt x="325" y="413"/>
                  </a:lnTo>
                  <a:lnTo>
                    <a:pt x="325" y="413"/>
                  </a:lnTo>
                  <a:lnTo>
                    <a:pt x="324" y="414"/>
                  </a:lnTo>
                  <a:lnTo>
                    <a:pt x="321" y="416"/>
                  </a:lnTo>
                  <a:lnTo>
                    <a:pt x="314" y="420"/>
                  </a:lnTo>
                  <a:lnTo>
                    <a:pt x="312" y="422"/>
                  </a:lnTo>
                  <a:lnTo>
                    <a:pt x="310" y="426"/>
                  </a:lnTo>
                  <a:lnTo>
                    <a:pt x="310" y="431"/>
                  </a:lnTo>
                  <a:lnTo>
                    <a:pt x="311" y="437"/>
                  </a:lnTo>
                  <a:lnTo>
                    <a:pt x="311" y="437"/>
                  </a:lnTo>
                  <a:lnTo>
                    <a:pt x="317" y="431"/>
                  </a:lnTo>
                  <a:lnTo>
                    <a:pt x="319" y="428"/>
                  </a:lnTo>
                  <a:lnTo>
                    <a:pt x="322" y="428"/>
                  </a:lnTo>
                  <a:lnTo>
                    <a:pt x="322" y="428"/>
                  </a:lnTo>
                  <a:lnTo>
                    <a:pt x="323" y="430"/>
                  </a:lnTo>
                  <a:lnTo>
                    <a:pt x="323" y="431"/>
                  </a:lnTo>
                  <a:lnTo>
                    <a:pt x="325" y="433"/>
                  </a:lnTo>
                  <a:lnTo>
                    <a:pt x="325" y="433"/>
                  </a:lnTo>
                  <a:lnTo>
                    <a:pt x="327" y="435"/>
                  </a:lnTo>
                  <a:lnTo>
                    <a:pt x="329" y="435"/>
                  </a:lnTo>
                  <a:lnTo>
                    <a:pt x="336" y="435"/>
                  </a:lnTo>
                  <a:lnTo>
                    <a:pt x="343" y="433"/>
                  </a:lnTo>
                  <a:lnTo>
                    <a:pt x="345" y="433"/>
                  </a:lnTo>
                  <a:lnTo>
                    <a:pt x="346" y="435"/>
                  </a:lnTo>
                  <a:lnTo>
                    <a:pt x="346" y="435"/>
                  </a:lnTo>
                  <a:lnTo>
                    <a:pt x="346" y="436"/>
                  </a:lnTo>
                  <a:lnTo>
                    <a:pt x="345" y="436"/>
                  </a:lnTo>
                  <a:lnTo>
                    <a:pt x="341" y="436"/>
                  </a:lnTo>
                  <a:lnTo>
                    <a:pt x="341" y="436"/>
                  </a:lnTo>
                  <a:lnTo>
                    <a:pt x="329" y="438"/>
                  </a:lnTo>
                  <a:lnTo>
                    <a:pt x="324" y="441"/>
                  </a:lnTo>
                  <a:lnTo>
                    <a:pt x="321" y="443"/>
                  </a:lnTo>
                  <a:lnTo>
                    <a:pt x="321" y="443"/>
                  </a:lnTo>
                  <a:lnTo>
                    <a:pt x="321" y="444"/>
                  </a:lnTo>
                  <a:lnTo>
                    <a:pt x="321" y="447"/>
                  </a:lnTo>
                  <a:lnTo>
                    <a:pt x="321" y="447"/>
                  </a:lnTo>
                  <a:lnTo>
                    <a:pt x="318" y="450"/>
                  </a:lnTo>
                  <a:lnTo>
                    <a:pt x="314" y="453"/>
                  </a:lnTo>
                  <a:lnTo>
                    <a:pt x="312" y="457"/>
                  </a:lnTo>
                  <a:lnTo>
                    <a:pt x="311" y="460"/>
                  </a:lnTo>
                  <a:lnTo>
                    <a:pt x="311" y="464"/>
                  </a:lnTo>
                  <a:lnTo>
                    <a:pt x="311" y="464"/>
                  </a:lnTo>
                  <a:lnTo>
                    <a:pt x="312" y="469"/>
                  </a:lnTo>
                  <a:lnTo>
                    <a:pt x="314" y="471"/>
                  </a:lnTo>
                  <a:lnTo>
                    <a:pt x="318" y="475"/>
                  </a:lnTo>
                  <a:lnTo>
                    <a:pt x="318" y="475"/>
                  </a:lnTo>
                  <a:lnTo>
                    <a:pt x="318" y="472"/>
                  </a:lnTo>
                  <a:lnTo>
                    <a:pt x="319" y="469"/>
                  </a:lnTo>
                  <a:lnTo>
                    <a:pt x="321" y="464"/>
                  </a:lnTo>
                  <a:lnTo>
                    <a:pt x="321" y="461"/>
                  </a:lnTo>
                  <a:lnTo>
                    <a:pt x="323" y="461"/>
                  </a:lnTo>
                  <a:lnTo>
                    <a:pt x="323" y="461"/>
                  </a:lnTo>
                  <a:lnTo>
                    <a:pt x="324" y="461"/>
                  </a:lnTo>
                  <a:lnTo>
                    <a:pt x="327" y="463"/>
                  </a:lnTo>
                  <a:lnTo>
                    <a:pt x="328" y="465"/>
                  </a:lnTo>
                  <a:lnTo>
                    <a:pt x="330" y="465"/>
                  </a:lnTo>
                  <a:lnTo>
                    <a:pt x="330" y="465"/>
                  </a:lnTo>
                  <a:lnTo>
                    <a:pt x="333" y="465"/>
                  </a:lnTo>
                  <a:lnTo>
                    <a:pt x="336" y="463"/>
                  </a:lnTo>
                  <a:lnTo>
                    <a:pt x="344" y="455"/>
                  </a:lnTo>
                  <a:lnTo>
                    <a:pt x="351" y="449"/>
                  </a:lnTo>
                  <a:lnTo>
                    <a:pt x="354" y="447"/>
                  </a:lnTo>
                  <a:lnTo>
                    <a:pt x="356" y="447"/>
                  </a:lnTo>
                  <a:lnTo>
                    <a:pt x="356" y="447"/>
                  </a:lnTo>
                  <a:lnTo>
                    <a:pt x="357" y="448"/>
                  </a:lnTo>
                  <a:lnTo>
                    <a:pt x="356" y="449"/>
                  </a:lnTo>
                  <a:lnTo>
                    <a:pt x="351" y="453"/>
                  </a:lnTo>
                  <a:lnTo>
                    <a:pt x="346" y="458"/>
                  </a:lnTo>
                  <a:lnTo>
                    <a:pt x="344" y="460"/>
                  </a:lnTo>
                  <a:lnTo>
                    <a:pt x="343" y="464"/>
                  </a:lnTo>
                  <a:lnTo>
                    <a:pt x="343" y="464"/>
                  </a:lnTo>
                  <a:lnTo>
                    <a:pt x="344" y="467"/>
                  </a:lnTo>
                  <a:lnTo>
                    <a:pt x="345" y="470"/>
                  </a:lnTo>
                  <a:lnTo>
                    <a:pt x="347" y="472"/>
                  </a:lnTo>
                  <a:lnTo>
                    <a:pt x="349" y="475"/>
                  </a:lnTo>
                  <a:lnTo>
                    <a:pt x="349" y="475"/>
                  </a:lnTo>
                  <a:lnTo>
                    <a:pt x="350" y="477"/>
                  </a:lnTo>
                  <a:lnTo>
                    <a:pt x="352" y="481"/>
                  </a:lnTo>
                  <a:lnTo>
                    <a:pt x="355" y="483"/>
                  </a:lnTo>
                  <a:lnTo>
                    <a:pt x="358" y="485"/>
                  </a:lnTo>
                  <a:lnTo>
                    <a:pt x="366" y="487"/>
                  </a:lnTo>
                  <a:lnTo>
                    <a:pt x="369" y="487"/>
                  </a:lnTo>
                  <a:lnTo>
                    <a:pt x="369" y="487"/>
                  </a:lnTo>
                  <a:lnTo>
                    <a:pt x="368" y="485"/>
                  </a:lnTo>
                  <a:lnTo>
                    <a:pt x="365" y="481"/>
                  </a:lnTo>
                  <a:lnTo>
                    <a:pt x="361" y="476"/>
                  </a:lnTo>
                  <a:lnTo>
                    <a:pt x="361" y="475"/>
                  </a:lnTo>
                  <a:lnTo>
                    <a:pt x="361" y="472"/>
                  </a:lnTo>
                  <a:lnTo>
                    <a:pt x="361" y="472"/>
                  </a:lnTo>
                  <a:lnTo>
                    <a:pt x="362" y="471"/>
                  </a:lnTo>
                  <a:lnTo>
                    <a:pt x="365" y="472"/>
                  </a:lnTo>
                  <a:lnTo>
                    <a:pt x="367" y="472"/>
                  </a:lnTo>
                  <a:lnTo>
                    <a:pt x="369" y="471"/>
                  </a:lnTo>
                  <a:lnTo>
                    <a:pt x="369" y="471"/>
                  </a:lnTo>
                  <a:lnTo>
                    <a:pt x="369" y="469"/>
                  </a:lnTo>
                  <a:lnTo>
                    <a:pt x="369" y="461"/>
                  </a:lnTo>
                  <a:lnTo>
                    <a:pt x="369" y="458"/>
                  </a:lnTo>
                  <a:lnTo>
                    <a:pt x="371" y="453"/>
                  </a:lnTo>
                  <a:lnTo>
                    <a:pt x="374" y="448"/>
                  </a:lnTo>
                  <a:lnTo>
                    <a:pt x="379" y="442"/>
                  </a:lnTo>
                  <a:lnTo>
                    <a:pt x="379" y="442"/>
                  </a:lnTo>
                  <a:lnTo>
                    <a:pt x="382" y="446"/>
                  </a:lnTo>
                  <a:lnTo>
                    <a:pt x="384" y="447"/>
                  </a:lnTo>
                  <a:lnTo>
                    <a:pt x="389" y="448"/>
                  </a:lnTo>
                  <a:lnTo>
                    <a:pt x="389" y="448"/>
                  </a:lnTo>
                  <a:lnTo>
                    <a:pt x="390" y="449"/>
                  </a:lnTo>
                  <a:lnTo>
                    <a:pt x="392" y="450"/>
                  </a:lnTo>
                  <a:lnTo>
                    <a:pt x="392" y="455"/>
                  </a:lnTo>
                  <a:lnTo>
                    <a:pt x="392" y="461"/>
                  </a:lnTo>
                  <a:lnTo>
                    <a:pt x="392" y="461"/>
                  </a:lnTo>
                  <a:lnTo>
                    <a:pt x="393" y="460"/>
                  </a:lnTo>
                  <a:lnTo>
                    <a:pt x="395" y="457"/>
                  </a:lnTo>
                  <a:lnTo>
                    <a:pt x="398" y="450"/>
                  </a:lnTo>
                  <a:lnTo>
                    <a:pt x="398" y="443"/>
                  </a:lnTo>
                  <a:lnTo>
                    <a:pt x="398" y="443"/>
                  </a:lnTo>
                  <a:lnTo>
                    <a:pt x="400" y="442"/>
                  </a:lnTo>
                  <a:lnTo>
                    <a:pt x="403" y="437"/>
                  </a:lnTo>
                  <a:lnTo>
                    <a:pt x="403" y="437"/>
                  </a:lnTo>
                  <a:lnTo>
                    <a:pt x="404" y="435"/>
                  </a:lnTo>
                  <a:lnTo>
                    <a:pt x="403" y="433"/>
                  </a:lnTo>
                  <a:lnTo>
                    <a:pt x="399" y="430"/>
                  </a:lnTo>
                  <a:lnTo>
                    <a:pt x="398" y="427"/>
                  </a:lnTo>
                  <a:lnTo>
                    <a:pt x="396" y="424"/>
                  </a:lnTo>
                  <a:lnTo>
                    <a:pt x="395" y="417"/>
                  </a:lnTo>
                  <a:lnTo>
                    <a:pt x="395" y="410"/>
                  </a:lnTo>
                  <a:lnTo>
                    <a:pt x="395" y="410"/>
                  </a:lnTo>
                  <a:lnTo>
                    <a:pt x="395" y="408"/>
                  </a:lnTo>
                  <a:lnTo>
                    <a:pt x="394" y="406"/>
                  </a:lnTo>
                  <a:lnTo>
                    <a:pt x="390" y="404"/>
                  </a:lnTo>
                  <a:lnTo>
                    <a:pt x="390" y="404"/>
                  </a:lnTo>
                  <a:lnTo>
                    <a:pt x="388" y="400"/>
                  </a:lnTo>
                  <a:lnTo>
                    <a:pt x="388" y="399"/>
                  </a:lnTo>
                  <a:lnTo>
                    <a:pt x="389" y="399"/>
                  </a:lnTo>
                  <a:lnTo>
                    <a:pt x="389" y="399"/>
                  </a:lnTo>
                  <a:lnTo>
                    <a:pt x="394" y="400"/>
                  </a:lnTo>
                  <a:lnTo>
                    <a:pt x="399" y="400"/>
                  </a:lnTo>
                  <a:lnTo>
                    <a:pt x="404" y="399"/>
                  </a:lnTo>
                  <a:lnTo>
                    <a:pt x="404" y="399"/>
                  </a:lnTo>
                  <a:lnTo>
                    <a:pt x="404" y="384"/>
                  </a:lnTo>
                  <a:lnTo>
                    <a:pt x="405" y="377"/>
                  </a:lnTo>
                  <a:lnTo>
                    <a:pt x="404" y="373"/>
                  </a:lnTo>
                  <a:lnTo>
                    <a:pt x="404" y="373"/>
                  </a:lnTo>
                  <a:lnTo>
                    <a:pt x="399" y="373"/>
                  </a:lnTo>
                  <a:lnTo>
                    <a:pt x="394" y="372"/>
                  </a:lnTo>
                  <a:lnTo>
                    <a:pt x="392" y="371"/>
                  </a:lnTo>
                  <a:lnTo>
                    <a:pt x="389" y="369"/>
                  </a:lnTo>
                  <a:lnTo>
                    <a:pt x="389" y="369"/>
                  </a:lnTo>
                  <a:lnTo>
                    <a:pt x="393" y="369"/>
                  </a:lnTo>
                  <a:lnTo>
                    <a:pt x="398" y="369"/>
                  </a:lnTo>
                  <a:lnTo>
                    <a:pt x="401" y="369"/>
                  </a:lnTo>
                  <a:lnTo>
                    <a:pt x="404" y="366"/>
                  </a:lnTo>
                  <a:lnTo>
                    <a:pt x="404" y="366"/>
                  </a:lnTo>
                  <a:lnTo>
                    <a:pt x="404" y="354"/>
                  </a:lnTo>
                  <a:lnTo>
                    <a:pt x="403" y="345"/>
                  </a:lnTo>
                  <a:lnTo>
                    <a:pt x="403" y="343"/>
                  </a:lnTo>
                  <a:lnTo>
                    <a:pt x="401" y="342"/>
                  </a:lnTo>
                  <a:lnTo>
                    <a:pt x="401" y="342"/>
                  </a:lnTo>
                  <a:lnTo>
                    <a:pt x="396" y="343"/>
                  </a:lnTo>
                  <a:lnTo>
                    <a:pt x="393" y="343"/>
                  </a:lnTo>
                  <a:lnTo>
                    <a:pt x="389" y="342"/>
                  </a:lnTo>
                  <a:lnTo>
                    <a:pt x="385" y="341"/>
                  </a:lnTo>
                  <a:lnTo>
                    <a:pt x="385" y="341"/>
                  </a:lnTo>
                  <a:lnTo>
                    <a:pt x="384" y="339"/>
                  </a:lnTo>
                  <a:lnTo>
                    <a:pt x="383" y="337"/>
                  </a:lnTo>
                  <a:lnTo>
                    <a:pt x="383" y="333"/>
                  </a:lnTo>
                  <a:lnTo>
                    <a:pt x="382" y="331"/>
                  </a:lnTo>
                  <a:lnTo>
                    <a:pt x="382" y="330"/>
                  </a:lnTo>
                  <a:lnTo>
                    <a:pt x="381" y="328"/>
                  </a:lnTo>
                  <a:lnTo>
                    <a:pt x="381" y="328"/>
                  </a:lnTo>
                  <a:lnTo>
                    <a:pt x="373" y="326"/>
                  </a:lnTo>
                  <a:lnTo>
                    <a:pt x="366" y="322"/>
                  </a:lnTo>
                  <a:lnTo>
                    <a:pt x="362" y="319"/>
                  </a:lnTo>
                  <a:lnTo>
                    <a:pt x="358" y="316"/>
                  </a:lnTo>
                  <a:lnTo>
                    <a:pt x="358" y="316"/>
                  </a:lnTo>
                  <a:lnTo>
                    <a:pt x="356" y="312"/>
                  </a:lnTo>
                  <a:lnTo>
                    <a:pt x="356" y="309"/>
                  </a:lnTo>
                  <a:lnTo>
                    <a:pt x="356" y="306"/>
                  </a:lnTo>
                  <a:lnTo>
                    <a:pt x="356" y="306"/>
                  </a:lnTo>
                  <a:lnTo>
                    <a:pt x="362" y="309"/>
                  </a:lnTo>
                  <a:lnTo>
                    <a:pt x="365" y="309"/>
                  </a:lnTo>
                  <a:lnTo>
                    <a:pt x="368" y="308"/>
                  </a:lnTo>
                  <a:lnTo>
                    <a:pt x="369" y="288"/>
                  </a:lnTo>
                  <a:lnTo>
                    <a:pt x="369" y="288"/>
                  </a:lnTo>
                  <a:lnTo>
                    <a:pt x="367" y="288"/>
                  </a:lnTo>
                  <a:lnTo>
                    <a:pt x="362" y="287"/>
                  </a:lnTo>
                  <a:lnTo>
                    <a:pt x="362" y="287"/>
                  </a:lnTo>
                  <a:lnTo>
                    <a:pt x="360" y="284"/>
                  </a:lnTo>
                  <a:lnTo>
                    <a:pt x="357" y="282"/>
                  </a:lnTo>
                  <a:lnTo>
                    <a:pt x="356" y="279"/>
                  </a:lnTo>
                  <a:lnTo>
                    <a:pt x="356" y="279"/>
                  </a:lnTo>
                  <a:lnTo>
                    <a:pt x="358" y="281"/>
                  </a:lnTo>
                  <a:lnTo>
                    <a:pt x="363" y="282"/>
                  </a:lnTo>
                  <a:lnTo>
                    <a:pt x="363" y="282"/>
                  </a:lnTo>
                  <a:lnTo>
                    <a:pt x="368" y="282"/>
                  </a:lnTo>
                  <a:lnTo>
                    <a:pt x="371" y="281"/>
                  </a:lnTo>
                  <a:lnTo>
                    <a:pt x="373" y="259"/>
                  </a:lnTo>
                  <a:lnTo>
                    <a:pt x="373" y="259"/>
                  </a:lnTo>
                  <a:lnTo>
                    <a:pt x="369" y="259"/>
                  </a:lnTo>
                  <a:lnTo>
                    <a:pt x="366" y="258"/>
                  </a:lnTo>
                  <a:lnTo>
                    <a:pt x="362" y="256"/>
                  </a:lnTo>
                  <a:lnTo>
                    <a:pt x="361" y="253"/>
                  </a:lnTo>
                  <a:lnTo>
                    <a:pt x="361" y="251"/>
                  </a:lnTo>
                  <a:lnTo>
                    <a:pt x="361" y="251"/>
                  </a:lnTo>
                  <a:lnTo>
                    <a:pt x="369" y="249"/>
                  </a:lnTo>
                  <a:lnTo>
                    <a:pt x="377" y="245"/>
                  </a:lnTo>
                  <a:lnTo>
                    <a:pt x="383" y="240"/>
                  </a:lnTo>
                  <a:lnTo>
                    <a:pt x="388" y="236"/>
                  </a:lnTo>
                  <a:lnTo>
                    <a:pt x="393" y="229"/>
                  </a:lnTo>
                  <a:lnTo>
                    <a:pt x="396" y="222"/>
                  </a:lnTo>
                  <a:lnTo>
                    <a:pt x="400" y="216"/>
                  </a:lnTo>
                  <a:lnTo>
                    <a:pt x="401" y="209"/>
                  </a:lnTo>
                  <a:lnTo>
                    <a:pt x="401" y="209"/>
                  </a:lnTo>
                  <a:lnTo>
                    <a:pt x="407" y="211"/>
                  </a:lnTo>
                  <a:lnTo>
                    <a:pt x="411" y="211"/>
                  </a:lnTo>
                  <a:lnTo>
                    <a:pt x="414" y="211"/>
                  </a:lnTo>
                  <a:lnTo>
                    <a:pt x="414" y="211"/>
                  </a:lnTo>
                  <a:lnTo>
                    <a:pt x="415" y="203"/>
                  </a:lnTo>
                  <a:lnTo>
                    <a:pt x="415" y="193"/>
                  </a:lnTo>
                  <a:lnTo>
                    <a:pt x="415" y="193"/>
                  </a:lnTo>
                  <a:lnTo>
                    <a:pt x="409" y="192"/>
                  </a:lnTo>
                  <a:lnTo>
                    <a:pt x="406" y="190"/>
                  </a:lnTo>
                  <a:lnTo>
                    <a:pt x="404" y="18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</p:grpSp>
      <p:sp>
        <p:nvSpPr>
          <p:cNvPr id="11" name="Alaotsikko 2"/>
          <p:cNvSpPr>
            <a:spLocks noGrp="1"/>
          </p:cNvSpPr>
          <p:nvPr>
            <p:ph type="subTitle" idx="1"/>
          </p:nvPr>
        </p:nvSpPr>
        <p:spPr>
          <a:xfrm>
            <a:off x="911424" y="5419437"/>
            <a:ext cx="7776864" cy="889884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24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/>
              <a:t>Muokkaa alaotsikon perustyyliä napsautt.</a:t>
            </a:r>
            <a:endParaRPr lang="fi-FI" dirty="0"/>
          </a:p>
        </p:txBody>
      </p:sp>
      <p:sp>
        <p:nvSpPr>
          <p:cNvPr id="10" name="Otsikko 1"/>
          <p:cNvSpPr>
            <a:spLocks noGrp="1"/>
          </p:cNvSpPr>
          <p:nvPr>
            <p:ph type="ctrTitle"/>
          </p:nvPr>
        </p:nvSpPr>
        <p:spPr>
          <a:xfrm>
            <a:off x="911424" y="2468894"/>
            <a:ext cx="7776864" cy="2794037"/>
          </a:xfrm>
        </p:spPr>
        <p:txBody>
          <a:bodyPr anchor="b" anchorCtr="0">
            <a:noAutofit/>
          </a:bodyPr>
          <a:lstStyle>
            <a:lvl1pPr algn="l">
              <a:defRPr sz="5333">
                <a:solidFill>
                  <a:schemeClr val="tx2"/>
                </a:solidFill>
              </a:defRPr>
            </a:lvl1pPr>
          </a:lstStyle>
          <a:p>
            <a:r>
              <a:rPr lang="fi-FI"/>
              <a:t>Muokkaa perustyyl. napsautt.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59021177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tsikko ja sisältö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6"/>
          <p:cNvSpPr>
            <a:spLocks/>
          </p:cNvSpPr>
          <p:nvPr userDrawn="1"/>
        </p:nvSpPr>
        <p:spPr bwMode="auto">
          <a:xfrm>
            <a:off x="10634133" y="1"/>
            <a:ext cx="1557867" cy="1756833"/>
          </a:xfrm>
          <a:custGeom>
            <a:avLst/>
            <a:gdLst>
              <a:gd name="T0" fmla="*/ 548 w 736"/>
              <a:gd name="T1" fmla="*/ 713 h 830"/>
              <a:gd name="T2" fmla="*/ 548 w 736"/>
              <a:gd name="T3" fmla="*/ 713 h 830"/>
              <a:gd name="T4" fmla="*/ 594 w 736"/>
              <a:gd name="T5" fmla="*/ 745 h 830"/>
              <a:gd name="T6" fmla="*/ 640 w 736"/>
              <a:gd name="T7" fmla="*/ 775 h 830"/>
              <a:gd name="T8" fmla="*/ 688 w 736"/>
              <a:gd name="T9" fmla="*/ 803 h 830"/>
              <a:gd name="T10" fmla="*/ 736 w 736"/>
              <a:gd name="T11" fmla="*/ 830 h 830"/>
              <a:gd name="T12" fmla="*/ 736 w 736"/>
              <a:gd name="T13" fmla="*/ 0 h 830"/>
              <a:gd name="T14" fmla="*/ 0 w 736"/>
              <a:gd name="T15" fmla="*/ 0 h 830"/>
              <a:gd name="T16" fmla="*/ 0 w 736"/>
              <a:gd name="T17" fmla="*/ 0 h 830"/>
              <a:gd name="T18" fmla="*/ 22 w 736"/>
              <a:gd name="T19" fmla="*/ 55 h 830"/>
              <a:gd name="T20" fmla="*/ 46 w 736"/>
              <a:gd name="T21" fmla="*/ 108 h 830"/>
              <a:gd name="T22" fmla="*/ 72 w 736"/>
              <a:gd name="T23" fmla="*/ 161 h 830"/>
              <a:gd name="T24" fmla="*/ 100 w 736"/>
              <a:gd name="T25" fmla="*/ 211 h 830"/>
              <a:gd name="T26" fmla="*/ 129 w 736"/>
              <a:gd name="T27" fmla="*/ 261 h 830"/>
              <a:gd name="T28" fmla="*/ 160 w 736"/>
              <a:gd name="T29" fmla="*/ 309 h 830"/>
              <a:gd name="T30" fmla="*/ 192 w 736"/>
              <a:gd name="T31" fmla="*/ 357 h 830"/>
              <a:gd name="T32" fmla="*/ 226 w 736"/>
              <a:gd name="T33" fmla="*/ 402 h 830"/>
              <a:gd name="T34" fmla="*/ 262 w 736"/>
              <a:gd name="T35" fmla="*/ 445 h 830"/>
              <a:gd name="T36" fmla="*/ 298 w 736"/>
              <a:gd name="T37" fmla="*/ 488 h 830"/>
              <a:gd name="T38" fmla="*/ 338 w 736"/>
              <a:gd name="T39" fmla="*/ 530 h 830"/>
              <a:gd name="T40" fmla="*/ 377 w 736"/>
              <a:gd name="T41" fmla="*/ 569 h 830"/>
              <a:gd name="T42" fmla="*/ 418 w 736"/>
              <a:gd name="T43" fmla="*/ 607 h 830"/>
              <a:gd name="T44" fmla="*/ 460 w 736"/>
              <a:gd name="T45" fmla="*/ 645 h 830"/>
              <a:gd name="T46" fmla="*/ 503 w 736"/>
              <a:gd name="T47" fmla="*/ 679 h 830"/>
              <a:gd name="T48" fmla="*/ 548 w 736"/>
              <a:gd name="T49" fmla="*/ 713 h 830"/>
              <a:gd name="T50" fmla="*/ 548 w 736"/>
              <a:gd name="T51" fmla="*/ 713 h 8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736" h="830">
                <a:moveTo>
                  <a:pt x="548" y="713"/>
                </a:moveTo>
                <a:lnTo>
                  <a:pt x="548" y="713"/>
                </a:lnTo>
                <a:lnTo>
                  <a:pt x="594" y="745"/>
                </a:lnTo>
                <a:lnTo>
                  <a:pt x="640" y="775"/>
                </a:lnTo>
                <a:lnTo>
                  <a:pt x="688" y="803"/>
                </a:lnTo>
                <a:lnTo>
                  <a:pt x="736" y="830"/>
                </a:lnTo>
                <a:lnTo>
                  <a:pt x="736" y="0"/>
                </a:lnTo>
                <a:lnTo>
                  <a:pt x="0" y="0"/>
                </a:lnTo>
                <a:lnTo>
                  <a:pt x="0" y="0"/>
                </a:lnTo>
                <a:lnTo>
                  <a:pt x="22" y="55"/>
                </a:lnTo>
                <a:lnTo>
                  <a:pt x="46" y="108"/>
                </a:lnTo>
                <a:lnTo>
                  <a:pt x="72" y="161"/>
                </a:lnTo>
                <a:lnTo>
                  <a:pt x="100" y="211"/>
                </a:lnTo>
                <a:lnTo>
                  <a:pt x="129" y="261"/>
                </a:lnTo>
                <a:lnTo>
                  <a:pt x="160" y="309"/>
                </a:lnTo>
                <a:lnTo>
                  <a:pt x="192" y="357"/>
                </a:lnTo>
                <a:lnTo>
                  <a:pt x="226" y="402"/>
                </a:lnTo>
                <a:lnTo>
                  <a:pt x="262" y="445"/>
                </a:lnTo>
                <a:lnTo>
                  <a:pt x="298" y="488"/>
                </a:lnTo>
                <a:lnTo>
                  <a:pt x="338" y="530"/>
                </a:lnTo>
                <a:lnTo>
                  <a:pt x="377" y="569"/>
                </a:lnTo>
                <a:lnTo>
                  <a:pt x="418" y="607"/>
                </a:lnTo>
                <a:lnTo>
                  <a:pt x="460" y="645"/>
                </a:lnTo>
                <a:lnTo>
                  <a:pt x="503" y="679"/>
                </a:lnTo>
                <a:lnTo>
                  <a:pt x="548" y="713"/>
                </a:lnTo>
                <a:lnTo>
                  <a:pt x="548" y="713"/>
                </a:ln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fi-FI" sz="2400"/>
          </a:p>
        </p:txBody>
      </p:sp>
      <p:sp>
        <p:nvSpPr>
          <p:cNvPr id="13" name="Alatunnisteen paikkamerkki 4"/>
          <p:cNvSpPr>
            <a:spLocks noGrp="1"/>
          </p:cNvSpPr>
          <p:nvPr userDrawn="1">
            <p:ph type="ftr" sz="quarter" idx="11"/>
          </p:nvPr>
        </p:nvSpPr>
        <p:spPr>
          <a:xfrm>
            <a:off x="1583499" y="6497452"/>
            <a:ext cx="3648405" cy="258163"/>
          </a:xfrm>
          <a:prstGeom prst="rect">
            <a:avLst/>
          </a:prstGeom>
        </p:spPr>
        <p:txBody>
          <a:bodyPr/>
          <a:lstStyle>
            <a:lvl1pPr algn="l">
              <a:defRPr sz="106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fi-FI"/>
              <a:t>Petra Kokko</a:t>
            </a:r>
            <a:endParaRPr lang="fi-FI" dirty="0"/>
          </a:p>
        </p:txBody>
      </p:sp>
      <p:sp>
        <p:nvSpPr>
          <p:cNvPr id="17" name="Päivämäärän paikkamerkki 3"/>
          <p:cNvSpPr>
            <a:spLocks noGrp="1"/>
          </p:cNvSpPr>
          <p:nvPr userDrawn="1">
            <p:ph type="dt" sz="half" idx="2"/>
          </p:nvPr>
        </p:nvSpPr>
        <p:spPr>
          <a:xfrm>
            <a:off x="577047" y="6497452"/>
            <a:ext cx="911424" cy="26813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67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fi-FI"/>
              <a:t>19.5.2021</a:t>
            </a:r>
            <a:endParaRPr lang="fi-FI" dirty="0"/>
          </a:p>
        </p:txBody>
      </p:sp>
      <p:sp>
        <p:nvSpPr>
          <p:cNvPr id="11" name="Dian numeron paikkamerkki 5"/>
          <p:cNvSpPr>
            <a:spLocks noGrp="1"/>
          </p:cNvSpPr>
          <p:nvPr>
            <p:ph type="sldNum" sz="quarter" idx="12"/>
          </p:nvPr>
        </p:nvSpPr>
        <p:spPr>
          <a:xfrm>
            <a:off x="-1" y="6497453"/>
            <a:ext cx="538948" cy="268137"/>
          </a:xfrm>
          <a:prstGeom prst="rect">
            <a:avLst/>
          </a:prstGeom>
        </p:spPr>
        <p:txBody>
          <a:bodyPr rIns="18000" anchor="ctr"/>
          <a:lstStyle>
            <a:lvl1pPr algn="r">
              <a:defRPr sz="1067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1EA1DD0D-7089-48C5-B116-A19F892CF1D9}" type="slidenum">
              <a:rPr lang="fi-FI" smtClean="0"/>
              <a:pPr/>
              <a:t>‹#›</a:t>
            </a:fld>
            <a:r>
              <a:rPr lang="fi-FI" dirty="0"/>
              <a:t>  </a:t>
            </a:r>
            <a:r>
              <a:rPr lang="fi-FI" b="0" dirty="0">
                <a:solidFill>
                  <a:schemeClr val="bg1">
                    <a:lumMod val="65000"/>
                  </a:schemeClr>
                </a:solidFill>
              </a:rPr>
              <a:t>|</a:t>
            </a:r>
            <a:endParaRPr lang="fi-FI" sz="800" b="0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2" name="Group 4"/>
          <p:cNvGrpSpPr>
            <a:grpSpLocks noChangeAspect="1"/>
          </p:cNvGrpSpPr>
          <p:nvPr userDrawn="1"/>
        </p:nvGrpSpPr>
        <p:grpSpPr bwMode="auto">
          <a:xfrm>
            <a:off x="11472334" y="313267"/>
            <a:ext cx="408517" cy="558800"/>
            <a:chOff x="5420" y="148"/>
            <a:chExt cx="193" cy="264"/>
          </a:xfrm>
        </p:grpSpPr>
        <p:sp>
          <p:nvSpPr>
            <p:cNvPr id="4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5420" y="148"/>
              <a:ext cx="193" cy="2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5" name="Freeform 5"/>
            <p:cNvSpPr>
              <a:spLocks noEditPoints="1"/>
            </p:cNvSpPr>
            <p:nvPr userDrawn="1"/>
          </p:nvSpPr>
          <p:spPr bwMode="auto">
            <a:xfrm>
              <a:off x="5419" y="148"/>
              <a:ext cx="195" cy="266"/>
            </a:xfrm>
            <a:custGeom>
              <a:avLst/>
              <a:gdLst>
                <a:gd name="T0" fmla="*/ 147 w 200"/>
                <a:gd name="T1" fmla="*/ 251 h 275"/>
                <a:gd name="T2" fmla="*/ 129 w 200"/>
                <a:gd name="T3" fmla="*/ 152 h 275"/>
                <a:gd name="T4" fmla="*/ 90 w 200"/>
                <a:gd name="T5" fmla="*/ 172 h 275"/>
                <a:gd name="T6" fmla="*/ 49 w 200"/>
                <a:gd name="T7" fmla="*/ 189 h 275"/>
                <a:gd name="T8" fmla="*/ 39 w 200"/>
                <a:gd name="T9" fmla="*/ 201 h 275"/>
                <a:gd name="T10" fmla="*/ 49 w 200"/>
                <a:gd name="T11" fmla="*/ 213 h 275"/>
                <a:gd name="T12" fmla="*/ 59 w 200"/>
                <a:gd name="T13" fmla="*/ 217 h 275"/>
                <a:gd name="T14" fmla="*/ 75 w 200"/>
                <a:gd name="T15" fmla="*/ 216 h 275"/>
                <a:gd name="T16" fmla="*/ 104 w 200"/>
                <a:gd name="T17" fmla="*/ 206 h 275"/>
                <a:gd name="T18" fmla="*/ 113 w 200"/>
                <a:gd name="T19" fmla="*/ 180 h 275"/>
                <a:gd name="T20" fmla="*/ 20 w 200"/>
                <a:gd name="T21" fmla="*/ 235 h 275"/>
                <a:gd name="T22" fmla="*/ 51 w 200"/>
                <a:gd name="T23" fmla="*/ 266 h 275"/>
                <a:gd name="T24" fmla="*/ 54 w 200"/>
                <a:gd name="T25" fmla="*/ 227 h 275"/>
                <a:gd name="T26" fmla="*/ 27 w 200"/>
                <a:gd name="T27" fmla="*/ 224 h 275"/>
                <a:gd name="T28" fmla="*/ 13 w 200"/>
                <a:gd name="T29" fmla="*/ 236 h 275"/>
                <a:gd name="T30" fmla="*/ 44 w 200"/>
                <a:gd name="T31" fmla="*/ 31 h 275"/>
                <a:gd name="T32" fmla="*/ 36 w 200"/>
                <a:gd name="T33" fmla="*/ 23 h 275"/>
                <a:gd name="T34" fmla="*/ 27 w 200"/>
                <a:gd name="T35" fmla="*/ 22 h 275"/>
                <a:gd name="T36" fmla="*/ 33 w 200"/>
                <a:gd name="T37" fmla="*/ 37 h 275"/>
                <a:gd name="T38" fmla="*/ 42 w 200"/>
                <a:gd name="T39" fmla="*/ 36 h 275"/>
                <a:gd name="T40" fmla="*/ 29 w 200"/>
                <a:gd name="T41" fmla="*/ 45 h 275"/>
                <a:gd name="T42" fmla="*/ 31 w 200"/>
                <a:gd name="T43" fmla="*/ 56 h 275"/>
                <a:gd name="T44" fmla="*/ 45 w 200"/>
                <a:gd name="T45" fmla="*/ 83 h 275"/>
                <a:gd name="T46" fmla="*/ 56 w 200"/>
                <a:gd name="T47" fmla="*/ 87 h 275"/>
                <a:gd name="T48" fmla="*/ 53 w 200"/>
                <a:gd name="T49" fmla="*/ 28 h 275"/>
                <a:gd name="T50" fmla="*/ 58 w 200"/>
                <a:gd name="T51" fmla="*/ 46 h 275"/>
                <a:gd name="T52" fmla="*/ 80 w 200"/>
                <a:gd name="T53" fmla="*/ 26 h 275"/>
                <a:gd name="T54" fmla="*/ 125 w 200"/>
                <a:gd name="T55" fmla="*/ 38 h 275"/>
                <a:gd name="T56" fmla="*/ 121 w 200"/>
                <a:gd name="T57" fmla="*/ 26 h 275"/>
                <a:gd name="T58" fmla="*/ 113 w 200"/>
                <a:gd name="T59" fmla="*/ 10 h 275"/>
                <a:gd name="T60" fmla="*/ 96 w 200"/>
                <a:gd name="T61" fmla="*/ 14 h 275"/>
                <a:gd name="T62" fmla="*/ 114 w 200"/>
                <a:gd name="T63" fmla="*/ 26 h 275"/>
                <a:gd name="T64" fmla="*/ 180 w 200"/>
                <a:gd name="T65" fmla="*/ 35 h 275"/>
                <a:gd name="T66" fmla="*/ 166 w 200"/>
                <a:gd name="T67" fmla="*/ 57 h 275"/>
                <a:gd name="T68" fmla="*/ 168 w 200"/>
                <a:gd name="T69" fmla="*/ 86 h 275"/>
                <a:gd name="T70" fmla="*/ 200 w 200"/>
                <a:gd name="T71" fmla="*/ 116 h 275"/>
                <a:gd name="T72" fmla="*/ 143 w 200"/>
                <a:gd name="T73" fmla="*/ 71 h 275"/>
                <a:gd name="T74" fmla="*/ 160 w 200"/>
                <a:gd name="T75" fmla="*/ 118 h 275"/>
                <a:gd name="T76" fmla="*/ 172 w 200"/>
                <a:gd name="T77" fmla="*/ 138 h 275"/>
                <a:gd name="T78" fmla="*/ 125 w 200"/>
                <a:gd name="T79" fmla="*/ 104 h 275"/>
                <a:gd name="T80" fmla="*/ 135 w 200"/>
                <a:gd name="T81" fmla="*/ 85 h 275"/>
                <a:gd name="T82" fmla="*/ 123 w 200"/>
                <a:gd name="T83" fmla="*/ 46 h 275"/>
                <a:gd name="T84" fmla="*/ 79 w 200"/>
                <a:gd name="T85" fmla="*/ 39 h 275"/>
                <a:gd name="T86" fmla="*/ 76 w 200"/>
                <a:gd name="T87" fmla="*/ 58 h 275"/>
                <a:gd name="T88" fmla="*/ 95 w 200"/>
                <a:gd name="T89" fmla="*/ 61 h 275"/>
                <a:gd name="T90" fmla="*/ 75 w 200"/>
                <a:gd name="T91" fmla="*/ 65 h 275"/>
                <a:gd name="T92" fmla="*/ 76 w 200"/>
                <a:gd name="T93" fmla="*/ 75 h 275"/>
                <a:gd name="T94" fmla="*/ 36 w 200"/>
                <a:gd name="T95" fmla="*/ 117 h 275"/>
                <a:gd name="T96" fmla="*/ 21 w 200"/>
                <a:gd name="T97" fmla="*/ 119 h 275"/>
                <a:gd name="T98" fmla="*/ 5 w 200"/>
                <a:gd name="T99" fmla="*/ 124 h 275"/>
                <a:gd name="T100" fmla="*/ 14 w 200"/>
                <a:gd name="T101" fmla="*/ 138 h 275"/>
                <a:gd name="T102" fmla="*/ 31 w 200"/>
                <a:gd name="T103" fmla="*/ 143 h 275"/>
                <a:gd name="T104" fmla="*/ 65 w 200"/>
                <a:gd name="T105" fmla="*/ 130 h 275"/>
                <a:gd name="T106" fmla="*/ 126 w 200"/>
                <a:gd name="T107" fmla="*/ 143 h 275"/>
                <a:gd name="T108" fmla="*/ 151 w 200"/>
                <a:gd name="T109" fmla="*/ 193 h 275"/>
                <a:gd name="T110" fmla="*/ 154 w 200"/>
                <a:gd name="T111" fmla="*/ 228 h 275"/>
                <a:gd name="T112" fmla="*/ 155 w 200"/>
                <a:gd name="T113" fmla="*/ 241 h 275"/>
                <a:gd name="T114" fmla="*/ 172 w 200"/>
                <a:gd name="T115" fmla="*/ 243 h 275"/>
                <a:gd name="T116" fmla="*/ 174 w 200"/>
                <a:gd name="T117" fmla="*/ 255 h 275"/>
                <a:gd name="T118" fmla="*/ 192 w 200"/>
                <a:gd name="T119" fmla="*/ 241 h 275"/>
                <a:gd name="T120" fmla="*/ 187 w 200"/>
                <a:gd name="T121" fmla="*/ 205 h 275"/>
                <a:gd name="T122" fmla="*/ 177 w 200"/>
                <a:gd name="T123" fmla="*/ 175 h 275"/>
                <a:gd name="T124" fmla="*/ 174 w 200"/>
                <a:gd name="T125" fmla="*/ 148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0" h="275">
                  <a:moveTo>
                    <a:pt x="54" y="255"/>
                  </a:moveTo>
                  <a:cubicBezTo>
                    <a:pt x="60" y="258"/>
                    <a:pt x="63" y="260"/>
                    <a:pt x="67" y="262"/>
                  </a:cubicBezTo>
                  <a:cubicBezTo>
                    <a:pt x="77" y="267"/>
                    <a:pt x="99" y="275"/>
                    <a:pt x="128" y="272"/>
                  </a:cubicBezTo>
                  <a:cubicBezTo>
                    <a:pt x="152" y="270"/>
                    <a:pt x="165" y="262"/>
                    <a:pt x="167" y="260"/>
                  </a:cubicBezTo>
                  <a:cubicBezTo>
                    <a:pt x="163" y="259"/>
                    <a:pt x="160" y="257"/>
                    <a:pt x="156" y="254"/>
                  </a:cubicBezTo>
                  <a:cubicBezTo>
                    <a:pt x="156" y="254"/>
                    <a:pt x="156" y="255"/>
                    <a:pt x="156" y="256"/>
                  </a:cubicBezTo>
                  <a:cubicBezTo>
                    <a:pt x="156" y="258"/>
                    <a:pt x="155" y="260"/>
                    <a:pt x="155" y="260"/>
                  </a:cubicBezTo>
                  <a:cubicBezTo>
                    <a:pt x="155" y="260"/>
                    <a:pt x="155" y="260"/>
                    <a:pt x="155" y="260"/>
                  </a:cubicBezTo>
                  <a:cubicBezTo>
                    <a:pt x="155" y="260"/>
                    <a:pt x="155" y="260"/>
                    <a:pt x="155" y="260"/>
                  </a:cubicBezTo>
                  <a:cubicBezTo>
                    <a:pt x="155" y="260"/>
                    <a:pt x="154" y="260"/>
                    <a:pt x="153" y="259"/>
                  </a:cubicBezTo>
                  <a:cubicBezTo>
                    <a:pt x="151" y="258"/>
                    <a:pt x="147" y="255"/>
                    <a:pt x="147" y="251"/>
                  </a:cubicBezTo>
                  <a:cubicBezTo>
                    <a:pt x="147" y="251"/>
                    <a:pt x="147" y="251"/>
                    <a:pt x="147" y="250"/>
                  </a:cubicBezTo>
                  <a:cubicBezTo>
                    <a:pt x="142" y="253"/>
                    <a:pt x="131" y="256"/>
                    <a:pt x="121" y="256"/>
                  </a:cubicBezTo>
                  <a:cubicBezTo>
                    <a:pt x="100" y="257"/>
                    <a:pt x="81" y="253"/>
                    <a:pt x="64" y="246"/>
                  </a:cubicBezTo>
                  <a:cubicBezTo>
                    <a:pt x="62" y="245"/>
                    <a:pt x="60" y="244"/>
                    <a:pt x="59" y="243"/>
                  </a:cubicBezTo>
                  <a:cubicBezTo>
                    <a:pt x="59" y="244"/>
                    <a:pt x="59" y="247"/>
                    <a:pt x="63" y="251"/>
                  </a:cubicBezTo>
                  <a:cubicBezTo>
                    <a:pt x="63" y="251"/>
                    <a:pt x="63" y="251"/>
                    <a:pt x="63" y="252"/>
                  </a:cubicBezTo>
                  <a:cubicBezTo>
                    <a:pt x="63" y="252"/>
                    <a:pt x="63" y="252"/>
                    <a:pt x="63" y="252"/>
                  </a:cubicBezTo>
                  <a:cubicBezTo>
                    <a:pt x="61" y="251"/>
                    <a:pt x="59" y="251"/>
                    <a:pt x="57" y="252"/>
                  </a:cubicBezTo>
                  <a:cubicBezTo>
                    <a:pt x="56" y="253"/>
                    <a:pt x="55" y="254"/>
                    <a:pt x="54" y="255"/>
                  </a:cubicBezTo>
                  <a:moveTo>
                    <a:pt x="129" y="152"/>
                  </a:moveTo>
                  <a:cubicBezTo>
                    <a:pt x="129" y="152"/>
                    <a:pt x="129" y="152"/>
                    <a:pt x="129" y="152"/>
                  </a:cubicBezTo>
                  <a:cubicBezTo>
                    <a:pt x="129" y="152"/>
                    <a:pt x="129" y="152"/>
                    <a:pt x="129" y="152"/>
                  </a:cubicBezTo>
                  <a:cubicBezTo>
                    <a:pt x="131" y="150"/>
                    <a:pt x="133" y="149"/>
                    <a:pt x="133" y="149"/>
                  </a:cubicBezTo>
                  <a:cubicBezTo>
                    <a:pt x="131" y="148"/>
                    <a:pt x="130" y="148"/>
                    <a:pt x="130" y="148"/>
                  </a:cubicBezTo>
                  <a:cubicBezTo>
                    <a:pt x="117" y="153"/>
                    <a:pt x="104" y="160"/>
                    <a:pt x="96" y="165"/>
                  </a:cubicBezTo>
                  <a:cubicBezTo>
                    <a:pt x="96" y="165"/>
                    <a:pt x="96" y="165"/>
                    <a:pt x="96" y="165"/>
                  </a:cubicBezTo>
                  <a:cubicBezTo>
                    <a:pt x="94" y="167"/>
                    <a:pt x="92" y="167"/>
                    <a:pt x="89" y="166"/>
                  </a:cubicBezTo>
                  <a:cubicBezTo>
                    <a:pt x="87" y="166"/>
                    <a:pt x="86" y="165"/>
                    <a:pt x="85" y="165"/>
                  </a:cubicBezTo>
                  <a:cubicBezTo>
                    <a:pt x="84" y="170"/>
                    <a:pt x="84" y="170"/>
                    <a:pt x="84" y="170"/>
                  </a:cubicBezTo>
                  <a:cubicBezTo>
                    <a:pt x="87" y="171"/>
                    <a:pt x="88" y="172"/>
                    <a:pt x="90" y="172"/>
                  </a:cubicBezTo>
                  <a:cubicBezTo>
                    <a:pt x="90" y="172"/>
                    <a:pt x="90" y="172"/>
                    <a:pt x="90" y="172"/>
                  </a:cubicBezTo>
                  <a:cubicBezTo>
                    <a:pt x="90" y="172"/>
                    <a:pt x="90" y="172"/>
                    <a:pt x="90" y="172"/>
                  </a:cubicBezTo>
                  <a:cubicBezTo>
                    <a:pt x="88" y="173"/>
                    <a:pt x="85" y="173"/>
                    <a:pt x="84" y="175"/>
                  </a:cubicBezTo>
                  <a:cubicBezTo>
                    <a:pt x="86" y="179"/>
                    <a:pt x="86" y="179"/>
                    <a:pt x="86" y="179"/>
                  </a:cubicBezTo>
                  <a:cubicBezTo>
                    <a:pt x="86" y="179"/>
                    <a:pt x="89" y="177"/>
                    <a:pt x="93" y="177"/>
                  </a:cubicBezTo>
                  <a:cubicBezTo>
                    <a:pt x="93" y="177"/>
                    <a:pt x="93" y="177"/>
                    <a:pt x="93" y="177"/>
                  </a:cubicBezTo>
                  <a:cubicBezTo>
                    <a:pt x="93" y="177"/>
                    <a:pt x="93" y="178"/>
                    <a:pt x="93" y="178"/>
                  </a:cubicBezTo>
                  <a:cubicBezTo>
                    <a:pt x="94" y="184"/>
                    <a:pt x="84" y="192"/>
                    <a:pt x="76" y="196"/>
                  </a:cubicBezTo>
                  <a:cubicBezTo>
                    <a:pt x="68" y="199"/>
                    <a:pt x="61" y="199"/>
                    <a:pt x="60" y="198"/>
                  </a:cubicBezTo>
                  <a:cubicBezTo>
                    <a:pt x="57" y="196"/>
                    <a:pt x="55" y="194"/>
                    <a:pt x="54" y="192"/>
                  </a:cubicBezTo>
                  <a:cubicBezTo>
                    <a:pt x="53" y="190"/>
                    <a:pt x="52" y="189"/>
                    <a:pt x="51" y="189"/>
                  </a:cubicBezTo>
                  <a:cubicBezTo>
                    <a:pt x="51" y="189"/>
                    <a:pt x="51" y="189"/>
                    <a:pt x="50" y="189"/>
                  </a:cubicBezTo>
                  <a:cubicBezTo>
                    <a:pt x="50" y="189"/>
                    <a:pt x="49" y="190"/>
                    <a:pt x="49" y="189"/>
                  </a:cubicBezTo>
                  <a:cubicBezTo>
                    <a:pt x="45" y="189"/>
                    <a:pt x="40" y="189"/>
                    <a:pt x="38" y="192"/>
                  </a:cubicBezTo>
                  <a:cubicBezTo>
                    <a:pt x="40" y="192"/>
                    <a:pt x="44" y="192"/>
                    <a:pt x="45" y="193"/>
                  </a:cubicBezTo>
                  <a:cubicBezTo>
                    <a:pt x="45" y="194"/>
                    <a:pt x="45" y="194"/>
                    <a:pt x="44" y="195"/>
                  </a:cubicBezTo>
                  <a:cubicBezTo>
                    <a:pt x="43" y="195"/>
                    <a:pt x="43" y="195"/>
                    <a:pt x="43" y="196"/>
                  </a:cubicBezTo>
                  <a:cubicBezTo>
                    <a:pt x="43" y="197"/>
                    <a:pt x="48" y="200"/>
                    <a:pt x="51" y="201"/>
                  </a:cubicBezTo>
                  <a:cubicBezTo>
                    <a:pt x="52" y="202"/>
                    <a:pt x="53" y="202"/>
                    <a:pt x="53" y="203"/>
                  </a:cubicBezTo>
                  <a:cubicBezTo>
                    <a:pt x="53" y="203"/>
                    <a:pt x="54" y="203"/>
                    <a:pt x="54" y="204"/>
                  </a:cubicBezTo>
                  <a:cubicBezTo>
                    <a:pt x="54" y="204"/>
                    <a:pt x="53" y="204"/>
                    <a:pt x="53" y="204"/>
                  </a:cubicBezTo>
                  <a:cubicBezTo>
                    <a:pt x="52" y="204"/>
                    <a:pt x="49" y="203"/>
                    <a:pt x="46" y="202"/>
                  </a:cubicBezTo>
                  <a:cubicBezTo>
                    <a:pt x="44" y="201"/>
                    <a:pt x="43" y="201"/>
                    <a:pt x="41" y="200"/>
                  </a:cubicBezTo>
                  <a:cubicBezTo>
                    <a:pt x="40" y="200"/>
                    <a:pt x="39" y="200"/>
                    <a:pt x="39" y="201"/>
                  </a:cubicBezTo>
                  <a:cubicBezTo>
                    <a:pt x="39" y="201"/>
                    <a:pt x="38" y="201"/>
                    <a:pt x="38" y="201"/>
                  </a:cubicBezTo>
                  <a:cubicBezTo>
                    <a:pt x="36" y="201"/>
                    <a:pt x="32" y="202"/>
                    <a:pt x="30" y="205"/>
                  </a:cubicBezTo>
                  <a:cubicBezTo>
                    <a:pt x="29" y="207"/>
                    <a:pt x="29" y="208"/>
                    <a:pt x="30" y="210"/>
                  </a:cubicBezTo>
                  <a:cubicBezTo>
                    <a:pt x="30" y="209"/>
                    <a:pt x="33" y="206"/>
                    <a:pt x="36" y="206"/>
                  </a:cubicBezTo>
                  <a:cubicBezTo>
                    <a:pt x="36" y="207"/>
                    <a:pt x="36" y="207"/>
                    <a:pt x="36" y="208"/>
                  </a:cubicBezTo>
                  <a:cubicBezTo>
                    <a:pt x="36" y="209"/>
                    <a:pt x="36" y="211"/>
                    <a:pt x="37" y="212"/>
                  </a:cubicBezTo>
                  <a:cubicBezTo>
                    <a:pt x="39" y="213"/>
                    <a:pt x="43" y="212"/>
                    <a:pt x="46" y="212"/>
                  </a:cubicBezTo>
                  <a:cubicBezTo>
                    <a:pt x="48" y="211"/>
                    <a:pt x="50" y="211"/>
                    <a:pt x="51" y="211"/>
                  </a:cubicBezTo>
                  <a:cubicBezTo>
                    <a:pt x="52" y="211"/>
                    <a:pt x="53" y="211"/>
                    <a:pt x="54" y="211"/>
                  </a:cubicBezTo>
                  <a:cubicBezTo>
                    <a:pt x="54" y="212"/>
                    <a:pt x="54" y="212"/>
                    <a:pt x="54" y="212"/>
                  </a:cubicBezTo>
                  <a:cubicBezTo>
                    <a:pt x="54" y="212"/>
                    <a:pt x="52" y="213"/>
                    <a:pt x="49" y="213"/>
                  </a:cubicBezTo>
                  <a:cubicBezTo>
                    <a:pt x="46" y="214"/>
                    <a:pt x="41" y="214"/>
                    <a:pt x="41" y="216"/>
                  </a:cubicBezTo>
                  <a:cubicBezTo>
                    <a:pt x="41" y="216"/>
                    <a:pt x="41" y="216"/>
                    <a:pt x="41" y="217"/>
                  </a:cubicBezTo>
                  <a:cubicBezTo>
                    <a:pt x="41" y="218"/>
                    <a:pt x="41" y="218"/>
                    <a:pt x="40" y="219"/>
                  </a:cubicBezTo>
                  <a:cubicBezTo>
                    <a:pt x="39" y="220"/>
                    <a:pt x="38" y="221"/>
                    <a:pt x="38" y="224"/>
                  </a:cubicBezTo>
                  <a:cubicBezTo>
                    <a:pt x="38" y="227"/>
                    <a:pt x="41" y="230"/>
                    <a:pt x="42" y="230"/>
                  </a:cubicBezTo>
                  <a:cubicBezTo>
                    <a:pt x="42" y="230"/>
                    <a:pt x="42" y="229"/>
                    <a:pt x="42" y="229"/>
                  </a:cubicBezTo>
                  <a:cubicBezTo>
                    <a:pt x="42" y="227"/>
                    <a:pt x="41" y="225"/>
                    <a:pt x="43" y="224"/>
                  </a:cubicBezTo>
                  <a:cubicBezTo>
                    <a:pt x="43" y="224"/>
                    <a:pt x="44" y="224"/>
                    <a:pt x="44" y="225"/>
                  </a:cubicBezTo>
                  <a:cubicBezTo>
                    <a:pt x="45" y="226"/>
                    <a:pt x="46" y="226"/>
                    <a:pt x="47" y="226"/>
                  </a:cubicBezTo>
                  <a:cubicBezTo>
                    <a:pt x="49" y="227"/>
                    <a:pt x="50" y="225"/>
                    <a:pt x="52" y="223"/>
                  </a:cubicBezTo>
                  <a:cubicBezTo>
                    <a:pt x="54" y="221"/>
                    <a:pt x="56" y="219"/>
                    <a:pt x="59" y="217"/>
                  </a:cubicBezTo>
                  <a:cubicBezTo>
                    <a:pt x="63" y="215"/>
                    <a:pt x="64" y="215"/>
                    <a:pt x="64" y="216"/>
                  </a:cubicBezTo>
                  <a:cubicBezTo>
                    <a:pt x="65" y="216"/>
                    <a:pt x="64" y="217"/>
                    <a:pt x="64" y="217"/>
                  </a:cubicBezTo>
                  <a:cubicBezTo>
                    <a:pt x="64" y="218"/>
                    <a:pt x="64" y="219"/>
                    <a:pt x="64" y="219"/>
                  </a:cubicBezTo>
                  <a:cubicBezTo>
                    <a:pt x="64" y="220"/>
                    <a:pt x="64" y="220"/>
                    <a:pt x="65" y="220"/>
                  </a:cubicBezTo>
                  <a:cubicBezTo>
                    <a:pt x="66" y="220"/>
                    <a:pt x="67" y="221"/>
                    <a:pt x="67" y="222"/>
                  </a:cubicBezTo>
                  <a:cubicBezTo>
                    <a:pt x="68" y="224"/>
                    <a:pt x="65" y="226"/>
                    <a:pt x="64" y="226"/>
                  </a:cubicBezTo>
                  <a:cubicBezTo>
                    <a:pt x="65" y="227"/>
                    <a:pt x="66" y="227"/>
                    <a:pt x="67" y="226"/>
                  </a:cubicBezTo>
                  <a:cubicBezTo>
                    <a:pt x="69" y="226"/>
                    <a:pt x="71" y="224"/>
                    <a:pt x="72" y="221"/>
                  </a:cubicBezTo>
                  <a:cubicBezTo>
                    <a:pt x="73" y="220"/>
                    <a:pt x="73" y="219"/>
                    <a:pt x="74" y="219"/>
                  </a:cubicBezTo>
                  <a:cubicBezTo>
                    <a:pt x="74" y="219"/>
                    <a:pt x="75" y="219"/>
                    <a:pt x="75" y="218"/>
                  </a:cubicBezTo>
                  <a:cubicBezTo>
                    <a:pt x="75" y="218"/>
                    <a:pt x="75" y="217"/>
                    <a:pt x="75" y="216"/>
                  </a:cubicBezTo>
                  <a:cubicBezTo>
                    <a:pt x="75" y="216"/>
                    <a:pt x="75" y="215"/>
                    <a:pt x="76" y="214"/>
                  </a:cubicBezTo>
                  <a:cubicBezTo>
                    <a:pt x="76" y="213"/>
                    <a:pt x="78" y="212"/>
                    <a:pt x="80" y="212"/>
                  </a:cubicBezTo>
                  <a:cubicBezTo>
                    <a:pt x="82" y="212"/>
                    <a:pt x="83" y="211"/>
                    <a:pt x="83" y="210"/>
                  </a:cubicBezTo>
                  <a:cubicBezTo>
                    <a:pt x="82" y="207"/>
                    <a:pt x="85" y="206"/>
                    <a:pt x="87" y="205"/>
                  </a:cubicBezTo>
                  <a:cubicBezTo>
                    <a:pt x="87" y="205"/>
                    <a:pt x="87" y="205"/>
                    <a:pt x="87" y="205"/>
                  </a:cubicBezTo>
                  <a:cubicBezTo>
                    <a:pt x="87" y="205"/>
                    <a:pt x="87" y="205"/>
                    <a:pt x="88" y="206"/>
                  </a:cubicBezTo>
                  <a:cubicBezTo>
                    <a:pt x="88" y="207"/>
                    <a:pt x="89" y="210"/>
                    <a:pt x="94" y="212"/>
                  </a:cubicBezTo>
                  <a:cubicBezTo>
                    <a:pt x="94" y="211"/>
                    <a:pt x="95" y="211"/>
                    <a:pt x="95" y="211"/>
                  </a:cubicBezTo>
                  <a:cubicBezTo>
                    <a:pt x="97" y="210"/>
                    <a:pt x="98" y="210"/>
                    <a:pt x="101" y="208"/>
                  </a:cubicBezTo>
                  <a:cubicBezTo>
                    <a:pt x="102" y="207"/>
                    <a:pt x="104" y="207"/>
                    <a:pt x="105" y="206"/>
                  </a:cubicBezTo>
                  <a:cubicBezTo>
                    <a:pt x="105" y="206"/>
                    <a:pt x="105" y="206"/>
                    <a:pt x="104" y="206"/>
                  </a:cubicBezTo>
                  <a:cubicBezTo>
                    <a:pt x="104" y="205"/>
                    <a:pt x="102" y="203"/>
                    <a:pt x="101" y="201"/>
                  </a:cubicBezTo>
                  <a:cubicBezTo>
                    <a:pt x="101" y="200"/>
                    <a:pt x="101" y="199"/>
                    <a:pt x="101" y="198"/>
                  </a:cubicBezTo>
                  <a:cubicBezTo>
                    <a:pt x="101" y="198"/>
                    <a:pt x="101" y="198"/>
                    <a:pt x="101" y="198"/>
                  </a:cubicBezTo>
                  <a:cubicBezTo>
                    <a:pt x="101" y="199"/>
                    <a:pt x="104" y="202"/>
                    <a:pt x="108" y="204"/>
                  </a:cubicBezTo>
                  <a:cubicBezTo>
                    <a:pt x="111" y="202"/>
                    <a:pt x="114" y="201"/>
                    <a:pt x="117" y="199"/>
                  </a:cubicBezTo>
                  <a:cubicBezTo>
                    <a:pt x="117" y="199"/>
                    <a:pt x="118" y="198"/>
                    <a:pt x="118" y="198"/>
                  </a:cubicBezTo>
                  <a:cubicBezTo>
                    <a:pt x="118" y="198"/>
                    <a:pt x="117" y="197"/>
                    <a:pt x="117" y="196"/>
                  </a:cubicBezTo>
                  <a:cubicBezTo>
                    <a:pt x="115" y="195"/>
                    <a:pt x="113" y="193"/>
                    <a:pt x="113" y="192"/>
                  </a:cubicBezTo>
                  <a:cubicBezTo>
                    <a:pt x="113" y="191"/>
                    <a:pt x="114" y="191"/>
                    <a:pt x="114" y="191"/>
                  </a:cubicBezTo>
                  <a:cubicBezTo>
                    <a:pt x="115" y="190"/>
                    <a:pt x="115" y="188"/>
                    <a:pt x="114" y="186"/>
                  </a:cubicBezTo>
                  <a:cubicBezTo>
                    <a:pt x="113" y="184"/>
                    <a:pt x="111" y="181"/>
                    <a:pt x="113" y="180"/>
                  </a:cubicBezTo>
                  <a:cubicBezTo>
                    <a:pt x="120" y="176"/>
                    <a:pt x="127" y="173"/>
                    <a:pt x="134" y="170"/>
                  </a:cubicBezTo>
                  <a:cubicBezTo>
                    <a:pt x="138" y="168"/>
                    <a:pt x="141" y="166"/>
                    <a:pt x="144" y="165"/>
                  </a:cubicBezTo>
                  <a:cubicBezTo>
                    <a:pt x="144" y="164"/>
                    <a:pt x="143" y="161"/>
                    <a:pt x="140" y="158"/>
                  </a:cubicBezTo>
                  <a:cubicBezTo>
                    <a:pt x="137" y="156"/>
                    <a:pt x="134" y="154"/>
                    <a:pt x="131" y="153"/>
                  </a:cubicBezTo>
                  <a:cubicBezTo>
                    <a:pt x="131" y="153"/>
                    <a:pt x="130" y="152"/>
                    <a:pt x="129" y="152"/>
                  </a:cubicBezTo>
                  <a:moveTo>
                    <a:pt x="13" y="236"/>
                  </a:moveTo>
                  <a:cubicBezTo>
                    <a:pt x="13" y="236"/>
                    <a:pt x="12" y="238"/>
                    <a:pt x="14" y="240"/>
                  </a:cubicBezTo>
                  <a:cubicBezTo>
                    <a:pt x="15" y="241"/>
                    <a:pt x="17" y="242"/>
                    <a:pt x="18" y="241"/>
                  </a:cubicBezTo>
                  <a:cubicBezTo>
                    <a:pt x="19" y="240"/>
                    <a:pt x="19" y="239"/>
                    <a:pt x="19" y="238"/>
                  </a:cubicBezTo>
                  <a:cubicBezTo>
                    <a:pt x="19" y="237"/>
                    <a:pt x="19" y="237"/>
                    <a:pt x="19" y="236"/>
                  </a:cubicBezTo>
                  <a:cubicBezTo>
                    <a:pt x="19" y="235"/>
                    <a:pt x="20" y="235"/>
                    <a:pt x="20" y="235"/>
                  </a:cubicBezTo>
                  <a:cubicBezTo>
                    <a:pt x="21" y="235"/>
                    <a:pt x="21" y="235"/>
                    <a:pt x="21" y="235"/>
                  </a:cubicBezTo>
                  <a:cubicBezTo>
                    <a:pt x="21" y="235"/>
                    <a:pt x="21" y="235"/>
                    <a:pt x="21" y="235"/>
                  </a:cubicBezTo>
                  <a:cubicBezTo>
                    <a:pt x="21" y="235"/>
                    <a:pt x="21" y="235"/>
                    <a:pt x="22" y="235"/>
                  </a:cubicBezTo>
                  <a:cubicBezTo>
                    <a:pt x="29" y="238"/>
                    <a:pt x="38" y="243"/>
                    <a:pt x="47" y="250"/>
                  </a:cubicBezTo>
                  <a:cubicBezTo>
                    <a:pt x="48" y="250"/>
                    <a:pt x="48" y="250"/>
                    <a:pt x="49" y="251"/>
                  </a:cubicBezTo>
                  <a:cubicBezTo>
                    <a:pt x="49" y="251"/>
                    <a:pt x="49" y="251"/>
                    <a:pt x="49" y="251"/>
                  </a:cubicBezTo>
                  <a:cubicBezTo>
                    <a:pt x="48" y="252"/>
                    <a:pt x="48" y="253"/>
                    <a:pt x="47" y="255"/>
                  </a:cubicBezTo>
                  <a:cubicBezTo>
                    <a:pt x="47" y="255"/>
                    <a:pt x="47" y="256"/>
                    <a:pt x="46" y="256"/>
                  </a:cubicBezTo>
                  <a:cubicBezTo>
                    <a:pt x="44" y="260"/>
                    <a:pt x="43" y="263"/>
                    <a:pt x="43" y="266"/>
                  </a:cubicBezTo>
                  <a:cubicBezTo>
                    <a:pt x="43" y="268"/>
                    <a:pt x="45" y="269"/>
                    <a:pt x="46" y="269"/>
                  </a:cubicBezTo>
                  <a:cubicBezTo>
                    <a:pt x="49" y="269"/>
                    <a:pt x="50" y="267"/>
                    <a:pt x="51" y="266"/>
                  </a:cubicBezTo>
                  <a:cubicBezTo>
                    <a:pt x="51" y="265"/>
                    <a:pt x="51" y="264"/>
                    <a:pt x="50" y="263"/>
                  </a:cubicBezTo>
                  <a:cubicBezTo>
                    <a:pt x="49" y="262"/>
                    <a:pt x="48" y="262"/>
                    <a:pt x="48" y="262"/>
                  </a:cubicBezTo>
                  <a:cubicBezTo>
                    <a:pt x="48" y="262"/>
                    <a:pt x="48" y="262"/>
                    <a:pt x="48" y="262"/>
                  </a:cubicBezTo>
                  <a:cubicBezTo>
                    <a:pt x="48" y="262"/>
                    <a:pt x="48" y="262"/>
                    <a:pt x="48" y="262"/>
                  </a:cubicBezTo>
                  <a:cubicBezTo>
                    <a:pt x="48" y="262"/>
                    <a:pt x="49" y="258"/>
                    <a:pt x="49" y="257"/>
                  </a:cubicBezTo>
                  <a:cubicBezTo>
                    <a:pt x="52" y="250"/>
                    <a:pt x="56" y="249"/>
                    <a:pt x="57" y="249"/>
                  </a:cubicBezTo>
                  <a:cubicBezTo>
                    <a:pt x="56" y="248"/>
                    <a:pt x="54" y="244"/>
                    <a:pt x="58" y="238"/>
                  </a:cubicBezTo>
                  <a:cubicBezTo>
                    <a:pt x="60" y="234"/>
                    <a:pt x="61" y="231"/>
                    <a:pt x="62" y="228"/>
                  </a:cubicBezTo>
                  <a:cubicBezTo>
                    <a:pt x="62" y="227"/>
                    <a:pt x="61" y="226"/>
                    <a:pt x="61" y="225"/>
                  </a:cubicBezTo>
                  <a:cubicBezTo>
                    <a:pt x="60" y="224"/>
                    <a:pt x="59" y="224"/>
                    <a:pt x="58" y="223"/>
                  </a:cubicBezTo>
                  <a:cubicBezTo>
                    <a:pt x="56" y="223"/>
                    <a:pt x="54" y="225"/>
                    <a:pt x="54" y="227"/>
                  </a:cubicBezTo>
                  <a:cubicBezTo>
                    <a:pt x="54" y="230"/>
                    <a:pt x="55" y="231"/>
                    <a:pt x="56" y="231"/>
                  </a:cubicBezTo>
                  <a:cubicBezTo>
                    <a:pt x="57" y="231"/>
                    <a:pt x="57" y="231"/>
                    <a:pt x="57" y="232"/>
                  </a:cubicBezTo>
                  <a:cubicBezTo>
                    <a:pt x="56" y="235"/>
                    <a:pt x="55" y="238"/>
                    <a:pt x="53" y="240"/>
                  </a:cubicBezTo>
                  <a:cubicBezTo>
                    <a:pt x="53" y="240"/>
                    <a:pt x="53" y="240"/>
                    <a:pt x="53" y="240"/>
                  </a:cubicBezTo>
                  <a:cubicBezTo>
                    <a:pt x="52" y="240"/>
                    <a:pt x="51" y="239"/>
                    <a:pt x="50" y="239"/>
                  </a:cubicBezTo>
                  <a:cubicBezTo>
                    <a:pt x="49" y="238"/>
                    <a:pt x="49" y="238"/>
                    <a:pt x="49" y="238"/>
                  </a:cubicBezTo>
                  <a:cubicBezTo>
                    <a:pt x="41" y="234"/>
                    <a:pt x="34" y="230"/>
                    <a:pt x="25" y="228"/>
                  </a:cubicBezTo>
                  <a:cubicBezTo>
                    <a:pt x="25" y="228"/>
                    <a:pt x="25" y="228"/>
                    <a:pt x="25" y="228"/>
                  </a:cubicBezTo>
                  <a:cubicBezTo>
                    <a:pt x="25" y="228"/>
                    <a:pt x="25" y="228"/>
                    <a:pt x="25" y="228"/>
                  </a:cubicBezTo>
                  <a:cubicBezTo>
                    <a:pt x="25" y="227"/>
                    <a:pt x="26" y="227"/>
                    <a:pt x="26" y="226"/>
                  </a:cubicBezTo>
                  <a:cubicBezTo>
                    <a:pt x="26" y="225"/>
                    <a:pt x="27" y="225"/>
                    <a:pt x="27" y="224"/>
                  </a:cubicBezTo>
                  <a:cubicBezTo>
                    <a:pt x="28" y="223"/>
                    <a:pt x="28" y="222"/>
                    <a:pt x="28" y="222"/>
                  </a:cubicBezTo>
                  <a:cubicBezTo>
                    <a:pt x="28" y="222"/>
                    <a:pt x="28" y="222"/>
                    <a:pt x="27" y="223"/>
                  </a:cubicBezTo>
                  <a:cubicBezTo>
                    <a:pt x="27" y="223"/>
                    <a:pt x="26" y="223"/>
                    <a:pt x="25" y="224"/>
                  </a:cubicBezTo>
                  <a:cubicBezTo>
                    <a:pt x="22" y="225"/>
                    <a:pt x="22" y="226"/>
                    <a:pt x="20" y="226"/>
                  </a:cubicBezTo>
                  <a:cubicBezTo>
                    <a:pt x="19" y="226"/>
                    <a:pt x="19" y="226"/>
                    <a:pt x="18" y="226"/>
                  </a:cubicBezTo>
                  <a:cubicBezTo>
                    <a:pt x="18" y="225"/>
                    <a:pt x="18" y="225"/>
                    <a:pt x="17" y="225"/>
                  </a:cubicBezTo>
                  <a:cubicBezTo>
                    <a:pt x="17" y="226"/>
                    <a:pt x="16" y="227"/>
                    <a:pt x="16" y="229"/>
                  </a:cubicBezTo>
                  <a:cubicBezTo>
                    <a:pt x="15" y="230"/>
                    <a:pt x="15" y="230"/>
                    <a:pt x="15" y="230"/>
                  </a:cubicBezTo>
                  <a:cubicBezTo>
                    <a:pt x="15" y="232"/>
                    <a:pt x="15" y="232"/>
                    <a:pt x="14" y="233"/>
                  </a:cubicBezTo>
                  <a:cubicBezTo>
                    <a:pt x="14" y="234"/>
                    <a:pt x="14" y="234"/>
                    <a:pt x="13" y="235"/>
                  </a:cubicBezTo>
                  <a:cubicBezTo>
                    <a:pt x="13" y="235"/>
                    <a:pt x="13" y="235"/>
                    <a:pt x="13" y="236"/>
                  </a:cubicBezTo>
                  <a:moveTo>
                    <a:pt x="15" y="38"/>
                  </a:moveTo>
                  <a:cubicBezTo>
                    <a:pt x="18" y="38"/>
                    <a:pt x="22" y="38"/>
                    <a:pt x="23" y="37"/>
                  </a:cubicBezTo>
                  <a:cubicBezTo>
                    <a:pt x="23" y="26"/>
                    <a:pt x="23" y="26"/>
                    <a:pt x="23" y="26"/>
                  </a:cubicBezTo>
                  <a:cubicBezTo>
                    <a:pt x="22" y="25"/>
                    <a:pt x="19" y="25"/>
                    <a:pt x="17" y="25"/>
                  </a:cubicBezTo>
                  <a:cubicBezTo>
                    <a:pt x="16" y="25"/>
                    <a:pt x="16" y="25"/>
                    <a:pt x="16" y="25"/>
                  </a:cubicBezTo>
                  <a:cubicBezTo>
                    <a:pt x="15" y="25"/>
                    <a:pt x="14" y="25"/>
                    <a:pt x="13" y="25"/>
                  </a:cubicBezTo>
                  <a:cubicBezTo>
                    <a:pt x="11" y="27"/>
                    <a:pt x="11" y="30"/>
                    <a:pt x="11" y="30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3"/>
                    <a:pt x="12" y="38"/>
                    <a:pt x="15" y="38"/>
                  </a:cubicBezTo>
                  <a:close/>
                  <a:moveTo>
                    <a:pt x="44" y="34"/>
                  </a:moveTo>
                  <a:cubicBezTo>
                    <a:pt x="44" y="33"/>
                    <a:pt x="44" y="32"/>
                    <a:pt x="44" y="31"/>
                  </a:cubicBezTo>
                  <a:cubicBezTo>
                    <a:pt x="44" y="31"/>
                    <a:pt x="44" y="31"/>
                    <a:pt x="44" y="30"/>
                  </a:cubicBezTo>
                  <a:cubicBezTo>
                    <a:pt x="44" y="28"/>
                    <a:pt x="44" y="26"/>
                    <a:pt x="44" y="24"/>
                  </a:cubicBezTo>
                  <a:cubicBezTo>
                    <a:pt x="44" y="23"/>
                    <a:pt x="44" y="22"/>
                    <a:pt x="43" y="22"/>
                  </a:cubicBezTo>
                  <a:cubicBezTo>
                    <a:pt x="42" y="22"/>
                    <a:pt x="41" y="22"/>
                    <a:pt x="41" y="22"/>
                  </a:cubicBezTo>
                  <a:cubicBezTo>
                    <a:pt x="41" y="22"/>
                    <a:pt x="41" y="22"/>
                    <a:pt x="40" y="23"/>
                  </a:cubicBezTo>
                  <a:cubicBezTo>
                    <a:pt x="40" y="23"/>
                    <a:pt x="40" y="24"/>
                    <a:pt x="40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8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3"/>
                  </a:cubicBezTo>
                  <a:cubicBezTo>
                    <a:pt x="35" y="23"/>
                    <a:pt x="35" y="24"/>
                    <a:pt x="35" y="24"/>
                  </a:cubicBezTo>
                  <a:cubicBezTo>
                    <a:pt x="35" y="24"/>
                    <a:pt x="35" y="24"/>
                    <a:pt x="35" y="24"/>
                  </a:cubicBezTo>
                  <a:cubicBezTo>
                    <a:pt x="35" y="24"/>
                    <a:pt x="35" y="24"/>
                    <a:pt x="35" y="24"/>
                  </a:cubicBezTo>
                  <a:cubicBezTo>
                    <a:pt x="34" y="22"/>
                    <a:pt x="34" y="22"/>
                    <a:pt x="34" y="22"/>
                  </a:cubicBezTo>
                  <a:cubicBezTo>
                    <a:pt x="33" y="22"/>
                    <a:pt x="32" y="22"/>
                    <a:pt x="31" y="22"/>
                  </a:cubicBezTo>
                  <a:cubicBezTo>
                    <a:pt x="31" y="22"/>
                    <a:pt x="31" y="23"/>
                    <a:pt x="31" y="23"/>
                  </a:cubicBezTo>
                  <a:cubicBezTo>
                    <a:pt x="30" y="24"/>
                    <a:pt x="30" y="24"/>
                    <a:pt x="30" y="24"/>
                  </a:cubicBezTo>
                  <a:cubicBezTo>
                    <a:pt x="30" y="24"/>
                    <a:pt x="30" y="24"/>
                    <a:pt x="30" y="24"/>
                  </a:cubicBezTo>
                  <a:cubicBezTo>
                    <a:pt x="30" y="24"/>
                    <a:pt x="30" y="24"/>
                    <a:pt x="30" y="24"/>
                  </a:cubicBezTo>
                  <a:cubicBezTo>
                    <a:pt x="29" y="22"/>
                    <a:pt x="29" y="22"/>
                    <a:pt x="29" y="22"/>
                  </a:cubicBezTo>
                  <a:cubicBezTo>
                    <a:pt x="29" y="22"/>
                    <a:pt x="28" y="22"/>
                    <a:pt x="27" y="22"/>
                  </a:cubicBezTo>
                  <a:cubicBezTo>
                    <a:pt x="27" y="22"/>
                    <a:pt x="26" y="23"/>
                    <a:pt x="26" y="24"/>
                  </a:cubicBezTo>
                  <a:cubicBezTo>
                    <a:pt x="26" y="26"/>
                    <a:pt x="26" y="27"/>
                    <a:pt x="26" y="28"/>
                  </a:cubicBezTo>
                  <a:cubicBezTo>
                    <a:pt x="26" y="29"/>
                    <a:pt x="26" y="29"/>
                    <a:pt x="26" y="30"/>
                  </a:cubicBezTo>
                  <a:cubicBezTo>
                    <a:pt x="26" y="31"/>
                    <a:pt x="26" y="36"/>
                    <a:pt x="26" y="37"/>
                  </a:cubicBezTo>
                  <a:cubicBezTo>
                    <a:pt x="27" y="37"/>
                    <a:pt x="28" y="37"/>
                    <a:pt x="29" y="37"/>
                  </a:cubicBezTo>
                  <a:cubicBezTo>
                    <a:pt x="30" y="36"/>
                    <a:pt x="30" y="35"/>
                    <a:pt x="30" y="34"/>
                  </a:cubicBezTo>
                  <a:cubicBezTo>
                    <a:pt x="30" y="34"/>
                    <a:pt x="30" y="34"/>
                    <a:pt x="30" y="34"/>
                  </a:cubicBezTo>
                  <a:cubicBezTo>
                    <a:pt x="30" y="34"/>
                    <a:pt x="30" y="34"/>
                    <a:pt x="30" y="34"/>
                  </a:cubicBezTo>
                  <a:cubicBezTo>
                    <a:pt x="30" y="34"/>
                    <a:pt x="30" y="34"/>
                    <a:pt x="30" y="34"/>
                  </a:cubicBezTo>
                  <a:cubicBezTo>
                    <a:pt x="30" y="35"/>
                    <a:pt x="30" y="37"/>
                    <a:pt x="30" y="38"/>
                  </a:cubicBezTo>
                  <a:cubicBezTo>
                    <a:pt x="31" y="38"/>
                    <a:pt x="32" y="39"/>
                    <a:pt x="33" y="37"/>
                  </a:cubicBezTo>
                  <a:cubicBezTo>
                    <a:pt x="34" y="36"/>
                    <a:pt x="35" y="35"/>
                    <a:pt x="35" y="34"/>
                  </a:cubicBezTo>
                  <a:cubicBezTo>
                    <a:pt x="35" y="34"/>
                    <a:pt x="35" y="34"/>
                    <a:pt x="35" y="34"/>
                  </a:cubicBezTo>
                  <a:cubicBezTo>
                    <a:pt x="35" y="34"/>
                    <a:pt x="35" y="34"/>
                    <a:pt x="35" y="34"/>
                  </a:cubicBezTo>
                  <a:cubicBezTo>
                    <a:pt x="35" y="35"/>
                    <a:pt x="35" y="38"/>
                    <a:pt x="35" y="38"/>
                  </a:cubicBezTo>
                  <a:cubicBezTo>
                    <a:pt x="36" y="38"/>
                    <a:pt x="37" y="38"/>
                    <a:pt x="38" y="37"/>
                  </a:cubicBezTo>
                  <a:cubicBezTo>
                    <a:pt x="39" y="36"/>
                    <a:pt x="40" y="35"/>
                    <a:pt x="40" y="34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40" y="35"/>
                    <a:pt x="40" y="36"/>
                    <a:pt x="40" y="37"/>
                  </a:cubicBezTo>
                  <a:cubicBezTo>
                    <a:pt x="40" y="37"/>
                    <a:pt x="41" y="37"/>
                    <a:pt x="41" y="37"/>
                  </a:cubicBezTo>
                  <a:cubicBezTo>
                    <a:pt x="41" y="37"/>
                    <a:pt x="42" y="36"/>
                    <a:pt x="42" y="36"/>
                  </a:cubicBezTo>
                  <a:cubicBezTo>
                    <a:pt x="42" y="36"/>
                    <a:pt x="43" y="36"/>
                    <a:pt x="43" y="36"/>
                  </a:cubicBezTo>
                  <a:cubicBezTo>
                    <a:pt x="43" y="36"/>
                    <a:pt x="44" y="35"/>
                    <a:pt x="44" y="34"/>
                  </a:cubicBezTo>
                  <a:moveTo>
                    <a:pt x="50" y="36"/>
                  </a:moveTo>
                  <a:cubicBezTo>
                    <a:pt x="50" y="36"/>
                    <a:pt x="49" y="35"/>
                    <a:pt x="49" y="32"/>
                  </a:cubicBezTo>
                  <a:cubicBezTo>
                    <a:pt x="49" y="30"/>
                    <a:pt x="50" y="28"/>
                    <a:pt x="50" y="27"/>
                  </a:cubicBezTo>
                  <a:cubicBezTo>
                    <a:pt x="50" y="24"/>
                    <a:pt x="50" y="24"/>
                    <a:pt x="50" y="24"/>
                  </a:cubicBezTo>
                  <a:cubicBezTo>
                    <a:pt x="50" y="23"/>
                    <a:pt x="48" y="22"/>
                    <a:pt x="47" y="22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7" y="38"/>
                    <a:pt x="44" y="40"/>
                    <a:pt x="41" y="41"/>
                  </a:cubicBezTo>
                  <a:cubicBezTo>
                    <a:pt x="35" y="42"/>
                    <a:pt x="30" y="42"/>
                    <a:pt x="28" y="42"/>
                  </a:cubicBezTo>
                  <a:cubicBezTo>
                    <a:pt x="29" y="42"/>
                    <a:pt x="29" y="43"/>
                    <a:pt x="29" y="45"/>
                  </a:cubicBezTo>
                  <a:cubicBezTo>
                    <a:pt x="29" y="46"/>
                    <a:pt x="31" y="47"/>
                    <a:pt x="31" y="47"/>
                  </a:cubicBezTo>
                  <a:cubicBezTo>
                    <a:pt x="46" y="47"/>
                    <a:pt x="46" y="47"/>
                    <a:pt x="46" y="47"/>
                  </a:cubicBezTo>
                  <a:cubicBezTo>
                    <a:pt x="50" y="40"/>
                    <a:pt x="50" y="40"/>
                    <a:pt x="50" y="40"/>
                  </a:cubicBezTo>
                  <a:lnTo>
                    <a:pt x="50" y="36"/>
                  </a:lnTo>
                  <a:close/>
                  <a:moveTo>
                    <a:pt x="31" y="56"/>
                  </a:moveTo>
                  <a:cubicBezTo>
                    <a:pt x="46" y="56"/>
                    <a:pt x="46" y="56"/>
                    <a:pt x="46" y="56"/>
                  </a:cubicBezTo>
                  <a:cubicBezTo>
                    <a:pt x="46" y="55"/>
                    <a:pt x="47" y="53"/>
                    <a:pt x="47" y="53"/>
                  </a:cubicBezTo>
                  <a:cubicBezTo>
                    <a:pt x="47" y="50"/>
                    <a:pt x="47" y="50"/>
                    <a:pt x="47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0" y="53"/>
                    <a:pt x="30" y="53"/>
                    <a:pt x="30" y="53"/>
                  </a:cubicBezTo>
                  <a:lnTo>
                    <a:pt x="31" y="56"/>
                  </a:lnTo>
                  <a:close/>
                  <a:moveTo>
                    <a:pt x="46" y="59"/>
                  </a:moveTo>
                  <a:cubicBezTo>
                    <a:pt x="31" y="59"/>
                    <a:pt x="31" y="59"/>
                    <a:pt x="31" y="59"/>
                  </a:cubicBezTo>
                  <a:cubicBezTo>
                    <a:pt x="31" y="79"/>
                    <a:pt x="31" y="79"/>
                    <a:pt x="31" y="79"/>
                  </a:cubicBezTo>
                  <a:cubicBezTo>
                    <a:pt x="44" y="79"/>
                    <a:pt x="44" y="79"/>
                    <a:pt x="44" y="79"/>
                  </a:cubicBezTo>
                  <a:cubicBezTo>
                    <a:pt x="48" y="76"/>
                    <a:pt x="48" y="76"/>
                    <a:pt x="48" y="76"/>
                  </a:cubicBezTo>
                  <a:lnTo>
                    <a:pt x="46" y="59"/>
                  </a:lnTo>
                  <a:close/>
                  <a:moveTo>
                    <a:pt x="53" y="84"/>
                  </a:moveTo>
                  <a:cubicBezTo>
                    <a:pt x="53" y="84"/>
                    <a:pt x="51" y="82"/>
                    <a:pt x="51" y="82"/>
                  </a:cubicBezTo>
                  <a:cubicBezTo>
                    <a:pt x="50" y="82"/>
                    <a:pt x="50" y="80"/>
                    <a:pt x="50" y="79"/>
                  </a:cubicBezTo>
                  <a:cubicBezTo>
                    <a:pt x="46" y="83"/>
                    <a:pt x="46" y="83"/>
                    <a:pt x="46" y="83"/>
                  </a:cubicBezTo>
                  <a:cubicBezTo>
                    <a:pt x="45" y="83"/>
                    <a:pt x="45" y="83"/>
                    <a:pt x="45" y="83"/>
                  </a:cubicBezTo>
                  <a:cubicBezTo>
                    <a:pt x="30" y="83"/>
                    <a:pt x="30" y="83"/>
                    <a:pt x="30" y="83"/>
                  </a:cubicBezTo>
                  <a:cubicBezTo>
                    <a:pt x="30" y="84"/>
                    <a:pt x="30" y="90"/>
                    <a:pt x="30" y="93"/>
                  </a:cubicBezTo>
                  <a:cubicBezTo>
                    <a:pt x="33" y="96"/>
                    <a:pt x="37" y="99"/>
                    <a:pt x="38" y="99"/>
                  </a:cubicBezTo>
                  <a:cubicBezTo>
                    <a:pt x="48" y="87"/>
                    <a:pt x="48" y="87"/>
                    <a:pt x="48" y="87"/>
                  </a:cubicBezTo>
                  <a:cubicBezTo>
                    <a:pt x="48" y="87"/>
                    <a:pt x="48" y="87"/>
                    <a:pt x="48" y="87"/>
                  </a:cubicBezTo>
                  <a:lnTo>
                    <a:pt x="53" y="84"/>
                  </a:lnTo>
                  <a:close/>
                  <a:moveTo>
                    <a:pt x="50" y="89"/>
                  </a:moveTo>
                  <a:cubicBezTo>
                    <a:pt x="41" y="101"/>
                    <a:pt x="41" y="101"/>
                    <a:pt x="41" y="101"/>
                  </a:cubicBezTo>
                  <a:cubicBezTo>
                    <a:pt x="56" y="107"/>
                    <a:pt x="56" y="107"/>
                    <a:pt x="56" y="107"/>
                  </a:cubicBezTo>
                  <a:cubicBezTo>
                    <a:pt x="64" y="103"/>
                    <a:pt x="74" y="96"/>
                    <a:pt x="76" y="94"/>
                  </a:cubicBezTo>
                  <a:cubicBezTo>
                    <a:pt x="56" y="87"/>
                    <a:pt x="56" y="87"/>
                    <a:pt x="56" y="87"/>
                  </a:cubicBezTo>
                  <a:lnTo>
                    <a:pt x="50" y="89"/>
                  </a:lnTo>
                  <a:close/>
                  <a:moveTo>
                    <a:pt x="58" y="28"/>
                  </a:moveTo>
                  <a:cubicBezTo>
                    <a:pt x="58" y="26"/>
                    <a:pt x="58" y="16"/>
                    <a:pt x="58" y="15"/>
                  </a:cubicBezTo>
                  <a:cubicBezTo>
                    <a:pt x="58" y="15"/>
                    <a:pt x="58" y="15"/>
                    <a:pt x="58" y="15"/>
                  </a:cubicBezTo>
                  <a:cubicBezTo>
                    <a:pt x="58" y="15"/>
                    <a:pt x="59" y="15"/>
                    <a:pt x="59" y="14"/>
                  </a:cubicBezTo>
                  <a:cubicBezTo>
                    <a:pt x="59" y="14"/>
                    <a:pt x="59" y="13"/>
                    <a:pt x="59" y="12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52" y="13"/>
                    <a:pt x="52" y="13"/>
                    <a:pt x="52" y="14"/>
                  </a:cubicBezTo>
                  <a:cubicBezTo>
                    <a:pt x="52" y="14"/>
                    <a:pt x="53" y="15"/>
                    <a:pt x="53" y="15"/>
                  </a:cubicBezTo>
                  <a:cubicBezTo>
                    <a:pt x="53" y="15"/>
                    <a:pt x="53" y="15"/>
                    <a:pt x="53" y="15"/>
                  </a:cubicBezTo>
                  <a:cubicBezTo>
                    <a:pt x="53" y="28"/>
                    <a:pt x="53" y="28"/>
                    <a:pt x="53" y="28"/>
                  </a:cubicBezTo>
                  <a:cubicBezTo>
                    <a:pt x="53" y="28"/>
                    <a:pt x="53" y="28"/>
                    <a:pt x="53" y="28"/>
                  </a:cubicBezTo>
                  <a:cubicBezTo>
                    <a:pt x="53" y="28"/>
                    <a:pt x="52" y="29"/>
                    <a:pt x="52" y="32"/>
                  </a:cubicBezTo>
                  <a:cubicBezTo>
                    <a:pt x="52" y="34"/>
                    <a:pt x="53" y="36"/>
                    <a:pt x="53" y="36"/>
                  </a:cubicBezTo>
                  <a:cubicBezTo>
                    <a:pt x="53" y="36"/>
                    <a:pt x="53" y="36"/>
                    <a:pt x="53" y="36"/>
                  </a:cubicBezTo>
                  <a:cubicBezTo>
                    <a:pt x="53" y="46"/>
                    <a:pt x="53" y="46"/>
                    <a:pt x="53" y="46"/>
                  </a:cubicBezTo>
                  <a:cubicBezTo>
                    <a:pt x="53" y="46"/>
                    <a:pt x="53" y="46"/>
                    <a:pt x="53" y="46"/>
                  </a:cubicBezTo>
                  <a:cubicBezTo>
                    <a:pt x="53" y="47"/>
                    <a:pt x="52" y="47"/>
                    <a:pt x="52" y="48"/>
                  </a:cubicBezTo>
                  <a:cubicBezTo>
                    <a:pt x="52" y="49"/>
                    <a:pt x="52" y="49"/>
                    <a:pt x="52" y="49"/>
                  </a:cubicBezTo>
                  <a:cubicBezTo>
                    <a:pt x="59" y="49"/>
                    <a:pt x="59" y="49"/>
                    <a:pt x="59" y="49"/>
                  </a:cubicBezTo>
                  <a:cubicBezTo>
                    <a:pt x="59" y="49"/>
                    <a:pt x="59" y="48"/>
                    <a:pt x="59" y="47"/>
                  </a:cubicBezTo>
                  <a:cubicBezTo>
                    <a:pt x="59" y="47"/>
                    <a:pt x="59" y="46"/>
                    <a:pt x="58" y="46"/>
                  </a:cubicBezTo>
                  <a:cubicBezTo>
                    <a:pt x="58" y="46"/>
                    <a:pt x="58" y="46"/>
                    <a:pt x="58" y="46"/>
                  </a:cubicBezTo>
                  <a:cubicBezTo>
                    <a:pt x="58" y="36"/>
                    <a:pt x="58" y="36"/>
                    <a:pt x="58" y="36"/>
                  </a:cubicBezTo>
                  <a:cubicBezTo>
                    <a:pt x="58" y="36"/>
                    <a:pt x="58" y="36"/>
                    <a:pt x="58" y="36"/>
                  </a:cubicBezTo>
                  <a:cubicBezTo>
                    <a:pt x="58" y="36"/>
                    <a:pt x="59" y="35"/>
                    <a:pt x="59" y="35"/>
                  </a:cubicBezTo>
                  <a:cubicBezTo>
                    <a:pt x="59" y="34"/>
                    <a:pt x="60" y="33"/>
                    <a:pt x="60" y="32"/>
                  </a:cubicBezTo>
                  <a:cubicBezTo>
                    <a:pt x="60" y="30"/>
                    <a:pt x="59" y="29"/>
                    <a:pt x="58" y="28"/>
                  </a:cubicBezTo>
                  <a:cubicBezTo>
                    <a:pt x="58" y="28"/>
                    <a:pt x="58" y="28"/>
                    <a:pt x="58" y="28"/>
                  </a:cubicBezTo>
                  <a:cubicBezTo>
                    <a:pt x="58" y="28"/>
                    <a:pt x="58" y="28"/>
                    <a:pt x="58" y="28"/>
                  </a:cubicBezTo>
                  <a:moveTo>
                    <a:pt x="74" y="38"/>
                  </a:moveTo>
                  <a:cubicBezTo>
                    <a:pt x="85" y="26"/>
                    <a:pt x="85" y="26"/>
                    <a:pt x="85" y="26"/>
                  </a:cubicBezTo>
                  <a:cubicBezTo>
                    <a:pt x="83" y="26"/>
                    <a:pt x="82" y="26"/>
                    <a:pt x="80" y="26"/>
                  </a:cubicBezTo>
                  <a:cubicBezTo>
                    <a:pt x="77" y="26"/>
                    <a:pt x="73" y="26"/>
                    <a:pt x="69" y="26"/>
                  </a:cubicBezTo>
                  <a:cubicBezTo>
                    <a:pt x="68" y="26"/>
                    <a:pt x="66" y="25"/>
                    <a:pt x="65" y="25"/>
                  </a:cubicBezTo>
                  <a:cubicBezTo>
                    <a:pt x="64" y="24"/>
                    <a:pt x="62" y="23"/>
                    <a:pt x="62" y="23"/>
                  </a:cubicBezTo>
                  <a:cubicBezTo>
                    <a:pt x="62" y="24"/>
                    <a:pt x="61" y="26"/>
                    <a:pt x="61" y="27"/>
                  </a:cubicBezTo>
                  <a:cubicBezTo>
                    <a:pt x="61" y="27"/>
                    <a:pt x="63" y="29"/>
                    <a:pt x="63" y="32"/>
                  </a:cubicBezTo>
                  <a:cubicBezTo>
                    <a:pt x="63" y="32"/>
                    <a:pt x="63" y="32"/>
                    <a:pt x="63" y="32"/>
                  </a:cubicBezTo>
                  <a:cubicBezTo>
                    <a:pt x="63" y="33"/>
                    <a:pt x="63" y="35"/>
                    <a:pt x="61" y="37"/>
                  </a:cubicBezTo>
                  <a:cubicBezTo>
                    <a:pt x="62" y="39"/>
                    <a:pt x="62" y="40"/>
                    <a:pt x="63" y="41"/>
                  </a:cubicBezTo>
                  <a:cubicBezTo>
                    <a:pt x="63" y="40"/>
                    <a:pt x="66" y="38"/>
                    <a:pt x="69" y="38"/>
                  </a:cubicBezTo>
                  <a:cubicBezTo>
                    <a:pt x="69" y="38"/>
                    <a:pt x="71" y="38"/>
                    <a:pt x="74" y="38"/>
                  </a:cubicBezTo>
                  <a:moveTo>
                    <a:pt x="125" y="38"/>
                  </a:moveTo>
                  <a:cubicBezTo>
                    <a:pt x="140" y="19"/>
                    <a:pt x="140" y="19"/>
                    <a:pt x="140" y="19"/>
                  </a:cubicBezTo>
                  <a:cubicBezTo>
                    <a:pt x="139" y="19"/>
                    <a:pt x="138" y="19"/>
                    <a:pt x="136" y="20"/>
                  </a:cubicBezTo>
                  <a:cubicBezTo>
                    <a:pt x="135" y="21"/>
                    <a:pt x="134" y="23"/>
                    <a:pt x="134" y="24"/>
                  </a:cubicBezTo>
                  <a:cubicBezTo>
                    <a:pt x="134" y="24"/>
                    <a:pt x="134" y="24"/>
                    <a:pt x="134" y="24"/>
                  </a:cubicBezTo>
                  <a:cubicBezTo>
                    <a:pt x="134" y="24"/>
                    <a:pt x="134" y="24"/>
                    <a:pt x="134" y="24"/>
                  </a:cubicBezTo>
                  <a:cubicBezTo>
                    <a:pt x="134" y="23"/>
                    <a:pt x="133" y="22"/>
                    <a:pt x="132" y="22"/>
                  </a:cubicBezTo>
                  <a:cubicBezTo>
                    <a:pt x="131" y="22"/>
                    <a:pt x="129" y="22"/>
                    <a:pt x="128" y="23"/>
                  </a:cubicBezTo>
                  <a:cubicBezTo>
                    <a:pt x="130" y="26"/>
                    <a:pt x="130" y="27"/>
                    <a:pt x="129" y="28"/>
                  </a:cubicBezTo>
                  <a:cubicBezTo>
                    <a:pt x="128" y="29"/>
                    <a:pt x="127" y="29"/>
                    <a:pt x="126" y="29"/>
                  </a:cubicBezTo>
                  <a:cubicBezTo>
                    <a:pt x="124" y="28"/>
                    <a:pt x="124" y="26"/>
                    <a:pt x="124" y="25"/>
                  </a:cubicBezTo>
                  <a:cubicBezTo>
                    <a:pt x="124" y="26"/>
                    <a:pt x="123" y="26"/>
                    <a:pt x="121" y="26"/>
                  </a:cubicBezTo>
                  <a:cubicBezTo>
                    <a:pt x="121" y="26"/>
                    <a:pt x="120" y="26"/>
                    <a:pt x="119" y="25"/>
                  </a:cubicBezTo>
                  <a:cubicBezTo>
                    <a:pt x="119" y="24"/>
                    <a:pt x="119" y="24"/>
                    <a:pt x="119" y="23"/>
                  </a:cubicBezTo>
                  <a:cubicBezTo>
                    <a:pt x="120" y="21"/>
                    <a:pt x="122" y="21"/>
                    <a:pt x="124" y="21"/>
                  </a:cubicBezTo>
                  <a:cubicBezTo>
                    <a:pt x="124" y="20"/>
                    <a:pt x="124" y="18"/>
                    <a:pt x="122" y="17"/>
                  </a:cubicBezTo>
                  <a:cubicBezTo>
                    <a:pt x="121" y="16"/>
                    <a:pt x="118" y="17"/>
                    <a:pt x="118" y="17"/>
                  </a:cubicBezTo>
                  <a:cubicBezTo>
                    <a:pt x="118" y="17"/>
                    <a:pt x="118" y="17"/>
                    <a:pt x="118" y="17"/>
                  </a:cubicBezTo>
                  <a:cubicBezTo>
                    <a:pt x="118" y="17"/>
                    <a:pt x="118" y="16"/>
                    <a:pt x="118" y="16"/>
                  </a:cubicBezTo>
                  <a:cubicBezTo>
                    <a:pt x="118" y="16"/>
                    <a:pt x="120" y="15"/>
                    <a:pt x="120" y="13"/>
                  </a:cubicBezTo>
                  <a:cubicBezTo>
                    <a:pt x="120" y="12"/>
                    <a:pt x="120" y="10"/>
                    <a:pt x="118" y="8"/>
                  </a:cubicBezTo>
                  <a:cubicBezTo>
                    <a:pt x="118" y="8"/>
                    <a:pt x="118" y="8"/>
                    <a:pt x="118" y="8"/>
                  </a:cubicBezTo>
                  <a:cubicBezTo>
                    <a:pt x="116" y="8"/>
                    <a:pt x="114" y="9"/>
                    <a:pt x="113" y="10"/>
                  </a:cubicBezTo>
                  <a:cubicBezTo>
                    <a:pt x="112" y="12"/>
                    <a:pt x="112" y="14"/>
                    <a:pt x="112" y="14"/>
                  </a:cubicBezTo>
                  <a:cubicBezTo>
                    <a:pt x="113" y="14"/>
                    <a:pt x="112" y="14"/>
                    <a:pt x="112" y="14"/>
                  </a:cubicBezTo>
                  <a:cubicBezTo>
                    <a:pt x="112" y="14"/>
                    <a:pt x="112" y="14"/>
                    <a:pt x="112" y="14"/>
                  </a:cubicBezTo>
                  <a:cubicBezTo>
                    <a:pt x="112" y="14"/>
                    <a:pt x="111" y="11"/>
                    <a:pt x="109" y="11"/>
                  </a:cubicBezTo>
                  <a:cubicBezTo>
                    <a:pt x="107" y="10"/>
                    <a:pt x="105" y="12"/>
                    <a:pt x="105" y="12"/>
                  </a:cubicBezTo>
                  <a:cubicBezTo>
                    <a:pt x="107" y="14"/>
                    <a:pt x="107" y="16"/>
                    <a:pt x="107" y="17"/>
                  </a:cubicBezTo>
                  <a:cubicBezTo>
                    <a:pt x="106" y="18"/>
                    <a:pt x="106" y="19"/>
                    <a:pt x="105" y="19"/>
                  </a:cubicBezTo>
                  <a:cubicBezTo>
                    <a:pt x="104" y="19"/>
                    <a:pt x="103" y="18"/>
                    <a:pt x="103" y="18"/>
                  </a:cubicBezTo>
                  <a:cubicBezTo>
                    <a:pt x="102" y="17"/>
                    <a:pt x="102" y="16"/>
                    <a:pt x="102" y="16"/>
                  </a:cubicBezTo>
                  <a:cubicBezTo>
                    <a:pt x="101" y="16"/>
                    <a:pt x="99" y="17"/>
                    <a:pt x="98" y="16"/>
                  </a:cubicBezTo>
                  <a:cubicBezTo>
                    <a:pt x="97" y="15"/>
                    <a:pt x="96" y="15"/>
                    <a:pt x="96" y="14"/>
                  </a:cubicBezTo>
                  <a:cubicBezTo>
                    <a:pt x="97" y="13"/>
                    <a:pt x="97" y="11"/>
                    <a:pt x="101" y="11"/>
                  </a:cubicBezTo>
                  <a:cubicBezTo>
                    <a:pt x="101" y="10"/>
                    <a:pt x="100" y="8"/>
                    <a:pt x="99" y="7"/>
                  </a:cubicBezTo>
                  <a:cubicBezTo>
                    <a:pt x="98" y="7"/>
                    <a:pt x="97" y="7"/>
                    <a:pt x="96" y="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7"/>
                    <a:pt x="98" y="5"/>
                    <a:pt x="98" y="3"/>
                  </a:cubicBezTo>
                  <a:cubicBezTo>
                    <a:pt x="97" y="1"/>
                    <a:pt x="96" y="0"/>
                    <a:pt x="96" y="0"/>
                  </a:cubicBezTo>
                  <a:cubicBezTo>
                    <a:pt x="92" y="23"/>
                    <a:pt x="92" y="23"/>
                    <a:pt x="92" y="23"/>
                  </a:cubicBezTo>
                  <a:cubicBezTo>
                    <a:pt x="102" y="28"/>
                    <a:pt x="102" y="28"/>
                    <a:pt x="102" y="28"/>
                  </a:cubicBezTo>
                  <a:cubicBezTo>
                    <a:pt x="103" y="27"/>
                    <a:pt x="105" y="26"/>
                    <a:pt x="106" y="26"/>
                  </a:cubicBezTo>
                  <a:cubicBezTo>
                    <a:pt x="108" y="24"/>
                    <a:pt x="111" y="25"/>
                    <a:pt x="114" y="26"/>
                  </a:cubicBezTo>
                  <a:cubicBezTo>
                    <a:pt x="118" y="28"/>
                    <a:pt x="119" y="30"/>
                    <a:pt x="119" y="31"/>
                  </a:cubicBezTo>
                  <a:cubicBezTo>
                    <a:pt x="119" y="32"/>
                    <a:pt x="118" y="34"/>
                    <a:pt x="118" y="35"/>
                  </a:cubicBezTo>
                  <a:lnTo>
                    <a:pt x="125" y="38"/>
                  </a:lnTo>
                  <a:close/>
                  <a:moveTo>
                    <a:pt x="180" y="35"/>
                  </a:moveTo>
                  <a:cubicBezTo>
                    <a:pt x="189" y="31"/>
                    <a:pt x="189" y="31"/>
                    <a:pt x="189" y="31"/>
                  </a:cubicBezTo>
                  <a:cubicBezTo>
                    <a:pt x="180" y="27"/>
                    <a:pt x="180" y="27"/>
                    <a:pt x="180" y="27"/>
                  </a:cubicBezTo>
                  <a:cubicBezTo>
                    <a:pt x="175" y="27"/>
                    <a:pt x="166" y="27"/>
                    <a:pt x="154" y="26"/>
                  </a:cubicBezTo>
                  <a:cubicBezTo>
                    <a:pt x="149" y="26"/>
                    <a:pt x="144" y="26"/>
                    <a:pt x="139" y="26"/>
                  </a:cubicBezTo>
                  <a:cubicBezTo>
                    <a:pt x="131" y="36"/>
                    <a:pt x="131" y="36"/>
                    <a:pt x="131" y="36"/>
                  </a:cubicBezTo>
                  <a:cubicBezTo>
                    <a:pt x="144" y="36"/>
                    <a:pt x="144" y="36"/>
                    <a:pt x="144" y="36"/>
                  </a:cubicBezTo>
                  <a:cubicBezTo>
                    <a:pt x="160" y="35"/>
                    <a:pt x="174" y="35"/>
                    <a:pt x="180" y="35"/>
                  </a:cubicBezTo>
                  <a:moveTo>
                    <a:pt x="168" y="86"/>
                  </a:moveTo>
                  <a:cubicBezTo>
                    <a:pt x="168" y="86"/>
                    <a:pt x="168" y="86"/>
                    <a:pt x="168" y="86"/>
                  </a:cubicBezTo>
                  <a:cubicBezTo>
                    <a:pt x="168" y="86"/>
                    <a:pt x="168" y="86"/>
                    <a:pt x="168" y="86"/>
                  </a:cubicBezTo>
                  <a:cubicBezTo>
                    <a:pt x="167" y="85"/>
                    <a:pt x="166" y="85"/>
                    <a:pt x="166" y="85"/>
                  </a:cubicBezTo>
                  <a:cubicBezTo>
                    <a:pt x="159" y="82"/>
                    <a:pt x="154" y="79"/>
                    <a:pt x="151" y="74"/>
                  </a:cubicBezTo>
                  <a:cubicBezTo>
                    <a:pt x="151" y="74"/>
                    <a:pt x="151" y="74"/>
                    <a:pt x="151" y="74"/>
                  </a:cubicBezTo>
                  <a:cubicBezTo>
                    <a:pt x="148" y="69"/>
                    <a:pt x="149" y="58"/>
                    <a:pt x="157" y="54"/>
                  </a:cubicBezTo>
                  <a:cubicBezTo>
                    <a:pt x="157" y="53"/>
                    <a:pt x="157" y="53"/>
                    <a:pt x="157" y="54"/>
                  </a:cubicBezTo>
                  <a:cubicBezTo>
                    <a:pt x="158" y="55"/>
                    <a:pt x="159" y="57"/>
                    <a:pt x="159" y="57"/>
                  </a:cubicBezTo>
                  <a:cubicBezTo>
                    <a:pt x="160" y="57"/>
                    <a:pt x="161" y="57"/>
                    <a:pt x="163" y="57"/>
                  </a:cubicBezTo>
                  <a:cubicBezTo>
                    <a:pt x="164" y="57"/>
                    <a:pt x="165" y="57"/>
                    <a:pt x="166" y="57"/>
                  </a:cubicBezTo>
                  <a:cubicBezTo>
                    <a:pt x="166" y="55"/>
                    <a:pt x="166" y="53"/>
                    <a:pt x="165" y="51"/>
                  </a:cubicBezTo>
                  <a:cubicBezTo>
                    <a:pt x="165" y="51"/>
                    <a:pt x="165" y="51"/>
                    <a:pt x="165" y="51"/>
                  </a:cubicBezTo>
                  <a:cubicBezTo>
                    <a:pt x="165" y="51"/>
                    <a:pt x="165" y="51"/>
                    <a:pt x="166" y="51"/>
                  </a:cubicBezTo>
                  <a:cubicBezTo>
                    <a:pt x="168" y="53"/>
                    <a:pt x="169" y="54"/>
                    <a:pt x="169" y="57"/>
                  </a:cubicBezTo>
                  <a:cubicBezTo>
                    <a:pt x="171" y="57"/>
                    <a:pt x="175" y="57"/>
                    <a:pt x="176" y="57"/>
                  </a:cubicBezTo>
                  <a:cubicBezTo>
                    <a:pt x="176" y="55"/>
                    <a:pt x="176" y="54"/>
                    <a:pt x="175" y="53"/>
                  </a:cubicBezTo>
                  <a:cubicBezTo>
                    <a:pt x="175" y="53"/>
                    <a:pt x="175" y="53"/>
                    <a:pt x="175" y="53"/>
                  </a:cubicBezTo>
                  <a:cubicBezTo>
                    <a:pt x="175" y="53"/>
                    <a:pt x="175" y="53"/>
                    <a:pt x="175" y="53"/>
                  </a:cubicBezTo>
                  <a:cubicBezTo>
                    <a:pt x="183" y="56"/>
                    <a:pt x="185" y="63"/>
                    <a:pt x="185" y="67"/>
                  </a:cubicBezTo>
                  <a:cubicBezTo>
                    <a:pt x="185" y="73"/>
                    <a:pt x="182" y="78"/>
                    <a:pt x="177" y="81"/>
                  </a:cubicBezTo>
                  <a:cubicBezTo>
                    <a:pt x="174" y="83"/>
                    <a:pt x="171" y="85"/>
                    <a:pt x="168" y="86"/>
                  </a:cubicBezTo>
                  <a:moveTo>
                    <a:pt x="91" y="42"/>
                  </a:moveTo>
                  <a:cubicBezTo>
                    <a:pt x="90" y="43"/>
                    <a:pt x="87" y="43"/>
                    <a:pt x="85" y="43"/>
                  </a:cubicBezTo>
                  <a:cubicBezTo>
                    <a:pt x="85" y="43"/>
                    <a:pt x="85" y="43"/>
                    <a:pt x="84" y="43"/>
                  </a:cubicBezTo>
                  <a:cubicBezTo>
                    <a:pt x="84" y="43"/>
                    <a:pt x="84" y="40"/>
                    <a:pt x="84" y="39"/>
                  </a:cubicBezTo>
                  <a:cubicBezTo>
                    <a:pt x="84" y="39"/>
                    <a:pt x="85" y="39"/>
                    <a:pt x="86" y="39"/>
                  </a:cubicBezTo>
                  <a:cubicBezTo>
                    <a:pt x="87" y="39"/>
                    <a:pt x="90" y="40"/>
                    <a:pt x="91" y="42"/>
                  </a:cubicBezTo>
                  <a:cubicBezTo>
                    <a:pt x="91" y="42"/>
                    <a:pt x="91" y="42"/>
                    <a:pt x="91" y="42"/>
                  </a:cubicBezTo>
                  <a:moveTo>
                    <a:pt x="194" y="117"/>
                  </a:moveTo>
                  <a:cubicBezTo>
                    <a:pt x="194" y="117"/>
                    <a:pt x="194" y="117"/>
                    <a:pt x="195" y="117"/>
                  </a:cubicBezTo>
                  <a:cubicBezTo>
                    <a:pt x="195" y="117"/>
                    <a:pt x="195" y="117"/>
                    <a:pt x="195" y="117"/>
                  </a:cubicBezTo>
                  <a:cubicBezTo>
                    <a:pt x="197" y="117"/>
                    <a:pt x="199" y="117"/>
                    <a:pt x="200" y="116"/>
                  </a:cubicBezTo>
                  <a:cubicBezTo>
                    <a:pt x="200" y="116"/>
                    <a:pt x="199" y="110"/>
                    <a:pt x="198" y="108"/>
                  </a:cubicBezTo>
                  <a:cubicBezTo>
                    <a:pt x="196" y="108"/>
                    <a:pt x="193" y="108"/>
                    <a:pt x="191" y="105"/>
                  </a:cubicBezTo>
                  <a:cubicBezTo>
                    <a:pt x="191" y="104"/>
                    <a:pt x="190" y="104"/>
                    <a:pt x="190" y="103"/>
                  </a:cubicBezTo>
                  <a:cubicBezTo>
                    <a:pt x="186" y="98"/>
                    <a:pt x="181" y="93"/>
                    <a:pt x="174" y="89"/>
                  </a:cubicBezTo>
                  <a:cubicBezTo>
                    <a:pt x="174" y="89"/>
                    <a:pt x="174" y="89"/>
                    <a:pt x="174" y="89"/>
                  </a:cubicBezTo>
                  <a:cubicBezTo>
                    <a:pt x="174" y="89"/>
                    <a:pt x="174" y="89"/>
                    <a:pt x="174" y="89"/>
                  </a:cubicBezTo>
                  <a:cubicBezTo>
                    <a:pt x="184" y="84"/>
                    <a:pt x="187" y="79"/>
                    <a:pt x="189" y="77"/>
                  </a:cubicBezTo>
                  <a:cubicBezTo>
                    <a:pt x="190" y="74"/>
                    <a:pt x="192" y="67"/>
                    <a:pt x="190" y="61"/>
                  </a:cubicBezTo>
                  <a:cubicBezTo>
                    <a:pt x="189" y="55"/>
                    <a:pt x="186" y="51"/>
                    <a:pt x="180" y="48"/>
                  </a:cubicBezTo>
                  <a:cubicBezTo>
                    <a:pt x="170" y="43"/>
                    <a:pt x="160" y="45"/>
                    <a:pt x="155" y="47"/>
                  </a:cubicBezTo>
                  <a:cubicBezTo>
                    <a:pt x="146" y="52"/>
                    <a:pt x="141" y="61"/>
                    <a:pt x="143" y="71"/>
                  </a:cubicBezTo>
                  <a:cubicBezTo>
                    <a:pt x="145" y="82"/>
                    <a:pt x="152" y="85"/>
                    <a:pt x="160" y="89"/>
                  </a:cubicBezTo>
                  <a:cubicBezTo>
                    <a:pt x="160" y="89"/>
                    <a:pt x="160" y="89"/>
                    <a:pt x="160" y="89"/>
                  </a:cubicBezTo>
                  <a:cubicBezTo>
                    <a:pt x="160" y="89"/>
                    <a:pt x="160" y="89"/>
                    <a:pt x="160" y="89"/>
                  </a:cubicBezTo>
                  <a:cubicBezTo>
                    <a:pt x="153" y="93"/>
                    <a:pt x="149" y="97"/>
                    <a:pt x="149" y="105"/>
                  </a:cubicBezTo>
                  <a:cubicBezTo>
                    <a:pt x="149" y="106"/>
                    <a:pt x="149" y="108"/>
                    <a:pt x="150" y="110"/>
                  </a:cubicBezTo>
                  <a:cubicBezTo>
                    <a:pt x="151" y="113"/>
                    <a:pt x="152" y="117"/>
                    <a:pt x="151" y="123"/>
                  </a:cubicBezTo>
                  <a:cubicBezTo>
                    <a:pt x="151" y="123"/>
                    <a:pt x="156" y="121"/>
                    <a:pt x="156" y="120"/>
                  </a:cubicBezTo>
                  <a:cubicBezTo>
                    <a:pt x="158" y="116"/>
                    <a:pt x="158" y="109"/>
                    <a:pt x="158" y="109"/>
                  </a:cubicBezTo>
                  <a:cubicBezTo>
                    <a:pt x="158" y="109"/>
                    <a:pt x="158" y="109"/>
                    <a:pt x="158" y="109"/>
                  </a:cubicBezTo>
                  <a:cubicBezTo>
                    <a:pt x="158" y="109"/>
                    <a:pt x="158" y="109"/>
                    <a:pt x="158" y="109"/>
                  </a:cubicBezTo>
                  <a:cubicBezTo>
                    <a:pt x="160" y="111"/>
                    <a:pt x="160" y="115"/>
                    <a:pt x="160" y="118"/>
                  </a:cubicBezTo>
                  <a:cubicBezTo>
                    <a:pt x="161" y="117"/>
                    <a:pt x="163" y="116"/>
                    <a:pt x="164" y="115"/>
                  </a:cubicBezTo>
                  <a:cubicBezTo>
                    <a:pt x="165" y="109"/>
                    <a:pt x="164" y="105"/>
                    <a:pt x="163" y="102"/>
                  </a:cubicBezTo>
                  <a:cubicBezTo>
                    <a:pt x="163" y="102"/>
                    <a:pt x="162" y="102"/>
                    <a:pt x="162" y="101"/>
                  </a:cubicBezTo>
                  <a:cubicBezTo>
                    <a:pt x="161" y="98"/>
                    <a:pt x="164" y="94"/>
                    <a:pt x="166" y="93"/>
                  </a:cubicBezTo>
                  <a:cubicBezTo>
                    <a:pt x="167" y="93"/>
                    <a:pt x="167" y="93"/>
                    <a:pt x="167" y="93"/>
                  </a:cubicBezTo>
                  <a:cubicBezTo>
                    <a:pt x="169" y="94"/>
                    <a:pt x="171" y="95"/>
                    <a:pt x="172" y="96"/>
                  </a:cubicBezTo>
                  <a:cubicBezTo>
                    <a:pt x="175" y="98"/>
                    <a:pt x="182" y="103"/>
                    <a:pt x="185" y="110"/>
                  </a:cubicBezTo>
                  <a:cubicBezTo>
                    <a:pt x="189" y="120"/>
                    <a:pt x="187" y="126"/>
                    <a:pt x="185" y="130"/>
                  </a:cubicBezTo>
                  <a:cubicBezTo>
                    <a:pt x="181" y="135"/>
                    <a:pt x="178" y="138"/>
                    <a:pt x="172" y="138"/>
                  </a:cubicBezTo>
                  <a:cubicBezTo>
                    <a:pt x="172" y="138"/>
                    <a:pt x="172" y="138"/>
                    <a:pt x="172" y="138"/>
                  </a:cubicBezTo>
                  <a:cubicBezTo>
                    <a:pt x="172" y="138"/>
                    <a:pt x="172" y="138"/>
                    <a:pt x="172" y="138"/>
                  </a:cubicBezTo>
                  <a:cubicBezTo>
                    <a:pt x="170" y="138"/>
                    <a:pt x="169" y="138"/>
                    <a:pt x="167" y="138"/>
                  </a:cubicBezTo>
                  <a:cubicBezTo>
                    <a:pt x="166" y="138"/>
                    <a:pt x="164" y="138"/>
                    <a:pt x="163" y="137"/>
                  </a:cubicBezTo>
                  <a:cubicBezTo>
                    <a:pt x="162" y="137"/>
                    <a:pt x="161" y="137"/>
                    <a:pt x="160" y="136"/>
                  </a:cubicBezTo>
                  <a:cubicBezTo>
                    <a:pt x="160" y="136"/>
                    <a:pt x="160" y="136"/>
                    <a:pt x="160" y="136"/>
                  </a:cubicBezTo>
                  <a:cubicBezTo>
                    <a:pt x="160" y="136"/>
                    <a:pt x="160" y="136"/>
                    <a:pt x="159" y="136"/>
                  </a:cubicBezTo>
                  <a:cubicBezTo>
                    <a:pt x="159" y="136"/>
                    <a:pt x="159" y="136"/>
                    <a:pt x="159" y="136"/>
                  </a:cubicBezTo>
                  <a:cubicBezTo>
                    <a:pt x="159" y="136"/>
                    <a:pt x="159" y="136"/>
                    <a:pt x="159" y="136"/>
                  </a:cubicBezTo>
                  <a:cubicBezTo>
                    <a:pt x="159" y="136"/>
                    <a:pt x="159" y="136"/>
                    <a:pt x="159" y="136"/>
                  </a:cubicBezTo>
                  <a:cubicBezTo>
                    <a:pt x="156" y="134"/>
                    <a:pt x="147" y="129"/>
                    <a:pt x="138" y="120"/>
                  </a:cubicBezTo>
                  <a:cubicBezTo>
                    <a:pt x="133" y="114"/>
                    <a:pt x="129" y="109"/>
                    <a:pt x="126" y="106"/>
                  </a:cubicBezTo>
                  <a:cubicBezTo>
                    <a:pt x="125" y="104"/>
                    <a:pt x="125" y="104"/>
                    <a:pt x="125" y="104"/>
                  </a:cubicBezTo>
                  <a:cubicBezTo>
                    <a:pt x="125" y="104"/>
                    <a:pt x="125" y="104"/>
                    <a:pt x="125" y="104"/>
                  </a:cubicBezTo>
                  <a:cubicBezTo>
                    <a:pt x="125" y="104"/>
                    <a:pt x="125" y="104"/>
                    <a:pt x="125" y="104"/>
                  </a:cubicBezTo>
                  <a:cubicBezTo>
                    <a:pt x="129" y="106"/>
                    <a:pt x="133" y="105"/>
                    <a:pt x="134" y="105"/>
                  </a:cubicBezTo>
                  <a:cubicBezTo>
                    <a:pt x="134" y="105"/>
                    <a:pt x="134" y="102"/>
                    <a:pt x="134" y="100"/>
                  </a:cubicBezTo>
                  <a:cubicBezTo>
                    <a:pt x="134" y="94"/>
                    <a:pt x="134" y="94"/>
                    <a:pt x="134" y="94"/>
                  </a:cubicBezTo>
                  <a:cubicBezTo>
                    <a:pt x="134" y="94"/>
                    <a:pt x="134" y="92"/>
                    <a:pt x="134" y="90"/>
                  </a:cubicBezTo>
                  <a:cubicBezTo>
                    <a:pt x="133" y="90"/>
                    <a:pt x="123" y="89"/>
                    <a:pt x="121" y="84"/>
                  </a:cubicBezTo>
                  <a:cubicBezTo>
                    <a:pt x="121" y="84"/>
                    <a:pt x="121" y="84"/>
                    <a:pt x="121" y="84"/>
                  </a:cubicBezTo>
                  <a:cubicBezTo>
                    <a:pt x="121" y="84"/>
                    <a:pt x="121" y="84"/>
                    <a:pt x="121" y="84"/>
                  </a:cubicBezTo>
                  <a:cubicBezTo>
                    <a:pt x="121" y="84"/>
                    <a:pt x="124" y="85"/>
                    <a:pt x="127" y="86"/>
                  </a:cubicBezTo>
                  <a:cubicBezTo>
                    <a:pt x="130" y="86"/>
                    <a:pt x="134" y="85"/>
                    <a:pt x="135" y="85"/>
                  </a:cubicBezTo>
                  <a:cubicBezTo>
                    <a:pt x="135" y="84"/>
                    <a:pt x="135" y="78"/>
                    <a:pt x="135" y="75"/>
                  </a:cubicBezTo>
                  <a:cubicBezTo>
                    <a:pt x="135" y="75"/>
                    <a:pt x="135" y="72"/>
                    <a:pt x="135" y="71"/>
                  </a:cubicBezTo>
                  <a:cubicBezTo>
                    <a:pt x="134" y="71"/>
                    <a:pt x="131" y="71"/>
                    <a:pt x="128" y="70"/>
                  </a:cubicBezTo>
                  <a:cubicBezTo>
                    <a:pt x="126" y="70"/>
                    <a:pt x="122" y="68"/>
                    <a:pt x="121" y="65"/>
                  </a:cubicBezTo>
                  <a:cubicBezTo>
                    <a:pt x="121" y="65"/>
                    <a:pt x="121" y="65"/>
                    <a:pt x="121" y="65"/>
                  </a:cubicBezTo>
                  <a:cubicBezTo>
                    <a:pt x="121" y="65"/>
                    <a:pt x="121" y="65"/>
                    <a:pt x="121" y="65"/>
                  </a:cubicBezTo>
                  <a:cubicBezTo>
                    <a:pt x="121" y="65"/>
                    <a:pt x="123" y="66"/>
                    <a:pt x="127" y="66"/>
                  </a:cubicBezTo>
                  <a:cubicBezTo>
                    <a:pt x="131" y="67"/>
                    <a:pt x="136" y="66"/>
                    <a:pt x="136" y="66"/>
                  </a:cubicBezTo>
                  <a:cubicBezTo>
                    <a:pt x="136" y="63"/>
                    <a:pt x="136" y="56"/>
                    <a:pt x="136" y="56"/>
                  </a:cubicBezTo>
                  <a:cubicBezTo>
                    <a:pt x="136" y="54"/>
                    <a:pt x="136" y="52"/>
                    <a:pt x="136" y="51"/>
                  </a:cubicBezTo>
                  <a:cubicBezTo>
                    <a:pt x="135" y="52"/>
                    <a:pt x="128" y="51"/>
                    <a:pt x="123" y="46"/>
                  </a:cubicBezTo>
                  <a:cubicBezTo>
                    <a:pt x="123" y="46"/>
                    <a:pt x="121" y="44"/>
                    <a:pt x="123" y="41"/>
                  </a:cubicBezTo>
                  <a:cubicBezTo>
                    <a:pt x="112" y="36"/>
                    <a:pt x="112" y="36"/>
                    <a:pt x="112" y="36"/>
                  </a:cubicBezTo>
                  <a:cubicBezTo>
                    <a:pt x="112" y="36"/>
                    <a:pt x="112" y="36"/>
                    <a:pt x="112" y="36"/>
                  </a:cubicBezTo>
                  <a:cubicBezTo>
                    <a:pt x="113" y="36"/>
                    <a:pt x="115" y="34"/>
                    <a:pt x="115" y="32"/>
                  </a:cubicBezTo>
                  <a:cubicBezTo>
                    <a:pt x="115" y="31"/>
                    <a:pt x="114" y="30"/>
                    <a:pt x="114" y="30"/>
                  </a:cubicBezTo>
                  <a:cubicBezTo>
                    <a:pt x="113" y="29"/>
                    <a:pt x="110" y="28"/>
                    <a:pt x="108" y="29"/>
                  </a:cubicBezTo>
                  <a:cubicBezTo>
                    <a:pt x="105" y="29"/>
                    <a:pt x="103" y="32"/>
                    <a:pt x="103" y="32"/>
                  </a:cubicBezTo>
                  <a:cubicBezTo>
                    <a:pt x="103" y="32"/>
                    <a:pt x="103" y="32"/>
                    <a:pt x="103" y="32"/>
                  </a:cubicBezTo>
                  <a:cubicBezTo>
                    <a:pt x="90" y="26"/>
                    <a:pt x="90" y="26"/>
                    <a:pt x="90" y="26"/>
                  </a:cubicBezTo>
                  <a:cubicBezTo>
                    <a:pt x="79" y="37"/>
                    <a:pt x="79" y="37"/>
                    <a:pt x="79" y="37"/>
                  </a:cubicBezTo>
                  <a:cubicBezTo>
                    <a:pt x="79" y="37"/>
                    <a:pt x="79" y="38"/>
                    <a:pt x="79" y="39"/>
                  </a:cubicBezTo>
                  <a:cubicBezTo>
                    <a:pt x="79" y="40"/>
                    <a:pt x="79" y="40"/>
                    <a:pt x="79" y="40"/>
                  </a:cubicBezTo>
                  <a:cubicBezTo>
                    <a:pt x="79" y="40"/>
                    <a:pt x="79" y="41"/>
                    <a:pt x="78" y="41"/>
                  </a:cubicBezTo>
                  <a:cubicBezTo>
                    <a:pt x="78" y="42"/>
                    <a:pt x="77" y="42"/>
                    <a:pt x="77" y="43"/>
                  </a:cubicBezTo>
                  <a:cubicBezTo>
                    <a:pt x="76" y="44"/>
                    <a:pt x="76" y="44"/>
                    <a:pt x="75" y="45"/>
                  </a:cubicBezTo>
                  <a:cubicBezTo>
                    <a:pt x="74" y="46"/>
                    <a:pt x="74" y="47"/>
                    <a:pt x="73" y="47"/>
                  </a:cubicBezTo>
                  <a:cubicBezTo>
                    <a:pt x="72" y="49"/>
                    <a:pt x="72" y="50"/>
                    <a:pt x="72" y="51"/>
                  </a:cubicBezTo>
                  <a:cubicBezTo>
                    <a:pt x="72" y="51"/>
                    <a:pt x="72" y="51"/>
                    <a:pt x="72" y="51"/>
                  </a:cubicBezTo>
                  <a:cubicBezTo>
                    <a:pt x="72" y="52"/>
                    <a:pt x="70" y="54"/>
                    <a:pt x="75" y="58"/>
                  </a:cubicBezTo>
                  <a:cubicBezTo>
                    <a:pt x="75" y="58"/>
                    <a:pt x="75" y="58"/>
                    <a:pt x="75" y="58"/>
                  </a:cubicBezTo>
                  <a:cubicBezTo>
                    <a:pt x="75" y="58"/>
                    <a:pt x="75" y="58"/>
                    <a:pt x="75" y="58"/>
                  </a:cubicBezTo>
                  <a:cubicBezTo>
                    <a:pt x="76" y="58"/>
                    <a:pt x="76" y="58"/>
                    <a:pt x="76" y="58"/>
                  </a:cubicBezTo>
                  <a:cubicBezTo>
                    <a:pt x="76" y="58"/>
                    <a:pt x="76" y="58"/>
                    <a:pt x="76" y="58"/>
                  </a:cubicBezTo>
                  <a:cubicBezTo>
                    <a:pt x="76" y="58"/>
                    <a:pt x="76" y="58"/>
                    <a:pt x="76" y="58"/>
                  </a:cubicBezTo>
                  <a:cubicBezTo>
                    <a:pt x="76" y="58"/>
                    <a:pt x="76" y="58"/>
                    <a:pt x="76" y="58"/>
                  </a:cubicBezTo>
                  <a:cubicBezTo>
                    <a:pt x="77" y="58"/>
                    <a:pt x="77" y="59"/>
                    <a:pt x="78" y="60"/>
                  </a:cubicBezTo>
                  <a:cubicBezTo>
                    <a:pt x="78" y="59"/>
                    <a:pt x="79" y="58"/>
                    <a:pt x="80" y="57"/>
                  </a:cubicBezTo>
                  <a:cubicBezTo>
                    <a:pt x="81" y="55"/>
                    <a:pt x="82" y="54"/>
                    <a:pt x="84" y="53"/>
                  </a:cubicBezTo>
                  <a:cubicBezTo>
                    <a:pt x="85" y="52"/>
                    <a:pt x="87" y="51"/>
                    <a:pt x="89" y="51"/>
                  </a:cubicBezTo>
                  <a:cubicBezTo>
                    <a:pt x="91" y="51"/>
                    <a:pt x="92" y="52"/>
                    <a:pt x="93" y="53"/>
                  </a:cubicBezTo>
                  <a:cubicBezTo>
                    <a:pt x="95" y="55"/>
                    <a:pt x="95" y="59"/>
                    <a:pt x="95" y="61"/>
                  </a:cubicBezTo>
                  <a:cubicBezTo>
                    <a:pt x="95" y="61"/>
                    <a:pt x="95" y="61"/>
                    <a:pt x="95" y="61"/>
                  </a:cubicBezTo>
                  <a:cubicBezTo>
                    <a:pt x="95" y="61"/>
                    <a:pt x="95" y="61"/>
                    <a:pt x="95" y="61"/>
                  </a:cubicBezTo>
                  <a:cubicBezTo>
                    <a:pt x="94" y="61"/>
                    <a:pt x="93" y="60"/>
                    <a:pt x="93" y="60"/>
                  </a:cubicBezTo>
                  <a:cubicBezTo>
                    <a:pt x="92" y="59"/>
                    <a:pt x="87" y="57"/>
                    <a:pt x="82" y="60"/>
                  </a:cubicBezTo>
                  <a:cubicBezTo>
                    <a:pt x="81" y="60"/>
                    <a:pt x="81" y="60"/>
                    <a:pt x="81" y="60"/>
                  </a:cubicBezTo>
                  <a:cubicBezTo>
                    <a:pt x="79" y="61"/>
                    <a:pt x="76" y="62"/>
                    <a:pt x="71" y="64"/>
                  </a:cubicBezTo>
                  <a:cubicBezTo>
                    <a:pt x="69" y="64"/>
                    <a:pt x="67" y="64"/>
                    <a:pt x="66" y="64"/>
                  </a:cubicBezTo>
                  <a:cubicBezTo>
                    <a:pt x="66" y="63"/>
                    <a:pt x="65" y="63"/>
                    <a:pt x="65" y="62"/>
                  </a:cubicBezTo>
                  <a:cubicBezTo>
                    <a:pt x="65" y="60"/>
                    <a:pt x="65" y="59"/>
                    <a:pt x="65" y="58"/>
                  </a:cubicBezTo>
                  <a:cubicBezTo>
                    <a:pt x="64" y="58"/>
                    <a:pt x="62" y="59"/>
                    <a:pt x="61" y="62"/>
                  </a:cubicBezTo>
                  <a:cubicBezTo>
                    <a:pt x="61" y="63"/>
                    <a:pt x="61" y="65"/>
                    <a:pt x="62" y="66"/>
                  </a:cubicBezTo>
                  <a:cubicBezTo>
                    <a:pt x="62" y="67"/>
                    <a:pt x="63" y="68"/>
                    <a:pt x="65" y="69"/>
                  </a:cubicBezTo>
                  <a:cubicBezTo>
                    <a:pt x="67" y="69"/>
                    <a:pt x="70" y="68"/>
                    <a:pt x="75" y="65"/>
                  </a:cubicBezTo>
                  <a:cubicBezTo>
                    <a:pt x="78" y="64"/>
                    <a:pt x="79" y="63"/>
                    <a:pt x="81" y="63"/>
                  </a:cubicBezTo>
                  <a:cubicBezTo>
                    <a:pt x="84" y="61"/>
                    <a:pt x="86" y="61"/>
                    <a:pt x="89" y="63"/>
                  </a:cubicBezTo>
                  <a:cubicBezTo>
                    <a:pt x="92" y="64"/>
                    <a:pt x="93" y="65"/>
                    <a:pt x="93" y="65"/>
                  </a:cubicBezTo>
                  <a:cubicBezTo>
                    <a:pt x="93" y="65"/>
                    <a:pt x="93" y="65"/>
                    <a:pt x="93" y="66"/>
                  </a:cubicBezTo>
                  <a:cubicBezTo>
                    <a:pt x="93" y="66"/>
                    <a:pt x="92" y="68"/>
                    <a:pt x="88" y="69"/>
                  </a:cubicBezTo>
                  <a:cubicBezTo>
                    <a:pt x="85" y="69"/>
                    <a:pt x="83" y="67"/>
                    <a:pt x="81" y="66"/>
                  </a:cubicBezTo>
                  <a:cubicBezTo>
                    <a:pt x="81" y="66"/>
                    <a:pt x="81" y="67"/>
                    <a:pt x="81" y="68"/>
                  </a:cubicBezTo>
                  <a:cubicBezTo>
                    <a:pt x="80" y="69"/>
                    <a:pt x="80" y="69"/>
                    <a:pt x="80" y="70"/>
                  </a:cubicBezTo>
                  <a:cubicBezTo>
                    <a:pt x="80" y="70"/>
                    <a:pt x="81" y="71"/>
                    <a:pt x="80" y="72"/>
                  </a:cubicBezTo>
                  <a:cubicBezTo>
                    <a:pt x="80" y="73"/>
                    <a:pt x="78" y="74"/>
                    <a:pt x="77" y="75"/>
                  </a:cubicBezTo>
                  <a:cubicBezTo>
                    <a:pt x="76" y="75"/>
                    <a:pt x="76" y="75"/>
                    <a:pt x="76" y="75"/>
                  </a:cubicBezTo>
                  <a:cubicBezTo>
                    <a:pt x="75" y="76"/>
                    <a:pt x="72" y="77"/>
                    <a:pt x="70" y="78"/>
                  </a:cubicBezTo>
                  <a:cubicBezTo>
                    <a:pt x="71" y="79"/>
                    <a:pt x="72" y="82"/>
                    <a:pt x="73" y="83"/>
                  </a:cubicBezTo>
                  <a:cubicBezTo>
                    <a:pt x="73" y="83"/>
                    <a:pt x="73" y="83"/>
                    <a:pt x="73" y="84"/>
                  </a:cubicBezTo>
                  <a:cubicBezTo>
                    <a:pt x="74" y="86"/>
                    <a:pt x="76" y="89"/>
                    <a:pt x="77" y="90"/>
                  </a:cubicBezTo>
                  <a:cubicBezTo>
                    <a:pt x="78" y="90"/>
                    <a:pt x="81" y="89"/>
                    <a:pt x="83" y="88"/>
                  </a:cubicBezTo>
                  <a:cubicBezTo>
                    <a:pt x="86" y="86"/>
                    <a:pt x="88" y="85"/>
                    <a:pt x="88" y="83"/>
                  </a:cubicBezTo>
                  <a:cubicBezTo>
                    <a:pt x="88" y="83"/>
                    <a:pt x="88" y="83"/>
                    <a:pt x="89" y="83"/>
                  </a:cubicBezTo>
                  <a:cubicBezTo>
                    <a:pt x="89" y="83"/>
                    <a:pt x="89" y="83"/>
                    <a:pt x="89" y="84"/>
                  </a:cubicBezTo>
                  <a:cubicBezTo>
                    <a:pt x="85" y="92"/>
                    <a:pt x="82" y="95"/>
                    <a:pt x="80" y="96"/>
                  </a:cubicBezTo>
                  <a:cubicBezTo>
                    <a:pt x="79" y="96"/>
                    <a:pt x="78" y="97"/>
                    <a:pt x="77" y="98"/>
                  </a:cubicBezTo>
                  <a:cubicBezTo>
                    <a:pt x="68" y="104"/>
                    <a:pt x="52" y="115"/>
                    <a:pt x="36" y="117"/>
                  </a:cubicBezTo>
                  <a:cubicBezTo>
                    <a:pt x="31" y="117"/>
                    <a:pt x="23" y="110"/>
                    <a:pt x="21" y="107"/>
                  </a:cubicBezTo>
                  <a:cubicBezTo>
                    <a:pt x="21" y="107"/>
                    <a:pt x="20" y="106"/>
                    <a:pt x="20" y="106"/>
                  </a:cubicBezTo>
                  <a:cubicBezTo>
                    <a:pt x="18" y="106"/>
                    <a:pt x="17" y="108"/>
                    <a:pt x="17" y="108"/>
                  </a:cubicBezTo>
                  <a:cubicBezTo>
                    <a:pt x="17" y="108"/>
                    <a:pt x="16" y="108"/>
                    <a:pt x="16" y="108"/>
                  </a:cubicBezTo>
                  <a:cubicBezTo>
                    <a:pt x="16" y="108"/>
                    <a:pt x="10" y="107"/>
                    <a:pt x="7" y="111"/>
                  </a:cubicBezTo>
                  <a:cubicBezTo>
                    <a:pt x="7" y="111"/>
                    <a:pt x="8" y="111"/>
                    <a:pt x="8" y="111"/>
                  </a:cubicBezTo>
                  <a:cubicBezTo>
                    <a:pt x="10" y="111"/>
                    <a:pt x="11" y="111"/>
                    <a:pt x="13" y="111"/>
                  </a:cubicBezTo>
                  <a:cubicBezTo>
                    <a:pt x="13" y="111"/>
                    <a:pt x="14" y="111"/>
                    <a:pt x="14" y="112"/>
                  </a:cubicBezTo>
                  <a:cubicBezTo>
                    <a:pt x="14" y="112"/>
                    <a:pt x="14" y="112"/>
                    <a:pt x="13" y="113"/>
                  </a:cubicBezTo>
                  <a:cubicBezTo>
                    <a:pt x="13" y="113"/>
                    <a:pt x="12" y="114"/>
                    <a:pt x="12" y="114"/>
                  </a:cubicBezTo>
                  <a:cubicBezTo>
                    <a:pt x="12" y="116"/>
                    <a:pt x="18" y="118"/>
                    <a:pt x="21" y="119"/>
                  </a:cubicBezTo>
                  <a:cubicBezTo>
                    <a:pt x="22" y="119"/>
                    <a:pt x="22" y="119"/>
                    <a:pt x="23" y="119"/>
                  </a:cubicBezTo>
                  <a:cubicBezTo>
                    <a:pt x="23" y="119"/>
                    <a:pt x="24" y="120"/>
                    <a:pt x="23" y="120"/>
                  </a:cubicBezTo>
                  <a:cubicBezTo>
                    <a:pt x="23" y="121"/>
                    <a:pt x="23" y="121"/>
                    <a:pt x="23" y="121"/>
                  </a:cubicBezTo>
                  <a:cubicBezTo>
                    <a:pt x="19" y="121"/>
                    <a:pt x="16" y="119"/>
                    <a:pt x="14" y="118"/>
                  </a:cubicBezTo>
                  <a:cubicBezTo>
                    <a:pt x="13" y="118"/>
                    <a:pt x="12" y="118"/>
                    <a:pt x="12" y="117"/>
                  </a:cubicBezTo>
                  <a:cubicBezTo>
                    <a:pt x="9" y="117"/>
                    <a:pt x="8" y="117"/>
                    <a:pt x="7" y="117"/>
                  </a:cubicBezTo>
                  <a:cubicBezTo>
                    <a:pt x="6" y="118"/>
                    <a:pt x="6" y="118"/>
                    <a:pt x="6" y="119"/>
                  </a:cubicBezTo>
                  <a:cubicBezTo>
                    <a:pt x="6" y="119"/>
                    <a:pt x="5" y="120"/>
                    <a:pt x="5" y="120"/>
                  </a:cubicBezTo>
                  <a:cubicBezTo>
                    <a:pt x="3" y="121"/>
                    <a:pt x="0" y="122"/>
                    <a:pt x="0" y="128"/>
                  </a:cubicBezTo>
                  <a:cubicBezTo>
                    <a:pt x="0" y="128"/>
                    <a:pt x="1" y="127"/>
                    <a:pt x="1" y="127"/>
                  </a:cubicBezTo>
                  <a:cubicBezTo>
                    <a:pt x="3" y="125"/>
                    <a:pt x="4" y="123"/>
                    <a:pt x="5" y="124"/>
                  </a:cubicBezTo>
                  <a:cubicBezTo>
                    <a:pt x="5" y="124"/>
                    <a:pt x="6" y="124"/>
                    <a:pt x="6" y="124"/>
                  </a:cubicBezTo>
                  <a:cubicBezTo>
                    <a:pt x="6" y="129"/>
                    <a:pt x="12" y="128"/>
                    <a:pt x="16" y="127"/>
                  </a:cubicBezTo>
                  <a:cubicBezTo>
                    <a:pt x="19" y="127"/>
                    <a:pt x="21" y="127"/>
                    <a:pt x="22" y="127"/>
                  </a:cubicBezTo>
                  <a:cubicBezTo>
                    <a:pt x="22" y="128"/>
                    <a:pt x="22" y="128"/>
                    <a:pt x="22" y="128"/>
                  </a:cubicBezTo>
                  <a:cubicBezTo>
                    <a:pt x="22" y="128"/>
                    <a:pt x="21" y="129"/>
                    <a:pt x="19" y="129"/>
                  </a:cubicBezTo>
                  <a:cubicBezTo>
                    <a:pt x="16" y="129"/>
                    <a:pt x="12" y="130"/>
                    <a:pt x="11" y="132"/>
                  </a:cubicBezTo>
                  <a:cubicBezTo>
                    <a:pt x="11" y="132"/>
                    <a:pt x="11" y="133"/>
                    <a:pt x="11" y="133"/>
                  </a:cubicBezTo>
                  <a:cubicBezTo>
                    <a:pt x="11" y="133"/>
                    <a:pt x="11" y="134"/>
                    <a:pt x="11" y="134"/>
                  </a:cubicBezTo>
                  <a:cubicBezTo>
                    <a:pt x="9" y="136"/>
                    <a:pt x="6" y="139"/>
                    <a:pt x="10" y="143"/>
                  </a:cubicBezTo>
                  <a:cubicBezTo>
                    <a:pt x="10" y="142"/>
                    <a:pt x="11" y="140"/>
                    <a:pt x="12" y="138"/>
                  </a:cubicBezTo>
                  <a:cubicBezTo>
                    <a:pt x="13" y="138"/>
                    <a:pt x="14" y="137"/>
                    <a:pt x="14" y="138"/>
                  </a:cubicBezTo>
                  <a:cubicBezTo>
                    <a:pt x="15" y="138"/>
                    <a:pt x="16" y="138"/>
                    <a:pt x="17" y="138"/>
                  </a:cubicBezTo>
                  <a:cubicBezTo>
                    <a:pt x="19" y="139"/>
                    <a:pt x="20" y="140"/>
                    <a:pt x="23" y="138"/>
                  </a:cubicBezTo>
                  <a:cubicBezTo>
                    <a:pt x="23" y="138"/>
                    <a:pt x="23" y="137"/>
                    <a:pt x="23" y="137"/>
                  </a:cubicBezTo>
                  <a:cubicBezTo>
                    <a:pt x="24" y="136"/>
                    <a:pt x="26" y="135"/>
                    <a:pt x="30" y="134"/>
                  </a:cubicBezTo>
                  <a:cubicBezTo>
                    <a:pt x="30" y="134"/>
                    <a:pt x="30" y="134"/>
                    <a:pt x="30" y="134"/>
                  </a:cubicBezTo>
                  <a:cubicBezTo>
                    <a:pt x="30" y="134"/>
                    <a:pt x="30" y="134"/>
                    <a:pt x="31" y="135"/>
                  </a:cubicBezTo>
                  <a:cubicBezTo>
                    <a:pt x="31" y="135"/>
                    <a:pt x="31" y="136"/>
                    <a:pt x="31" y="137"/>
                  </a:cubicBezTo>
                  <a:cubicBezTo>
                    <a:pt x="31" y="137"/>
                    <a:pt x="32" y="137"/>
                    <a:pt x="32" y="137"/>
                  </a:cubicBezTo>
                  <a:cubicBezTo>
                    <a:pt x="33" y="138"/>
                    <a:pt x="33" y="138"/>
                    <a:pt x="33" y="138"/>
                  </a:cubicBezTo>
                  <a:cubicBezTo>
                    <a:pt x="33" y="140"/>
                    <a:pt x="31" y="142"/>
                    <a:pt x="31" y="143"/>
                  </a:cubicBezTo>
                  <a:cubicBezTo>
                    <a:pt x="31" y="143"/>
                    <a:pt x="31" y="143"/>
                    <a:pt x="31" y="143"/>
                  </a:cubicBezTo>
                  <a:cubicBezTo>
                    <a:pt x="31" y="143"/>
                    <a:pt x="32" y="143"/>
                    <a:pt x="32" y="143"/>
                  </a:cubicBezTo>
                  <a:cubicBezTo>
                    <a:pt x="34" y="142"/>
                    <a:pt x="35" y="141"/>
                    <a:pt x="37" y="139"/>
                  </a:cubicBezTo>
                  <a:cubicBezTo>
                    <a:pt x="37" y="138"/>
                    <a:pt x="38" y="138"/>
                    <a:pt x="38" y="138"/>
                  </a:cubicBezTo>
                  <a:cubicBezTo>
                    <a:pt x="39" y="138"/>
                    <a:pt x="39" y="138"/>
                    <a:pt x="39" y="138"/>
                  </a:cubicBezTo>
                  <a:cubicBezTo>
                    <a:pt x="42" y="138"/>
                    <a:pt x="41" y="137"/>
                    <a:pt x="41" y="135"/>
                  </a:cubicBezTo>
                  <a:cubicBezTo>
                    <a:pt x="41" y="134"/>
                    <a:pt x="41" y="133"/>
                    <a:pt x="42" y="132"/>
                  </a:cubicBezTo>
                  <a:cubicBezTo>
                    <a:pt x="45" y="129"/>
                    <a:pt x="49" y="127"/>
                    <a:pt x="52" y="126"/>
                  </a:cubicBezTo>
                  <a:cubicBezTo>
                    <a:pt x="52" y="126"/>
                    <a:pt x="52" y="126"/>
                    <a:pt x="52" y="126"/>
                  </a:cubicBezTo>
                  <a:cubicBezTo>
                    <a:pt x="52" y="126"/>
                    <a:pt x="52" y="126"/>
                    <a:pt x="52" y="126"/>
                  </a:cubicBezTo>
                  <a:cubicBezTo>
                    <a:pt x="52" y="126"/>
                    <a:pt x="51" y="130"/>
                    <a:pt x="53" y="133"/>
                  </a:cubicBezTo>
                  <a:cubicBezTo>
                    <a:pt x="65" y="130"/>
                    <a:pt x="65" y="130"/>
                    <a:pt x="65" y="130"/>
                  </a:cubicBezTo>
                  <a:cubicBezTo>
                    <a:pt x="64" y="126"/>
                    <a:pt x="67" y="122"/>
                    <a:pt x="69" y="119"/>
                  </a:cubicBezTo>
                  <a:cubicBezTo>
                    <a:pt x="69" y="119"/>
                    <a:pt x="69" y="119"/>
                    <a:pt x="69" y="119"/>
                  </a:cubicBezTo>
                  <a:cubicBezTo>
                    <a:pt x="69" y="119"/>
                    <a:pt x="69" y="119"/>
                    <a:pt x="69" y="121"/>
                  </a:cubicBezTo>
                  <a:cubicBezTo>
                    <a:pt x="69" y="123"/>
                    <a:pt x="68" y="128"/>
                    <a:pt x="69" y="129"/>
                  </a:cubicBezTo>
                  <a:cubicBezTo>
                    <a:pt x="82" y="126"/>
                    <a:pt x="82" y="126"/>
                    <a:pt x="82" y="126"/>
                  </a:cubicBezTo>
                  <a:cubicBezTo>
                    <a:pt x="81" y="124"/>
                    <a:pt x="82" y="120"/>
                    <a:pt x="83" y="118"/>
                  </a:cubicBezTo>
                  <a:cubicBezTo>
                    <a:pt x="83" y="118"/>
                    <a:pt x="83" y="118"/>
                    <a:pt x="83" y="118"/>
                  </a:cubicBezTo>
                  <a:cubicBezTo>
                    <a:pt x="83" y="118"/>
                    <a:pt x="83" y="118"/>
                    <a:pt x="83" y="118"/>
                  </a:cubicBezTo>
                  <a:cubicBezTo>
                    <a:pt x="85" y="126"/>
                    <a:pt x="88" y="130"/>
                    <a:pt x="93" y="133"/>
                  </a:cubicBezTo>
                  <a:cubicBezTo>
                    <a:pt x="101" y="136"/>
                    <a:pt x="107" y="138"/>
                    <a:pt x="116" y="140"/>
                  </a:cubicBezTo>
                  <a:cubicBezTo>
                    <a:pt x="119" y="141"/>
                    <a:pt x="122" y="142"/>
                    <a:pt x="126" y="143"/>
                  </a:cubicBezTo>
                  <a:cubicBezTo>
                    <a:pt x="130" y="144"/>
                    <a:pt x="134" y="146"/>
                    <a:pt x="136" y="147"/>
                  </a:cubicBezTo>
                  <a:cubicBezTo>
                    <a:pt x="136" y="147"/>
                    <a:pt x="137" y="147"/>
                    <a:pt x="137" y="148"/>
                  </a:cubicBezTo>
                  <a:cubicBezTo>
                    <a:pt x="137" y="149"/>
                    <a:pt x="135" y="151"/>
                    <a:pt x="135" y="151"/>
                  </a:cubicBezTo>
                  <a:cubicBezTo>
                    <a:pt x="135" y="151"/>
                    <a:pt x="135" y="152"/>
                    <a:pt x="136" y="152"/>
                  </a:cubicBezTo>
                  <a:cubicBezTo>
                    <a:pt x="137" y="152"/>
                    <a:pt x="139" y="153"/>
                    <a:pt x="142" y="155"/>
                  </a:cubicBezTo>
                  <a:cubicBezTo>
                    <a:pt x="146" y="158"/>
                    <a:pt x="148" y="165"/>
                    <a:pt x="149" y="172"/>
                  </a:cubicBezTo>
                  <a:cubicBezTo>
                    <a:pt x="151" y="177"/>
                    <a:pt x="152" y="184"/>
                    <a:pt x="150" y="186"/>
                  </a:cubicBezTo>
                  <a:cubicBezTo>
                    <a:pt x="149" y="187"/>
                    <a:pt x="148" y="188"/>
                    <a:pt x="142" y="189"/>
                  </a:cubicBezTo>
                  <a:cubicBezTo>
                    <a:pt x="143" y="194"/>
                    <a:pt x="143" y="194"/>
                    <a:pt x="143" y="194"/>
                  </a:cubicBezTo>
                  <a:cubicBezTo>
                    <a:pt x="147" y="194"/>
                    <a:pt x="150" y="193"/>
                    <a:pt x="150" y="193"/>
                  </a:cubicBezTo>
                  <a:cubicBezTo>
                    <a:pt x="150" y="193"/>
                    <a:pt x="150" y="193"/>
                    <a:pt x="151" y="193"/>
                  </a:cubicBezTo>
                  <a:cubicBezTo>
                    <a:pt x="151" y="193"/>
                    <a:pt x="151" y="193"/>
                    <a:pt x="150" y="193"/>
                  </a:cubicBezTo>
                  <a:cubicBezTo>
                    <a:pt x="150" y="193"/>
                    <a:pt x="150" y="193"/>
                    <a:pt x="150" y="194"/>
                  </a:cubicBezTo>
                  <a:cubicBezTo>
                    <a:pt x="148" y="196"/>
                    <a:pt x="148" y="197"/>
                    <a:pt x="148" y="199"/>
                  </a:cubicBezTo>
                  <a:cubicBezTo>
                    <a:pt x="153" y="202"/>
                    <a:pt x="153" y="202"/>
                    <a:pt x="153" y="202"/>
                  </a:cubicBezTo>
                  <a:cubicBezTo>
                    <a:pt x="154" y="198"/>
                    <a:pt x="155" y="194"/>
                    <a:pt x="157" y="193"/>
                  </a:cubicBezTo>
                  <a:cubicBezTo>
                    <a:pt x="160" y="192"/>
                    <a:pt x="171" y="198"/>
                    <a:pt x="175" y="208"/>
                  </a:cubicBezTo>
                  <a:cubicBezTo>
                    <a:pt x="176" y="213"/>
                    <a:pt x="177" y="221"/>
                    <a:pt x="174" y="226"/>
                  </a:cubicBezTo>
                  <a:cubicBezTo>
                    <a:pt x="173" y="228"/>
                    <a:pt x="171" y="229"/>
                    <a:pt x="170" y="229"/>
                  </a:cubicBezTo>
                  <a:cubicBezTo>
                    <a:pt x="168" y="229"/>
                    <a:pt x="166" y="228"/>
                    <a:pt x="164" y="227"/>
                  </a:cubicBezTo>
                  <a:cubicBezTo>
                    <a:pt x="161" y="226"/>
                    <a:pt x="158" y="224"/>
                    <a:pt x="157" y="226"/>
                  </a:cubicBezTo>
                  <a:cubicBezTo>
                    <a:pt x="157" y="227"/>
                    <a:pt x="155" y="228"/>
                    <a:pt x="154" y="228"/>
                  </a:cubicBezTo>
                  <a:cubicBezTo>
                    <a:pt x="151" y="230"/>
                    <a:pt x="148" y="232"/>
                    <a:pt x="150" y="237"/>
                  </a:cubicBezTo>
                  <a:cubicBezTo>
                    <a:pt x="152" y="234"/>
                    <a:pt x="154" y="233"/>
                    <a:pt x="155" y="234"/>
                  </a:cubicBezTo>
                  <a:cubicBezTo>
                    <a:pt x="156" y="234"/>
                    <a:pt x="156" y="234"/>
                    <a:pt x="156" y="235"/>
                  </a:cubicBezTo>
                  <a:cubicBezTo>
                    <a:pt x="156" y="235"/>
                    <a:pt x="157" y="236"/>
                    <a:pt x="157" y="236"/>
                  </a:cubicBezTo>
                  <a:cubicBezTo>
                    <a:pt x="157" y="237"/>
                    <a:pt x="160" y="237"/>
                    <a:pt x="162" y="236"/>
                  </a:cubicBezTo>
                  <a:cubicBezTo>
                    <a:pt x="164" y="236"/>
                    <a:pt x="167" y="236"/>
                    <a:pt x="167" y="237"/>
                  </a:cubicBezTo>
                  <a:cubicBezTo>
                    <a:pt x="167" y="237"/>
                    <a:pt x="167" y="237"/>
                    <a:pt x="167" y="237"/>
                  </a:cubicBezTo>
                  <a:cubicBezTo>
                    <a:pt x="167" y="238"/>
                    <a:pt x="166" y="238"/>
                    <a:pt x="165" y="238"/>
                  </a:cubicBezTo>
                  <a:cubicBezTo>
                    <a:pt x="165" y="238"/>
                    <a:pt x="165" y="238"/>
                    <a:pt x="165" y="238"/>
                  </a:cubicBezTo>
                  <a:cubicBezTo>
                    <a:pt x="164" y="238"/>
                    <a:pt x="164" y="238"/>
                    <a:pt x="163" y="238"/>
                  </a:cubicBezTo>
                  <a:cubicBezTo>
                    <a:pt x="159" y="239"/>
                    <a:pt x="155" y="239"/>
                    <a:pt x="155" y="241"/>
                  </a:cubicBezTo>
                  <a:cubicBezTo>
                    <a:pt x="155" y="241"/>
                    <a:pt x="155" y="241"/>
                    <a:pt x="155" y="242"/>
                  </a:cubicBezTo>
                  <a:cubicBezTo>
                    <a:pt x="155" y="242"/>
                    <a:pt x="155" y="242"/>
                    <a:pt x="155" y="243"/>
                  </a:cubicBezTo>
                  <a:cubicBezTo>
                    <a:pt x="154" y="244"/>
                    <a:pt x="154" y="245"/>
                    <a:pt x="153" y="245"/>
                  </a:cubicBezTo>
                  <a:cubicBezTo>
                    <a:pt x="151" y="246"/>
                    <a:pt x="150" y="247"/>
                    <a:pt x="150" y="251"/>
                  </a:cubicBezTo>
                  <a:cubicBezTo>
                    <a:pt x="150" y="254"/>
                    <a:pt x="153" y="256"/>
                    <a:pt x="153" y="256"/>
                  </a:cubicBezTo>
                  <a:cubicBezTo>
                    <a:pt x="153" y="256"/>
                    <a:pt x="153" y="255"/>
                    <a:pt x="153" y="255"/>
                  </a:cubicBezTo>
                  <a:cubicBezTo>
                    <a:pt x="153" y="253"/>
                    <a:pt x="154" y="250"/>
                    <a:pt x="156" y="249"/>
                  </a:cubicBezTo>
                  <a:cubicBezTo>
                    <a:pt x="156" y="249"/>
                    <a:pt x="157" y="250"/>
                    <a:pt x="157" y="250"/>
                  </a:cubicBezTo>
                  <a:cubicBezTo>
                    <a:pt x="158" y="251"/>
                    <a:pt x="158" y="252"/>
                    <a:pt x="159" y="252"/>
                  </a:cubicBezTo>
                  <a:cubicBezTo>
                    <a:pt x="161" y="251"/>
                    <a:pt x="163" y="249"/>
                    <a:pt x="165" y="247"/>
                  </a:cubicBezTo>
                  <a:cubicBezTo>
                    <a:pt x="168" y="245"/>
                    <a:pt x="170" y="243"/>
                    <a:pt x="172" y="243"/>
                  </a:cubicBezTo>
                  <a:cubicBezTo>
                    <a:pt x="172" y="243"/>
                    <a:pt x="172" y="243"/>
                    <a:pt x="172" y="243"/>
                  </a:cubicBezTo>
                  <a:cubicBezTo>
                    <a:pt x="172" y="243"/>
                    <a:pt x="172" y="243"/>
                    <a:pt x="172" y="243"/>
                  </a:cubicBezTo>
                  <a:cubicBezTo>
                    <a:pt x="172" y="243"/>
                    <a:pt x="172" y="243"/>
                    <a:pt x="172" y="243"/>
                  </a:cubicBezTo>
                  <a:cubicBezTo>
                    <a:pt x="172" y="243"/>
                    <a:pt x="172" y="244"/>
                    <a:pt x="170" y="245"/>
                  </a:cubicBezTo>
                  <a:cubicBezTo>
                    <a:pt x="169" y="247"/>
                    <a:pt x="166" y="249"/>
                    <a:pt x="166" y="251"/>
                  </a:cubicBezTo>
                  <a:cubicBezTo>
                    <a:pt x="165" y="252"/>
                    <a:pt x="166" y="253"/>
                    <a:pt x="167" y="254"/>
                  </a:cubicBezTo>
                  <a:cubicBezTo>
                    <a:pt x="168" y="255"/>
                    <a:pt x="168" y="255"/>
                    <a:pt x="168" y="256"/>
                  </a:cubicBezTo>
                  <a:cubicBezTo>
                    <a:pt x="168" y="258"/>
                    <a:pt x="170" y="260"/>
                    <a:pt x="172" y="261"/>
                  </a:cubicBezTo>
                  <a:cubicBezTo>
                    <a:pt x="175" y="262"/>
                    <a:pt x="178" y="262"/>
                    <a:pt x="178" y="262"/>
                  </a:cubicBezTo>
                  <a:cubicBezTo>
                    <a:pt x="178" y="262"/>
                    <a:pt x="177" y="261"/>
                    <a:pt x="176" y="261"/>
                  </a:cubicBezTo>
                  <a:cubicBezTo>
                    <a:pt x="175" y="259"/>
                    <a:pt x="173" y="256"/>
                    <a:pt x="174" y="255"/>
                  </a:cubicBezTo>
                  <a:cubicBezTo>
                    <a:pt x="174" y="254"/>
                    <a:pt x="175" y="255"/>
                    <a:pt x="176" y="255"/>
                  </a:cubicBezTo>
                  <a:cubicBezTo>
                    <a:pt x="176" y="255"/>
                    <a:pt x="177" y="255"/>
                    <a:pt x="178" y="255"/>
                  </a:cubicBezTo>
                  <a:cubicBezTo>
                    <a:pt x="178" y="255"/>
                    <a:pt x="178" y="254"/>
                    <a:pt x="178" y="253"/>
                  </a:cubicBezTo>
                  <a:cubicBezTo>
                    <a:pt x="178" y="251"/>
                    <a:pt x="177" y="246"/>
                    <a:pt x="183" y="240"/>
                  </a:cubicBezTo>
                  <a:cubicBezTo>
                    <a:pt x="183" y="240"/>
                    <a:pt x="183" y="240"/>
                    <a:pt x="183" y="240"/>
                  </a:cubicBezTo>
                  <a:cubicBezTo>
                    <a:pt x="183" y="240"/>
                    <a:pt x="183" y="240"/>
                    <a:pt x="183" y="240"/>
                  </a:cubicBezTo>
                  <a:cubicBezTo>
                    <a:pt x="183" y="240"/>
                    <a:pt x="185" y="243"/>
                    <a:pt x="187" y="243"/>
                  </a:cubicBezTo>
                  <a:cubicBezTo>
                    <a:pt x="190" y="244"/>
                    <a:pt x="189" y="247"/>
                    <a:pt x="189" y="249"/>
                  </a:cubicBezTo>
                  <a:cubicBezTo>
                    <a:pt x="189" y="249"/>
                    <a:pt x="189" y="250"/>
                    <a:pt x="189" y="250"/>
                  </a:cubicBezTo>
                  <a:cubicBezTo>
                    <a:pt x="190" y="249"/>
                    <a:pt x="192" y="246"/>
                    <a:pt x="192" y="241"/>
                  </a:cubicBezTo>
                  <a:cubicBezTo>
                    <a:pt x="192" y="241"/>
                    <a:pt x="192" y="241"/>
                    <a:pt x="192" y="241"/>
                  </a:cubicBezTo>
                  <a:cubicBezTo>
                    <a:pt x="192" y="241"/>
                    <a:pt x="194" y="239"/>
                    <a:pt x="194" y="238"/>
                  </a:cubicBezTo>
                  <a:cubicBezTo>
                    <a:pt x="195" y="237"/>
                    <a:pt x="194" y="236"/>
                    <a:pt x="193" y="235"/>
                  </a:cubicBezTo>
                  <a:cubicBezTo>
                    <a:pt x="192" y="234"/>
                    <a:pt x="190" y="232"/>
                    <a:pt x="190" y="225"/>
                  </a:cubicBezTo>
                  <a:cubicBezTo>
                    <a:pt x="190" y="224"/>
                    <a:pt x="190" y="223"/>
                    <a:pt x="189" y="223"/>
                  </a:cubicBezTo>
                  <a:cubicBezTo>
                    <a:pt x="189" y="223"/>
                    <a:pt x="189" y="222"/>
                    <a:pt x="188" y="222"/>
                  </a:cubicBezTo>
                  <a:cubicBezTo>
                    <a:pt x="187" y="221"/>
                    <a:pt x="187" y="220"/>
                    <a:pt x="187" y="219"/>
                  </a:cubicBezTo>
                  <a:cubicBezTo>
                    <a:pt x="187" y="219"/>
                    <a:pt x="187" y="219"/>
                    <a:pt x="188" y="219"/>
                  </a:cubicBezTo>
                  <a:cubicBezTo>
                    <a:pt x="190" y="221"/>
                    <a:pt x="194" y="220"/>
                    <a:pt x="194" y="220"/>
                  </a:cubicBezTo>
                  <a:cubicBezTo>
                    <a:pt x="195" y="210"/>
                    <a:pt x="195" y="208"/>
                    <a:pt x="195" y="207"/>
                  </a:cubicBezTo>
                  <a:cubicBezTo>
                    <a:pt x="191" y="207"/>
                    <a:pt x="189" y="207"/>
                    <a:pt x="187" y="205"/>
                  </a:cubicBezTo>
                  <a:cubicBezTo>
                    <a:pt x="187" y="205"/>
                    <a:pt x="187" y="205"/>
                    <a:pt x="187" y="205"/>
                  </a:cubicBezTo>
                  <a:cubicBezTo>
                    <a:pt x="187" y="205"/>
                    <a:pt x="187" y="205"/>
                    <a:pt x="188" y="205"/>
                  </a:cubicBezTo>
                  <a:cubicBezTo>
                    <a:pt x="190" y="205"/>
                    <a:pt x="193" y="205"/>
                    <a:pt x="195" y="204"/>
                  </a:cubicBezTo>
                  <a:cubicBezTo>
                    <a:pt x="194" y="198"/>
                    <a:pt x="194" y="193"/>
                    <a:pt x="194" y="192"/>
                  </a:cubicBezTo>
                  <a:cubicBezTo>
                    <a:pt x="190" y="193"/>
                    <a:pt x="188" y="193"/>
                    <a:pt x="186" y="191"/>
                  </a:cubicBezTo>
                  <a:cubicBezTo>
                    <a:pt x="184" y="190"/>
                    <a:pt x="184" y="189"/>
                    <a:pt x="184" y="188"/>
                  </a:cubicBezTo>
                  <a:cubicBezTo>
                    <a:pt x="184" y="187"/>
                    <a:pt x="184" y="186"/>
                    <a:pt x="183" y="186"/>
                  </a:cubicBezTo>
                  <a:cubicBezTo>
                    <a:pt x="178" y="184"/>
                    <a:pt x="174" y="181"/>
                    <a:pt x="173" y="180"/>
                  </a:cubicBezTo>
                  <a:cubicBezTo>
                    <a:pt x="171" y="177"/>
                    <a:pt x="171" y="175"/>
                    <a:pt x="171" y="175"/>
                  </a:cubicBezTo>
                  <a:cubicBezTo>
                    <a:pt x="171" y="175"/>
                    <a:pt x="171" y="175"/>
                    <a:pt x="171" y="175"/>
                  </a:cubicBezTo>
                  <a:cubicBezTo>
                    <a:pt x="171" y="175"/>
                    <a:pt x="171" y="175"/>
                    <a:pt x="172" y="175"/>
                  </a:cubicBezTo>
                  <a:cubicBezTo>
                    <a:pt x="174" y="176"/>
                    <a:pt x="176" y="176"/>
                    <a:pt x="177" y="175"/>
                  </a:cubicBezTo>
                  <a:cubicBezTo>
                    <a:pt x="178" y="166"/>
                    <a:pt x="178" y="166"/>
                    <a:pt x="178" y="166"/>
                  </a:cubicBezTo>
                  <a:cubicBezTo>
                    <a:pt x="177" y="166"/>
                    <a:pt x="176" y="166"/>
                    <a:pt x="175" y="165"/>
                  </a:cubicBezTo>
                  <a:cubicBezTo>
                    <a:pt x="173" y="164"/>
                    <a:pt x="171" y="162"/>
                    <a:pt x="171" y="162"/>
                  </a:cubicBezTo>
                  <a:cubicBezTo>
                    <a:pt x="171" y="162"/>
                    <a:pt x="171" y="162"/>
                    <a:pt x="171" y="162"/>
                  </a:cubicBezTo>
                  <a:cubicBezTo>
                    <a:pt x="171" y="162"/>
                    <a:pt x="171" y="162"/>
                    <a:pt x="172" y="162"/>
                  </a:cubicBezTo>
                  <a:cubicBezTo>
                    <a:pt x="172" y="162"/>
                    <a:pt x="173" y="162"/>
                    <a:pt x="175" y="163"/>
                  </a:cubicBezTo>
                  <a:cubicBezTo>
                    <a:pt x="177" y="163"/>
                    <a:pt x="178" y="162"/>
                    <a:pt x="178" y="162"/>
                  </a:cubicBezTo>
                  <a:cubicBezTo>
                    <a:pt x="180" y="152"/>
                    <a:pt x="180" y="152"/>
                    <a:pt x="180" y="152"/>
                  </a:cubicBezTo>
                  <a:cubicBezTo>
                    <a:pt x="177" y="152"/>
                    <a:pt x="176" y="151"/>
                    <a:pt x="175" y="150"/>
                  </a:cubicBezTo>
                  <a:cubicBezTo>
                    <a:pt x="174" y="149"/>
                    <a:pt x="174" y="148"/>
                    <a:pt x="174" y="148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85" y="146"/>
                    <a:pt x="192" y="136"/>
                    <a:pt x="194" y="127"/>
                  </a:cubicBezTo>
                  <a:cubicBezTo>
                    <a:pt x="194" y="127"/>
                    <a:pt x="194" y="127"/>
                    <a:pt x="194" y="127"/>
                  </a:cubicBezTo>
                  <a:cubicBezTo>
                    <a:pt x="194" y="127"/>
                    <a:pt x="194" y="127"/>
                    <a:pt x="194" y="127"/>
                  </a:cubicBezTo>
                  <a:cubicBezTo>
                    <a:pt x="195" y="128"/>
                    <a:pt x="198" y="129"/>
                    <a:pt x="199" y="128"/>
                  </a:cubicBezTo>
                  <a:cubicBezTo>
                    <a:pt x="200" y="126"/>
                    <a:pt x="200" y="121"/>
                    <a:pt x="200" y="120"/>
                  </a:cubicBezTo>
                  <a:cubicBezTo>
                    <a:pt x="197" y="120"/>
                    <a:pt x="195" y="119"/>
                    <a:pt x="194" y="11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</p:grpSp>
      <p:sp>
        <p:nvSpPr>
          <p:cNvPr id="3" name="Sisällön paikkamerkki"/>
          <p:cNvSpPr>
            <a:spLocks noGrp="1"/>
          </p:cNvSpPr>
          <p:nvPr userDrawn="1">
            <p:ph idx="1"/>
          </p:nvPr>
        </p:nvSpPr>
        <p:spPr>
          <a:xfrm>
            <a:off x="577047" y="1881330"/>
            <a:ext cx="10319487" cy="4524001"/>
          </a:xfrm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8" name="Otsikko"/>
          <p:cNvSpPr>
            <a:spLocks noGrp="1"/>
          </p:cNvSpPr>
          <p:nvPr userDrawn="1">
            <p:ph type="title"/>
          </p:nvPr>
        </p:nvSpPr>
        <p:spPr>
          <a:xfrm>
            <a:off x="577047" y="313787"/>
            <a:ext cx="10319487" cy="1299027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fi-FI"/>
              <a:t>Muokkaa perustyyl. napsautt.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617328599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"/>
          <p:cNvSpPr>
            <a:spLocks/>
          </p:cNvSpPr>
          <p:nvPr userDrawn="1"/>
        </p:nvSpPr>
        <p:spPr bwMode="auto">
          <a:xfrm>
            <a:off x="10140952" y="1"/>
            <a:ext cx="2051049" cy="6117167"/>
          </a:xfrm>
          <a:custGeom>
            <a:avLst/>
            <a:gdLst>
              <a:gd name="T0" fmla="*/ 6 w 969"/>
              <a:gd name="T1" fmla="*/ 0 h 2890"/>
              <a:gd name="T2" fmla="*/ 6 w 969"/>
              <a:gd name="T3" fmla="*/ 0 h 2890"/>
              <a:gd name="T4" fmla="*/ 1 w 969"/>
              <a:gd name="T5" fmla="*/ 97 h 2890"/>
              <a:gd name="T6" fmla="*/ 0 w 969"/>
              <a:gd name="T7" fmla="*/ 193 h 2890"/>
              <a:gd name="T8" fmla="*/ 0 w 969"/>
              <a:gd name="T9" fmla="*/ 290 h 2890"/>
              <a:gd name="T10" fmla="*/ 2 w 969"/>
              <a:gd name="T11" fmla="*/ 386 h 2890"/>
              <a:gd name="T12" fmla="*/ 8 w 969"/>
              <a:gd name="T13" fmla="*/ 483 h 2890"/>
              <a:gd name="T14" fmla="*/ 15 w 969"/>
              <a:gd name="T15" fmla="*/ 577 h 2890"/>
              <a:gd name="T16" fmla="*/ 24 w 969"/>
              <a:gd name="T17" fmla="*/ 673 h 2890"/>
              <a:gd name="T18" fmla="*/ 36 w 969"/>
              <a:gd name="T19" fmla="*/ 767 h 2890"/>
              <a:gd name="T20" fmla="*/ 50 w 969"/>
              <a:gd name="T21" fmla="*/ 862 h 2890"/>
              <a:gd name="T22" fmla="*/ 65 w 969"/>
              <a:gd name="T23" fmla="*/ 956 h 2890"/>
              <a:gd name="T24" fmla="*/ 83 w 969"/>
              <a:gd name="T25" fmla="*/ 1048 h 2890"/>
              <a:gd name="T26" fmla="*/ 104 w 969"/>
              <a:gd name="T27" fmla="*/ 1142 h 2890"/>
              <a:gd name="T28" fmla="*/ 125 w 969"/>
              <a:gd name="T29" fmla="*/ 1234 h 2890"/>
              <a:gd name="T30" fmla="*/ 150 w 969"/>
              <a:gd name="T31" fmla="*/ 1325 h 2890"/>
              <a:gd name="T32" fmla="*/ 176 w 969"/>
              <a:gd name="T33" fmla="*/ 1416 h 2890"/>
              <a:gd name="T34" fmla="*/ 204 w 969"/>
              <a:gd name="T35" fmla="*/ 1506 h 2890"/>
              <a:gd name="T36" fmla="*/ 204 w 969"/>
              <a:gd name="T37" fmla="*/ 1506 h 2890"/>
              <a:gd name="T38" fmla="*/ 236 w 969"/>
              <a:gd name="T39" fmla="*/ 1604 h 2890"/>
              <a:gd name="T40" fmla="*/ 272 w 969"/>
              <a:gd name="T41" fmla="*/ 1700 h 2890"/>
              <a:gd name="T42" fmla="*/ 309 w 969"/>
              <a:gd name="T43" fmla="*/ 1794 h 2890"/>
              <a:gd name="T44" fmla="*/ 349 w 969"/>
              <a:gd name="T45" fmla="*/ 1888 h 2890"/>
              <a:gd name="T46" fmla="*/ 389 w 969"/>
              <a:gd name="T47" fmla="*/ 1979 h 2890"/>
              <a:gd name="T48" fmla="*/ 433 w 969"/>
              <a:gd name="T49" fmla="*/ 2069 h 2890"/>
              <a:gd name="T50" fmla="*/ 478 w 969"/>
              <a:gd name="T51" fmla="*/ 2158 h 2890"/>
              <a:gd name="T52" fmla="*/ 526 w 969"/>
              <a:gd name="T53" fmla="*/ 2245 h 2890"/>
              <a:gd name="T54" fmla="*/ 575 w 969"/>
              <a:gd name="T55" fmla="*/ 2331 h 2890"/>
              <a:gd name="T56" fmla="*/ 626 w 969"/>
              <a:gd name="T57" fmla="*/ 2415 h 2890"/>
              <a:gd name="T58" fmla="*/ 679 w 969"/>
              <a:gd name="T59" fmla="*/ 2499 h 2890"/>
              <a:gd name="T60" fmla="*/ 733 w 969"/>
              <a:gd name="T61" fmla="*/ 2580 h 2890"/>
              <a:gd name="T62" fmla="*/ 790 w 969"/>
              <a:gd name="T63" fmla="*/ 2659 h 2890"/>
              <a:gd name="T64" fmla="*/ 847 w 969"/>
              <a:gd name="T65" fmla="*/ 2738 h 2890"/>
              <a:gd name="T66" fmla="*/ 907 w 969"/>
              <a:gd name="T67" fmla="*/ 2815 h 2890"/>
              <a:gd name="T68" fmla="*/ 969 w 969"/>
              <a:gd name="T69" fmla="*/ 2890 h 2890"/>
              <a:gd name="T70" fmla="*/ 969 w 969"/>
              <a:gd name="T71" fmla="*/ 0 h 2890"/>
              <a:gd name="T72" fmla="*/ 6 w 969"/>
              <a:gd name="T73" fmla="*/ 0 h 28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969" h="2890">
                <a:moveTo>
                  <a:pt x="6" y="0"/>
                </a:moveTo>
                <a:lnTo>
                  <a:pt x="6" y="0"/>
                </a:lnTo>
                <a:lnTo>
                  <a:pt x="1" y="97"/>
                </a:lnTo>
                <a:lnTo>
                  <a:pt x="0" y="193"/>
                </a:lnTo>
                <a:lnTo>
                  <a:pt x="0" y="290"/>
                </a:lnTo>
                <a:lnTo>
                  <a:pt x="2" y="386"/>
                </a:lnTo>
                <a:lnTo>
                  <a:pt x="8" y="483"/>
                </a:lnTo>
                <a:lnTo>
                  <a:pt x="15" y="577"/>
                </a:lnTo>
                <a:lnTo>
                  <a:pt x="24" y="673"/>
                </a:lnTo>
                <a:lnTo>
                  <a:pt x="36" y="767"/>
                </a:lnTo>
                <a:lnTo>
                  <a:pt x="50" y="862"/>
                </a:lnTo>
                <a:lnTo>
                  <a:pt x="65" y="956"/>
                </a:lnTo>
                <a:lnTo>
                  <a:pt x="83" y="1048"/>
                </a:lnTo>
                <a:lnTo>
                  <a:pt x="104" y="1142"/>
                </a:lnTo>
                <a:lnTo>
                  <a:pt x="125" y="1234"/>
                </a:lnTo>
                <a:lnTo>
                  <a:pt x="150" y="1325"/>
                </a:lnTo>
                <a:lnTo>
                  <a:pt x="176" y="1416"/>
                </a:lnTo>
                <a:lnTo>
                  <a:pt x="204" y="1506"/>
                </a:lnTo>
                <a:lnTo>
                  <a:pt x="204" y="1506"/>
                </a:lnTo>
                <a:lnTo>
                  <a:pt x="236" y="1604"/>
                </a:lnTo>
                <a:lnTo>
                  <a:pt x="272" y="1700"/>
                </a:lnTo>
                <a:lnTo>
                  <a:pt x="309" y="1794"/>
                </a:lnTo>
                <a:lnTo>
                  <a:pt x="349" y="1888"/>
                </a:lnTo>
                <a:lnTo>
                  <a:pt x="389" y="1979"/>
                </a:lnTo>
                <a:lnTo>
                  <a:pt x="433" y="2069"/>
                </a:lnTo>
                <a:lnTo>
                  <a:pt x="478" y="2158"/>
                </a:lnTo>
                <a:lnTo>
                  <a:pt x="526" y="2245"/>
                </a:lnTo>
                <a:lnTo>
                  <a:pt x="575" y="2331"/>
                </a:lnTo>
                <a:lnTo>
                  <a:pt x="626" y="2415"/>
                </a:lnTo>
                <a:lnTo>
                  <a:pt x="679" y="2499"/>
                </a:lnTo>
                <a:lnTo>
                  <a:pt x="733" y="2580"/>
                </a:lnTo>
                <a:lnTo>
                  <a:pt x="790" y="2659"/>
                </a:lnTo>
                <a:lnTo>
                  <a:pt x="847" y="2738"/>
                </a:lnTo>
                <a:lnTo>
                  <a:pt x="907" y="2815"/>
                </a:lnTo>
                <a:lnTo>
                  <a:pt x="969" y="2890"/>
                </a:lnTo>
                <a:lnTo>
                  <a:pt x="969" y="0"/>
                </a:lnTo>
                <a:lnTo>
                  <a:pt x="6" y="0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fi-FI" sz="2400"/>
          </a:p>
        </p:txBody>
      </p:sp>
      <p:sp>
        <p:nvSpPr>
          <p:cNvPr id="10" name="Freeform 6"/>
          <p:cNvSpPr>
            <a:spLocks/>
          </p:cNvSpPr>
          <p:nvPr userDrawn="1"/>
        </p:nvSpPr>
        <p:spPr bwMode="auto">
          <a:xfrm>
            <a:off x="10634133" y="1"/>
            <a:ext cx="1557867" cy="1756833"/>
          </a:xfrm>
          <a:custGeom>
            <a:avLst/>
            <a:gdLst>
              <a:gd name="T0" fmla="*/ 548 w 736"/>
              <a:gd name="T1" fmla="*/ 713 h 830"/>
              <a:gd name="T2" fmla="*/ 548 w 736"/>
              <a:gd name="T3" fmla="*/ 713 h 830"/>
              <a:gd name="T4" fmla="*/ 594 w 736"/>
              <a:gd name="T5" fmla="*/ 745 h 830"/>
              <a:gd name="T6" fmla="*/ 640 w 736"/>
              <a:gd name="T7" fmla="*/ 775 h 830"/>
              <a:gd name="T8" fmla="*/ 688 w 736"/>
              <a:gd name="T9" fmla="*/ 803 h 830"/>
              <a:gd name="T10" fmla="*/ 736 w 736"/>
              <a:gd name="T11" fmla="*/ 830 h 830"/>
              <a:gd name="T12" fmla="*/ 736 w 736"/>
              <a:gd name="T13" fmla="*/ 0 h 830"/>
              <a:gd name="T14" fmla="*/ 0 w 736"/>
              <a:gd name="T15" fmla="*/ 0 h 830"/>
              <a:gd name="T16" fmla="*/ 0 w 736"/>
              <a:gd name="T17" fmla="*/ 0 h 830"/>
              <a:gd name="T18" fmla="*/ 22 w 736"/>
              <a:gd name="T19" fmla="*/ 55 h 830"/>
              <a:gd name="T20" fmla="*/ 46 w 736"/>
              <a:gd name="T21" fmla="*/ 108 h 830"/>
              <a:gd name="T22" fmla="*/ 72 w 736"/>
              <a:gd name="T23" fmla="*/ 161 h 830"/>
              <a:gd name="T24" fmla="*/ 100 w 736"/>
              <a:gd name="T25" fmla="*/ 211 h 830"/>
              <a:gd name="T26" fmla="*/ 129 w 736"/>
              <a:gd name="T27" fmla="*/ 261 h 830"/>
              <a:gd name="T28" fmla="*/ 160 w 736"/>
              <a:gd name="T29" fmla="*/ 309 h 830"/>
              <a:gd name="T30" fmla="*/ 192 w 736"/>
              <a:gd name="T31" fmla="*/ 357 h 830"/>
              <a:gd name="T32" fmla="*/ 226 w 736"/>
              <a:gd name="T33" fmla="*/ 402 h 830"/>
              <a:gd name="T34" fmla="*/ 262 w 736"/>
              <a:gd name="T35" fmla="*/ 445 h 830"/>
              <a:gd name="T36" fmla="*/ 298 w 736"/>
              <a:gd name="T37" fmla="*/ 488 h 830"/>
              <a:gd name="T38" fmla="*/ 338 w 736"/>
              <a:gd name="T39" fmla="*/ 530 h 830"/>
              <a:gd name="T40" fmla="*/ 377 w 736"/>
              <a:gd name="T41" fmla="*/ 569 h 830"/>
              <a:gd name="T42" fmla="*/ 418 w 736"/>
              <a:gd name="T43" fmla="*/ 607 h 830"/>
              <a:gd name="T44" fmla="*/ 460 w 736"/>
              <a:gd name="T45" fmla="*/ 645 h 830"/>
              <a:gd name="T46" fmla="*/ 503 w 736"/>
              <a:gd name="T47" fmla="*/ 679 h 830"/>
              <a:gd name="T48" fmla="*/ 548 w 736"/>
              <a:gd name="T49" fmla="*/ 713 h 830"/>
              <a:gd name="T50" fmla="*/ 548 w 736"/>
              <a:gd name="T51" fmla="*/ 713 h 8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736" h="830">
                <a:moveTo>
                  <a:pt x="548" y="713"/>
                </a:moveTo>
                <a:lnTo>
                  <a:pt x="548" y="713"/>
                </a:lnTo>
                <a:lnTo>
                  <a:pt x="594" y="745"/>
                </a:lnTo>
                <a:lnTo>
                  <a:pt x="640" y="775"/>
                </a:lnTo>
                <a:lnTo>
                  <a:pt x="688" y="803"/>
                </a:lnTo>
                <a:lnTo>
                  <a:pt x="736" y="830"/>
                </a:lnTo>
                <a:lnTo>
                  <a:pt x="736" y="0"/>
                </a:lnTo>
                <a:lnTo>
                  <a:pt x="0" y="0"/>
                </a:lnTo>
                <a:lnTo>
                  <a:pt x="0" y="0"/>
                </a:lnTo>
                <a:lnTo>
                  <a:pt x="22" y="55"/>
                </a:lnTo>
                <a:lnTo>
                  <a:pt x="46" y="108"/>
                </a:lnTo>
                <a:lnTo>
                  <a:pt x="72" y="161"/>
                </a:lnTo>
                <a:lnTo>
                  <a:pt x="100" y="211"/>
                </a:lnTo>
                <a:lnTo>
                  <a:pt x="129" y="261"/>
                </a:lnTo>
                <a:lnTo>
                  <a:pt x="160" y="309"/>
                </a:lnTo>
                <a:lnTo>
                  <a:pt x="192" y="357"/>
                </a:lnTo>
                <a:lnTo>
                  <a:pt x="226" y="402"/>
                </a:lnTo>
                <a:lnTo>
                  <a:pt x="262" y="445"/>
                </a:lnTo>
                <a:lnTo>
                  <a:pt x="298" y="488"/>
                </a:lnTo>
                <a:lnTo>
                  <a:pt x="338" y="530"/>
                </a:lnTo>
                <a:lnTo>
                  <a:pt x="377" y="569"/>
                </a:lnTo>
                <a:lnTo>
                  <a:pt x="418" y="607"/>
                </a:lnTo>
                <a:lnTo>
                  <a:pt x="460" y="645"/>
                </a:lnTo>
                <a:lnTo>
                  <a:pt x="503" y="679"/>
                </a:lnTo>
                <a:lnTo>
                  <a:pt x="548" y="713"/>
                </a:lnTo>
                <a:lnTo>
                  <a:pt x="548" y="713"/>
                </a:ln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fi-FI" sz="2400"/>
          </a:p>
        </p:txBody>
      </p:sp>
      <p:sp>
        <p:nvSpPr>
          <p:cNvPr id="13" name="Alatunnisteen paikkamerkki 4"/>
          <p:cNvSpPr>
            <a:spLocks noGrp="1"/>
          </p:cNvSpPr>
          <p:nvPr userDrawn="1">
            <p:ph type="ftr" sz="quarter" idx="11"/>
          </p:nvPr>
        </p:nvSpPr>
        <p:spPr>
          <a:xfrm>
            <a:off x="1583499" y="6497452"/>
            <a:ext cx="3648405" cy="258163"/>
          </a:xfrm>
          <a:prstGeom prst="rect">
            <a:avLst/>
          </a:prstGeom>
        </p:spPr>
        <p:txBody>
          <a:bodyPr/>
          <a:lstStyle>
            <a:lvl1pPr algn="l">
              <a:defRPr sz="106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fi-FI"/>
              <a:t>Petra Kokko</a:t>
            </a:r>
            <a:endParaRPr lang="fi-FI" dirty="0"/>
          </a:p>
        </p:txBody>
      </p:sp>
      <p:sp>
        <p:nvSpPr>
          <p:cNvPr id="17" name="Päivämäärän paikkamerkki 3"/>
          <p:cNvSpPr>
            <a:spLocks noGrp="1"/>
          </p:cNvSpPr>
          <p:nvPr userDrawn="1">
            <p:ph type="dt" sz="half" idx="2"/>
          </p:nvPr>
        </p:nvSpPr>
        <p:spPr>
          <a:xfrm>
            <a:off x="577047" y="6497452"/>
            <a:ext cx="911424" cy="26813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67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fi-FI"/>
              <a:t>19.5.2021</a:t>
            </a:r>
            <a:endParaRPr lang="fi-FI" dirty="0"/>
          </a:p>
        </p:txBody>
      </p:sp>
      <p:sp>
        <p:nvSpPr>
          <p:cNvPr id="15" name="Dian numeron paikkamerkki 5"/>
          <p:cNvSpPr>
            <a:spLocks noGrp="1"/>
          </p:cNvSpPr>
          <p:nvPr userDrawn="1">
            <p:ph type="sldNum" sz="quarter" idx="12"/>
          </p:nvPr>
        </p:nvSpPr>
        <p:spPr>
          <a:xfrm>
            <a:off x="-1" y="6497453"/>
            <a:ext cx="538948" cy="268137"/>
          </a:xfrm>
          <a:prstGeom prst="rect">
            <a:avLst/>
          </a:prstGeom>
        </p:spPr>
        <p:txBody>
          <a:bodyPr rIns="18000" anchor="ctr"/>
          <a:lstStyle>
            <a:lvl1pPr algn="r">
              <a:defRPr sz="1067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1EA1DD0D-7089-48C5-B116-A19F892CF1D9}" type="slidenum">
              <a:rPr lang="fi-FI" smtClean="0"/>
              <a:pPr/>
              <a:t>‹#›</a:t>
            </a:fld>
            <a:r>
              <a:rPr lang="fi-FI" dirty="0"/>
              <a:t>  </a:t>
            </a:r>
            <a:r>
              <a:rPr lang="fi-FI" b="0" dirty="0">
                <a:solidFill>
                  <a:schemeClr val="bg1">
                    <a:lumMod val="65000"/>
                  </a:schemeClr>
                </a:solidFill>
              </a:rPr>
              <a:t>|</a:t>
            </a:r>
            <a:endParaRPr lang="fi-FI" sz="800" b="0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2" name="Group 4"/>
          <p:cNvGrpSpPr>
            <a:grpSpLocks noChangeAspect="1"/>
          </p:cNvGrpSpPr>
          <p:nvPr userDrawn="1"/>
        </p:nvGrpSpPr>
        <p:grpSpPr bwMode="auto">
          <a:xfrm>
            <a:off x="11472334" y="313267"/>
            <a:ext cx="408517" cy="558800"/>
            <a:chOff x="5420" y="148"/>
            <a:chExt cx="193" cy="264"/>
          </a:xfrm>
        </p:grpSpPr>
        <p:sp>
          <p:nvSpPr>
            <p:cNvPr id="4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5420" y="148"/>
              <a:ext cx="193" cy="2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5" name="Freeform 5"/>
            <p:cNvSpPr>
              <a:spLocks noEditPoints="1"/>
            </p:cNvSpPr>
            <p:nvPr userDrawn="1"/>
          </p:nvSpPr>
          <p:spPr bwMode="auto">
            <a:xfrm>
              <a:off x="5419" y="148"/>
              <a:ext cx="195" cy="266"/>
            </a:xfrm>
            <a:custGeom>
              <a:avLst/>
              <a:gdLst>
                <a:gd name="T0" fmla="*/ 147 w 200"/>
                <a:gd name="T1" fmla="*/ 251 h 275"/>
                <a:gd name="T2" fmla="*/ 129 w 200"/>
                <a:gd name="T3" fmla="*/ 152 h 275"/>
                <a:gd name="T4" fmla="*/ 90 w 200"/>
                <a:gd name="T5" fmla="*/ 172 h 275"/>
                <a:gd name="T6" fmla="*/ 49 w 200"/>
                <a:gd name="T7" fmla="*/ 189 h 275"/>
                <a:gd name="T8" fmla="*/ 39 w 200"/>
                <a:gd name="T9" fmla="*/ 201 h 275"/>
                <a:gd name="T10" fmla="*/ 49 w 200"/>
                <a:gd name="T11" fmla="*/ 213 h 275"/>
                <a:gd name="T12" fmla="*/ 59 w 200"/>
                <a:gd name="T13" fmla="*/ 217 h 275"/>
                <a:gd name="T14" fmla="*/ 75 w 200"/>
                <a:gd name="T15" fmla="*/ 216 h 275"/>
                <a:gd name="T16" fmla="*/ 104 w 200"/>
                <a:gd name="T17" fmla="*/ 206 h 275"/>
                <a:gd name="T18" fmla="*/ 113 w 200"/>
                <a:gd name="T19" fmla="*/ 180 h 275"/>
                <a:gd name="T20" fmla="*/ 20 w 200"/>
                <a:gd name="T21" fmla="*/ 235 h 275"/>
                <a:gd name="T22" fmla="*/ 51 w 200"/>
                <a:gd name="T23" fmla="*/ 266 h 275"/>
                <a:gd name="T24" fmla="*/ 54 w 200"/>
                <a:gd name="T25" fmla="*/ 227 h 275"/>
                <a:gd name="T26" fmla="*/ 27 w 200"/>
                <a:gd name="T27" fmla="*/ 224 h 275"/>
                <a:gd name="T28" fmla="*/ 13 w 200"/>
                <a:gd name="T29" fmla="*/ 236 h 275"/>
                <a:gd name="T30" fmla="*/ 44 w 200"/>
                <a:gd name="T31" fmla="*/ 31 h 275"/>
                <a:gd name="T32" fmla="*/ 36 w 200"/>
                <a:gd name="T33" fmla="*/ 23 h 275"/>
                <a:gd name="T34" fmla="*/ 27 w 200"/>
                <a:gd name="T35" fmla="*/ 22 h 275"/>
                <a:gd name="T36" fmla="*/ 33 w 200"/>
                <a:gd name="T37" fmla="*/ 37 h 275"/>
                <a:gd name="T38" fmla="*/ 42 w 200"/>
                <a:gd name="T39" fmla="*/ 36 h 275"/>
                <a:gd name="T40" fmla="*/ 29 w 200"/>
                <a:gd name="T41" fmla="*/ 45 h 275"/>
                <a:gd name="T42" fmla="*/ 31 w 200"/>
                <a:gd name="T43" fmla="*/ 56 h 275"/>
                <a:gd name="T44" fmla="*/ 45 w 200"/>
                <a:gd name="T45" fmla="*/ 83 h 275"/>
                <a:gd name="T46" fmla="*/ 56 w 200"/>
                <a:gd name="T47" fmla="*/ 87 h 275"/>
                <a:gd name="T48" fmla="*/ 53 w 200"/>
                <a:gd name="T49" fmla="*/ 28 h 275"/>
                <a:gd name="T50" fmla="*/ 58 w 200"/>
                <a:gd name="T51" fmla="*/ 46 h 275"/>
                <a:gd name="T52" fmla="*/ 80 w 200"/>
                <a:gd name="T53" fmla="*/ 26 h 275"/>
                <a:gd name="T54" fmla="*/ 125 w 200"/>
                <a:gd name="T55" fmla="*/ 38 h 275"/>
                <a:gd name="T56" fmla="*/ 121 w 200"/>
                <a:gd name="T57" fmla="*/ 26 h 275"/>
                <a:gd name="T58" fmla="*/ 113 w 200"/>
                <a:gd name="T59" fmla="*/ 10 h 275"/>
                <a:gd name="T60" fmla="*/ 96 w 200"/>
                <a:gd name="T61" fmla="*/ 14 h 275"/>
                <a:gd name="T62" fmla="*/ 114 w 200"/>
                <a:gd name="T63" fmla="*/ 26 h 275"/>
                <a:gd name="T64" fmla="*/ 180 w 200"/>
                <a:gd name="T65" fmla="*/ 35 h 275"/>
                <a:gd name="T66" fmla="*/ 166 w 200"/>
                <a:gd name="T67" fmla="*/ 57 h 275"/>
                <a:gd name="T68" fmla="*/ 168 w 200"/>
                <a:gd name="T69" fmla="*/ 86 h 275"/>
                <a:gd name="T70" fmla="*/ 200 w 200"/>
                <a:gd name="T71" fmla="*/ 116 h 275"/>
                <a:gd name="T72" fmla="*/ 143 w 200"/>
                <a:gd name="T73" fmla="*/ 71 h 275"/>
                <a:gd name="T74" fmla="*/ 160 w 200"/>
                <a:gd name="T75" fmla="*/ 118 h 275"/>
                <a:gd name="T76" fmla="*/ 172 w 200"/>
                <a:gd name="T77" fmla="*/ 138 h 275"/>
                <a:gd name="T78" fmla="*/ 125 w 200"/>
                <a:gd name="T79" fmla="*/ 104 h 275"/>
                <a:gd name="T80" fmla="*/ 135 w 200"/>
                <a:gd name="T81" fmla="*/ 85 h 275"/>
                <a:gd name="T82" fmla="*/ 123 w 200"/>
                <a:gd name="T83" fmla="*/ 46 h 275"/>
                <a:gd name="T84" fmla="*/ 79 w 200"/>
                <a:gd name="T85" fmla="*/ 39 h 275"/>
                <a:gd name="T86" fmla="*/ 76 w 200"/>
                <a:gd name="T87" fmla="*/ 58 h 275"/>
                <a:gd name="T88" fmla="*/ 95 w 200"/>
                <a:gd name="T89" fmla="*/ 61 h 275"/>
                <a:gd name="T90" fmla="*/ 75 w 200"/>
                <a:gd name="T91" fmla="*/ 65 h 275"/>
                <a:gd name="T92" fmla="*/ 76 w 200"/>
                <a:gd name="T93" fmla="*/ 75 h 275"/>
                <a:gd name="T94" fmla="*/ 36 w 200"/>
                <a:gd name="T95" fmla="*/ 117 h 275"/>
                <a:gd name="T96" fmla="*/ 21 w 200"/>
                <a:gd name="T97" fmla="*/ 119 h 275"/>
                <a:gd name="T98" fmla="*/ 5 w 200"/>
                <a:gd name="T99" fmla="*/ 124 h 275"/>
                <a:gd name="T100" fmla="*/ 14 w 200"/>
                <a:gd name="T101" fmla="*/ 138 h 275"/>
                <a:gd name="T102" fmla="*/ 31 w 200"/>
                <a:gd name="T103" fmla="*/ 143 h 275"/>
                <a:gd name="T104" fmla="*/ 65 w 200"/>
                <a:gd name="T105" fmla="*/ 130 h 275"/>
                <a:gd name="T106" fmla="*/ 126 w 200"/>
                <a:gd name="T107" fmla="*/ 143 h 275"/>
                <a:gd name="T108" fmla="*/ 151 w 200"/>
                <a:gd name="T109" fmla="*/ 193 h 275"/>
                <a:gd name="T110" fmla="*/ 154 w 200"/>
                <a:gd name="T111" fmla="*/ 228 h 275"/>
                <a:gd name="T112" fmla="*/ 155 w 200"/>
                <a:gd name="T113" fmla="*/ 241 h 275"/>
                <a:gd name="T114" fmla="*/ 172 w 200"/>
                <a:gd name="T115" fmla="*/ 243 h 275"/>
                <a:gd name="T116" fmla="*/ 174 w 200"/>
                <a:gd name="T117" fmla="*/ 255 h 275"/>
                <a:gd name="T118" fmla="*/ 192 w 200"/>
                <a:gd name="T119" fmla="*/ 241 h 275"/>
                <a:gd name="T120" fmla="*/ 187 w 200"/>
                <a:gd name="T121" fmla="*/ 205 h 275"/>
                <a:gd name="T122" fmla="*/ 177 w 200"/>
                <a:gd name="T123" fmla="*/ 175 h 275"/>
                <a:gd name="T124" fmla="*/ 174 w 200"/>
                <a:gd name="T125" fmla="*/ 148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0" h="275">
                  <a:moveTo>
                    <a:pt x="54" y="255"/>
                  </a:moveTo>
                  <a:cubicBezTo>
                    <a:pt x="60" y="258"/>
                    <a:pt x="63" y="260"/>
                    <a:pt x="67" y="262"/>
                  </a:cubicBezTo>
                  <a:cubicBezTo>
                    <a:pt x="77" y="267"/>
                    <a:pt x="99" y="275"/>
                    <a:pt x="128" y="272"/>
                  </a:cubicBezTo>
                  <a:cubicBezTo>
                    <a:pt x="152" y="270"/>
                    <a:pt x="165" y="262"/>
                    <a:pt x="167" y="260"/>
                  </a:cubicBezTo>
                  <a:cubicBezTo>
                    <a:pt x="163" y="259"/>
                    <a:pt x="160" y="257"/>
                    <a:pt x="156" y="254"/>
                  </a:cubicBezTo>
                  <a:cubicBezTo>
                    <a:pt x="156" y="254"/>
                    <a:pt x="156" y="255"/>
                    <a:pt x="156" y="256"/>
                  </a:cubicBezTo>
                  <a:cubicBezTo>
                    <a:pt x="156" y="258"/>
                    <a:pt x="155" y="260"/>
                    <a:pt x="155" y="260"/>
                  </a:cubicBezTo>
                  <a:cubicBezTo>
                    <a:pt x="155" y="260"/>
                    <a:pt x="155" y="260"/>
                    <a:pt x="155" y="260"/>
                  </a:cubicBezTo>
                  <a:cubicBezTo>
                    <a:pt x="155" y="260"/>
                    <a:pt x="155" y="260"/>
                    <a:pt x="155" y="260"/>
                  </a:cubicBezTo>
                  <a:cubicBezTo>
                    <a:pt x="155" y="260"/>
                    <a:pt x="154" y="260"/>
                    <a:pt x="153" y="259"/>
                  </a:cubicBezTo>
                  <a:cubicBezTo>
                    <a:pt x="151" y="258"/>
                    <a:pt x="147" y="255"/>
                    <a:pt x="147" y="251"/>
                  </a:cubicBezTo>
                  <a:cubicBezTo>
                    <a:pt x="147" y="251"/>
                    <a:pt x="147" y="251"/>
                    <a:pt x="147" y="250"/>
                  </a:cubicBezTo>
                  <a:cubicBezTo>
                    <a:pt x="142" y="253"/>
                    <a:pt x="131" y="256"/>
                    <a:pt x="121" y="256"/>
                  </a:cubicBezTo>
                  <a:cubicBezTo>
                    <a:pt x="100" y="257"/>
                    <a:pt x="81" y="253"/>
                    <a:pt x="64" y="246"/>
                  </a:cubicBezTo>
                  <a:cubicBezTo>
                    <a:pt x="62" y="245"/>
                    <a:pt x="60" y="244"/>
                    <a:pt x="59" y="243"/>
                  </a:cubicBezTo>
                  <a:cubicBezTo>
                    <a:pt x="59" y="244"/>
                    <a:pt x="59" y="247"/>
                    <a:pt x="63" y="251"/>
                  </a:cubicBezTo>
                  <a:cubicBezTo>
                    <a:pt x="63" y="251"/>
                    <a:pt x="63" y="251"/>
                    <a:pt x="63" y="252"/>
                  </a:cubicBezTo>
                  <a:cubicBezTo>
                    <a:pt x="63" y="252"/>
                    <a:pt x="63" y="252"/>
                    <a:pt x="63" y="252"/>
                  </a:cubicBezTo>
                  <a:cubicBezTo>
                    <a:pt x="61" y="251"/>
                    <a:pt x="59" y="251"/>
                    <a:pt x="57" y="252"/>
                  </a:cubicBezTo>
                  <a:cubicBezTo>
                    <a:pt x="56" y="253"/>
                    <a:pt x="55" y="254"/>
                    <a:pt x="54" y="255"/>
                  </a:cubicBezTo>
                  <a:moveTo>
                    <a:pt x="129" y="152"/>
                  </a:moveTo>
                  <a:cubicBezTo>
                    <a:pt x="129" y="152"/>
                    <a:pt x="129" y="152"/>
                    <a:pt x="129" y="152"/>
                  </a:cubicBezTo>
                  <a:cubicBezTo>
                    <a:pt x="129" y="152"/>
                    <a:pt x="129" y="152"/>
                    <a:pt x="129" y="152"/>
                  </a:cubicBezTo>
                  <a:cubicBezTo>
                    <a:pt x="131" y="150"/>
                    <a:pt x="133" y="149"/>
                    <a:pt x="133" y="149"/>
                  </a:cubicBezTo>
                  <a:cubicBezTo>
                    <a:pt x="131" y="148"/>
                    <a:pt x="130" y="148"/>
                    <a:pt x="130" y="148"/>
                  </a:cubicBezTo>
                  <a:cubicBezTo>
                    <a:pt x="117" y="153"/>
                    <a:pt x="104" y="160"/>
                    <a:pt x="96" y="165"/>
                  </a:cubicBezTo>
                  <a:cubicBezTo>
                    <a:pt x="96" y="165"/>
                    <a:pt x="96" y="165"/>
                    <a:pt x="96" y="165"/>
                  </a:cubicBezTo>
                  <a:cubicBezTo>
                    <a:pt x="94" y="167"/>
                    <a:pt x="92" y="167"/>
                    <a:pt x="89" y="166"/>
                  </a:cubicBezTo>
                  <a:cubicBezTo>
                    <a:pt x="87" y="166"/>
                    <a:pt x="86" y="165"/>
                    <a:pt x="85" y="165"/>
                  </a:cubicBezTo>
                  <a:cubicBezTo>
                    <a:pt x="84" y="170"/>
                    <a:pt x="84" y="170"/>
                    <a:pt x="84" y="170"/>
                  </a:cubicBezTo>
                  <a:cubicBezTo>
                    <a:pt x="87" y="171"/>
                    <a:pt x="88" y="172"/>
                    <a:pt x="90" y="172"/>
                  </a:cubicBezTo>
                  <a:cubicBezTo>
                    <a:pt x="90" y="172"/>
                    <a:pt x="90" y="172"/>
                    <a:pt x="90" y="172"/>
                  </a:cubicBezTo>
                  <a:cubicBezTo>
                    <a:pt x="90" y="172"/>
                    <a:pt x="90" y="172"/>
                    <a:pt x="90" y="172"/>
                  </a:cubicBezTo>
                  <a:cubicBezTo>
                    <a:pt x="88" y="173"/>
                    <a:pt x="85" y="173"/>
                    <a:pt x="84" y="175"/>
                  </a:cubicBezTo>
                  <a:cubicBezTo>
                    <a:pt x="86" y="179"/>
                    <a:pt x="86" y="179"/>
                    <a:pt x="86" y="179"/>
                  </a:cubicBezTo>
                  <a:cubicBezTo>
                    <a:pt x="86" y="179"/>
                    <a:pt x="89" y="177"/>
                    <a:pt x="93" y="177"/>
                  </a:cubicBezTo>
                  <a:cubicBezTo>
                    <a:pt x="93" y="177"/>
                    <a:pt x="93" y="177"/>
                    <a:pt x="93" y="177"/>
                  </a:cubicBezTo>
                  <a:cubicBezTo>
                    <a:pt x="93" y="177"/>
                    <a:pt x="93" y="178"/>
                    <a:pt x="93" y="178"/>
                  </a:cubicBezTo>
                  <a:cubicBezTo>
                    <a:pt x="94" y="184"/>
                    <a:pt x="84" y="192"/>
                    <a:pt x="76" y="196"/>
                  </a:cubicBezTo>
                  <a:cubicBezTo>
                    <a:pt x="68" y="199"/>
                    <a:pt x="61" y="199"/>
                    <a:pt x="60" y="198"/>
                  </a:cubicBezTo>
                  <a:cubicBezTo>
                    <a:pt x="57" y="196"/>
                    <a:pt x="55" y="194"/>
                    <a:pt x="54" y="192"/>
                  </a:cubicBezTo>
                  <a:cubicBezTo>
                    <a:pt x="53" y="190"/>
                    <a:pt x="52" y="189"/>
                    <a:pt x="51" y="189"/>
                  </a:cubicBezTo>
                  <a:cubicBezTo>
                    <a:pt x="51" y="189"/>
                    <a:pt x="51" y="189"/>
                    <a:pt x="50" y="189"/>
                  </a:cubicBezTo>
                  <a:cubicBezTo>
                    <a:pt x="50" y="189"/>
                    <a:pt x="49" y="190"/>
                    <a:pt x="49" y="189"/>
                  </a:cubicBezTo>
                  <a:cubicBezTo>
                    <a:pt x="45" y="189"/>
                    <a:pt x="40" y="189"/>
                    <a:pt x="38" y="192"/>
                  </a:cubicBezTo>
                  <a:cubicBezTo>
                    <a:pt x="40" y="192"/>
                    <a:pt x="44" y="192"/>
                    <a:pt x="45" y="193"/>
                  </a:cubicBezTo>
                  <a:cubicBezTo>
                    <a:pt x="45" y="194"/>
                    <a:pt x="45" y="194"/>
                    <a:pt x="44" y="195"/>
                  </a:cubicBezTo>
                  <a:cubicBezTo>
                    <a:pt x="43" y="195"/>
                    <a:pt x="43" y="195"/>
                    <a:pt x="43" y="196"/>
                  </a:cubicBezTo>
                  <a:cubicBezTo>
                    <a:pt x="43" y="197"/>
                    <a:pt x="48" y="200"/>
                    <a:pt x="51" y="201"/>
                  </a:cubicBezTo>
                  <a:cubicBezTo>
                    <a:pt x="52" y="202"/>
                    <a:pt x="53" y="202"/>
                    <a:pt x="53" y="203"/>
                  </a:cubicBezTo>
                  <a:cubicBezTo>
                    <a:pt x="53" y="203"/>
                    <a:pt x="54" y="203"/>
                    <a:pt x="54" y="204"/>
                  </a:cubicBezTo>
                  <a:cubicBezTo>
                    <a:pt x="54" y="204"/>
                    <a:pt x="53" y="204"/>
                    <a:pt x="53" y="204"/>
                  </a:cubicBezTo>
                  <a:cubicBezTo>
                    <a:pt x="52" y="204"/>
                    <a:pt x="49" y="203"/>
                    <a:pt x="46" y="202"/>
                  </a:cubicBezTo>
                  <a:cubicBezTo>
                    <a:pt x="44" y="201"/>
                    <a:pt x="43" y="201"/>
                    <a:pt x="41" y="200"/>
                  </a:cubicBezTo>
                  <a:cubicBezTo>
                    <a:pt x="40" y="200"/>
                    <a:pt x="39" y="200"/>
                    <a:pt x="39" y="201"/>
                  </a:cubicBezTo>
                  <a:cubicBezTo>
                    <a:pt x="39" y="201"/>
                    <a:pt x="38" y="201"/>
                    <a:pt x="38" y="201"/>
                  </a:cubicBezTo>
                  <a:cubicBezTo>
                    <a:pt x="36" y="201"/>
                    <a:pt x="32" y="202"/>
                    <a:pt x="30" y="205"/>
                  </a:cubicBezTo>
                  <a:cubicBezTo>
                    <a:pt x="29" y="207"/>
                    <a:pt x="29" y="208"/>
                    <a:pt x="30" y="210"/>
                  </a:cubicBezTo>
                  <a:cubicBezTo>
                    <a:pt x="30" y="209"/>
                    <a:pt x="33" y="206"/>
                    <a:pt x="36" y="206"/>
                  </a:cubicBezTo>
                  <a:cubicBezTo>
                    <a:pt x="36" y="207"/>
                    <a:pt x="36" y="207"/>
                    <a:pt x="36" y="208"/>
                  </a:cubicBezTo>
                  <a:cubicBezTo>
                    <a:pt x="36" y="209"/>
                    <a:pt x="36" y="211"/>
                    <a:pt x="37" y="212"/>
                  </a:cubicBezTo>
                  <a:cubicBezTo>
                    <a:pt x="39" y="213"/>
                    <a:pt x="43" y="212"/>
                    <a:pt x="46" y="212"/>
                  </a:cubicBezTo>
                  <a:cubicBezTo>
                    <a:pt x="48" y="211"/>
                    <a:pt x="50" y="211"/>
                    <a:pt x="51" y="211"/>
                  </a:cubicBezTo>
                  <a:cubicBezTo>
                    <a:pt x="52" y="211"/>
                    <a:pt x="53" y="211"/>
                    <a:pt x="54" y="211"/>
                  </a:cubicBezTo>
                  <a:cubicBezTo>
                    <a:pt x="54" y="212"/>
                    <a:pt x="54" y="212"/>
                    <a:pt x="54" y="212"/>
                  </a:cubicBezTo>
                  <a:cubicBezTo>
                    <a:pt x="54" y="212"/>
                    <a:pt x="52" y="213"/>
                    <a:pt x="49" y="213"/>
                  </a:cubicBezTo>
                  <a:cubicBezTo>
                    <a:pt x="46" y="214"/>
                    <a:pt x="41" y="214"/>
                    <a:pt x="41" y="216"/>
                  </a:cubicBezTo>
                  <a:cubicBezTo>
                    <a:pt x="41" y="216"/>
                    <a:pt x="41" y="216"/>
                    <a:pt x="41" y="217"/>
                  </a:cubicBezTo>
                  <a:cubicBezTo>
                    <a:pt x="41" y="218"/>
                    <a:pt x="41" y="218"/>
                    <a:pt x="40" y="219"/>
                  </a:cubicBezTo>
                  <a:cubicBezTo>
                    <a:pt x="39" y="220"/>
                    <a:pt x="38" y="221"/>
                    <a:pt x="38" y="224"/>
                  </a:cubicBezTo>
                  <a:cubicBezTo>
                    <a:pt x="38" y="227"/>
                    <a:pt x="41" y="230"/>
                    <a:pt x="42" y="230"/>
                  </a:cubicBezTo>
                  <a:cubicBezTo>
                    <a:pt x="42" y="230"/>
                    <a:pt x="42" y="229"/>
                    <a:pt x="42" y="229"/>
                  </a:cubicBezTo>
                  <a:cubicBezTo>
                    <a:pt x="42" y="227"/>
                    <a:pt x="41" y="225"/>
                    <a:pt x="43" y="224"/>
                  </a:cubicBezTo>
                  <a:cubicBezTo>
                    <a:pt x="43" y="224"/>
                    <a:pt x="44" y="224"/>
                    <a:pt x="44" y="225"/>
                  </a:cubicBezTo>
                  <a:cubicBezTo>
                    <a:pt x="45" y="226"/>
                    <a:pt x="46" y="226"/>
                    <a:pt x="47" y="226"/>
                  </a:cubicBezTo>
                  <a:cubicBezTo>
                    <a:pt x="49" y="227"/>
                    <a:pt x="50" y="225"/>
                    <a:pt x="52" y="223"/>
                  </a:cubicBezTo>
                  <a:cubicBezTo>
                    <a:pt x="54" y="221"/>
                    <a:pt x="56" y="219"/>
                    <a:pt x="59" y="217"/>
                  </a:cubicBezTo>
                  <a:cubicBezTo>
                    <a:pt x="63" y="215"/>
                    <a:pt x="64" y="215"/>
                    <a:pt x="64" y="216"/>
                  </a:cubicBezTo>
                  <a:cubicBezTo>
                    <a:pt x="65" y="216"/>
                    <a:pt x="64" y="217"/>
                    <a:pt x="64" y="217"/>
                  </a:cubicBezTo>
                  <a:cubicBezTo>
                    <a:pt x="64" y="218"/>
                    <a:pt x="64" y="219"/>
                    <a:pt x="64" y="219"/>
                  </a:cubicBezTo>
                  <a:cubicBezTo>
                    <a:pt x="64" y="220"/>
                    <a:pt x="64" y="220"/>
                    <a:pt x="65" y="220"/>
                  </a:cubicBezTo>
                  <a:cubicBezTo>
                    <a:pt x="66" y="220"/>
                    <a:pt x="67" y="221"/>
                    <a:pt x="67" y="222"/>
                  </a:cubicBezTo>
                  <a:cubicBezTo>
                    <a:pt x="68" y="224"/>
                    <a:pt x="65" y="226"/>
                    <a:pt x="64" y="226"/>
                  </a:cubicBezTo>
                  <a:cubicBezTo>
                    <a:pt x="65" y="227"/>
                    <a:pt x="66" y="227"/>
                    <a:pt x="67" y="226"/>
                  </a:cubicBezTo>
                  <a:cubicBezTo>
                    <a:pt x="69" y="226"/>
                    <a:pt x="71" y="224"/>
                    <a:pt x="72" y="221"/>
                  </a:cubicBezTo>
                  <a:cubicBezTo>
                    <a:pt x="73" y="220"/>
                    <a:pt x="73" y="219"/>
                    <a:pt x="74" y="219"/>
                  </a:cubicBezTo>
                  <a:cubicBezTo>
                    <a:pt x="74" y="219"/>
                    <a:pt x="75" y="219"/>
                    <a:pt x="75" y="218"/>
                  </a:cubicBezTo>
                  <a:cubicBezTo>
                    <a:pt x="75" y="218"/>
                    <a:pt x="75" y="217"/>
                    <a:pt x="75" y="216"/>
                  </a:cubicBezTo>
                  <a:cubicBezTo>
                    <a:pt x="75" y="216"/>
                    <a:pt x="75" y="215"/>
                    <a:pt x="76" y="214"/>
                  </a:cubicBezTo>
                  <a:cubicBezTo>
                    <a:pt x="76" y="213"/>
                    <a:pt x="78" y="212"/>
                    <a:pt x="80" y="212"/>
                  </a:cubicBezTo>
                  <a:cubicBezTo>
                    <a:pt x="82" y="212"/>
                    <a:pt x="83" y="211"/>
                    <a:pt x="83" y="210"/>
                  </a:cubicBezTo>
                  <a:cubicBezTo>
                    <a:pt x="82" y="207"/>
                    <a:pt x="85" y="206"/>
                    <a:pt x="87" y="205"/>
                  </a:cubicBezTo>
                  <a:cubicBezTo>
                    <a:pt x="87" y="205"/>
                    <a:pt x="87" y="205"/>
                    <a:pt x="87" y="205"/>
                  </a:cubicBezTo>
                  <a:cubicBezTo>
                    <a:pt x="87" y="205"/>
                    <a:pt x="87" y="205"/>
                    <a:pt x="88" y="206"/>
                  </a:cubicBezTo>
                  <a:cubicBezTo>
                    <a:pt x="88" y="207"/>
                    <a:pt x="89" y="210"/>
                    <a:pt x="94" y="212"/>
                  </a:cubicBezTo>
                  <a:cubicBezTo>
                    <a:pt x="94" y="211"/>
                    <a:pt x="95" y="211"/>
                    <a:pt x="95" y="211"/>
                  </a:cubicBezTo>
                  <a:cubicBezTo>
                    <a:pt x="97" y="210"/>
                    <a:pt x="98" y="210"/>
                    <a:pt x="101" y="208"/>
                  </a:cubicBezTo>
                  <a:cubicBezTo>
                    <a:pt x="102" y="207"/>
                    <a:pt x="104" y="207"/>
                    <a:pt x="105" y="206"/>
                  </a:cubicBezTo>
                  <a:cubicBezTo>
                    <a:pt x="105" y="206"/>
                    <a:pt x="105" y="206"/>
                    <a:pt x="104" y="206"/>
                  </a:cubicBezTo>
                  <a:cubicBezTo>
                    <a:pt x="104" y="205"/>
                    <a:pt x="102" y="203"/>
                    <a:pt x="101" y="201"/>
                  </a:cubicBezTo>
                  <a:cubicBezTo>
                    <a:pt x="101" y="200"/>
                    <a:pt x="101" y="199"/>
                    <a:pt x="101" y="198"/>
                  </a:cubicBezTo>
                  <a:cubicBezTo>
                    <a:pt x="101" y="198"/>
                    <a:pt x="101" y="198"/>
                    <a:pt x="101" y="198"/>
                  </a:cubicBezTo>
                  <a:cubicBezTo>
                    <a:pt x="101" y="199"/>
                    <a:pt x="104" y="202"/>
                    <a:pt x="108" y="204"/>
                  </a:cubicBezTo>
                  <a:cubicBezTo>
                    <a:pt x="111" y="202"/>
                    <a:pt x="114" y="201"/>
                    <a:pt x="117" y="199"/>
                  </a:cubicBezTo>
                  <a:cubicBezTo>
                    <a:pt x="117" y="199"/>
                    <a:pt x="118" y="198"/>
                    <a:pt x="118" y="198"/>
                  </a:cubicBezTo>
                  <a:cubicBezTo>
                    <a:pt x="118" y="198"/>
                    <a:pt x="117" y="197"/>
                    <a:pt x="117" y="196"/>
                  </a:cubicBezTo>
                  <a:cubicBezTo>
                    <a:pt x="115" y="195"/>
                    <a:pt x="113" y="193"/>
                    <a:pt x="113" y="192"/>
                  </a:cubicBezTo>
                  <a:cubicBezTo>
                    <a:pt x="113" y="191"/>
                    <a:pt x="114" y="191"/>
                    <a:pt x="114" y="191"/>
                  </a:cubicBezTo>
                  <a:cubicBezTo>
                    <a:pt x="115" y="190"/>
                    <a:pt x="115" y="188"/>
                    <a:pt x="114" y="186"/>
                  </a:cubicBezTo>
                  <a:cubicBezTo>
                    <a:pt x="113" y="184"/>
                    <a:pt x="111" y="181"/>
                    <a:pt x="113" y="180"/>
                  </a:cubicBezTo>
                  <a:cubicBezTo>
                    <a:pt x="120" y="176"/>
                    <a:pt x="127" y="173"/>
                    <a:pt x="134" y="170"/>
                  </a:cubicBezTo>
                  <a:cubicBezTo>
                    <a:pt x="138" y="168"/>
                    <a:pt x="141" y="166"/>
                    <a:pt x="144" y="165"/>
                  </a:cubicBezTo>
                  <a:cubicBezTo>
                    <a:pt x="144" y="164"/>
                    <a:pt x="143" y="161"/>
                    <a:pt x="140" y="158"/>
                  </a:cubicBezTo>
                  <a:cubicBezTo>
                    <a:pt x="137" y="156"/>
                    <a:pt x="134" y="154"/>
                    <a:pt x="131" y="153"/>
                  </a:cubicBezTo>
                  <a:cubicBezTo>
                    <a:pt x="131" y="153"/>
                    <a:pt x="130" y="152"/>
                    <a:pt x="129" y="152"/>
                  </a:cubicBezTo>
                  <a:moveTo>
                    <a:pt x="13" y="236"/>
                  </a:moveTo>
                  <a:cubicBezTo>
                    <a:pt x="13" y="236"/>
                    <a:pt x="12" y="238"/>
                    <a:pt x="14" y="240"/>
                  </a:cubicBezTo>
                  <a:cubicBezTo>
                    <a:pt x="15" y="241"/>
                    <a:pt x="17" y="242"/>
                    <a:pt x="18" y="241"/>
                  </a:cubicBezTo>
                  <a:cubicBezTo>
                    <a:pt x="19" y="240"/>
                    <a:pt x="19" y="239"/>
                    <a:pt x="19" y="238"/>
                  </a:cubicBezTo>
                  <a:cubicBezTo>
                    <a:pt x="19" y="237"/>
                    <a:pt x="19" y="237"/>
                    <a:pt x="19" y="236"/>
                  </a:cubicBezTo>
                  <a:cubicBezTo>
                    <a:pt x="19" y="235"/>
                    <a:pt x="20" y="235"/>
                    <a:pt x="20" y="235"/>
                  </a:cubicBezTo>
                  <a:cubicBezTo>
                    <a:pt x="21" y="235"/>
                    <a:pt x="21" y="235"/>
                    <a:pt x="21" y="235"/>
                  </a:cubicBezTo>
                  <a:cubicBezTo>
                    <a:pt x="21" y="235"/>
                    <a:pt x="21" y="235"/>
                    <a:pt x="21" y="235"/>
                  </a:cubicBezTo>
                  <a:cubicBezTo>
                    <a:pt x="21" y="235"/>
                    <a:pt x="21" y="235"/>
                    <a:pt x="22" y="235"/>
                  </a:cubicBezTo>
                  <a:cubicBezTo>
                    <a:pt x="29" y="238"/>
                    <a:pt x="38" y="243"/>
                    <a:pt x="47" y="250"/>
                  </a:cubicBezTo>
                  <a:cubicBezTo>
                    <a:pt x="48" y="250"/>
                    <a:pt x="48" y="250"/>
                    <a:pt x="49" y="251"/>
                  </a:cubicBezTo>
                  <a:cubicBezTo>
                    <a:pt x="49" y="251"/>
                    <a:pt x="49" y="251"/>
                    <a:pt x="49" y="251"/>
                  </a:cubicBezTo>
                  <a:cubicBezTo>
                    <a:pt x="48" y="252"/>
                    <a:pt x="48" y="253"/>
                    <a:pt x="47" y="255"/>
                  </a:cubicBezTo>
                  <a:cubicBezTo>
                    <a:pt x="47" y="255"/>
                    <a:pt x="47" y="256"/>
                    <a:pt x="46" y="256"/>
                  </a:cubicBezTo>
                  <a:cubicBezTo>
                    <a:pt x="44" y="260"/>
                    <a:pt x="43" y="263"/>
                    <a:pt x="43" y="266"/>
                  </a:cubicBezTo>
                  <a:cubicBezTo>
                    <a:pt x="43" y="268"/>
                    <a:pt x="45" y="269"/>
                    <a:pt x="46" y="269"/>
                  </a:cubicBezTo>
                  <a:cubicBezTo>
                    <a:pt x="49" y="269"/>
                    <a:pt x="50" y="267"/>
                    <a:pt x="51" y="266"/>
                  </a:cubicBezTo>
                  <a:cubicBezTo>
                    <a:pt x="51" y="265"/>
                    <a:pt x="51" y="264"/>
                    <a:pt x="50" y="263"/>
                  </a:cubicBezTo>
                  <a:cubicBezTo>
                    <a:pt x="49" y="262"/>
                    <a:pt x="48" y="262"/>
                    <a:pt x="48" y="262"/>
                  </a:cubicBezTo>
                  <a:cubicBezTo>
                    <a:pt x="48" y="262"/>
                    <a:pt x="48" y="262"/>
                    <a:pt x="48" y="262"/>
                  </a:cubicBezTo>
                  <a:cubicBezTo>
                    <a:pt x="48" y="262"/>
                    <a:pt x="48" y="262"/>
                    <a:pt x="48" y="262"/>
                  </a:cubicBezTo>
                  <a:cubicBezTo>
                    <a:pt x="48" y="262"/>
                    <a:pt x="49" y="258"/>
                    <a:pt x="49" y="257"/>
                  </a:cubicBezTo>
                  <a:cubicBezTo>
                    <a:pt x="52" y="250"/>
                    <a:pt x="56" y="249"/>
                    <a:pt x="57" y="249"/>
                  </a:cubicBezTo>
                  <a:cubicBezTo>
                    <a:pt x="56" y="248"/>
                    <a:pt x="54" y="244"/>
                    <a:pt x="58" y="238"/>
                  </a:cubicBezTo>
                  <a:cubicBezTo>
                    <a:pt x="60" y="234"/>
                    <a:pt x="61" y="231"/>
                    <a:pt x="62" y="228"/>
                  </a:cubicBezTo>
                  <a:cubicBezTo>
                    <a:pt x="62" y="227"/>
                    <a:pt x="61" y="226"/>
                    <a:pt x="61" y="225"/>
                  </a:cubicBezTo>
                  <a:cubicBezTo>
                    <a:pt x="60" y="224"/>
                    <a:pt x="59" y="224"/>
                    <a:pt x="58" y="223"/>
                  </a:cubicBezTo>
                  <a:cubicBezTo>
                    <a:pt x="56" y="223"/>
                    <a:pt x="54" y="225"/>
                    <a:pt x="54" y="227"/>
                  </a:cubicBezTo>
                  <a:cubicBezTo>
                    <a:pt x="54" y="230"/>
                    <a:pt x="55" y="231"/>
                    <a:pt x="56" y="231"/>
                  </a:cubicBezTo>
                  <a:cubicBezTo>
                    <a:pt x="57" y="231"/>
                    <a:pt x="57" y="231"/>
                    <a:pt x="57" y="232"/>
                  </a:cubicBezTo>
                  <a:cubicBezTo>
                    <a:pt x="56" y="235"/>
                    <a:pt x="55" y="238"/>
                    <a:pt x="53" y="240"/>
                  </a:cubicBezTo>
                  <a:cubicBezTo>
                    <a:pt x="53" y="240"/>
                    <a:pt x="53" y="240"/>
                    <a:pt x="53" y="240"/>
                  </a:cubicBezTo>
                  <a:cubicBezTo>
                    <a:pt x="52" y="240"/>
                    <a:pt x="51" y="239"/>
                    <a:pt x="50" y="239"/>
                  </a:cubicBezTo>
                  <a:cubicBezTo>
                    <a:pt x="49" y="238"/>
                    <a:pt x="49" y="238"/>
                    <a:pt x="49" y="238"/>
                  </a:cubicBezTo>
                  <a:cubicBezTo>
                    <a:pt x="41" y="234"/>
                    <a:pt x="34" y="230"/>
                    <a:pt x="25" y="228"/>
                  </a:cubicBezTo>
                  <a:cubicBezTo>
                    <a:pt x="25" y="228"/>
                    <a:pt x="25" y="228"/>
                    <a:pt x="25" y="228"/>
                  </a:cubicBezTo>
                  <a:cubicBezTo>
                    <a:pt x="25" y="228"/>
                    <a:pt x="25" y="228"/>
                    <a:pt x="25" y="228"/>
                  </a:cubicBezTo>
                  <a:cubicBezTo>
                    <a:pt x="25" y="227"/>
                    <a:pt x="26" y="227"/>
                    <a:pt x="26" y="226"/>
                  </a:cubicBezTo>
                  <a:cubicBezTo>
                    <a:pt x="26" y="225"/>
                    <a:pt x="27" y="225"/>
                    <a:pt x="27" y="224"/>
                  </a:cubicBezTo>
                  <a:cubicBezTo>
                    <a:pt x="28" y="223"/>
                    <a:pt x="28" y="222"/>
                    <a:pt x="28" y="222"/>
                  </a:cubicBezTo>
                  <a:cubicBezTo>
                    <a:pt x="28" y="222"/>
                    <a:pt x="28" y="222"/>
                    <a:pt x="27" y="223"/>
                  </a:cubicBezTo>
                  <a:cubicBezTo>
                    <a:pt x="27" y="223"/>
                    <a:pt x="26" y="223"/>
                    <a:pt x="25" y="224"/>
                  </a:cubicBezTo>
                  <a:cubicBezTo>
                    <a:pt x="22" y="225"/>
                    <a:pt x="22" y="226"/>
                    <a:pt x="20" y="226"/>
                  </a:cubicBezTo>
                  <a:cubicBezTo>
                    <a:pt x="19" y="226"/>
                    <a:pt x="19" y="226"/>
                    <a:pt x="18" y="226"/>
                  </a:cubicBezTo>
                  <a:cubicBezTo>
                    <a:pt x="18" y="225"/>
                    <a:pt x="18" y="225"/>
                    <a:pt x="17" y="225"/>
                  </a:cubicBezTo>
                  <a:cubicBezTo>
                    <a:pt x="17" y="226"/>
                    <a:pt x="16" y="227"/>
                    <a:pt x="16" y="229"/>
                  </a:cubicBezTo>
                  <a:cubicBezTo>
                    <a:pt x="15" y="230"/>
                    <a:pt x="15" y="230"/>
                    <a:pt x="15" y="230"/>
                  </a:cubicBezTo>
                  <a:cubicBezTo>
                    <a:pt x="15" y="232"/>
                    <a:pt x="15" y="232"/>
                    <a:pt x="14" y="233"/>
                  </a:cubicBezTo>
                  <a:cubicBezTo>
                    <a:pt x="14" y="234"/>
                    <a:pt x="14" y="234"/>
                    <a:pt x="13" y="235"/>
                  </a:cubicBezTo>
                  <a:cubicBezTo>
                    <a:pt x="13" y="235"/>
                    <a:pt x="13" y="235"/>
                    <a:pt x="13" y="236"/>
                  </a:cubicBezTo>
                  <a:moveTo>
                    <a:pt x="15" y="38"/>
                  </a:moveTo>
                  <a:cubicBezTo>
                    <a:pt x="18" y="38"/>
                    <a:pt x="22" y="38"/>
                    <a:pt x="23" y="37"/>
                  </a:cubicBezTo>
                  <a:cubicBezTo>
                    <a:pt x="23" y="26"/>
                    <a:pt x="23" y="26"/>
                    <a:pt x="23" y="26"/>
                  </a:cubicBezTo>
                  <a:cubicBezTo>
                    <a:pt x="22" y="25"/>
                    <a:pt x="19" y="25"/>
                    <a:pt x="17" y="25"/>
                  </a:cubicBezTo>
                  <a:cubicBezTo>
                    <a:pt x="16" y="25"/>
                    <a:pt x="16" y="25"/>
                    <a:pt x="16" y="25"/>
                  </a:cubicBezTo>
                  <a:cubicBezTo>
                    <a:pt x="15" y="25"/>
                    <a:pt x="14" y="25"/>
                    <a:pt x="13" y="25"/>
                  </a:cubicBezTo>
                  <a:cubicBezTo>
                    <a:pt x="11" y="27"/>
                    <a:pt x="11" y="30"/>
                    <a:pt x="11" y="30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3"/>
                    <a:pt x="12" y="38"/>
                    <a:pt x="15" y="38"/>
                  </a:cubicBezTo>
                  <a:close/>
                  <a:moveTo>
                    <a:pt x="44" y="34"/>
                  </a:moveTo>
                  <a:cubicBezTo>
                    <a:pt x="44" y="33"/>
                    <a:pt x="44" y="32"/>
                    <a:pt x="44" y="31"/>
                  </a:cubicBezTo>
                  <a:cubicBezTo>
                    <a:pt x="44" y="31"/>
                    <a:pt x="44" y="31"/>
                    <a:pt x="44" y="30"/>
                  </a:cubicBezTo>
                  <a:cubicBezTo>
                    <a:pt x="44" y="28"/>
                    <a:pt x="44" y="26"/>
                    <a:pt x="44" y="24"/>
                  </a:cubicBezTo>
                  <a:cubicBezTo>
                    <a:pt x="44" y="23"/>
                    <a:pt x="44" y="22"/>
                    <a:pt x="43" y="22"/>
                  </a:cubicBezTo>
                  <a:cubicBezTo>
                    <a:pt x="42" y="22"/>
                    <a:pt x="41" y="22"/>
                    <a:pt x="41" y="22"/>
                  </a:cubicBezTo>
                  <a:cubicBezTo>
                    <a:pt x="41" y="22"/>
                    <a:pt x="41" y="22"/>
                    <a:pt x="40" y="23"/>
                  </a:cubicBezTo>
                  <a:cubicBezTo>
                    <a:pt x="40" y="23"/>
                    <a:pt x="40" y="24"/>
                    <a:pt x="40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8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3"/>
                  </a:cubicBezTo>
                  <a:cubicBezTo>
                    <a:pt x="35" y="23"/>
                    <a:pt x="35" y="24"/>
                    <a:pt x="35" y="24"/>
                  </a:cubicBezTo>
                  <a:cubicBezTo>
                    <a:pt x="35" y="24"/>
                    <a:pt x="35" y="24"/>
                    <a:pt x="35" y="24"/>
                  </a:cubicBezTo>
                  <a:cubicBezTo>
                    <a:pt x="35" y="24"/>
                    <a:pt x="35" y="24"/>
                    <a:pt x="35" y="24"/>
                  </a:cubicBezTo>
                  <a:cubicBezTo>
                    <a:pt x="34" y="22"/>
                    <a:pt x="34" y="22"/>
                    <a:pt x="34" y="22"/>
                  </a:cubicBezTo>
                  <a:cubicBezTo>
                    <a:pt x="33" y="22"/>
                    <a:pt x="32" y="22"/>
                    <a:pt x="31" y="22"/>
                  </a:cubicBezTo>
                  <a:cubicBezTo>
                    <a:pt x="31" y="22"/>
                    <a:pt x="31" y="23"/>
                    <a:pt x="31" y="23"/>
                  </a:cubicBezTo>
                  <a:cubicBezTo>
                    <a:pt x="30" y="24"/>
                    <a:pt x="30" y="24"/>
                    <a:pt x="30" y="24"/>
                  </a:cubicBezTo>
                  <a:cubicBezTo>
                    <a:pt x="30" y="24"/>
                    <a:pt x="30" y="24"/>
                    <a:pt x="30" y="24"/>
                  </a:cubicBezTo>
                  <a:cubicBezTo>
                    <a:pt x="30" y="24"/>
                    <a:pt x="30" y="24"/>
                    <a:pt x="30" y="24"/>
                  </a:cubicBezTo>
                  <a:cubicBezTo>
                    <a:pt x="29" y="22"/>
                    <a:pt x="29" y="22"/>
                    <a:pt x="29" y="22"/>
                  </a:cubicBezTo>
                  <a:cubicBezTo>
                    <a:pt x="29" y="22"/>
                    <a:pt x="28" y="22"/>
                    <a:pt x="27" y="22"/>
                  </a:cubicBezTo>
                  <a:cubicBezTo>
                    <a:pt x="27" y="22"/>
                    <a:pt x="26" y="23"/>
                    <a:pt x="26" y="24"/>
                  </a:cubicBezTo>
                  <a:cubicBezTo>
                    <a:pt x="26" y="26"/>
                    <a:pt x="26" y="27"/>
                    <a:pt x="26" y="28"/>
                  </a:cubicBezTo>
                  <a:cubicBezTo>
                    <a:pt x="26" y="29"/>
                    <a:pt x="26" y="29"/>
                    <a:pt x="26" y="30"/>
                  </a:cubicBezTo>
                  <a:cubicBezTo>
                    <a:pt x="26" y="31"/>
                    <a:pt x="26" y="36"/>
                    <a:pt x="26" y="37"/>
                  </a:cubicBezTo>
                  <a:cubicBezTo>
                    <a:pt x="27" y="37"/>
                    <a:pt x="28" y="37"/>
                    <a:pt x="29" y="37"/>
                  </a:cubicBezTo>
                  <a:cubicBezTo>
                    <a:pt x="30" y="36"/>
                    <a:pt x="30" y="35"/>
                    <a:pt x="30" y="34"/>
                  </a:cubicBezTo>
                  <a:cubicBezTo>
                    <a:pt x="30" y="34"/>
                    <a:pt x="30" y="34"/>
                    <a:pt x="30" y="34"/>
                  </a:cubicBezTo>
                  <a:cubicBezTo>
                    <a:pt x="30" y="34"/>
                    <a:pt x="30" y="34"/>
                    <a:pt x="30" y="34"/>
                  </a:cubicBezTo>
                  <a:cubicBezTo>
                    <a:pt x="30" y="34"/>
                    <a:pt x="30" y="34"/>
                    <a:pt x="30" y="34"/>
                  </a:cubicBezTo>
                  <a:cubicBezTo>
                    <a:pt x="30" y="35"/>
                    <a:pt x="30" y="37"/>
                    <a:pt x="30" y="38"/>
                  </a:cubicBezTo>
                  <a:cubicBezTo>
                    <a:pt x="31" y="38"/>
                    <a:pt x="32" y="39"/>
                    <a:pt x="33" y="37"/>
                  </a:cubicBezTo>
                  <a:cubicBezTo>
                    <a:pt x="34" y="36"/>
                    <a:pt x="35" y="35"/>
                    <a:pt x="35" y="34"/>
                  </a:cubicBezTo>
                  <a:cubicBezTo>
                    <a:pt x="35" y="34"/>
                    <a:pt x="35" y="34"/>
                    <a:pt x="35" y="34"/>
                  </a:cubicBezTo>
                  <a:cubicBezTo>
                    <a:pt x="35" y="34"/>
                    <a:pt x="35" y="34"/>
                    <a:pt x="35" y="34"/>
                  </a:cubicBezTo>
                  <a:cubicBezTo>
                    <a:pt x="35" y="35"/>
                    <a:pt x="35" y="38"/>
                    <a:pt x="35" y="38"/>
                  </a:cubicBezTo>
                  <a:cubicBezTo>
                    <a:pt x="36" y="38"/>
                    <a:pt x="37" y="38"/>
                    <a:pt x="38" y="37"/>
                  </a:cubicBezTo>
                  <a:cubicBezTo>
                    <a:pt x="39" y="36"/>
                    <a:pt x="40" y="35"/>
                    <a:pt x="40" y="34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40" y="35"/>
                    <a:pt x="40" y="36"/>
                    <a:pt x="40" y="37"/>
                  </a:cubicBezTo>
                  <a:cubicBezTo>
                    <a:pt x="40" y="37"/>
                    <a:pt x="41" y="37"/>
                    <a:pt x="41" y="37"/>
                  </a:cubicBezTo>
                  <a:cubicBezTo>
                    <a:pt x="41" y="37"/>
                    <a:pt x="42" y="36"/>
                    <a:pt x="42" y="36"/>
                  </a:cubicBezTo>
                  <a:cubicBezTo>
                    <a:pt x="42" y="36"/>
                    <a:pt x="43" y="36"/>
                    <a:pt x="43" y="36"/>
                  </a:cubicBezTo>
                  <a:cubicBezTo>
                    <a:pt x="43" y="36"/>
                    <a:pt x="44" y="35"/>
                    <a:pt x="44" y="34"/>
                  </a:cubicBezTo>
                  <a:moveTo>
                    <a:pt x="50" y="36"/>
                  </a:moveTo>
                  <a:cubicBezTo>
                    <a:pt x="50" y="36"/>
                    <a:pt x="49" y="35"/>
                    <a:pt x="49" y="32"/>
                  </a:cubicBezTo>
                  <a:cubicBezTo>
                    <a:pt x="49" y="30"/>
                    <a:pt x="50" y="28"/>
                    <a:pt x="50" y="27"/>
                  </a:cubicBezTo>
                  <a:cubicBezTo>
                    <a:pt x="50" y="24"/>
                    <a:pt x="50" y="24"/>
                    <a:pt x="50" y="24"/>
                  </a:cubicBezTo>
                  <a:cubicBezTo>
                    <a:pt x="50" y="23"/>
                    <a:pt x="48" y="22"/>
                    <a:pt x="47" y="22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7" y="38"/>
                    <a:pt x="44" y="40"/>
                    <a:pt x="41" y="41"/>
                  </a:cubicBezTo>
                  <a:cubicBezTo>
                    <a:pt x="35" y="42"/>
                    <a:pt x="30" y="42"/>
                    <a:pt x="28" y="42"/>
                  </a:cubicBezTo>
                  <a:cubicBezTo>
                    <a:pt x="29" y="42"/>
                    <a:pt x="29" y="43"/>
                    <a:pt x="29" y="45"/>
                  </a:cubicBezTo>
                  <a:cubicBezTo>
                    <a:pt x="29" y="46"/>
                    <a:pt x="31" y="47"/>
                    <a:pt x="31" y="47"/>
                  </a:cubicBezTo>
                  <a:cubicBezTo>
                    <a:pt x="46" y="47"/>
                    <a:pt x="46" y="47"/>
                    <a:pt x="46" y="47"/>
                  </a:cubicBezTo>
                  <a:cubicBezTo>
                    <a:pt x="50" y="40"/>
                    <a:pt x="50" y="40"/>
                    <a:pt x="50" y="40"/>
                  </a:cubicBezTo>
                  <a:lnTo>
                    <a:pt x="50" y="36"/>
                  </a:lnTo>
                  <a:close/>
                  <a:moveTo>
                    <a:pt x="31" y="56"/>
                  </a:moveTo>
                  <a:cubicBezTo>
                    <a:pt x="46" y="56"/>
                    <a:pt x="46" y="56"/>
                    <a:pt x="46" y="56"/>
                  </a:cubicBezTo>
                  <a:cubicBezTo>
                    <a:pt x="46" y="55"/>
                    <a:pt x="47" y="53"/>
                    <a:pt x="47" y="53"/>
                  </a:cubicBezTo>
                  <a:cubicBezTo>
                    <a:pt x="47" y="50"/>
                    <a:pt x="47" y="50"/>
                    <a:pt x="47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0" y="53"/>
                    <a:pt x="30" y="53"/>
                    <a:pt x="30" y="53"/>
                  </a:cubicBezTo>
                  <a:lnTo>
                    <a:pt x="31" y="56"/>
                  </a:lnTo>
                  <a:close/>
                  <a:moveTo>
                    <a:pt x="46" y="59"/>
                  </a:moveTo>
                  <a:cubicBezTo>
                    <a:pt x="31" y="59"/>
                    <a:pt x="31" y="59"/>
                    <a:pt x="31" y="59"/>
                  </a:cubicBezTo>
                  <a:cubicBezTo>
                    <a:pt x="31" y="79"/>
                    <a:pt x="31" y="79"/>
                    <a:pt x="31" y="79"/>
                  </a:cubicBezTo>
                  <a:cubicBezTo>
                    <a:pt x="44" y="79"/>
                    <a:pt x="44" y="79"/>
                    <a:pt x="44" y="79"/>
                  </a:cubicBezTo>
                  <a:cubicBezTo>
                    <a:pt x="48" y="76"/>
                    <a:pt x="48" y="76"/>
                    <a:pt x="48" y="76"/>
                  </a:cubicBezTo>
                  <a:lnTo>
                    <a:pt x="46" y="59"/>
                  </a:lnTo>
                  <a:close/>
                  <a:moveTo>
                    <a:pt x="53" y="84"/>
                  </a:moveTo>
                  <a:cubicBezTo>
                    <a:pt x="53" y="84"/>
                    <a:pt x="51" y="82"/>
                    <a:pt x="51" y="82"/>
                  </a:cubicBezTo>
                  <a:cubicBezTo>
                    <a:pt x="50" y="82"/>
                    <a:pt x="50" y="80"/>
                    <a:pt x="50" y="79"/>
                  </a:cubicBezTo>
                  <a:cubicBezTo>
                    <a:pt x="46" y="83"/>
                    <a:pt x="46" y="83"/>
                    <a:pt x="46" y="83"/>
                  </a:cubicBezTo>
                  <a:cubicBezTo>
                    <a:pt x="45" y="83"/>
                    <a:pt x="45" y="83"/>
                    <a:pt x="45" y="83"/>
                  </a:cubicBezTo>
                  <a:cubicBezTo>
                    <a:pt x="30" y="83"/>
                    <a:pt x="30" y="83"/>
                    <a:pt x="30" y="83"/>
                  </a:cubicBezTo>
                  <a:cubicBezTo>
                    <a:pt x="30" y="84"/>
                    <a:pt x="30" y="90"/>
                    <a:pt x="30" y="93"/>
                  </a:cubicBezTo>
                  <a:cubicBezTo>
                    <a:pt x="33" y="96"/>
                    <a:pt x="37" y="99"/>
                    <a:pt x="38" y="99"/>
                  </a:cubicBezTo>
                  <a:cubicBezTo>
                    <a:pt x="48" y="87"/>
                    <a:pt x="48" y="87"/>
                    <a:pt x="48" y="87"/>
                  </a:cubicBezTo>
                  <a:cubicBezTo>
                    <a:pt x="48" y="87"/>
                    <a:pt x="48" y="87"/>
                    <a:pt x="48" y="87"/>
                  </a:cubicBezTo>
                  <a:lnTo>
                    <a:pt x="53" y="84"/>
                  </a:lnTo>
                  <a:close/>
                  <a:moveTo>
                    <a:pt x="50" y="89"/>
                  </a:moveTo>
                  <a:cubicBezTo>
                    <a:pt x="41" y="101"/>
                    <a:pt x="41" y="101"/>
                    <a:pt x="41" y="101"/>
                  </a:cubicBezTo>
                  <a:cubicBezTo>
                    <a:pt x="56" y="107"/>
                    <a:pt x="56" y="107"/>
                    <a:pt x="56" y="107"/>
                  </a:cubicBezTo>
                  <a:cubicBezTo>
                    <a:pt x="64" y="103"/>
                    <a:pt x="74" y="96"/>
                    <a:pt x="76" y="94"/>
                  </a:cubicBezTo>
                  <a:cubicBezTo>
                    <a:pt x="56" y="87"/>
                    <a:pt x="56" y="87"/>
                    <a:pt x="56" y="87"/>
                  </a:cubicBezTo>
                  <a:lnTo>
                    <a:pt x="50" y="89"/>
                  </a:lnTo>
                  <a:close/>
                  <a:moveTo>
                    <a:pt x="58" y="28"/>
                  </a:moveTo>
                  <a:cubicBezTo>
                    <a:pt x="58" y="26"/>
                    <a:pt x="58" y="16"/>
                    <a:pt x="58" y="15"/>
                  </a:cubicBezTo>
                  <a:cubicBezTo>
                    <a:pt x="58" y="15"/>
                    <a:pt x="58" y="15"/>
                    <a:pt x="58" y="15"/>
                  </a:cubicBezTo>
                  <a:cubicBezTo>
                    <a:pt x="58" y="15"/>
                    <a:pt x="59" y="15"/>
                    <a:pt x="59" y="14"/>
                  </a:cubicBezTo>
                  <a:cubicBezTo>
                    <a:pt x="59" y="14"/>
                    <a:pt x="59" y="13"/>
                    <a:pt x="59" y="12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52" y="13"/>
                    <a:pt x="52" y="13"/>
                    <a:pt x="52" y="14"/>
                  </a:cubicBezTo>
                  <a:cubicBezTo>
                    <a:pt x="52" y="14"/>
                    <a:pt x="53" y="15"/>
                    <a:pt x="53" y="15"/>
                  </a:cubicBezTo>
                  <a:cubicBezTo>
                    <a:pt x="53" y="15"/>
                    <a:pt x="53" y="15"/>
                    <a:pt x="53" y="15"/>
                  </a:cubicBezTo>
                  <a:cubicBezTo>
                    <a:pt x="53" y="28"/>
                    <a:pt x="53" y="28"/>
                    <a:pt x="53" y="28"/>
                  </a:cubicBezTo>
                  <a:cubicBezTo>
                    <a:pt x="53" y="28"/>
                    <a:pt x="53" y="28"/>
                    <a:pt x="53" y="28"/>
                  </a:cubicBezTo>
                  <a:cubicBezTo>
                    <a:pt x="53" y="28"/>
                    <a:pt x="52" y="29"/>
                    <a:pt x="52" y="32"/>
                  </a:cubicBezTo>
                  <a:cubicBezTo>
                    <a:pt x="52" y="34"/>
                    <a:pt x="53" y="36"/>
                    <a:pt x="53" y="36"/>
                  </a:cubicBezTo>
                  <a:cubicBezTo>
                    <a:pt x="53" y="36"/>
                    <a:pt x="53" y="36"/>
                    <a:pt x="53" y="36"/>
                  </a:cubicBezTo>
                  <a:cubicBezTo>
                    <a:pt x="53" y="46"/>
                    <a:pt x="53" y="46"/>
                    <a:pt x="53" y="46"/>
                  </a:cubicBezTo>
                  <a:cubicBezTo>
                    <a:pt x="53" y="46"/>
                    <a:pt x="53" y="46"/>
                    <a:pt x="53" y="46"/>
                  </a:cubicBezTo>
                  <a:cubicBezTo>
                    <a:pt x="53" y="47"/>
                    <a:pt x="52" y="47"/>
                    <a:pt x="52" y="48"/>
                  </a:cubicBezTo>
                  <a:cubicBezTo>
                    <a:pt x="52" y="49"/>
                    <a:pt x="52" y="49"/>
                    <a:pt x="52" y="49"/>
                  </a:cubicBezTo>
                  <a:cubicBezTo>
                    <a:pt x="59" y="49"/>
                    <a:pt x="59" y="49"/>
                    <a:pt x="59" y="49"/>
                  </a:cubicBezTo>
                  <a:cubicBezTo>
                    <a:pt x="59" y="49"/>
                    <a:pt x="59" y="48"/>
                    <a:pt x="59" y="47"/>
                  </a:cubicBezTo>
                  <a:cubicBezTo>
                    <a:pt x="59" y="47"/>
                    <a:pt x="59" y="46"/>
                    <a:pt x="58" y="46"/>
                  </a:cubicBezTo>
                  <a:cubicBezTo>
                    <a:pt x="58" y="46"/>
                    <a:pt x="58" y="46"/>
                    <a:pt x="58" y="46"/>
                  </a:cubicBezTo>
                  <a:cubicBezTo>
                    <a:pt x="58" y="36"/>
                    <a:pt x="58" y="36"/>
                    <a:pt x="58" y="36"/>
                  </a:cubicBezTo>
                  <a:cubicBezTo>
                    <a:pt x="58" y="36"/>
                    <a:pt x="58" y="36"/>
                    <a:pt x="58" y="36"/>
                  </a:cubicBezTo>
                  <a:cubicBezTo>
                    <a:pt x="58" y="36"/>
                    <a:pt x="59" y="35"/>
                    <a:pt x="59" y="35"/>
                  </a:cubicBezTo>
                  <a:cubicBezTo>
                    <a:pt x="59" y="34"/>
                    <a:pt x="60" y="33"/>
                    <a:pt x="60" y="32"/>
                  </a:cubicBezTo>
                  <a:cubicBezTo>
                    <a:pt x="60" y="30"/>
                    <a:pt x="59" y="29"/>
                    <a:pt x="58" y="28"/>
                  </a:cubicBezTo>
                  <a:cubicBezTo>
                    <a:pt x="58" y="28"/>
                    <a:pt x="58" y="28"/>
                    <a:pt x="58" y="28"/>
                  </a:cubicBezTo>
                  <a:cubicBezTo>
                    <a:pt x="58" y="28"/>
                    <a:pt x="58" y="28"/>
                    <a:pt x="58" y="28"/>
                  </a:cubicBezTo>
                  <a:moveTo>
                    <a:pt x="74" y="38"/>
                  </a:moveTo>
                  <a:cubicBezTo>
                    <a:pt x="85" y="26"/>
                    <a:pt x="85" y="26"/>
                    <a:pt x="85" y="26"/>
                  </a:cubicBezTo>
                  <a:cubicBezTo>
                    <a:pt x="83" y="26"/>
                    <a:pt x="82" y="26"/>
                    <a:pt x="80" y="26"/>
                  </a:cubicBezTo>
                  <a:cubicBezTo>
                    <a:pt x="77" y="26"/>
                    <a:pt x="73" y="26"/>
                    <a:pt x="69" y="26"/>
                  </a:cubicBezTo>
                  <a:cubicBezTo>
                    <a:pt x="68" y="26"/>
                    <a:pt x="66" y="25"/>
                    <a:pt x="65" y="25"/>
                  </a:cubicBezTo>
                  <a:cubicBezTo>
                    <a:pt x="64" y="24"/>
                    <a:pt x="62" y="23"/>
                    <a:pt x="62" y="23"/>
                  </a:cubicBezTo>
                  <a:cubicBezTo>
                    <a:pt x="62" y="24"/>
                    <a:pt x="61" y="26"/>
                    <a:pt x="61" y="27"/>
                  </a:cubicBezTo>
                  <a:cubicBezTo>
                    <a:pt x="61" y="27"/>
                    <a:pt x="63" y="29"/>
                    <a:pt x="63" y="32"/>
                  </a:cubicBezTo>
                  <a:cubicBezTo>
                    <a:pt x="63" y="32"/>
                    <a:pt x="63" y="32"/>
                    <a:pt x="63" y="32"/>
                  </a:cubicBezTo>
                  <a:cubicBezTo>
                    <a:pt x="63" y="33"/>
                    <a:pt x="63" y="35"/>
                    <a:pt x="61" y="37"/>
                  </a:cubicBezTo>
                  <a:cubicBezTo>
                    <a:pt x="62" y="39"/>
                    <a:pt x="62" y="40"/>
                    <a:pt x="63" y="41"/>
                  </a:cubicBezTo>
                  <a:cubicBezTo>
                    <a:pt x="63" y="40"/>
                    <a:pt x="66" y="38"/>
                    <a:pt x="69" y="38"/>
                  </a:cubicBezTo>
                  <a:cubicBezTo>
                    <a:pt x="69" y="38"/>
                    <a:pt x="71" y="38"/>
                    <a:pt x="74" y="38"/>
                  </a:cubicBezTo>
                  <a:moveTo>
                    <a:pt x="125" y="38"/>
                  </a:moveTo>
                  <a:cubicBezTo>
                    <a:pt x="140" y="19"/>
                    <a:pt x="140" y="19"/>
                    <a:pt x="140" y="19"/>
                  </a:cubicBezTo>
                  <a:cubicBezTo>
                    <a:pt x="139" y="19"/>
                    <a:pt x="138" y="19"/>
                    <a:pt x="136" y="20"/>
                  </a:cubicBezTo>
                  <a:cubicBezTo>
                    <a:pt x="135" y="21"/>
                    <a:pt x="134" y="23"/>
                    <a:pt x="134" y="24"/>
                  </a:cubicBezTo>
                  <a:cubicBezTo>
                    <a:pt x="134" y="24"/>
                    <a:pt x="134" y="24"/>
                    <a:pt x="134" y="24"/>
                  </a:cubicBezTo>
                  <a:cubicBezTo>
                    <a:pt x="134" y="24"/>
                    <a:pt x="134" y="24"/>
                    <a:pt x="134" y="24"/>
                  </a:cubicBezTo>
                  <a:cubicBezTo>
                    <a:pt x="134" y="23"/>
                    <a:pt x="133" y="22"/>
                    <a:pt x="132" y="22"/>
                  </a:cubicBezTo>
                  <a:cubicBezTo>
                    <a:pt x="131" y="22"/>
                    <a:pt x="129" y="22"/>
                    <a:pt x="128" y="23"/>
                  </a:cubicBezTo>
                  <a:cubicBezTo>
                    <a:pt x="130" y="26"/>
                    <a:pt x="130" y="27"/>
                    <a:pt x="129" y="28"/>
                  </a:cubicBezTo>
                  <a:cubicBezTo>
                    <a:pt x="128" y="29"/>
                    <a:pt x="127" y="29"/>
                    <a:pt x="126" y="29"/>
                  </a:cubicBezTo>
                  <a:cubicBezTo>
                    <a:pt x="124" y="28"/>
                    <a:pt x="124" y="26"/>
                    <a:pt x="124" y="25"/>
                  </a:cubicBezTo>
                  <a:cubicBezTo>
                    <a:pt x="124" y="26"/>
                    <a:pt x="123" y="26"/>
                    <a:pt x="121" y="26"/>
                  </a:cubicBezTo>
                  <a:cubicBezTo>
                    <a:pt x="121" y="26"/>
                    <a:pt x="120" y="26"/>
                    <a:pt x="119" y="25"/>
                  </a:cubicBezTo>
                  <a:cubicBezTo>
                    <a:pt x="119" y="24"/>
                    <a:pt x="119" y="24"/>
                    <a:pt x="119" y="23"/>
                  </a:cubicBezTo>
                  <a:cubicBezTo>
                    <a:pt x="120" y="21"/>
                    <a:pt x="122" y="21"/>
                    <a:pt x="124" y="21"/>
                  </a:cubicBezTo>
                  <a:cubicBezTo>
                    <a:pt x="124" y="20"/>
                    <a:pt x="124" y="18"/>
                    <a:pt x="122" y="17"/>
                  </a:cubicBezTo>
                  <a:cubicBezTo>
                    <a:pt x="121" y="16"/>
                    <a:pt x="118" y="17"/>
                    <a:pt x="118" y="17"/>
                  </a:cubicBezTo>
                  <a:cubicBezTo>
                    <a:pt x="118" y="17"/>
                    <a:pt x="118" y="17"/>
                    <a:pt x="118" y="17"/>
                  </a:cubicBezTo>
                  <a:cubicBezTo>
                    <a:pt x="118" y="17"/>
                    <a:pt x="118" y="16"/>
                    <a:pt x="118" y="16"/>
                  </a:cubicBezTo>
                  <a:cubicBezTo>
                    <a:pt x="118" y="16"/>
                    <a:pt x="120" y="15"/>
                    <a:pt x="120" y="13"/>
                  </a:cubicBezTo>
                  <a:cubicBezTo>
                    <a:pt x="120" y="12"/>
                    <a:pt x="120" y="10"/>
                    <a:pt x="118" y="8"/>
                  </a:cubicBezTo>
                  <a:cubicBezTo>
                    <a:pt x="118" y="8"/>
                    <a:pt x="118" y="8"/>
                    <a:pt x="118" y="8"/>
                  </a:cubicBezTo>
                  <a:cubicBezTo>
                    <a:pt x="116" y="8"/>
                    <a:pt x="114" y="9"/>
                    <a:pt x="113" y="10"/>
                  </a:cubicBezTo>
                  <a:cubicBezTo>
                    <a:pt x="112" y="12"/>
                    <a:pt x="112" y="14"/>
                    <a:pt x="112" y="14"/>
                  </a:cubicBezTo>
                  <a:cubicBezTo>
                    <a:pt x="113" y="14"/>
                    <a:pt x="112" y="14"/>
                    <a:pt x="112" y="14"/>
                  </a:cubicBezTo>
                  <a:cubicBezTo>
                    <a:pt x="112" y="14"/>
                    <a:pt x="112" y="14"/>
                    <a:pt x="112" y="14"/>
                  </a:cubicBezTo>
                  <a:cubicBezTo>
                    <a:pt x="112" y="14"/>
                    <a:pt x="111" y="11"/>
                    <a:pt x="109" y="11"/>
                  </a:cubicBezTo>
                  <a:cubicBezTo>
                    <a:pt x="107" y="10"/>
                    <a:pt x="105" y="12"/>
                    <a:pt x="105" y="12"/>
                  </a:cubicBezTo>
                  <a:cubicBezTo>
                    <a:pt x="107" y="14"/>
                    <a:pt x="107" y="16"/>
                    <a:pt x="107" y="17"/>
                  </a:cubicBezTo>
                  <a:cubicBezTo>
                    <a:pt x="106" y="18"/>
                    <a:pt x="106" y="19"/>
                    <a:pt x="105" y="19"/>
                  </a:cubicBezTo>
                  <a:cubicBezTo>
                    <a:pt x="104" y="19"/>
                    <a:pt x="103" y="18"/>
                    <a:pt x="103" y="18"/>
                  </a:cubicBezTo>
                  <a:cubicBezTo>
                    <a:pt x="102" y="17"/>
                    <a:pt x="102" y="16"/>
                    <a:pt x="102" y="16"/>
                  </a:cubicBezTo>
                  <a:cubicBezTo>
                    <a:pt x="101" y="16"/>
                    <a:pt x="99" y="17"/>
                    <a:pt x="98" y="16"/>
                  </a:cubicBezTo>
                  <a:cubicBezTo>
                    <a:pt x="97" y="15"/>
                    <a:pt x="96" y="15"/>
                    <a:pt x="96" y="14"/>
                  </a:cubicBezTo>
                  <a:cubicBezTo>
                    <a:pt x="97" y="13"/>
                    <a:pt x="97" y="11"/>
                    <a:pt x="101" y="11"/>
                  </a:cubicBezTo>
                  <a:cubicBezTo>
                    <a:pt x="101" y="10"/>
                    <a:pt x="100" y="8"/>
                    <a:pt x="99" y="7"/>
                  </a:cubicBezTo>
                  <a:cubicBezTo>
                    <a:pt x="98" y="7"/>
                    <a:pt x="97" y="7"/>
                    <a:pt x="96" y="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7"/>
                    <a:pt x="98" y="5"/>
                    <a:pt x="98" y="3"/>
                  </a:cubicBezTo>
                  <a:cubicBezTo>
                    <a:pt x="97" y="1"/>
                    <a:pt x="96" y="0"/>
                    <a:pt x="96" y="0"/>
                  </a:cubicBezTo>
                  <a:cubicBezTo>
                    <a:pt x="92" y="23"/>
                    <a:pt x="92" y="23"/>
                    <a:pt x="92" y="23"/>
                  </a:cubicBezTo>
                  <a:cubicBezTo>
                    <a:pt x="102" y="28"/>
                    <a:pt x="102" y="28"/>
                    <a:pt x="102" y="28"/>
                  </a:cubicBezTo>
                  <a:cubicBezTo>
                    <a:pt x="103" y="27"/>
                    <a:pt x="105" y="26"/>
                    <a:pt x="106" y="26"/>
                  </a:cubicBezTo>
                  <a:cubicBezTo>
                    <a:pt x="108" y="24"/>
                    <a:pt x="111" y="25"/>
                    <a:pt x="114" y="26"/>
                  </a:cubicBezTo>
                  <a:cubicBezTo>
                    <a:pt x="118" y="28"/>
                    <a:pt x="119" y="30"/>
                    <a:pt x="119" y="31"/>
                  </a:cubicBezTo>
                  <a:cubicBezTo>
                    <a:pt x="119" y="32"/>
                    <a:pt x="118" y="34"/>
                    <a:pt x="118" y="35"/>
                  </a:cubicBezTo>
                  <a:lnTo>
                    <a:pt x="125" y="38"/>
                  </a:lnTo>
                  <a:close/>
                  <a:moveTo>
                    <a:pt x="180" y="35"/>
                  </a:moveTo>
                  <a:cubicBezTo>
                    <a:pt x="189" y="31"/>
                    <a:pt x="189" y="31"/>
                    <a:pt x="189" y="31"/>
                  </a:cubicBezTo>
                  <a:cubicBezTo>
                    <a:pt x="180" y="27"/>
                    <a:pt x="180" y="27"/>
                    <a:pt x="180" y="27"/>
                  </a:cubicBezTo>
                  <a:cubicBezTo>
                    <a:pt x="175" y="27"/>
                    <a:pt x="166" y="27"/>
                    <a:pt x="154" y="26"/>
                  </a:cubicBezTo>
                  <a:cubicBezTo>
                    <a:pt x="149" y="26"/>
                    <a:pt x="144" y="26"/>
                    <a:pt x="139" y="26"/>
                  </a:cubicBezTo>
                  <a:cubicBezTo>
                    <a:pt x="131" y="36"/>
                    <a:pt x="131" y="36"/>
                    <a:pt x="131" y="36"/>
                  </a:cubicBezTo>
                  <a:cubicBezTo>
                    <a:pt x="144" y="36"/>
                    <a:pt x="144" y="36"/>
                    <a:pt x="144" y="36"/>
                  </a:cubicBezTo>
                  <a:cubicBezTo>
                    <a:pt x="160" y="35"/>
                    <a:pt x="174" y="35"/>
                    <a:pt x="180" y="35"/>
                  </a:cubicBezTo>
                  <a:moveTo>
                    <a:pt x="168" y="86"/>
                  </a:moveTo>
                  <a:cubicBezTo>
                    <a:pt x="168" y="86"/>
                    <a:pt x="168" y="86"/>
                    <a:pt x="168" y="86"/>
                  </a:cubicBezTo>
                  <a:cubicBezTo>
                    <a:pt x="168" y="86"/>
                    <a:pt x="168" y="86"/>
                    <a:pt x="168" y="86"/>
                  </a:cubicBezTo>
                  <a:cubicBezTo>
                    <a:pt x="167" y="85"/>
                    <a:pt x="166" y="85"/>
                    <a:pt x="166" y="85"/>
                  </a:cubicBezTo>
                  <a:cubicBezTo>
                    <a:pt x="159" y="82"/>
                    <a:pt x="154" y="79"/>
                    <a:pt x="151" y="74"/>
                  </a:cubicBezTo>
                  <a:cubicBezTo>
                    <a:pt x="151" y="74"/>
                    <a:pt x="151" y="74"/>
                    <a:pt x="151" y="74"/>
                  </a:cubicBezTo>
                  <a:cubicBezTo>
                    <a:pt x="148" y="69"/>
                    <a:pt x="149" y="58"/>
                    <a:pt x="157" y="54"/>
                  </a:cubicBezTo>
                  <a:cubicBezTo>
                    <a:pt x="157" y="53"/>
                    <a:pt x="157" y="53"/>
                    <a:pt x="157" y="54"/>
                  </a:cubicBezTo>
                  <a:cubicBezTo>
                    <a:pt x="158" y="55"/>
                    <a:pt x="159" y="57"/>
                    <a:pt x="159" y="57"/>
                  </a:cubicBezTo>
                  <a:cubicBezTo>
                    <a:pt x="160" y="57"/>
                    <a:pt x="161" y="57"/>
                    <a:pt x="163" y="57"/>
                  </a:cubicBezTo>
                  <a:cubicBezTo>
                    <a:pt x="164" y="57"/>
                    <a:pt x="165" y="57"/>
                    <a:pt x="166" y="57"/>
                  </a:cubicBezTo>
                  <a:cubicBezTo>
                    <a:pt x="166" y="55"/>
                    <a:pt x="166" y="53"/>
                    <a:pt x="165" y="51"/>
                  </a:cubicBezTo>
                  <a:cubicBezTo>
                    <a:pt x="165" y="51"/>
                    <a:pt x="165" y="51"/>
                    <a:pt x="165" y="51"/>
                  </a:cubicBezTo>
                  <a:cubicBezTo>
                    <a:pt x="165" y="51"/>
                    <a:pt x="165" y="51"/>
                    <a:pt x="166" y="51"/>
                  </a:cubicBezTo>
                  <a:cubicBezTo>
                    <a:pt x="168" y="53"/>
                    <a:pt x="169" y="54"/>
                    <a:pt x="169" y="57"/>
                  </a:cubicBezTo>
                  <a:cubicBezTo>
                    <a:pt x="171" y="57"/>
                    <a:pt x="175" y="57"/>
                    <a:pt x="176" y="57"/>
                  </a:cubicBezTo>
                  <a:cubicBezTo>
                    <a:pt x="176" y="55"/>
                    <a:pt x="176" y="54"/>
                    <a:pt x="175" y="53"/>
                  </a:cubicBezTo>
                  <a:cubicBezTo>
                    <a:pt x="175" y="53"/>
                    <a:pt x="175" y="53"/>
                    <a:pt x="175" y="53"/>
                  </a:cubicBezTo>
                  <a:cubicBezTo>
                    <a:pt x="175" y="53"/>
                    <a:pt x="175" y="53"/>
                    <a:pt x="175" y="53"/>
                  </a:cubicBezTo>
                  <a:cubicBezTo>
                    <a:pt x="183" y="56"/>
                    <a:pt x="185" y="63"/>
                    <a:pt x="185" y="67"/>
                  </a:cubicBezTo>
                  <a:cubicBezTo>
                    <a:pt x="185" y="73"/>
                    <a:pt x="182" y="78"/>
                    <a:pt x="177" y="81"/>
                  </a:cubicBezTo>
                  <a:cubicBezTo>
                    <a:pt x="174" y="83"/>
                    <a:pt x="171" y="85"/>
                    <a:pt x="168" y="86"/>
                  </a:cubicBezTo>
                  <a:moveTo>
                    <a:pt x="91" y="42"/>
                  </a:moveTo>
                  <a:cubicBezTo>
                    <a:pt x="90" y="43"/>
                    <a:pt x="87" y="43"/>
                    <a:pt x="85" y="43"/>
                  </a:cubicBezTo>
                  <a:cubicBezTo>
                    <a:pt x="85" y="43"/>
                    <a:pt x="85" y="43"/>
                    <a:pt x="84" y="43"/>
                  </a:cubicBezTo>
                  <a:cubicBezTo>
                    <a:pt x="84" y="43"/>
                    <a:pt x="84" y="40"/>
                    <a:pt x="84" y="39"/>
                  </a:cubicBezTo>
                  <a:cubicBezTo>
                    <a:pt x="84" y="39"/>
                    <a:pt x="85" y="39"/>
                    <a:pt x="86" y="39"/>
                  </a:cubicBezTo>
                  <a:cubicBezTo>
                    <a:pt x="87" y="39"/>
                    <a:pt x="90" y="40"/>
                    <a:pt x="91" y="42"/>
                  </a:cubicBezTo>
                  <a:cubicBezTo>
                    <a:pt x="91" y="42"/>
                    <a:pt x="91" y="42"/>
                    <a:pt x="91" y="42"/>
                  </a:cubicBezTo>
                  <a:moveTo>
                    <a:pt x="194" y="117"/>
                  </a:moveTo>
                  <a:cubicBezTo>
                    <a:pt x="194" y="117"/>
                    <a:pt x="194" y="117"/>
                    <a:pt x="195" y="117"/>
                  </a:cubicBezTo>
                  <a:cubicBezTo>
                    <a:pt x="195" y="117"/>
                    <a:pt x="195" y="117"/>
                    <a:pt x="195" y="117"/>
                  </a:cubicBezTo>
                  <a:cubicBezTo>
                    <a:pt x="197" y="117"/>
                    <a:pt x="199" y="117"/>
                    <a:pt x="200" y="116"/>
                  </a:cubicBezTo>
                  <a:cubicBezTo>
                    <a:pt x="200" y="116"/>
                    <a:pt x="199" y="110"/>
                    <a:pt x="198" y="108"/>
                  </a:cubicBezTo>
                  <a:cubicBezTo>
                    <a:pt x="196" y="108"/>
                    <a:pt x="193" y="108"/>
                    <a:pt x="191" y="105"/>
                  </a:cubicBezTo>
                  <a:cubicBezTo>
                    <a:pt x="191" y="104"/>
                    <a:pt x="190" y="104"/>
                    <a:pt x="190" y="103"/>
                  </a:cubicBezTo>
                  <a:cubicBezTo>
                    <a:pt x="186" y="98"/>
                    <a:pt x="181" y="93"/>
                    <a:pt x="174" y="89"/>
                  </a:cubicBezTo>
                  <a:cubicBezTo>
                    <a:pt x="174" y="89"/>
                    <a:pt x="174" y="89"/>
                    <a:pt x="174" y="89"/>
                  </a:cubicBezTo>
                  <a:cubicBezTo>
                    <a:pt x="174" y="89"/>
                    <a:pt x="174" y="89"/>
                    <a:pt x="174" y="89"/>
                  </a:cubicBezTo>
                  <a:cubicBezTo>
                    <a:pt x="184" y="84"/>
                    <a:pt x="187" y="79"/>
                    <a:pt x="189" y="77"/>
                  </a:cubicBezTo>
                  <a:cubicBezTo>
                    <a:pt x="190" y="74"/>
                    <a:pt x="192" y="67"/>
                    <a:pt x="190" y="61"/>
                  </a:cubicBezTo>
                  <a:cubicBezTo>
                    <a:pt x="189" y="55"/>
                    <a:pt x="186" y="51"/>
                    <a:pt x="180" y="48"/>
                  </a:cubicBezTo>
                  <a:cubicBezTo>
                    <a:pt x="170" y="43"/>
                    <a:pt x="160" y="45"/>
                    <a:pt x="155" y="47"/>
                  </a:cubicBezTo>
                  <a:cubicBezTo>
                    <a:pt x="146" y="52"/>
                    <a:pt x="141" y="61"/>
                    <a:pt x="143" y="71"/>
                  </a:cubicBezTo>
                  <a:cubicBezTo>
                    <a:pt x="145" y="82"/>
                    <a:pt x="152" y="85"/>
                    <a:pt x="160" y="89"/>
                  </a:cubicBezTo>
                  <a:cubicBezTo>
                    <a:pt x="160" y="89"/>
                    <a:pt x="160" y="89"/>
                    <a:pt x="160" y="89"/>
                  </a:cubicBezTo>
                  <a:cubicBezTo>
                    <a:pt x="160" y="89"/>
                    <a:pt x="160" y="89"/>
                    <a:pt x="160" y="89"/>
                  </a:cubicBezTo>
                  <a:cubicBezTo>
                    <a:pt x="153" y="93"/>
                    <a:pt x="149" y="97"/>
                    <a:pt x="149" y="105"/>
                  </a:cubicBezTo>
                  <a:cubicBezTo>
                    <a:pt x="149" y="106"/>
                    <a:pt x="149" y="108"/>
                    <a:pt x="150" y="110"/>
                  </a:cubicBezTo>
                  <a:cubicBezTo>
                    <a:pt x="151" y="113"/>
                    <a:pt x="152" y="117"/>
                    <a:pt x="151" y="123"/>
                  </a:cubicBezTo>
                  <a:cubicBezTo>
                    <a:pt x="151" y="123"/>
                    <a:pt x="156" y="121"/>
                    <a:pt x="156" y="120"/>
                  </a:cubicBezTo>
                  <a:cubicBezTo>
                    <a:pt x="158" y="116"/>
                    <a:pt x="158" y="109"/>
                    <a:pt x="158" y="109"/>
                  </a:cubicBezTo>
                  <a:cubicBezTo>
                    <a:pt x="158" y="109"/>
                    <a:pt x="158" y="109"/>
                    <a:pt x="158" y="109"/>
                  </a:cubicBezTo>
                  <a:cubicBezTo>
                    <a:pt x="158" y="109"/>
                    <a:pt x="158" y="109"/>
                    <a:pt x="158" y="109"/>
                  </a:cubicBezTo>
                  <a:cubicBezTo>
                    <a:pt x="160" y="111"/>
                    <a:pt x="160" y="115"/>
                    <a:pt x="160" y="118"/>
                  </a:cubicBezTo>
                  <a:cubicBezTo>
                    <a:pt x="161" y="117"/>
                    <a:pt x="163" y="116"/>
                    <a:pt x="164" y="115"/>
                  </a:cubicBezTo>
                  <a:cubicBezTo>
                    <a:pt x="165" y="109"/>
                    <a:pt x="164" y="105"/>
                    <a:pt x="163" y="102"/>
                  </a:cubicBezTo>
                  <a:cubicBezTo>
                    <a:pt x="163" y="102"/>
                    <a:pt x="162" y="102"/>
                    <a:pt x="162" y="101"/>
                  </a:cubicBezTo>
                  <a:cubicBezTo>
                    <a:pt x="161" y="98"/>
                    <a:pt x="164" y="94"/>
                    <a:pt x="166" y="93"/>
                  </a:cubicBezTo>
                  <a:cubicBezTo>
                    <a:pt x="167" y="93"/>
                    <a:pt x="167" y="93"/>
                    <a:pt x="167" y="93"/>
                  </a:cubicBezTo>
                  <a:cubicBezTo>
                    <a:pt x="169" y="94"/>
                    <a:pt x="171" y="95"/>
                    <a:pt x="172" y="96"/>
                  </a:cubicBezTo>
                  <a:cubicBezTo>
                    <a:pt x="175" y="98"/>
                    <a:pt x="182" y="103"/>
                    <a:pt x="185" y="110"/>
                  </a:cubicBezTo>
                  <a:cubicBezTo>
                    <a:pt x="189" y="120"/>
                    <a:pt x="187" y="126"/>
                    <a:pt x="185" y="130"/>
                  </a:cubicBezTo>
                  <a:cubicBezTo>
                    <a:pt x="181" y="135"/>
                    <a:pt x="178" y="138"/>
                    <a:pt x="172" y="138"/>
                  </a:cubicBezTo>
                  <a:cubicBezTo>
                    <a:pt x="172" y="138"/>
                    <a:pt x="172" y="138"/>
                    <a:pt x="172" y="138"/>
                  </a:cubicBezTo>
                  <a:cubicBezTo>
                    <a:pt x="172" y="138"/>
                    <a:pt x="172" y="138"/>
                    <a:pt x="172" y="138"/>
                  </a:cubicBezTo>
                  <a:cubicBezTo>
                    <a:pt x="170" y="138"/>
                    <a:pt x="169" y="138"/>
                    <a:pt x="167" y="138"/>
                  </a:cubicBezTo>
                  <a:cubicBezTo>
                    <a:pt x="166" y="138"/>
                    <a:pt x="164" y="138"/>
                    <a:pt x="163" y="137"/>
                  </a:cubicBezTo>
                  <a:cubicBezTo>
                    <a:pt x="162" y="137"/>
                    <a:pt x="161" y="137"/>
                    <a:pt x="160" y="136"/>
                  </a:cubicBezTo>
                  <a:cubicBezTo>
                    <a:pt x="160" y="136"/>
                    <a:pt x="160" y="136"/>
                    <a:pt x="160" y="136"/>
                  </a:cubicBezTo>
                  <a:cubicBezTo>
                    <a:pt x="160" y="136"/>
                    <a:pt x="160" y="136"/>
                    <a:pt x="159" y="136"/>
                  </a:cubicBezTo>
                  <a:cubicBezTo>
                    <a:pt x="159" y="136"/>
                    <a:pt x="159" y="136"/>
                    <a:pt x="159" y="136"/>
                  </a:cubicBezTo>
                  <a:cubicBezTo>
                    <a:pt x="159" y="136"/>
                    <a:pt x="159" y="136"/>
                    <a:pt x="159" y="136"/>
                  </a:cubicBezTo>
                  <a:cubicBezTo>
                    <a:pt x="159" y="136"/>
                    <a:pt x="159" y="136"/>
                    <a:pt x="159" y="136"/>
                  </a:cubicBezTo>
                  <a:cubicBezTo>
                    <a:pt x="156" y="134"/>
                    <a:pt x="147" y="129"/>
                    <a:pt x="138" y="120"/>
                  </a:cubicBezTo>
                  <a:cubicBezTo>
                    <a:pt x="133" y="114"/>
                    <a:pt x="129" y="109"/>
                    <a:pt x="126" y="106"/>
                  </a:cubicBezTo>
                  <a:cubicBezTo>
                    <a:pt x="125" y="104"/>
                    <a:pt x="125" y="104"/>
                    <a:pt x="125" y="104"/>
                  </a:cubicBezTo>
                  <a:cubicBezTo>
                    <a:pt x="125" y="104"/>
                    <a:pt x="125" y="104"/>
                    <a:pt x="125" y="104"/>
                  </a:cubicBezTo>
                  <a:cubicBezTo>
                    <a:pt x="125" y="104"/>
                    <a:pt x="125" y="104"/>
                    <a:pt x="125" y="104"/>
                  </a:cubicBezTo>
                  <a:cubicBezTo>
                    <a:pt x="129" y="106"/>
                    <a:pt x="133" y="105"/>
                    <a:pt x="134" y="105"/>
                  </a:cubicBezTo>
                  <a:cubicBezTo>
                    <a:pt x="134" y="105"/>
                    <a:pt x="134" y="102"/>
                    <a:pt x="134" y="100"/>
                  </a:cubicBezTo>
                  <a:cubicBezTo>
                    <a:pt x="134" y="94"/>
                    <a:pt x="134" y="94"/>
                    <a:pt x="134" y="94"/>
                  </a:cubicBezTo>
                  <a:cubicBezTo>
                    <a:pt x="134" y="94"/>
                    <a:pt x="134" y="92"/>
                    <a:pt x="134" y="90"/>
                  </a:cubicBezTo>
                  <a:cubicBezTo>
                    <a:pt x="133" y="90"/>
                    <a:pt x="123" y="89"/>
                    <a:pt x="121" y="84"/>
                  </a:cubicBezTo>
                  <a:cubicBezTo>
                    <a:pt x="121" y="84"/>
                    <a:pt x="121" y="84"/>
                    <a:pt x="121" y="84"/>
                  </a:cubicBezTo>
                  <a:cubicBezTo>
                    <a:pt x="121" y="84"/>
                    <a:pt x="121" y="84"/>
                    <a:pt x="121" y="84"/>
                  </a:cubicBezTo>
                  <a:cubicBezTo>
                    <a:pt x="121" y="84"/>
                    <a:pt x="124" y="85"/>
                    <a:pt x="127" y="86"/>
                  </a:cubicBezTo>
                  <a:cubicBezTo>
                    <a:pt x="130" y="86"/>
                    <a:pt x="134" y="85"/>
                    <a:pt x="135" y="85"/>
                  </a:cubicBezTo>
                  <a:cubicBezTo>
                    <a:pt x="135" y="84"/>
                    <a:pt x="135" y="78"/>
                    <a:pt x="135" y="75"/>
                  </a:cubicBezTo>
                  <a:cubicBezTo>
                    <a:pt x="135" y="75"/>
                    <a:pt x="135" y="72"/>
                    <a:pt x="135" y="71"/>
                  </a:cubicBezTo>
                  <a:cubicBezTo>
                    <a:pt x="134" y="71"/>
                    <a:pt x="131" y="71"/>
                    <a:pt x="128" y="70"/>
                  </a:cubicBezTo>
                  <a:cubicBezTo>
                    <a:pt x="126" y="70"/>
                    <a:pt x="122" y="68"/>
                    <a:pt x="121" y="65"/>
                  </a:cubicBezTo>
                  <a:cubicBezTo>
                    <a:pt x="121" y="65"/>
                    <a:pt x="121" y="65"/>
                    <a:pt x="121" y="65"/>
                  </a:cubicBezTo>
                  <a:cubicBezTo>
                    <a:pt x="121" y="65"/>
                    <a:pt x="121" y="65"/>
                    <a:pt x="121" y="65"/>
                  </a:cubicBezTo>
                  <a:cubicBezTo>
                    <a:pt x="121" y="65"/>
                    <a:pt x="123" y="66"/>
                    <a:pt x="127" y="66"/>
                  </a:cubicBezTo>
                  <a:cubicBezTo>
                    <a:pt x="131" y="67"/>
                    <a:pt x="136" y="66"/>
                    <a:pt x="136" y="66"/>
                  </a:cubicBezTo>
                  <a:cubicBezTo>
                    <a:pt x="136" y="63"/>
                    <a:pt x="136" y="56"/>
                    <a:pt x="136" y="56"/>
                  </a:cubicBezTo>
                  <a:cubicBezTo>
                    <a:pt x="136" y="54"/>
                    <a:pt x="136" y="52"/>
                    <a:pt x="136" y="51"/>
                  </a:cubicBezTo>
                  <a:cubicBezTo>
                    <a:pt x="135" y="52"/>
                    <a:pt x="128" y="51"/>
                    <a:pt x="123" y="46"/>
                  </a:cubicBezTo>
                  <a:cubicBezTo>
                    <a:pt x="123" y="46"/>
                    <a:pt x="121" y="44"/>
                    <a:pt x="123" y="41"/>
                  </a:cubicBezTo>
                  <a:cubicBezTo>
                    <a:pt x="112" y="36"/>
                    <a:pt x="112" y="36"/>
                    <a:pt x="112" y="36"/>
                  </a:cubicBezTo>
                  <a:cubicBezTo>
                    <a:pt x="112" y="36"/>
                    <a:pt x="112" y="36"/>
                    <a:pt x="112" y="36"/>
                  </a:cubicBezTo>
                  <a:cubicBezTo>
                    <a:pt x="113" y="36"/>
                    <a:pt x="115" y="34"/>
                    <a:pt x="115" y="32"/>
                  </a:cubicBezTo>
                  <a:cubicBezTo>
                    <a:pt x="115" y="31"/>
                    <a:pt x="114" y="30"/>
                    <a:pt x="114" y="30"/>
                  </a:cubicBezTo>
                  <a:cubicBezTo>
                    <a:pt x="113" y="29"/>
                    <a:pt x="110" y="28"/>
                    <a:pt x="108" y="29"/>
                  </a:cubicBezTo>
                  <a:cubicBezTo>
                    <a:pt x="105" y="29"/>
                    <a:pt x="103" y="32"/>
                    <a:pt x="103" y="32"/>
                  </a:cubicBezTo>
                  <a:cubicBezTo>
                    <a:pt x="103" y="32"/>
                    <a:pt x="103" y="32"/>
                    <a:pt x="103" y="32"/>
                  </a:cubicBezTo>
                  <a:cubicBezTo>
                    <a:pt x="90" y="26"/>
                    <a:pt x="90" y="26"/>
                    <a:pt x="90" y="26"/>
                  </a:cubicBezTo>
                  <a:cubicBezTo>
                    <a:pt x="79" y="37"/>
                    <a:pt x="79" y="37"/>
                    <a:pt x="79" y="37"/>
                  </a:cubicBezTo>
                  <a:cubicBezTo>
                    <a:pt x="79" y="37"/>
                    <a:pt x="79" y="38"/>
                    <a:pt x="79" y="39"/>
                  </a:cubicBezTo>
                  <a:cubicBezTo>
                    <a:pt x="79" y="40"/>
                    <a:pt x="79" y="40"/>
                    <a:pt x="79" y="40"/>
                  </a:cubicBezTo>
                  <a:cubicBezTo>
                    <a:pt x="79" y="40"/>
                    <a:pt x="79" y="41"/>
                    <a:pt x="78" y="41"/>
                  </a:cubicBezTo>
                  <a:cubicBezTo>
                    <a:pt x="78" y="42"/>
                    <a:pt x="77" y="42"/>
                    <a:pt x="77" y="43"/>
                  </a:cubicBezTo>
                  <a:cubicBezTo>
                    <a:pt x="76" y="44"/>
                    <a:pt x="76" y="44"/>
                    <a:pt x="75" y="45"/>
                  </a:cubicBezTo>
                  <a:cubicBezTo>
                    <a:pt x="74" y="46"/>
                    <a:pt x="74" y="47"/>
                    <a:pt x="73" y="47"/>
                  </a:cubicBezTo>
                  <a:cubicBezTo>
                    <a:pt x="72" y="49"/>
                    <a:pt x="72" y="50"/>
                    <a:pt x="72" y="51"/>
                  </a:cubicBezTo>
                  <a:cubicBezTo>
                    <a:pt x="72" y="51"/>
                    <a:pt x="72" y="51"/>
                    <a:pt x="72" y="51"/>
                  </a:cubicBezTo>
                  <a:cubicBezTo>
                    <a:pt x="72" y="52"/>
                    <a:pt x="70" y="54"/>
                    <a:pt x="75" y="58"/>
                  </a:cubicBezTo>
                  <a:cubicBezTo>
                    <a:pt x="75" y="58"/>
                    <a:pt x="75" y="58"/>
                    <a:pt x="75" y="58"/>
                  </a:cubicBezTo>
                  <a:cubicBezTo>
                    <a:pt x="75" y="58"/>
                    <a:pt x="75" y="58"/>
                    <a:pt x="75" y="58"/>
                  </a:cubicBezTo>
                  <a:cubicBezTo>
                    <a:pt x="76" y="58"/>
                    <a:pt x="76" y="58"/>
                    <a:pt x="76" y="58"/>
                  </a:cubicBezTo>
                  <a:cubicBezTo>
                    <a:pt x="76" y="58"/>
                    <a:pt x="76" y="58"/>
                    <a:pt x="76" y="58"/>
                  </a:cubicBezTo>
                  <a:cubicBezTo>
                    <a:pt x="76" y="58"/>
                    <a:pt x="76" y="58"/>
                    <a:pt x="76" y="58"/>
                  </a:cubicBezTo>
                  <a:cubicBezTo>
                    <a:pt x="76" y="58"/>
                    <a:pt x="76" y="58"/>
                    <a:pt x="76" y="58"/>
                  </a:cubicBezTo>
                  <a:cubicBezTo>
                    <a:pt x="77" y="58"/>
                    <a:pt x="77" y="59"/>
                    <a:pt x="78" y="60"/>
                  </a:cubicBezTo>
                  <a:cubicBezTo>
                    <a:pt x="78" y="59"/>
                    <a:pt x="79" y="58"/>
                    <a:pt x="80" y="57"/>
                  </a:cubicBezTo>
                  <a:cubicBezTo>
                    <a:pt x="81" y="55"/>
                    <a:pt x="82" y="54"/>
                    <a:pt x="84" y="53"/>
                  </a:cubicBezTo>
                  <a:cubicBezTo>
                    <a:pt x="85" y="52"/>
                    <a:pt x="87" y="51"/>
                    <a:pt x="89" y="51"/>
                  </a:cubicBezTo>
                  <a:cubicBezTo>
                    <a:pt x="91" y="51"/>
                    <a:pt x="92" y="52"/>
                    <a:pt x="93" y="53"/>
                  </a:cubicBezTo>
                  <a:cubicBezTo>
                    <a:pt x="95" y="55"/>
                    <a:pt x="95" y="59"/>
                    <a:pt x="95" y="61"/>
                  </a:cubicBezTo>
                  <a:cubicBezTo>
                    <a:pt x="95" y="61"/>
                    <a:pt x="95" y="61"/>
                    <a:pt x="95" y="61"/>
                  </a:cubicBezTo>
                  <a:cubicBezTo>
                    <a:pt x="95" y="61"/>
                    <a:pt x="95" y="61"/>
                    <a:pt x="95" y="61"/>
                  </a:cubicBezTo>
                  <a:cubicBezTo>
                    <a:pt x="94" y="61"/>
                    <a:pt x="93" y="60"/>
                    <a:pt x="93" y="60"/>
                  </a:cubicBezTo>
                  <a:cubicBezTo>
                    <a:pt x="92" y="59"/>
                    <a:pt x="87" y="57"/>
                    <a:pt x="82" y="60"/>
                  </a:cubicBezTo>
                  <a:cubicBezTo>
                    <a:pt x="81" y="60"/>
                    <a:pt x="81" y="60"/>
                    <a:pt x="81" y="60"/>
                  </a:cubicBezTo>
                  <a:cubicBezTo>
                    <a:pt x="79" y="61"/>
                    <a:pt x="76" y="62"/>
                    <a:pt x="71" y="64"/>
                  </a:cubicBezTo>
                  <a:cubicBezTo>
                    <a:pt x="69" y="64"/>
                    <a:pt x="67" y="64"/>
                    <a:pt x="66" y="64"/>
                  </a:cubicBezTo>
                  <a:cubicBezTo>
                    <a:pt x="66" y="63"/>
                    <a:pt x="65" y="63"/>
                    <a:pt x="65" y="62"/>
                  </a:cubicBezTo>
                  <a:cubicBezTo>
                    <a:pt x="65" y="60"/>
                    <a:pt x="65" y="59"/>
                    <a:pt x="65" y="58"/>
                  </a:cubicBezTo>
                  <a:cubicBezTo>
                    <a:pt x="64" y="58"/>
                    <a:pt x="62" y="59"/>
                    <a:pt x="61" y="62"/>
                  </a:cubicBezTo>
                  <a:cubicBezTo>
                    <a:pt x="61" y="63"/>
                    <a:pt x="61" y="65"/>
                    <a:pt x="62" y="66"/>
                  </a:cubicBezTo>
                  <a:cubicBezTo>
                    <a:pt x="62" y="67"/>
                    <a:pt x="63" y="68"/>
                    <a:pt x="65" y="69"/>
                  </a:cubicBezTo>
                  <a:cubicBezTo>
                    <a:pt x="67" y="69"/>
                    <a:pt x="70" y="68"/>
                    <a:pt x="75" y="65"/>
                  </a:cubicBezTo>
                  <a:cubicBezTo>
                    <a:pt x="78" y="64"/>
                    <a:pt x="79" y="63"/>
                    <a:pt x="81" y="63"/>
                  </a:cubicBezTo>
                  <a:cubicBezTo>
                    <a:pt x="84" y="61"/>
                    <a:pt x="86" y="61"/>
                    <a:pt x="89" y="63"/>
                  </a:cubicBezTo>
                  <a:cubicBezTo>
                    <a:pt x="92" y="64"/>
                    <a:pt x="93" y="65"/>
                    <a:pt x="93" y="65"/>
                  </a:cubicBezTo>
                  <a:cubicBezTo>
                    <a:pt x="93" y="65"/>
                    <a:pt x="93" y="65"/>
                    <a:pt x="93" y="66"/>
                  </a:cubicBezTo>
                  <a:cubicBezTo>
                    <a:pt x="93" y="66"/>
                    <a:pt x="92" y="68"/>
                    <a:pt x="88" y="69"/>
                  </a:cubicBezTo>
                  <a:cubicBezTo>
                    <a:pt x="85" y="69"/>
                    <a:pt x="83" y="67"/>
                    <a:pt x="81" y="66"/>
                  </a:cubicBezTo>
                  <a:cubicBezTo>
                    <a:pt x="81" y="66"/>
                    <a:pt x="81" y="67"/>
                    <a:pt x="81" y="68"/>
                  </a:cubicBezTo>
                  <a:cubicBezTo>
                    <a:pt x="80" y="69"/>
                    <a:pt x="80" y="69"/>
                    <a:pt x="80" y="70"/>
                  </a:cubicBezTo>
                  <a:cubicBezTo>
                    <a:pt x="80" y="70"/>
                    <a:pt x="81" y="71"/>
                    <a:pt x="80" y="72"/>
                  </a:cubicBezTo>
                  <a:cubicBezTo>
                    <a:pt x="80" y="73"/>
                    <a:pt x="78" y="74"/>
                    <a:pt x="77" y="75"/>
                  </a:cubicBezTo>
                  <a:cubicBezTo>
                    <a:pt x="76" y="75"/>
                    <a:pt x="76" y="75"/>
                    <a:pt x="76" y="75"/>
                  </a:cubicBezTo>
                  <a:cubicBezTo>
                    <a:pt x="75" y="76"/>
                    <a:pt x="72" y="77"/>
                    <a:pt x="70" y="78"/>
                  </a:cubicBezTo>
                  <a:cubicBezTo>
                    <a:pt x="71" y="79"/>
                    <a:pt x="72" y="82"/>
                    <a:pt x="73" y="83"/>
                  </a:cubicBezTo>
                  <a:cubicBezTo>
                    <a:pt x="73" y="83"/>
                    <a:pt x="73" y="83"/>
                    <a:pt x="73" y="84"/>
                  </a:cubicBezTo>
                  <a:cubicBezTo>
                    <a:pt x="74" y="86"/>
                    <a:pt x="76" y="89"/>
                    <a:pt x="77" y="90"/>
                  </a:cubicBezTo>
                  <a:cubicBezTo>
                    <a:pt x="78" y="90"/>
                    <a:pt x="81" y="89"/>
                    <a:pt x="83" y="88"/>
                  </a:cubicBezTo>
                  <a:cubicBezTo>
                    <a:pt x="86" y="86"/>
                    <a:pt x="88" y="85"/>
                    <a:pt x="88" y="83"/>
                  </a:cubicBezTo>
                  <a:cubicBezTo>
                    <a:pt x="88" y="83"/>
                    <a:pt x="88" y="83"/>
                    <a:pt x="89" y="83"/>
                  </a:cubicBezTo>
                  <a:cubicBezTo>
                    <a:pt x="89" y="83"/>
                    <a:pt x="89" y="83"/>
                    <a:pt x="89" y="84"/>
                  </a:cubicBezTo>
                  <a:cubicBezTo>
                    <a:pt x="85" y="92"/>
                    <a:pt x="82" y="95"/>
                    <a:pt x="80" y="96"/>
                  </a:cubicBezTo>
                  <a:cubicBezTo>
                    <a:pt x="79" y="96"/>
                    <a:pt x="78" y="97"/>
                    <a:pt x="77" y="98"/>
                  </a:cubicBezTo>
                  <a:cubicBezTo>
                    <a:pt x="68" y="104"/>
                    <a:pt x="52" y="115"/>
                    <a:pt x="36" y="117"/>
                  </a:cubicBezTo>
                  <a:cubicBezTo>
                    <a:pt x="31" y="117"/>
                    <a:pt x="23" y="110"/>
                    <a:pt x="21" y="107"/>
                  </a:cubicBezTo>
                  <a:cubicBezTo>
                    <a:pt x="21" y="107"/>
                    <a:pt x="20" y="106"/>
                    <a:pt x="20" y="106"/>
                  </a:cubicBezTo>
                  <a:cubicBezTo>
                    <a:pt x="18" y="106"/>
                    <a:pt x="17" y="108"/>
                    <a:pt x="17" y="108"/>
                  </a:cubicBezTo>
                  <a:cubicBezTo>
                    <a:pt x="17" y="108"/>
                    <a:pt x="16" y="108"/>
                    <a:pt x="16" y="108"/>
                  </a:cubicBezTo>
                  <a:cubicBezTo>
                    <a:pt x="16" y="108"/>
                    <a:pt x="10" y="107"/>
                    <a:pt x="7" y="111"/>
                  </a:cubicBezTo>
                  <a:cubicBezTo>
                    <a:pt x="7" y="111"/>
                    <a:pt x="8" y="111"/>
                    <a:pt x="8" y="111"/>
                  </a:cubicBezTo>
                  <a:cubicBezTo>
                    <a:pt x="10" y="111"/>
                    <a:pt x="11" y="111"/>
                    <a:pt x="13" y="111"/>
                  </a:cubicBezTo>
                  <a:cubicBezTo>
                    <a:pt x="13" y="111"/>
                    <a:pt x="14" y="111"/>
                    <a:pt x="14" y="112"/>
                  </a:cubicBezTo>
                  <a:cubicBezTo>
                    <a:pt x="14" y="112"/>
                    <a:pt x="14" y="112"/>
                    <a:pt x="13" y="113"/>
                  </a:cubicBezTo>
                  <a:cubicBezTo>
                    <a:pt x="13" y="113"/>
                    <a:pt x="12" y="114"/>
                    <a:pt x="12" y="114"/>
                  </a:cubicBezTo>
                  <a:cubicBezTo>
                    <a:pt x="12" y="116"/>
                    <a:pt x="18" y="118"/>
                    <a:pt x="21" y="119"/>
                  </a:cubicBezTo>
                  <a:cubicBezTo>
                    <a:pt x="22" y="119"/>
                    <a:pt x="22" y="119"/>
                    <a:pt x="23" y="119"/>
                  </a:cubicBezTo>
                  <a:cubicBezTo>
                    <a:pt x="23" y="119"/>
                    <a:pt x="24" y="120"/>
                    <a:pt x="23" y="120"/>
                  </a:cubicBezTo>
                  <a:cubicBezTo>
                    <a:pt x="23" y="121"/>
                    <a:pt x="23" y="121"/>
                    <a:pt x="23" y="121"/>
                  </a:cubicBezTo>
                  <a:cubicBezTo>
                    <a:pt x="19" y="121"/>
                    <a:pt x="16" y="119"/>
                    <a:pt x="14" y="118"/>
                  </a:cubicBezTo>
                  <a:cubicBezTo>
                    <a:pt x="13" y="118"/>
                    <a:pt x="12" y="118"/>
                    <a:pt x="12" y="117"/>
                  </a:cubicBezTo>
                  <a:cubicBezTo>
                    <a:pt x="9" y="117"/>
                    <a:pt x="8" y="117"/>
                    <a:pt x="7" y="117"/>
                  </a:cubicBezTo>
                  <a:cubicBezTo>
                    <a:pt x="6" y="118"/>
                    <a:pt x="6" y="118"/>
                    <a:pt x="6" y="119"/>
                  </a:cubicBezTo>
                  <a:cubicBezTo>
                    <a:pt x="6" y="119"/>
                    <a:pt x="5" y="120"/>
                    <a:pt x="5" y="120"/>
                  </a:cubicBezTo>
                  <a:cubicBezTo>
                    <a:pt x="3" y="121"/>
                    <a:pt x="0" y="122"/>
                    <a:pt x="0" y="128"/>
                  </a:cubicBezTo>
                  <a:cubicBezTo>
                    <a:pt x="0" y="128"/>
                    <a:pt x="1" y="127"/>
                    <a:pt x="1" y="127"/>
                  </a:cubicBezTo>
                  <a:cubicBezTo>
                    <a:pt x="3" y="125"/>
                    <a:pt x="4" y="123"/>
                    <a:pt x="5" y="124"/>
                  </a:cubicBezTo>
                  <a:cubicBezTo>
                    <a:pt x="5" y="124"/>
                    <a:pt x="6" y="124"/>
                    <a:pt x="6" y="124"/>
                  </a:cubicBezTo>
                  <a:cubicBezTo>
                    <a:pt x="6" y="129"/>
                    <a:pt x="12" y="128"/>
                    <a:pt x="16" y="127"/>
                  </a:cubicBezTo>
                  <a:cubicBezTo>
                    <a:pt x="19" y="127"/>
                    <a:pt x="21" y="127"/>
                    <a:pt x="22" y="127"/>
                  </a:cubicBezTo>
                  <a:cubicBezTo>
                    <a:pt x="22" y="128"/>
                    <a:pt x="22" y="128"/>
                    <a:pt x="22" y="128"/>
                  </a:cubicBezTo>
                  <a:cubicBezTo>
                    <a:pt x="22" y="128"/>
                    <a:pt x="21" y="129"/>
                    <a:pt x="19" y="129"/>
                  </a:cubicBezTo>
                  <a:cubicBezTo>
                    <a:pt x="16" y="129"/>
                    <a:pt x="12" y="130"/>
                    <a:pt x="11" y="132"/>
                  </a:cubicBezTo>
                  <a:cubicBezTo>
                    <a:pt x="11" y="132"/>
                    <a:pt x="11" y="133"/>
                    <a:pt x="11" y="133"/>
                  </a:cubicBezTo>
                  <a:cubicBezTo>
                    <a:pt x="11" y="133"/>
                    <a:pt x="11" y="134"/>
                    <a:pt x="11" y="134"/>
                  </a:cubicBezTo>
                  <a:cubicBezTo>
                    <a:pt x="9" y="136"/>
                    <a:pt x="6" y="139"/>
                    <a:pt x="10" y="143"/>
                  </a:cubicBezTo>
                  <a:cubicBezTo>
                    <a:pt x="10" y="142"/>
                    <a:pt x="11" y="140"/>
                    <a:pt x="12" y="138"/>
                  </a:cubicBezTo>
                  <a:cubicBezTo>
                    <a:pt x="13" y="138"/>
                    <a:pt x="14" y="137"/>
                    <a:pt x="14" y="138"/>
                  </a:cubicBezTo>
                  <a:cubicBezTo>
                    <a:pt x="15" y="138"/>
                    <a:pt x="16" y="138"/>
                    <a:pt x="17" y="138"/>
                  </a:cubicBezTo>
                  <a:cubicBezTo>
                    <a:pt x="19" y="139"/>
                    <a:pt x="20" y="140"/>
                    <a:pt x="23" y="138"/>
                  </a:cubicBezTo>
                  <a:cubicBezTo>
                    <a:pt x="23" y="138"/>
                    <a:pt x="23" y="137"/>
                    <a:pt x="23" y="137"/>
                  </a:cubicBezTo>
                  <a:cubicBezTo>
                    <a:pt x="24" y="136"/>
                    <a:pt x="26" y="135"/>
                    <a:pt x="30" y="134"/>
                  </a:cubicBezTo>
                  <a:cubicBezTo>
                    <a:pt x="30" y="134"/>
                    <a:pt x="30" y="134"/>
                    <a:pt x="30" y="134"/>
                  </a:cubicBezTo>
                  <a:cubicBezTo>
                    <a:pt x="30" y="134"/>
                    <a:pt x="30" y="134"/>
                    <a:pt x="31" y="135"/>
                  </a:cubicBezTo>
                  <a:cubicBezTo>
                    <a:pt x="31" y="135"/>
                    <a:pt x="31" y="136"/>
                    <a:pt x="31" y="137"/>
                  </a:cubicBezTo>
                  <a:cubicBezTo>
                    <a:pt x="31" y="137"/>
                    <a:pt x="32" y="137"/>
                    <a:pt x="32" y="137"/>
                  </a:cubicBezTo>
                  <a:cubicBezTo>
                    <a:pt x="33" y="138"/>
                    <a:pt x="33" y="138"/>
                    <a:pt x="33" y="138"/>
                  </a:cubicBezTo>
                  <a:cubicBezTo>
                    <a:pt x="33" y="140"/>
                    <a:pt x="31" y="142"/>
                    <a:pt x="31" y="143"/>
                  </a:cubicBezTo>
                  <a:cubicBezTo>
                    <a:pt x="31" y="143"/>
                    <a:pt x="31" y="143"/>
                    <a:pt x="31" y="143"/>
                  </a:cubicBezTo>
                  <a:cubicBezTo>
                    <a:pt x="31" y="143"/>
                    <a:pt x="32" y="143"/>
                    <a:pt x="32" y="143"/>
                  </a:cubicBezTo>
                  <a:cubicBezTo>
                    <a:pt x="34" y="142"/>
                    <a:pt x="35" y="141"/>
                    <a:pt x="37" y="139"/>
                  </a:cubicBezTo>
                  <a:cubicBezTo>
                    <a:pt x="37" y="138"/>
                    <a:pt x="38" y="138"/>
                    <a:pt x="38" y="138"/>
                  </a:cubicBezTo>
                  <a:cubicBezTo>
                    <a:pt x="39" y="138"/>
                    <a:pt x="39" y="138"/>
                    <a:pt x="39" y="138"/>
                  </a:cubicBezTo>
                  <a:cubicBezTo>
                    <a:pt x="42" y="138"/>
                    <a:pt x="41" y="137"/>
                    <a:pt x="41" y="135"/>
                  </a:cubicBezTo>
                  <a:cubicBezTo>
                    <a:pt x="41" y="134"/>
                    <a:pt x="41" y="133"/>
                    <a:pt x="42" y="132"/>
                  </a:cubicBezTo>
                  <a:cubicBezTo>
                    <a:pt x="45" y="129"/>
                    <a:pt x="49" y="127"/>
                    <a:pt x="52" y="126"/>
                  </a:cubicBezTo>
                  <a:cubicBezTo>
                    <a:pt x="52" y="126"/>
                    <a:pt x="52" y="126"/>
                    <a:pt x="52" y="126"/>
                  </a:cubicBezTo>
                  <a:cubicBezTo>
                    <a:pt x="52" y="126"/>
                    <a:pt x="52" y="126"/>
                    <a:pt x="52" y="126"/>
                  </a:cubicBezTo>
                  <a:cubicBezTo>
                    <a:pt x="52" y="126"/>
                    <a:pt x="51" y="130"/>
                    <a:pt x="53" y="133"/>
                  </a:cubicBezTo>
                  <a:cubicBezTo>
                    <a:pt x="65" y="130"/>
                    <a:pt x="65" y="130"/>
                    <a:pt x="65" y="130"/>
                  </a:cubicBezTo>
                  <a:cubicBezTo>
                    <a:pt x="64" y="126"/>
                    <a:pt x="67" y="122"/>
                    <a:pt x="69" y="119"/>
                  </a:cubicBezTo>
                  <a:cubicBezTo>
                    <a:pt x="69" y="119"/>
                    <a:pt x="69" y="119"/>
                    <a:pt x="69" y="119"/>
                  </a:cubicBezTo>
                  <a:cubicBezTo>
                    <a:pt x="69" y="119"/>
                    <a:pt x="69" y="119"/>
                    <a:pt x="69" y="121"/>
                  </a:cubicBezTo>
                  <a:cubicBezTo>
                    <a:pt x="69" y="123"/>
                    <a:pt x="68" y="128"/>
                    <a:pt x="69" y="129"/>
                  </a:cubicBezTo>
                  <a:cubicBezTo>
                    <a:pt x="82" y="126"/>
                    <a:pt x="82" y="126"/>
                    <a:pt x="82" y="126"/>
                  </a:cubicBezTo>
                  <a:cubicBezTo>
                    <a:pt x="81" y="124"/>
                    <a:pt x="82" y="120"/>
                    <a:pt x="83" y="118"/>
                  </a:cubicBezTo>
                  <a:cubicBezTo>
                    <a:pt x="83" y="118"/>
                    <a:pt x="83" y="118"/>
                    <a:pt x="83" y="118"/>
                  </a:cubicBezTo>
                  <a:cubicBezTo>
                    <a:pt x="83" y="118"/>
                    <a:pt x="83" y="118"/>
                    <a:pt x="83" y="118"/>
                  </a:cubicBezTo>
                  <a:cubicBezTo>
                    <a:pt x="85" y="126"/>
                    <a:pt x="88" y="130"/>
                    <a:pt x="93" y="133"/>
                  </a:cubicBezTo>
                  <a:cubicBezTo>
                    <a:pt x="101" y="136"/>
                    <a:pt x="107" y="138"/>
                    <a:pt x="116" y="140"/>
                  </a:cubicBezTo>
                  <a:cubicBezTo>
                    <a:pt x="119" y="141"/>
                    <a:pt x="122" y="142"/>
                    <a:pt x="126" y="143"/>
                  </a:cubicBezTo>
                  <a:cubicBezTo>
                    <a:pt x="130" y="144"/>
                    <a:pt x="134" y="146"/>
                    <a:pt x="136" y="147"/>
                  </a:cubicBezTo>
                  <a:cubicBezTo>
                    <a:pt x="136" y="147"/>
                    <a:pt x="137" y="147"/>
                    <a:pt x="137" y="148"/>
                  </a:cubicBezTo>
                  <a:cubicBezTo>
                    <a:pt x="137" y="149"/>
                    <a:pt x="135" y="151"/>
                    <a:pt x="135" y="151"/>
                  </a:cubicBezTo>
                  <a:cubicBezTo>
                    <a:pt x="135" y="151"/>
                    <a:pt x="135" y="152"/>
                    <a:pt x="136" y="152"/>
                  </a:cubicBezTo>
                  <a:cubicBezTo>
                    <a:pt x="137" y="152"/>
                    <a:pt x="139" y="153"/>
                    <a:pt x="142" y="155"/>
                  </a:cubicBezTo>
                  <a:cubicBezTo>
                    <a:pt x="146" y="158"/>
                    <a:pt x="148" y="165"/>
                    <a:pt x="149" y="172"/>
                  </a:cubicBezTo>
                  <a:cubicBezTo>
                    <a:pt x="151" y="177"/>
                    <a:pt x="152" y="184"/>
                    <a:pt x="150" y="186"/>
                  </a:cubicBezTo>
                  <a:cubicBezTo>
                    <a:pt x="149" y="187"/>
                    <a:pt x="148" y="188"/>
                    <a:pt x="142" y="189"/>
                  </a:cubicBezTo>
                  <a:cubicBezTo>
                    <a:pt x="143" y="194"/>
                    <a:pt x="143" y="194"/>
                    <a:pt x="143" y="194"/>
                  </a:cubicBezTo>
                  <a:cubicBezTo>
                    <a:pt x="147" y="194"/>
                    <a:pt x="150" y="193"/>
                    <a:pt x="150" y="193"/>
                  </a:cubicBezTo>
                  <a:cubicBezTo>
                    <a:pt x="150" y="193"/>
                    <a:pt x="150" y="193"/>
                    <a:pt x="151" y="193"/>
                  </a:cubicBezTo>
                  <a:cubicBezTo>
                    <a:pt x="151" y="193"/>
                    <a:pt x="151" y="193"/>
                    <a:pt x="150" y="193"/>
                  </a:cubicBezTo>
                  <a:cubicBezTo>
                    <a:pt x="150" y="193"/>
                    <a:pt x="150" y="193"/>
                    <a:pt x="150" y="194"/>
                  </a:cubicBezTo>
                  <a:cubicBezTo>
                    <a:pt x="148" y="196"/>
                    <a:pt x="148" y="197"/>
                    <a:pt x="148" y="199"/>
                  </a:cubicBezTo>
                  <a:cubicBezTo>
                    <a:pt x="153" y="202"/>
                    <a:pt x="153" y="202"/>
                    <a:pt x="153" y="202"/>
                  </a:cubicBezTo>
                  <a:cubicBezTo>
                    <a:pt x="154" y="198"/>
                    <a:pt x="155" y="194"/>
                    <a:pt x="157" y="193"/>
                  </a:cubicBezTo>
                  <a:cubicBezTo>
                    <a:pt x="160" y="192"/>
                    <a:pt x="171" y="198"/>
                    <a:pt x="175" y="208"/>
                  </a:cubicBezTo>
                  <a:cubicBezTo>
                    <a:pt x="176" y="213"/>
                    <a:pt x="177" y="221"/>
                    <a:pt x="174" y="226"/>
                  </a:cubicBezTo>
                  <a:cubicBezTo>
                    <a:pt x="173" y="228"/>
                    <a:pt x="171" y="229"/>
                    <a:pt x="170" y="229"/>
                  </a:cubicBezTo>
                  <a:cubicBezTo>
                    <a:pt x="168" y="229"/>
                    <a:pt x="166" y="228"/>
                    <a:pt x="164" y="227"/>
                  </a:cubicBezTo>
                  <a:cubicBezTo>
                    <a:pt x="161" y="226"/>
                    <a:pt x="158" y="224"/>
                    <a:pt x="157" y="226"/>
                  </a:cubicBezTo>
                  <a:cubicBezTo>
                    <a:pt x="157" y="227"/>
                    <a:pt x="155" y="228"/>
                    <a:pt x="154" y="228"/>
                  </a:cubicBezTo>
                  <a:cubicBezTo>
                    <a:pt x="151" y="230"/>
                    <a:pt x="148" y="232"/>
                    <a:pt x="150" y="237"/>
                  </a:cubicBezTo>
                  <a:cubicBezTo>
                    <a:pt x="152" y="234"/>
                    <a:pt x="154" y="233"/>
                    <a:pt x="155" y="234"/>
                  </a:cubicBezTo>
                  <a:cubicBezTo>
                    <a:pt x="156" y="234"/>
                    <a:pt x="156" y="234"/>
                    <a:pt x="156" y="235"/>
                  </a:cubicBezTo>
                  <a:cubicBezTo>
                    <a:pt x="156" y="235"/>
                    <a:pt x="157" y="236"/>
                    <a:pt x="157" y="236"/>
                  </a:cubicBezTo>
                  <a:cubicBezTo>
                    <a:pt x="157" y="237"/>
                    <a:pt x="160" y="237"/>
                    <a:pt x="162" y="236"/>
                  </a:cubicBezTo>
                  <a:cubicBezTo>
                    <a:pt x="164" y="236"/>
                    <a:pt x="167" y="236"/>
                    <a:pt x="167" y="237"/>
                  </a:cubicBezTo>
                  <a:cubicBezTo>
                    <a:pt x="167" y="237"/>
                    <a:pt x="167" y="237"/>
                    <a:pt x="167" y="237"/>
                  </a:cubicBezTo>
                  <a:cubicBezTo>
                    <a:pt x="167" y="238"/>
                    <a:pt x="166" y="238"/>
                    <a:pt x="165" y="238"/>
                  </a:cubicBezTo>
                  <a:cubicBezTo>
                    <a:pt x="165" y="238"/>
                    <a:pt x="165" y="238"/>
                    <a:pt x="165" y="238"/>
                  </a:cubicBezTo>
                  <a:cubicBezTo>
                    <a:pt x="164" y="238"/>
                    <a:pt x="164" y="238"/>
                    <a:pt x="163" y="238"/>
                  </a:cubicBezTo>
                  <a:cubicBezTo>
                    <a:pt x="159" y="239"/>
                    <a:pt x="155" y="239"/>
                    <a:pt x="155" y="241"/>
                  </a:cubicBezTo>
                  <a:cubicBezTo>
                    <a:pt x="155" y="241"/>
                    <a:pt x="155" y="241"/>
                    <a:pt x="155" y="242"/>
                  </a:cubicBezTo>
                  <a:cubicBezTo>
                    <a:pt x="155" y="242"/>
                    <a:pt x="155" y="242"/>
                    <a:pt x="155" y="243"/>
                  </a:cubicBezTo>
                  <a:cubicBezTo>
                    <a:pt x="154" y="244"/>
                    <a:pt x="154" y="245"/>
                    <a:pt x="153" y="245"/>
                  </a:cubicBezTo>
                  <a:cubicBezTo>
                    <a:pt x="151" y="246"/>
                    <a:pt x="150" y="247"/>
                    <a:pt x="150" y="251"/>
                  </a:cubicBezTo>
                  <a:cubicBezTo>
                    <a:pt x="150" y="254"/>
                    <a:pt x="153" y="256"/>
                    <a:pt x="153" y="256"/>
                  </a:cubicBezTo>
                  <a:cubicBezTo>
                    <a:pt x="153" y="256"/>
                    <a:pt x="153" y="255"/>
                    <a:pt x="153" y="255"/>
                  </a:cubicBezTo>
                  <a:cubicBezTo>
                    <a:pt x="153" y="253"/>
                    <a:pt x="154" y="250"/>
                    <a:pt x="156" y="249"/>
                  </a:cubicBezTo>
                  <a:cubicBezTo>
                    <a:pt x="156" y="249"/>
                    <a:pt x="157" y="250"/>
                    <a:pt x="157" y="250"/>
                  </a:cubicBezTo>
                  <a:cubicBezTo>
                    <a:pt x="158" y="251"/>
                    <a:pt x="158" y="252"/>
                    <a:pt x="159" y="252"/>
                  </a:cubicBezTo>
                  <a:cubicBezTo>
                    <a:pt x="161" y="251"/>
                    <a:pt x="163" y="249"/>
                    <a:pt x="165" y="247"/>
                  </a:cubicBezTo>
                  <a:cubicBezTo>
                    <a:pt x="168" y="245"/>
                    <a:pt x="170" y="243"/>
                    <a:pt x="172" y="243"/>
                  </a:cubicBezTo>
                  <a:cubicBezTo>
                    <a:pt x="172" y="243"/>
                    <a:pt x="172" y="243"/>
                    <a:pt x="172" y="243"/>
                  </a:cubicBezTo>
                  <a:cubicBezTo>
                    <a:pt x="172" y="243"/>
                    <a:pt x="172" y="243"/>
                    <a:pt x="172" y="243"/>
                  </a:cubicBezTo>
                  <a:cubicBezTo>
                    <a:pt x="172" y="243"/>
                    <a:pt x="172" y="243"/>
                    <a:pt x="172" y="243"/>
                  </a:cubicBezTo>
                  <a:cubicBezTo>
                    <a:pt x="172" y="243"/>
                    <a:pt x="172" y="244"/>
                    <a:pt x="170" y="245"/>
                  </a:cubicBezTo>
                  <a:cubicBezTo>
                    <a:pt x="169" y="247"/>
                    <a:pt x="166" y="249"/>
                    <a:pt x="166" y="251"/>
                  </a:cubicBezTo>
                  <a:cubicBezTo>
                    <a:pt x="165" y="252"/>
                    <a:pt x="166" y="253"/>
                    <a:pt x="167" y="254"/>
                  </a:cubicBezTo>
                  <a:cubicBezTo>
                    <a:pt x="168" y="255"/>
                    <a:pt x="168" y="255"/>
                    <a:pt x="168" y="256"/>
                  </a:cubicBezTo>
                  <a:cubicBezTo>
                    <a:pt x="168" y="258"/>
                    <a:pt x="170" y="260"/>
                    <a:pt x="172" y="261"/>
                  </a:cubicBezTo>
                  <a:cubicBezTo>
                    <a:pt x="175" y="262"/>
                    <a:pt x="178" y="262"/>
                    <a:pt x="178" y="262"/>
                  </a:cubicBezTo>
                  <a:cubicBezTo>
                    <a:pt x="178" y="262"/>
                    <a:pt x="177" y="261"/>
                    <a:pt x="176" y="261"/>
                  </a:cubicBezTo>
                  <a:cubicBezTo>
                    <a:pt x="175" y="259"/>
                    <a:pt x="173" y="256"/>
                    <a:pt x="174" y="255"/>
                  </a:cubicBezTo>
                  <a:cubicBezTo>
                    <a:pt x="174" y="254"/>
                    <a:pt x="175" y="255"/>
                    <a:pt x="176" y="255"/>
                  </a:cubicBezTo>
                  <a:cubicBezTo>
                    <a:pt x="176" y="255"/>
                    <a:pt x="177" y="255"/>
                    <a:pt x="178" y="255"/>
                  </a:cubicBezTo>
                  <a:cubicBezTo>
                    <a:pt x="178" y="255"/>
                    <a:pt x="178" y="254"/>
                    <a:pt x="178" y="253"/>
                  </a:cubicBezTo>
                  <a:cubicBezTo>
                    <a:pt x="178" y="251"/>
                    <a:pt x="177" y="246"/>
                    <a:pt x="183" y="240"/>
                  </a:cubicBezTo>
                  <a:cubicBezTo>
                    <a:pt x="183" y="240"/>
                    <a:pt x="183" y="240"/>
                    <a:pt x="183" y="240"/>
                  </a:cubicBezTo>
                  <a:cubicBezTo>
                    <a:pt x="183" y="240"/>
                    <a:pt x="183" y="240"/>
                    <a:pt x="183" y="240"/>
                  </a:cubicBezTo>
                  <a:cubicBezTo>
                    <a:pt x="183" y="240"/>
                    <a:pt x="185" y="243"/>
                    <a:pt x="187" y="243"/>
                  </a:cubicBezTo>
                  <a:cubicBezTo>
                    <a:pt x="190" y="244"/>
                    <a:pt x="189" y="247"/>
                    <a:pt x="189" y="249"/>
                  </a:cubicBezTo>
                  <a:cubicBezTo>
                    <a:pt x="189" y="249"/>
                    <a:pt x="189" y="250"/>
                    <a:pt x="189" y="250"/>
                  </a:cubicBezTo>
                  <a:cubicBezTo>
                    <a:pt x="190" y="249"/>
                    <a:pt x="192" y="246"/>
                    <a:pt x="192" y="241"/>
                  </a:cubicBezTo>
                  <a:cubicBezTo>
                    <a:pt x="192" y="241"/>
                    <a:pt x="192" y="241"/>
                    <a:pt x="192" y="241"/>
                  </a:cubicBezTo>
                  <a:cubicBezTo>
                    <a:pt x="192" y="241"/>
                    <a:pt x="194" y="239"/>
                    <a:pt x="194" y="238"/>
                  </a:cubicBezTo>
                  <a:cubicBezTo>
                    <a:pt x="195" y="237"/>
                    <a:pt x="194" y="236"/>
                    <a:pt x="193" y="235"/>
                  </a:cubicBezTo>
                  <a:cubicBezTo>
                    <a:pt x="192" y="234"/>
                    <a:pt x="190" y="232"/>
                    <a:pt x="190" y="225"/>
                  </a:cubicBezTo>
                  <a:cubicBezTo>
                    <a:pt x="190" y="224"/>
                    <a:pt x="190" y="223"/>
                    <a:pt x="189" y="223"/>
                  </a:cubicBezTo>
                  <a:cubicBezTo>
                    <a:pt x="189" y="223"/>
                    <a:pt x="189" y="222"/>
                    <a:pt x="188" y="222"/>
                  </a:cubicBezTo>
                  <a:cubicBezTo>
                    <a:pt x="187" y="221"/>
                    <a:pt x="187" y="220"/>
                    <a:pt x="187" y="219"/>
                  </a:cubicBezTo>
                  <a:cubicBezTo>
                    <a:pt x="187" y="219"/>
                    <a:pt x="187" y="219"/>
                    <a:pt x="188" y="219"/>
                  </a:cubicBezTo>
                  <a:cubicBezTo>
                    <a:pt x="190" y="221"/>
                    <a:pt x="194" y="220"/>
                    <a:pt x="194" y="220"/>
                  </a:cubicBezTo>
                  <a:cubicBezTo>
                    <a:pt x="195" y="210"/>
                    <a:pt x="195" y="208"/>
                    <a:pt x="195" y="207"/>
                  </a:cubicBezTo>
                  <a:cubicBezTo>
                    <a:pt x="191" y="207"/>
                    <a:pt x="189" y="207"/>
                    <a:pt x="187" y="205"/>
                  </a:cubicBezTo>
                  <a:cubicBezTo>
                    <a:pt x="187" y="205"/>
                    <a:pt x="187" y="205"/>
                    <a:pt x="187" y="205"/>
                  </a:cubicBezTo>
                  <a:cubicBezTo>
                    <a:pt x="187" y="205"/>
                    <a:pt x="187" y="205"/>
                    <a:pt x="188" y="205"/>
                  </a:cubicBezTo>
                  <a:cubicBezTo>
                    <a:pt x="190" y="205"/>
                    <a:pt x="193" y="205"/>
                    <a:pt x="195" y="204"/>
                  </a:cubicBezTo>
                  <a:cubicBezTo>
                    <a:pt x="194" y="198"/>
                    <a:pt x="194" y="193"/>
                    <a:pt x="194" y="192"/>
                  </a:cubicBezTo>
                  <a:cubicBezTo>
                    <a:pt x="190" y="193"/>
                    <a:pt x="188" y="193"/>
                    <a:pt x="186" y="191"/>
                  </a:cubicBezTo>
                  <a:cubicBezTo>
                    <a:pt x="184" y="190"/>
                    <a:pt x="184" y="189"/>
                    <a:pt x="184" y="188"/>
                  </a:cubicBezTo>
                  <a:cubicBezTo>
                    <a:pt x="184" y="187"/>
                    <a:pt x="184" y="186"/>
                    <a:pt x="183" y="186"/>
                  </a:cubicBezTo>
                  <a:cubicBezTo>
                    <a:pt x="178" y="184"/>
                    <a:pt x="174" y="181"/>
                    <a:pt x="173" y="180"/>
                  </a:cubicBezTo>
                  <a:cubicBezTo>
                    <a:pt x="171" y="177"/>
                    <a:pt x="171" y="175"/>
                    <a:pt x="171" y="175"/>
                  </a:cubicBezTo>
                  <a:cubicBezTo>
                    <a:pt x="171" y="175"/>
                    <a:pt x="171" y="175"/>
                    <a:pt x="171" y="175"/>
                  </a:cubicBezTo>
                  <a:cubicBezTo>
                    <a:pt x="171" y="175"/>
                    <a:pt x="171" y="175"/>
                    <a:pt x="172" y="175"/>
                  </a:cubicBezTo>
                  <a:cubicBezTo>
                    <a:pt x="174" y="176"/>
                    <a:pt x="176" y="176"/>
                    <a:pt x="177" y="175"/>
                  </a:cubicBezTo>
                  <a:cubicBezTo>
                    <a:pt x="178" y="166"/>
                    <a:pt x="178" y="166"/>
                    <a:pt x="178" y="166"/>
                  </a:cubicBezTo>
                  <a:cubicBezTo>
                    <a:pt x="177" y="166"/>
                    <a:pt x="176" y="166"/>
                    <a:pt x="175" y="165"/>
                  </a:cubicBezTo>
                  <a:cubicBezTo>
                    <a:pt x="173" y="164"/>
                    <a:pt x="171" y="162"/>
                    <a:pt x="171" y="162"/>
                  </a:cubicBezTo>
                  <a:cubicBezTo>
                    <a:pt x="171" y="162"/>
                    <a:pt x="171" y="162"/>
                    <a:pt x="171" y="162"/>
                  </a:cubicBezTo>
                  <a:cubicBezTo>
                    <a:pt x="171" y="162"/>
                    <a:pt x="171" y="162"/>
                    <a:pt x="172" y="162"/>
                  </a:cubicBezTo>
                  <a:cubicBezTo>
                    <a:pt x="172" y="162"/>
                    <a:pt x="173" y="162"/>
                    <a:pt x="175" y="163"/>
                  </a:cubicBezTo>
                  <a:cubicBezTo>
                    <a:pt x="177" y="163"/>
                    <a:pt x="178" y="162"/>
                    <a:pt x="178" y="162"/>
                  </a:cubicBezTo>
                  <a:cubicBezTo>
                    <a:pt x="180" y="152"/>
                    <a:pt x="180" y="152"/>
                    <a:pt x="180" y="152"/>
                  </a:cubicBezTo>
                  <a:cubicBezTo>
                    <a:pt x="177" y="152"/>
                    <a:pt x="176" y="151"/>
                    <a:pt x="175" y="150"/>
                  </a:cubicBezTo>
                  <a:cubicBezTo>
                    <a:pt x="174" y="149"/>
                    <a:pt x="174" y="148"/>
                    <a:pt x="174" y="148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85" y="146"/>
                    <a:pt x="192" y="136"/>
                    <a:pt x="194" y="127"/>
                  </a:cubicBezTo>
                  <a:cubicBezTo>
                    <a:pt x="194" y="127"/>
                    <a:pt x="194" y="127"/>
                    <a:pt x="194" y="127"/>
                  </a:cubicBezTo>
                  <a:cubicBezTo>
                    <a:pt x="194" y="127"/>
                    <a:pt x="194" y="127"/>
                    <a:pt x="194" y="127"/>
                  </a:cubicBezTo>
                  <a:cubicBezTo>
                    <a:pt x="195" y="128"/>
                    <a:pt x="198" y="129"/>
                    <a:pt x="199" y="128"/>
                  </a:cubicBezTo>
                  <a:cubicBezTo>
                    <a:pt x="200" y="126"/>
                    <a:pt x="200" y="121"/>
                    <a:pt x="200" y="120"/>
                  </a:cubicBezTo>
                  <a:cubicBezTo>
                    <a:pt x="197" y="120"/>
                    <a:pt x="195" y="119"/>
                    <a:pt x="194" y="11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</p:grpSp>
      <p:sp>
        <p:nvSpPr>
          <p:cNvPr id="3" name="Sisällön paikkamerkki"/>
          <p:cNvSpPr>
            <a:spLocks noGrp="1"/>
          </p:cNvSpPr>
          <p:nvPr userDrawn="1">
            <p:ph idx="1"/>
          </p:nvPr>
        </p:nvSpPr>
        <p:spPr>
          <a:xfrm>
            <a:off x="577047" y="1881330"/>
            <a:ext cx="10319487" cy="4524001"/>
          </a:xfrm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8" name="Otsikko"/>
          <p:cNvSpPr>
            <a:spLocks noGrp="1"/>
          </p:cNvSpPr>
          <p:nvPr userDrawn="1">
            <p:ph type="title"/>
          </p:nvPr>
        </p:nvSpPr>
        <p:spPr>
          <a:xfrm>
            <a:off x="577047" y="313787"/>
            <a:ext cx="10319487" cy="1299027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fi-FI"/>
              <a:t>Muokkaa perustyyl. napsautt.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92944814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Freeform 22"/>
          <p:cNvSpPr>
            <a:spLocks/>
          </p:cNvSpPr>
          <p:nvPr userDrawn="1"/>
        </p:nvSpPr>
        <p:spPr bwMode="auto">
          <a:xfrm>
            <a:off x="10460568" y="5471585"/>
            <a:ext cx="1731433" cy="1386417"/>
          </a:xfrm>
          <a:custGeom>
            <a:avLst/>
            <a:gdLst>
              <a:gd name="T0" fmla="*/ 482 w 818"/>
              <a:gd name="T1" fmla="*/ 0 h 655"/>
              <a:gd name="T2" fmla="*/ 483 w 818"/>
              <a:gd name="T3" fmla="*/ 0 h 655"/>
              <a:gd name="T4" fmla="*/ 483 w 818"/>
              <a:gd name="T5" fmla="*/ 0 h 655"/>
              <a:gd name="T6" fmla="*/ 482 w 818"/>
              <a:gd name="T7" fmla="*/ 0 h 655"/>
              <a:gd name="T8" fmla="*/ 482 w 818"/>
              <a:gd name="T9" fmla="*/ 0 h 655"/>
              <a:gd name="T10" fmla="*/ 482 w 818"/>
              <a:gd name="T11" fmla="*/ 0 h 655"/>
              <a:gd name="T12" fmla="*/ 442 w 818"/>
              <a:gd name="T13" fmla="*/ 40 h 655"/>
              <a:gd name="T14" fmla="*/ 404 w 818"/>
              <a:gd name="T15" fmla="*/ 79 h 655"/>
              <a:gd name="T16" fmla="*/ 369 w 818"/>
              <a:gd name="T17" fmla="*/ 118 h 655"/>
              <a:gd name="T18" fmla="*/ 334 w 818"/>
              <a:gd name="T19" fmla="*/ 156 h 655"/>
              <a:gd name="T20" fmla="*/ 303 w 818"/>
              <a:gd name="T21" fmla="*/ 194 h 655"/>
              <a:gd name="T22" fmla="*/ 271 w 818"/>
              <a:gd name="T23" fmla="*/ 232 h 655"/>
              <a:gd name="T24" fmla="*/ 242 w 818"/>
              <a:gd name="T25" fmla="*/ 269 h 655"/>
              <a:gd name="T26" fmla="*/ 214 w 818"/>
              <a:gd name="T27" fmla="*/ 309 h 655"/>
              <a:gd name="T28" fmla="*/ 186 w 818"/>
              <a:gd name="T29" fmla="*/ 347 h 655"/>
              <a:gd name="T30" fmla="*/ 159 w 818"/>
              <a:gd name="T31" fmla="*/ 387 h 655"/>
              <a:gd name="T32" fmla="*/ 132 w 818"/>
              <a:gd name="T33" fmla="*/ 428 h 655"/>
              <a:gd name="T34" fmla="*/ 106 w 818"/>
              <a:gd name="T35" fmla="*/ 469 h 655"/>
              <a:gd name="T36" fmla="*/ 80 w 818"/>
              <a:gd name="T37" fmla="*/ 513 h 655"/>
              <a:gd name="T38" fmla="*/ 53 w 818"/>
              <a:gd name="T39" fmla="*/ 558 h 655"/>
              <a:gd name="T40" fmla="*/ 0 w 818"/>
              <a:gd name="T41" fmla="*/ 655 h 655"/>
              <a:gd name="T42" fmla="*/ 818 w 818"/>
              <a:gd name="T43" fmla="*/ 655 h 655"/>
              <a:gd name="T44" fmla="*/ 818 w 818"/>
              <a:gd name="T45" fmla="*/ 163 h 655"/>
              <a:gd name="T46" fmla="*/ 818 w 818"/>
              <a:gd name="T47" fmla="*/ 163 h 655"/>
              <a:gd name="T48" fmla="*/ 795 w 818"/>
              <a:gd name="T49" fmla="*/ 157 h 655"/>
              <a:gd name="T50" fmla="*/ 772 w 818"/>
              <a:gd name="T51" fmla="*/ 148 h 655"/>
              <a:gd name="T52" fmla="*/ 746 w 818"/>
              <a:gd name="T53" fmla="*/ 136 h 655"/>
              <a:gd name="T54" fmla="*/ 719 w 818"/>
              <a:gd name="T55" fmla="*/ 125 h 655"/>
              <a:gd name="T56" fmla="*/ 663 w 818"/>
              <a:gd name="T57" fmla="*/ 98 h 655"/>
              <a:gd name="T58" fmla="*/ 609 w 818"/>
              <a:gd name="T59" fmla="*/ 70 h 655"/>
              <a:gd name="T60" fmla="*/ 559 w 818"/>
              <a:gd name="T61" fmla="*/ 43 h 655"/>
              <a:gd name="T62" fmla="*/ 519 w 818"/>
              <a:gd name="T63" fmla="*/ 22 h 655"/>
              <a:gd name="T64" fmla="*/ 482 w 818"/>
              <a:gd name="T65" fmla="*/ 0 h 655"/>
              <a:gd name="T66" fmla="*/ 482 w 818"/>
              <a:gd name="T67" fmla="*/ 0 h 6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818" h="655">
                <a:moveTo>
                  <a:pt x="482" y="0"/>
                </a:moveTo>
                <a:lnTo>
                  <a:pt x="483" y="0"/>
                </a:lnTo>
                <a:lnTo>
                  <a:pt x="483" y="0"/>
                </a:lnTo>
                <a:lnTo>
                  <a:pt x="482" y="0"/>
                </a:lnTo>
                <a:lnTo>
                  <a:pt x="482" y="0"/>
                </a:lnTo>
                <a:lnTo>
                  <a:pt x="482" y="0"/>
                </a:lnTo>
                <a:lnTo>
                  <a:pt x="442" y="40"/>
                </a:lnTo>
                <a:lnTo>
                  <a:pt x="404" y="79"/>
                </a:lnTo>
                <a:lnTo>
                  <a:pt x="369" y="118"/>
                </a:lnTo>
                <a:lnTo>
                  <a:pt x="334" y="156"/>
                </a:lnTo>
                <a:lnTo>
                  <a:pt x="303" y="194"/>
                </a:lnTo>
                <a:lnTo>
                  <a:pt x="271" y="232"/>
                </a:lnTo>
                <a:lnTo>
                  <a:pt x="242" y="269"/>
                </a:lnTo>
                <a:lnTo>
                  <a:pt x="214" y="309"/>
                </a:lnTo>
                <a:lnTo>
                  <a:pt x="186" y="347"/>
                </a:lnTo>
                <a:lnTo>
                  <a:pt x="159" y="387"/>
                </a:lnTo>
                <a:lnTo>
                  <a:pt x="132" y="428"/>
                </a:lnTo>
                <a:lnTo>
                  <a:pt x="106" y="469"/>
                </a:lnTo>
                <a:lnTo>
                  <a:pt x="80" y="513"/>
                </a:lnTo>
                <a:lnTo>
                  <a:pt x="53" y="558"/>
                </a:lnTo>
                <a:lnTo>
                  <a:pt x="0" y="655"/>
                </a:lnTo>
                <a:lnTo>
                  <a:pt x="818" y="655"/>
                </a:lnTo>
                <a:lnTo>
                  <a:pt x="818" y="163"/>
                </a:lnTo>
                <a:lnTo>
                  <a:pt x="818" y="163"/>
                </a:lnTo>
                <a:lnTo>
                  <a:pt x="795" y="157"/>
                </a:lnTo>
                <a:lnTo>
                  <a:pt x="772" y="148"/>
                </a:lnTo>
                <a:lnTo>
                  <a:pt x="746" y="136"/>
                </a:lnTo>
                <a:lnTo>
                  <a:pt x="719" y="125"/>
                </a:lnTo>
                <a:lnTo>
                  <a:pt x="663" y="98"/>
                </a:lnTo>
                <a:lnTo>
                  <a:pt x="609" y="70"/>
                </a:lnTo>
                <a:lnTo>
                  <a:pt x="559" y="43"/>
                </a:lnTo>
                <a:lnTo>
                  <a:pt x="519" y="22"/>
                </a:lnTo>
                <a:lnTo>
                  <a:pt x="482" y="0"/>
                </a:lnTo>
                <a:lnTo>
                  <a:pt x="482" y="0"/>
                </a:lnTo>
                <a:close/>
              </a:path>
            </a:pathLst>
          </a:custGeom>
          <a:solidFill>
            <a:srgbClr val="AFBDE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fi-FI" sz="2400"/>
          </a:p>
        </p:txBody>
      </p:sp>
      <p:sp>
        <p:nvSpPr>
          <p:cNvPr id="21" name="Freeform 23"/>
          <p:cNvSpPr>
            <a:spLocks/>
          </p:cNvSpPr>
          <p:nvPr userDrawn="1"/>
        </p:nvSpPr>
        <p:spPr bwMode="auto">
          <a:xfrm>
            <a:off x="9050867" y="0"/>
            <a:ext cx="2429933" cy="5446184"/>
          </a:xfrm>
          <a:custGeom>
            <a:avLst/>
            <a:gdLst>
              <a:gd name="T0" fmla="*/ 1148 w 1148"/>
              <a:gd name="T1" fmla="*/ 864 h 2573"/>
              <a:gd name="T2" fmla="*/ 1148 w 1148"/>
              <a:gd name="T3" fmla="*/ 864 h 2573"/>
              <a:gd name="T4" fmla="*/ 1148 w 1148"/>
              <a:gd name="T5" fmla="*/ 864 h 2573"/>
              <a:gd name="T6" fmla="*/ 104 w 1148"/>
              <a:gd name="T7" fmla="*/ 0 h 2573"/>
              <a:gd name="T8" fmla="*/ 19 w 1148"/>
              <a:gd name="T9" fmla="*/ 0 h 2573"/>
              <a:gd name="T10" fmla="*/ 11 w 1148"/>
              <a:gd name="T11" fmla="*/ 77 h 2573"/>
              <a:gd name="T12" fmla="*/ 1 w 1148"/>
              <a:gd name="T13" fmla="*/ 230 h 2573"/>
              <a:gd name="T14" fmla="*/ 0 w 1148"/>
              <a:gd name="T15" fmla="*/ 381 h 2573"/>
              <a:gd name="T16" fmla="*/ 7 w 1148"/>
              <a:gd name="T17" fmla="*/ 533 h 2573"/>
              <a:gd name="T18" fmla="*/ 21 w 1148"/>
              <a:gd name="T19" fmla="*/ 683 h 2573"/>
              <a:gd name="T20" fmla="*/ 45 w 1148"/>
              <a:gd name="T21" fmla="*/ 831 h 2573"/>
              <a:gd name="T22" fmla="*/ 75 w 1148"/>
              <a:gd name="T23" fmla="*/ 978 h 2573"/>
              <a:gd name="T24" fmla="*/ 115 w 1148"/>
              <a:gd name="T25" fmla="*/ 1122 h 2573"/>
              <a:gd name="T26" fmla="*/ 136 w 1148"/>
              <a:gd name="T27" fmla="*/ 1193 h 2573"/>
              <a:gd name="T28" fmla="*/ 173 w 1148"/>
              <a:gd name="T29" fmla="*/ 1299 h 2573"/>
              <a:gd name="T30" fmla="*/ 214 w 1148"/>
              <a:gd name="T31" fmla="*/ 1404 h 2573"/>
              <a:gd name="T32" fmla="*/ 259 w 1148"/>
              <a:gd name="T33" fmla="*/ 1505 h 2573"/>
              <a:gd name="T34" fmla="*/ 307 w 1148"/>
              <a:gd name="T35" fmla="*/ 1604 h 2573"/>
              <a:gd name="T36" fmla="*/ 359 w 1148"/>
              <a:gd name="T37" fmla="*/ 1701 h 2573"/>
              <a:gd name="T38" fmla="*/ 414 w 1148"/>
              <a:gd name="T39" fmla="*/ 1794 h 2573"/>
              <a:gd name="T40" fmla="*/ 473 w 1148"/>
              <a:gd name="T41" fmla="*/ 1886 h 2573"/>
              <a:gd name="T42" fmla="*/ 534 w 1148"/>
              <a:gd name="T43" fmla="*/ 1973 h 2573"/>
              <a:gd name="T44" fmla="*/ 600 w 1148"/>
              <a:gd name="T45" fmla="*/ 2059 h 2573"/>
              <a:gd name="T46" fmla="*/ 667 w 1148"/>
              <a:gd name="T47" fmla="*/ 2142 h 2573"/>
              <a:gd name="T48" fmla="*/ 738 w 1148"/>
              <a:gd name="T49" fmla="*/ 2221 h 2573"/>
              <a:gd name="T50" fmla="*/ 811 w 1148"/>
              <a:gd name="T51" fmla="*/ 2297 h 2573"/>
              <a:gd name="T52" fmla="*/ 888 w 1148"/>
              <a:gd name="T53" fmla="*/ 2372 h 2573"/>
              <a:gd name="T54" fmla="*/ 966 w 1148"/>
              <a:gd name="T55" fmla="*/ 2441 h 2573"/>
              <a:gd name="T56" fmla="*/ 1049 w 1148"/>
              <a:gd name="T57" fmla="*/ 2509 h 2573"/>
              <a:gd name="T58" fmla="*/ 1132 w 1148"/>
              <a:gd name="T59" fmla="*/ 2573 h 2573"/>
              <a:gd name="T60" fmla="*/ 1131 w 1148"/>
              <a:gd name="T61" fmla="*/ 2553 h 2573"/>
              <a:gd name="T62" fmla="*/ 1131 w 1148"/>
              <a:gd name="T63" fmla="*/ 2304 h 2573"/>
              <a:gd name="T64" fmla="*/ 1144 w 1148"/>
              <a:gd name="T65" fmla="*/ 1131 h 2573"/>
              <a:gd name="T66" fmla="*/ 1148 w 1148"/>
              <a:gd name="T67" fmla="*/ 864 h 25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148" h="2573">
                <a:moveTo>
                  <a:pt x="1148" y="864"/>
                </a:moveTo>
                <a:lnTo>
                  <a:pt x="1148" y="864"/>
                </a:lnTo>
                <a:lnTo>
                  <a:pt x="1148" y="864"/>
                </a:lnTo>
                <a:lnTo>
                  <a:pt x="1148" y="864"/>
                </a:lnTo>
                <a:lnTo>
                  <a:pt x="1148" y="864"/>
                </a:lnTo>
                <a:lnTo>
                  <a:pt x="1148" y="864"/>
                </a:lnTo>
                <a:lnTo>
                  <a:pt x="663" y="0"/>
                </a:lnTo>
                <a:lnTo>
                  <a:pt x="104" y="0"/>
                </a:lnTo>
                <a:lnTo>
                  <a:pt x="86" y="0"/>
                </a:lnTo>
                <a:lnTo>
                  <a:pt x="19" y="0"/>
                </a:lnTo>
                <a:lnTo>
                  <a:pt x="19" y="0"/>
                </a:lnTo>
                <a:lnTo>
                  <a:pt x="11" y="77"/>
                </a:lnTo>
                <a:lnTo>
                  <a:pt x="6" y="153"/>
                </a:lnTo>
                <a:lnTo>
                  <a:pt x="1" y="230"/>
                </a:lnTo>
                <a:lnTo>
                  <a:pt x="0" y="306"/>
                </a:lnTo>
                <a:lnTo>
                  <a:pt x="0" y="381"/>
                </a:lnTo>
                <a:lnTo>
                  <a:pt x="2" y="458"/>
                </a:lnTo>
                <a:lnTo>
                  <a:pt x="7" y="533"/>
                </a:lnTo>
                <a:lnTo>
                  <a:pt x="14" y="609"/>
                </a:lnTo>
                <a:lnTo>
                  <a:pt x="21" y="683"/>
                </a:lnTo>
                <a:lnTo>
                  <a:pt x="33" y="757"/>
                </a:lnTo>
                <a:lnTo>
                  <a:pt x="45" y="831"/>
                </a:lnTo>
                <a:lnTo>
                  <a:pt x="60" y="905"/>
                </a:lnTo>
                <a:lnTo>
                  <a:pt x="75" y="978"/>
                </a:lnTo>
                <a:lnTo>
                  <a:pt x="95" y="1050"/>
                </a:lnTo>
                <a:lnTo>
                  <a:pt x="115" y="1122"/>
                </a:lnTo>
                <a:lnTo>
                  <a:pt x="136" y="1193"/>
                </a:lnTo>
                <a:lnTo>
                  <a:pt x="136" y="1193"/>
                </a:lnTo>
                <a:lnTo>
                  <a:pt x="154" y="1247"/>
                </a:lnTo>
                <a:lnTo>
                  <a:pt x="173" y="1299"/>
                </a:lnTo>
                <a:lnTo>
                  <a:pt x="194" y="1351"/>
                </a:lnTo>
                <a:lnTo>
                  <a:pt x="214" y="1404"/>
                </a:lnTo>
                <a:lnTo>
                  <a:pt x="236" y="1455"/>
                </a:lnTo>
                <a:lnTo>
                  <a:pt x="259" y="1505"/>
                </a:lnTo>
                <a:lnTo>
                  <a:pt x="282" y="1555"/>
                </a:lnTo>
                <a:lnTo>
                  <a:pt x="307" y="1604"/>
                </a:lnTo>
                <a:lnTo>
                  <a:pt x="333" y="1653"/>
                </a:lnTo>
                <a:lnTo>
                  <a:pt x="359" y="1701"/>
                </a:lnTo>
                <a:lnTo>
                  <a:pt x="386" y="1748"/>
                </a:lnTo>
                <a:lnTo>
                  <a:pt x="414" y="1794"/>
                </a:lnTo>
                <a:lnTo>
                  <a:pt x="443" y="1841"/>
                </a:lnTo>
                <a:lnTo>
                  <a:pt x="473" y="1886"/>
                </a:lnTo>
                <a:lnTo>
                  <a:pt x="503" y="1929"/>
                </a:lnTo>
                <a:lnTo>
                  <a:pt x="534" y="1973"/>
                </a:lnTo>
                <a:lnTo>
                  <a:pt x="567" y="2017"/>
                </a:lnTo>
                <a:lnTo>
                  <a:pt x="600" y="2059"/>
                </a:lnTo>
                <a:lnTo>
                  <a:pt x="633" y="2100"/>
                </a:lnTo>
                <a:lnTo>
                  <a:pt x="667" y="2142"/>
                </a:lnTo>
                <a:lnTo>
                  <a:pt x="702" y="2181"/>
                </a:lnTo>
                <a:lnTo>
                  <a:pt x="738" y="2221"/>
                </a:lnTo>
                <a:lnTo>
                  <a:pt x="774" y="2260"/>
                </a:lnTo>
                <a:lnTo>
                  <a:pt x="811" y="2297"/>
                </a:lnTo>
                <a:lnTo>
                  <a:pt x="849" y="2334"/>
                </a:lnTo>
                <a:lnTo>
                  <a:pt x="888" y="2372"/>
                </a:lnTo>
                <a:lnTo>
                  <a:pt x="927" y="2406"/>
                </a:lnTo>
                <a:lnTo>
                  <a:pt x="966" y="2441"/>
                </a:lnTo>
                <a:lnTo>
                  <a:pt x="1007" y="2476"/>
                </a:lnTo>
                <a:lnTo>
                  <a:pt x="1049" y="2509"/>
                </a:lnTo>
                <a:lnTo>
                  <a:pt x="1089" y="2541"/>
                </a:lnTo>
                <a:lnTo>
                  <a:pt x="1132" y="2573"/>
                </a:lnTo>
                <a:lnTo>
                  <a:pt x="1132" y="2573"/>
                </a:lnTo>
                <a:lnTo>
                  <a:pt x="1131" y="2553"/>
                </a:lnTo>
                <a:lnTo>
                  <a:pt x="1131" y="2498"/>
                </a:lnTo>
                <a:lnTo>
                  <a:pt x="1131" y="2304"/>
                </a:lnTo>
                <a:lnTo>
                  <a:pt x="1137" y="1717"/>
                </a:lnTo>
                <a:lnTo>
                  <a:pt x="1144" y="1131"/>
                </a:lnTo>
                <a:lnTo>
                  <a:pt x="1148" y="864"/>
                </a:lnTo>
                <a:lnTo>
                  <a:pt x="1148" y="864"/>
                </a:lnTo>
                <a:close/>
              </a:path>
            </a:pathLst>
          </a:custGeom>
          <a:solidFill>
            <a:srgbClr val="D7DEF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fi-FI" sz="2400"/>
          </a:p>
        </p:txBody>
      </p:sp>
      <p:sp>
        <p:nvSpPr>
          <p:cNvPr id="22" name="Freeform 24"/>
          <p:cNvSpPr>
            <a:spLocks noEditPoints="1"/>
          </p:cNvSpPr>
          <p:nvPr userDrawn="1"/>
        </p:nvSpPr>
        <p:spPr bwMode="auto">
          <a:xfrm>
            <a:off x="9271000" y="0"/>
            <a:ext cx="2669117" cy="5471584"/>
          </a:xfrm>
          <a:custGeom>
            <a:avLst/>
            <a:gdLst>
              <a:gd name="T0" fmla="*/ 582 w 1261"/>
              <a:gd name="T1" fmla="*/ 0 h 2585"/>
              <a:gd name="T2" fmla="*/ 0 w 1261"/>
              <a:gd name="T3" fmla="*/ 0 h 2585"/>
              <a:gd name="T4" fmla="*/ 6 w 1261"/>
              <a:gd name="T5" fmla="*/ 33 h 2585"/>
              <a:gd name="T6" fmla="*/ 22 w 1261"/>
              <a:gd name="T7" fmla="*/ 97 h 2585"/>
              <a:gd name="T8" fmla="*/ 32 w 1261"/>
              <a:gd name="T9" fmla="*/ 129 h 2585"/>
              <a:gd name="T10" fmla="*/ 63 w 1261"/>
              <a:gd name="T11" fmla="*/ 210 h 2585"/>
              <a:gd name="T12" fmla="*/ 99 w 1261"/>
              <a:gd name="T13" fmla="*/ 288 h 2585"/>
              <a:gd name="T14" fmla="*/ 140 w 1261"/>
              <a:gd name="T15" fmla="*/ 361 h 2585"/>
              <a:gd name="T16" fmla="*/ 186 w 1261"/>
              <a:gd name="T17" fmla="*/ 431 h 2585"/>
              <a:gd name="T18" fmla="*/ 238 w 1261"/>
              <a:gd name="T19" fmla="*/ 495 h 2585"/>
              <a:gd name="T20" fmla="*/ 294 w 1261"/>
              <a:gd name="T21" fmla="*/ 556 h 2585"/>
              <a:gd name="T22" fmla="*/ 355 w 1261"/>
              <a:gd name="T23" fmla="*/ 611 h 2585"/>
              <a:gd name="T24" fmla="*/ 419 w 1261"/>
              <a:gd name="T25" fmla="*/ 660 h 2585"/>
              <a:gd name="T26" fmla="*/ 454 w 1261"/>
              <a:gd name="T27" fmla="*/ 686 h 2585"/>
              <a:gd name="T28" fmla="*/ 528 w 1261"/>
              <a:gd name="T29" fmla="*/ 730 h 2585"/>
              <a:gd name="T30" fmla="*/ 604 w 1261"/>
              <a:gd name="T31" fmla="*/ 768 h 2585"/>
              <a:gd name="T32" fmla="*/ 681 w 1261"/>
              <a:gd name="T33" fmla="*/ 801 h 2585"/>
              <a:gd name="T34" fmla="*/ 761 w 1261"/>
              <a:gd name="T35" fmla="*/ 826 h 2585"/>
              <a:gd name="T36" fmla="*/ 841 w 1261"/>
              <a:gd name="T37" fmla="*/ 845 h 2585"/>
              <a:gd name="T38" fmla="*/ 922 w 1261"/>
              <a:gd name="T39" fmla="*/ 857 h 2585"/>
              <a:gd name="T40" fmla="*/ 1003 w 1261"/>
              <a:gd name="T41" fmla="*/ 863 h 2585"/>
              <a:gd name="T42" fmla="*/ 1044 w 1261"/>
              <a:gd name="T43" fmla="*/ 864 h 2585"/>
              <a:gd name="T44" fmla="*/ 976 w 1261"/>
              <a:gd name="T45" fmla="*/ 918 h 2585"/>
              <a:gd name="T46" fmla="*/ 913 w 1261"/>
              <a:gd name="T47" fmla="*/ 977 h 2585"/>
              <a:gd name="T48" fmla="*/ 857 w 1261"/>
              <a:gd name="T49" fmla="*/ 1038 h 2585"/>
              <a:gd name="T50" fmla="*/ 805 w 1261"/>
              <a:gd name="T51" fmla="*/ 1104 h 2585"/>
              <a:gd name="T52" fmla="*/ 759 w 1261"/>
              <a:gd name="T53" fmla="*/ 1173 h 2585"/>
              <a:gd name="T54" fmla="*/ 720 w 1261"/>
              <a:gd name="T55" fmla="*/ 1245 h 2585"/>
              <a:gd name="T56" fmla="*/ 686 w 1261"/>
              <a:gd name="T57" fmla="*/ 1320 h 2585"/>
              <a:gd name="T58" fmla="*/ 658 w 1261"/>
              <a:gd name="T59" fmla="*/ 1396 h 2585"/>
              <a:gd name="T60" fmla="*/ 645 w 1261"/>
              <a:gd name="T61" fmla="*/ 1438 h 2585"/>
              <a:gd name="T62" fmla="*/ 625 w 1261"/>
              <a:gd name="T63" fmla="*/ 1521 h 2585"/>
              <a:gd name="T64" fmla="*/ 612 w 1261"/>
              <a:gd name="T65" fmla="*/ 1605 h 2585"/>
              <a:gd name="T66" fmla="*/ 606 w 1261"/>
              <a:gd name="T67" fmla="*/ 1689 h 2585"/>
              <a:gd name="T68" fmla="*/ 606 w 1261"/>
              <a:gd name="T69" fmla="*/ 1772 h 2585"/>
              <a:gd name="T70" fmla="*/ 614 w 1261"/>
              <a:gd name="T71" fmla="*/ 1854 h 2585"/>
              <a:gd name="T72" fmla="*/ 626 w 1261"/>
              <a:gd name="T73" fmla="*/ 1935 h 2585"/>
              <a:gd name="T74" fmla="*/ 645 w 1261"/>
              <a:gd name="T75" fmla="*/ 2015 h 2585"/>
              <a:gd name="T76" fmla="*/ 658 w 1261"/>
              <a:gd name="T77" fmla="*/ 2053 h 2585"/>
              <a:gd name="T78" fmla="*/ 688 w 1261"/>
              <a:gd name="T79" fmla="*/ 2135 h 2585"/>
              <a:gd name="T80" fmla="*/ 724 w 1261"/>
              <a:gd name="T81" fmla="*/ 2212 h 2585"/>
              <a:gd name="T82" fmla="*/ 766 w 1261"/>
              <a:gd name="T83" fmla="*/ 2286 h 2585"/>
              <a:gd name="T84" fmla="*/ 812 w 1261"/>
              <a:gd name="T85" fmla="*/ 2355 h 2585"/>
              <a:gd name="T86" fmla="*/ 864 w 1261"/>
              <a:gd name="T87" fmla="*/ 2420 h 2585"/>
              <a:gd name="T88" fmla="*/ 920 w 1261"/>
              <a:gd name="T89" fmla="*/ 2480 h 2585"/>
              <a:gd name="T90" fmla="*/ 979 w 1261"/>
              <a:gd name="T91" fmla="*/ 2535 h 2585"/>
              <a:gd name="T92" fmla="*/ 1044 w 1261"/>
              <a:gd name="T93" fmla="*/ 2585 h 2585"/>
              <a:gd name="T94" fmla="*/ 1044 w 1261"/>
              <a:gd name="T95" fmla="*/ 2585 h 2585"/>
              <a:gd name="T96" fmla="*/ 1261 w 1261"/>
              <a:gd name="T97" fmla="*/ 2376 h 2585"/>
              <a:gd name="T98" fmla="*/ 1044 w 1261"/>
              <a:gd name="T99" fmla="*/ 864 h 2585"/>
              <a:gd name="T100" fmla="*/ 1044 w 1261"/>
              <a:gd name="T101" fmla="*/ 864 h 2585"/>
              <a:gd name="T102" fmla="*/ 1044 w 1261"/>
              <a:gd name="T103" fmla="*/ 864 h 25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261" h="2585">
                <a:moveTo>
                  <a:pt x="1255" y="0"/>
                </a:moveTo>
                <a:lnTo>
                  <a:pt x="582" y="0"/>
                </a:lnTo>
                <a:lnTo>
                  <a:pt x="470" y="0"/>
                </a:lnTo>
                <a:lnTo>
                  <a:pt x="0" y="0"/>
                </a:lnTo>
                <a:lnTo>
                  <a:pt x="0" y="0"/>
                </a:lnTo>
                <a:lnTo>
                  <a:pt x="6" y="33"/>
                </a:lnTo>
                <a:lnTo>
                  <a:pt x="14" y="65"/>
                </a:lnTo>
                <a:lnTo>
                  <a:pt x="22" y="97"/>
                </a:lnTo>
                <a:lnTo>
                  <a:pt x="32" y="129"/>
                </a:lnTo>
                <a:lnTo>
                  <a:pt x="32" y="129"/>
                </a:lnTo>
                <a:lnTo>
                  <a:pt x="47" y="170"/>
                </a:lnTo>
                <a:lnTo>
                  <a:pt x="63" y="210"/>
                </a:lnTo>
                <a:lnTo>
                  <a:pt x="79" y="250"/>
                </a:lnTo>
                <a:lnTo>
                  <a:pt x="99" y="288"/>
                </a:lnTo>
                <a:lnTo>
                  <a:pt x="119" y="325"/>
                </a:lnTo>
                <a:lnTo>
                  <a:pt x="140" y="361"/>
                </a:lnTo>
                <a:lnTo>
                  <a:pt x="163" y="396"/>
                </a:lnTo>
                <a:lnTo>
                  <a:pt x="186" y="431"/>
                </a:lnTo>
                <a:lnTo>
                  <a:pt x="212" y="464"/>
                </a:lnTo>
                <a:lnTo>
                  <a:pt x="238" y="495"/>
                </a:lnTo>
                <a:lnTo>
                  <a:pt x="266" y="525"/>
                </a:lnTo>
                <a:lnTo>
                  <a:pt x="294" y="556"/>
                </a:lnTo>
                <a:lnTo>
                  <a:pt x="324" y="584"/>
                </a:lnTo>
                <a:lnTo>
                  <a:pt x="355" y="611"/>
                </a:lnTo>
                <a:lnTo>
                  <a:pt x="387" y="637"/>
                </a:lnTo>
                <a:lnTo>
                  <a:pt x="419" y="660"/>
                </a:lnTo>
                <a:lnTo>
                  <a:pt x="419" y="660"/>
                </a:lnTo>
                <a:lnTo>
                  <a:pt x="454" y="686"/>
                </a:lnTo>
                <a:lnTo>
                  <a:pt x="491" y="709"/>
                </a:lnTo>
                <a:lnTo>
                  <a:pt x="528" y="730"/>
                </a:lnTo>
                <a:lnTo>
                  <a:pt x="565" y="750"/>
                </a:lnTo>
                <a:lnTo>
                  <a:pt x="604" y="768"/>
                </a:lnTo>
                <a:lnTo>
                  <a:pt x="642" y="785"/>
                </a:lnTo>
                <a:lnTo>
                  <a:pt x="681" y="801"/>
                </a:lnTo>
                <a:lnTo>
                  <a:pt x="721" y="815"/>
                </a:lnTo>
                <a:lnTo>
                  <a:pt x="761" y="826"/>
                </a:lnTo>
                <a:lnTo>
                  <a:pt x="801" y="836"/>
                </a:lnTo>
                <a:lnTo>
                  <a:pt x="841" y="845"/>
                </a:lnTo>
                <a:lnTo>
                  <a:pt x="882" y="852"/>
                </a:lnTo>
                <a:lnTo>
                  <a:pt x="922" y="857"/>
                </a:lnTo>
                <a:lnTo>
                  <a:pt x="963" y="861"/>
                </a:lnTo>
                <a:lnTo>
                  <a:pt x="1003" y="863"/>
                </a:lnTo>
                <a:lnTo>
                  <a:pt x="1044" y="864"/>
                </a:lnTo>
                <a:lnTo>
                  <a:pt x="1044" y="864"/>
                </a:lnTo>
                <a:lnTo>
                  <a:pt x="1010" y="890"/>
                </a:lnTo>
                <a:lnTo>
                  <a:pt x="976" y="918"/>
                </a:lnTo>
                <a:lnTo>
                  <a:pt x="943" y="946"/>
                </a:lnTo>
                <a:lnTo>
                  <a:pt x="913" y="977"/>
                </a:lnTo>
                <a:lnTo>
                  <a:pt x="884" y="1007"/>
                </a:lnTo>
                <a:lnTo>
                  <a:pt x="857" y="1038"/>
                </a:lnTo>
                <a:lnTo>
                  <a:pt x="830" y="1071"/>
                </a:lnTo>
                <a:lnTo>
                  <a:pt x="805" y="1104"/>
                </a:lnTo>
                <a:lnTo>
                  <a:pt x="781" y="1139"/>
                </a:lnTo>
                <a:lnTo>
                  <a:pt x="759" y="1173"/>
                </a:lnTo>
                <a:lnTo>
                  <a:pt x="739" y="1208"/>
                </a:lnTo>
                <a:lnTo>
                  <a:pt x="720" y="1245"/>
                </a:lnTo>
                <a:lnTo>
                  <a:pt x="702" y="1281"/>
                </a:lnTo>
                <a:lnTo>
                  <a:pt x="686" y="1320"/>
                </a:lnTo>
                <a:lnTo>
                  <a:pt x="671" y="1358"/>
                </a:lnTo>
                <a:lnTo>
                  <a:pt x="658" y="1396"/>
                </a:lnTo>
                <a:lnTo>
                  <a:pt x="658" y="1396"/>
                </a:lnTo>
                <a:lnTo>
                  <a:pt x="645" y="1438"/>
                </a:lnTo>
                <a:lnTo>
                  <a:pt x="634" y="1479"/>
                </a:lnTo>
                <a:lnTo>
                  <a:pt x="625" y="1521"/>
                </a:lnTo>
                <a:lnTo>
                  <a:pt x="617" y="1564"/>
                </a:lnTo>
                <a:lnTo>
                  <a:pt x="612" y="1605"/>
                </a:lnTo>
                <a:lnTo>
                  <a:pt x="608" y="1647"/>
                </a:lnTo>
                <a:lnTo>
                  <a:pt x="606" y="1689"/>
                </a:lnTo>
                <a:lnTo>
                  <a:pt x="605" y="1730"/>
                </a:lnTo>
                <a:lnTo>
                  <a:pt x="606" y="1772"/>
                </a:lnTo>
                <a:lnTo>
                  <a:pt x="609" y="1814"/>
                </a:lnTo>
                <a:lnTo>
                  <a:pt x="614" y="1854"/>
                </a:lnTo>
                <a:lnTo>
                  <a:pt x="619" y="1895"/>
                </a:lnTo>
                <a:lnTo>
                  <a:pt x="626" y="1935"/>
                </a:lnTo>
                <a:lnTo>
                  <a:pt x="635" y="1974"/>
                </a:lnTo>
                <a:lnTo>
                  <a:pt x="645" y="2015"/>
                </a:lnTo>
                <a:lnTo>
                  <a:pt x="658" y="2053"/>
                </a:lnTo>
                <a:lnTo>
                  <a:pt x="658" y="2053"/>
                </a:lnTo>
                <a:lnTo>
                  <a:pt x="672" y="2095"/>
                </a:lnTo>
                <a:lnTo>
                  <a:pt x="688" y="2135"/>
                </a:lnTo>
                <a:lnTo>
                  <a:pt x="705" y="2174"/>
                </a:lnTo>
                <a:lnTo>
                  <a:pt x="724" y="2212"/>
                </a:lnTo>
                <a:lnTo>
                  <a:pt x="744" y="2249"/>
                </a:lnTo>
                <a:lnTo>
                  <a:pt x="766" y="2286"/>
                </a:lnTo>
                <a:lnTo>
                  <a:pt x="788" y="2321"/>
                </a:lnTo>
                <a:lnTo>
                  <a:pt x="812" y="2355"/>
                </a:lnTo>
                <a:lnTo>
                  <a:pt x="838" y="2387"/>
                </a:lnTo>
                <a:lnTo>
                  <a:pt x="864" y="2420"/>
                </a:lnTo>
                <a:lnTo>
                  <a:pt x="891" y="2450"/>
                </a:lnTo>
                <a:lnTo>
                  <a:pt x="920" y="2480"/>
                </a:lnTo>
                <a:lnTo>
                  <a:pt x="949" y="2508"/>
                </a:lnTo>
                <a:lnTo>
                  <a:pt x="979" y="2535"/>
                </a:lnTo>
                <a:lnTo>
                  <a:pt x="1012" y="2561"/>
                </a:lnTo>
                <a:lnTo>
                  <a:pt x="1044" y="2585"/>
                </a:lnTo>
                <a:lnTo>
                  <a:pt x="1044" y="2585"/>
                </a:lnTo>
                <a:lnTo>
                  <a:pt x="1044" y="2585"/>
                </a:lnTo>
                <a:lnTo>
                  <a:pt x="1044" y="2585"/>
                </a:lnTo>
                <a:lnTo>
                  <a:pt x="1261" y="2376"/>
                </a:lnTo>
                <a:lnTo>
                  <a:pt x="1255" y="0"/>
                </a:lnTo>
                <a:close/>
                <a:moveTo>
                  <a:pt x="1044" y="864"/>
                </a:moveTo>
                <a:lnTo>
                  <a:pt x="1044" y="864"/>
                </a:lnTo>
                <a:lnTo>
                  <a:pt x="1044" y="864"/>
                </a:lnTo>
                <a:lnTo>
                  <a:pt x="1045" y="864"/>
                </a:lnTo>
                <a:lnTo>
                  <a:pt x="1044" y="864"/>
                </a:lnTo>
                <a:close/>
              </a:path>
            </a:pathLst>
          </a:custGeom>
          <a:solidFill>
            <a:srgbClr val="AFBDE5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fi-FI" sz="2400"/>
          </a:p>
        </p:txBody>
      </p:sp>
      <p:sp>
        <p:nvSpPr>
          <p:cNvPr id="23" name="Freeform 25"/>
          <p:cNvSpPr>
            <a:spLocks/>
          </p:cNvSpPr>
          <p:nvPr userDrawn="1"/>
        </p:nvSpPr>
        <p:spPr bwMode="auto">
          <a:xfrm>
            <a:off x="10502901" y="0"/>
            <a:ext cx="1689100" cy="5471584"/>
          </a:xfrm>
          <a:custGeom>
            <a:avLst/>
            <a:gdLst>
              <a:gd name="T0" fmla="*/ 0 w 798"/>
              <a:gd name="T1" fmla="*/ 0 h 2585"/>
              <a:gd name="T2" fmla="*/ 73 w 798"/>
              <a:gd name="T3" fmla="*/ 96 h 2585"/>
              <a:gd name="T4" fmla="*/ 142 w 798"/>
              <a:gd name="T5" fmla="*/ 196 h 2585"/>
              <a:gd name="T6" fmla="*/ 206 w 798"/>
              <a:gd name="T7" fmla="*/ 299 h 2585"/>
              <a:gd name="T8" fmla="*/ 267 w 798"/>
              <a:gd name="T9" fmla="*/ 405 h 2585"/>
              <a:gd name="T10" fmla="*/ 322 w 798"/>
              <a:gd name="T11" fmla="*/ 515 h 2585"/>
              <a:gd name="T12" fmla="*/ 374 w 798"/>
              <a:gd name="T13" fmla="*/ 629 h 2585"/>
              <a:gd name="T14" fmla="*/ 420 w 798"/>
              <a:gd name="T15" fmla="*/ 745 h 2585"/>
              <a:gd name="T16" fmla="*/ 462 w 798"/>
              <a:gd name="T17" fmla="*/ 864 h 2585"/>
              <a:gd name="T18" fmla="*/ 463 w 798"/>
              <a:gd name="T19" fmla="*/ 864 h 2585"/>
              <a:gd name="T20" fmla="*/ 462 w 798"/>
              <a:gd name="T21" fmla="*/ 864 h 2585"/>
              <a:gd name="T22" fmla="*/ 462 w 798"/>
              <a:gd name="T23" fmla="*/ 864 h 2585"/>
              <a:gd name="T24" fmla="*/ 478 w 798"/>
              <a:gd name="T25" fmla="*/ 915 h 2585"/>
              <a:gd name="T26" fmla="*/ 508 w 798"/>
              <a:gd name="T27" fmla="*/ 1017 h 2585"/>
              <a:gd name="T28" fmla="*/ 532 w 798"/>
              <a:gd name="T29" fmla="*/ 1122 h 2585"/>
              <a:gd name="T30" fmla="*/ 554 w 798"/>
              <a:gd name="T31" fmla="*/ 1226 h 2585"/>
              <a:gd name="T32" fmla="*/ 571 w 798"/>
              <a:gd name="T33" fmla="*/ 1332 h 2585"/>
              <a:gd name="T34" fmla="*/ 584 w 798"/>
              <a:gd name="T35" fmla="*/ 1439 h 2585"/>
              <a:gd name="T36" fmla="*/ 593 w 798"/>
              <a:gd name="T37" fmla="*/ 1547 h 2585"/>
              <a:gd name="T38" fmla="*/ 598 w 798"/>
              <a:gd name="T39" fmla="*/ 1655 h 2585"/>
              <a:gd name="T40" fmla="*/ 599 w 798"/>
              <a:gd name="T41" fmla="*/ 1763 h 2585"/>
              <a:gd name="T42" fmla="*/ 595 w 798"/>
              <a:gd name="T43" fmla="*/ 1873 h 2585"/>
              <a:gd name="T44" fmla="*/ 586 w 798"/>
              <a:gd name="T45" fmla="*/ 1982 h 2585"/>
              <a:gd name="T46" fmla="*/ 574 w 798"/>
              <a:gd name="T47" fmla="*/ 2091 h 2585"/>
              <a:gd name="T48" fmla="*/ 557 w 798"/>
              <a:gd name="T49" fmla="*/ 2202 h 2585"/>
              <a:gd name="T50" fmla="*/ 536 w 798"/>
              <a:gd name="T51" fmla="*/ 2312 h 2585"/>
              <a:gd name="T52" fmla="*/ 510 w 798"/>
              <a:gd name="T53" fmla="*/ 2421 h 2585"/>
              <a:gd name="T54" fmla="*/ 480 w 798"/>
              <a:gd name="T55" fmla="*/ 2530 h 2585"/>
              <a:gd name="T56" fmla="*/ 462 w 798"/>
              <a:gd name="T57" fmla="*/ 2585 h 2585"/>
              <a:gd name="T58" fmla="*/ 597 w 798"/>
              <a:gd name="T59" fmla="*/ 2529 h 2585"/>
              <a:gd name="T60" fmla="*/ 675 w 798"/>
              <a:gd name="T61" fmla="*/ 2492 h 2585"/>
              <a:gd name="T62" fmla="*/ 798 w 798"/>
              <a:gd name="T63" fmla="*/ 2430 h 2585"/>
              <a:gd name="T64" fmla="*/ 798 w 798"/>
              <a:gd name="T65" fmla="*/ 0 h 25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798" h="2585">
                <a:moveTo>
                  <a:pt x="0" y="0"/>
                </a:moveTo>
                <a:lnTo>
                  <a:pt x="0" y="0"/>
                </a:lnTo>
                <a:lnTo>
                  <a:pt x="37" y="47"/>
                </a:lnTo>
                <a:lnTo>
                  <a:pt x="73" y="96"/>
                </a:lnTo>
                <a:lnTo>
                  <a:pt x="108" y="145"/>
                </a:lnTo>
                <a:lnTo>
                  <a:pt x="142" y="196"/>
                </a:lnTo>
                <a:lnTo>
                  <a:pt x="175" y="246"/>
                </a:lnTo>
                <a:lnTo>
                  <a:pt x="206" y="299"/>
                </a:lnTo>
                <a:lnTo>
                  <a:pt x="237" y="352"/>
                </a:lnTo>
                <a:lnTo>
                  <a:pt x="267" y="405"/>
                </a:lnTo>
                <a:lnTo>
                  <a:pt x="295" y="460"/>
                </a:lnTo>
                <a:lnTo>
                  <a:pt x="322" y="515"/>
                </a:lnTo>
                <a:lnTo>
                  <a:pt x="349" y="572"/>
                </a:lnTo>
                <a:lnTo>
                  <a:pt x="374" y="629"/>
                </a:lnTo>
                <a:lnTo>
                  <a:pt x="397" y="686"/>
                </a:lnTo>
                <a:lnTo>
                  <a:pt x="420" y="745"/>
                </a:lnTo>
                <a:lnTo>
                  <a:pt x="441" y="804"/>
                </a:lnTo>
                <a:lnTo>
                  <a:pt x="462" y="864"/>
                </a:lnTo>
                <a:lnTo>
                  <a:pt x="462" y="864"/>
                </a:lnTo>
                <a:lnTo>
                  <a:pt x="463" y="864"/>
                </a:lnTo>
                <a:lnTo>
                  <a:pt x="463" y="864"/>
                </a:lnTo>
                <a:lnTo>
                  <a:pt x="462" y="864"/>
                </a:lnTo>
                <a:lnTo>
                  <a:pt x="462" y="864"/>
                </a:lnTo>
                <a:lnTo>
                  <a:pt x="462" y="864"/>
                </a:lnTo>
                <a:lnTo>
                  <a:pt x="462" y="864"/>
                </a:lnTo>
                <a:lnTo>
                  <a:pt x="478" y="915"/>
                </a:lnTo>
                <a:lnTo>
                  <a:pt x="493" y="966"/>
                </a:lnTo>
                <a:lnTo>
                  <a:pt x="508" y="1017"/>
                </a:lnTo>
                <a:lnTo>
                  <a:pt x="520" y="1069"/>
                </a:lnTo>
                <a:lnTo>
                  <a:pt x="532" y="1122"/>
                </a:lnTo>
                <a:lnTo>
                  <a:pt x="544" y="1173"/>
                </a:lnTo>
                <a:lnTo>
                  <a:pt x="554" y="1226"/>
                </a:lnTo>
                <a:lnTo>
                  <a:pt x="563" y="1279"/>
                </a:lnTo>
                <a:lnTo>
                  <a:pt x="571" y="1332"/>
                </a:lnTo>
                <a:lnTo>
                  <a:pt x="579" y="1386"/>
                </a:lnTo>
                <a:lnTo>
                  <a:pt x="584" y="1439"/>
                </a:lnTo>
                <a:lnTo>
                  <a:pt x="590" y="1493"/>
                </a:lnTo>
                <a:lnTo>
                  <a:pt x="593" y="1547"/>
                </a:lnTo>
                <a:lnTo>
                  <a:pt x="597" y="1601"/>
                </a:lnTo>
                <a:lnTo>
                  <a:pt x="598" y="1655"/>
                </a:lnTo>
                <a:lnTo>
                  <a:pt x="599" y="1709"/>
                </a:lnTo>
                <a:lnTo>
                  <a:pt x="599" y="1763"/>
                </a:lnTo>
                <a:lnTo>
                  <a:pt x="598" y="1818"/>
                </a:lnTo>
                <a:lnTo>
                  <a:pt x="595" y="1873"/>
                </a:lnTo>
                <a:lnTo>
                  <a:pt x="592" y="1927"/>
                </a:lnTo>
                <a:lnTo>
                  <a:pt x="586" y="1982"/>
                </a:lnTo>
                <a:lnTo>
                  <a:pt x="581" y="2037"/>
                </a:lnTo>
                <a:lnTo>
                  <a:pt x="574" y="2091"/>
                </a:lnTo>
                <a:lnTo>
                  <a:pt x="566" y="2147"/>
                </a:lnTo>
                <a:lnTo>
                  <a:pt x="557" y="2202"/>
                </a:lnTo>
                <a:lnTo>
                  <a:pt x="547" y="2257"/>
                </a:lnTo>
                <a:lnTo>
                  <a:pt x="536" y="2312"/>
                </a:lnTo>
                <a:lnTo>
                  <a:pt x="523" y="2366"/>
                </a:lnTo>
                <a:lnTo>
                  <a:pt x="510" y="2421"/>
                </a:lnTo>
                <a:lnTo>
                  <a:pt x="495" y="2476"/>
                </a:lnTo>
                <a:lnTo>
                  <a:pt x="480" y="2530"/>
                </a:lnTo>
                <a:lnTo>
                  <a:pt x="462" y="2585"/>
                </a:lnTo>
                <a:lnTo>
                  <a:pt x="462" y="2585"/>
                </a:lnTo>
                <a:lnTo>
                  <a:pt x="555" y="2547"/>
                </a:lnTo>
                <a:lnTo>
                  <a:pt x="597" y="2529"/>
                </a:lnTo>
                <a:lnTo>
                  <a:pt x="637" y="2511"/>
                </a:lnTo>
                <a:lnTo>
                  <a:pt x="675" y="2492"/>
                </a:lnTo>
                <a:lnTo>
                  <a:pt x="715" y="2473"/>
                </a:lnTo>
                <a:lnTo>
                  <a:pt x="798" y="2430"/>
                </a:lnTo>
                <a:lnTo>
                  <a:pt x="798" y="701"/>
                </a:lnTo>
                <a:lnTo>
                  <a:pt x="798" y="0"/>
                </a:lnTo>
                <a:lnTo>
                  <a:pt x="0" y="0"/>
                </a:lnTo>
                <a:close/>
              </a:path>
            </a:pathLst>
          </a:custGeom>
          <a:solidFill>
            <a:srgbClr val="7991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fi-FI" sz="2400"/>
          </a:p>
        </p:txBody>
      </p:sp>
      <p:sp>
        <p:nvSpPr>
          <p:cNvPr id="24" name="Freeform 26"/>
          <p:cNvSpPr>
            <a:spLocks/>
          </p:cNvSpPr>
          <p:nvPr userDrawn="1"/>
        </p:nvSpPr>
        <p:spPr bwMode="auto">
          <a:xfrm>
            <a:off x="11480800" y="1483785"/>
            <a:ext cx="711200" cy="345017"/>
          </a:xfrm>
          <a:custGeom>
            <a:avLst/>
            <a:gdLst>
              <a:gd name="T0" fmla="*/ 336 w 336"/>
              <a:gd name="T1" fmla="*/ 0 h 163"/>
              <a:gd name="T2" fmla="*/ 336 w 336"/>
              <a:gd name="T3" fmla="*/ 0 h 163"/>
              <a:gd name="T4" fmla="*/ 291 w 336"/>
              <a:gd name="T5" fmla="*/ 13 h 163"/>
              <a:gd name="T6" fmla="*/ 246 w 336"/>
              <a:gd name="T7" fmla="*/ 29 h 163"/>
              <a:gd name="T8" fmla="*/ 202 w 336"/>
              <a:gd name="T9" fmla="*/ 47 h 163"/>
              <a:gd name="T10" fmla="*/ 159 w 336"/>
              <a:gd name="T11" fmla="*/ 67 h 163"/>
              <a:gd name="T12" fmla="*/ 118 w 336"/>
              <a:gd name="T13" fmla="*/ 89 h 163"/>
              <a:gd name="T14" fmla="*/ 77 w 336"/>
              <a:gd name="T15" fmla="*/ 111 h 163"/>
              <a:gd name="T16" fmla="*/ 38 w 336"/>
              <a:gd name="T17" fmla="*/ 136 h 163"/>
              <a:gd name="T18" fmla="*/ 0 w 336"/>
              <a:gd name="T19" fmla="*/ 163 h 163"/>
              <a:gd name="T20" fmla="*/ 0 w 336"/>
              <a:gd name="T21" fmla="*/ 163 h 163"/>
              <a:gd name="T22" fmla="*/ 43 w 336"/>
              <a:gd name="T23" fmla="*/ 162 h 163"/>
              <a:gd name="T24" fmla="*/ 87 w 336"/>
              <a:gd name="T25" fmla="*/ 160 h 163"/>
              <a:gd name="T26" fmla="*/ 130 w 336"/>
              <a:gd name="T27" fmla="*/ 155 h 163"/>
              <a:gd name="T28" fmla="*/ 173 w 336"/>
              <a:gd name="T29" fmla="*/ 150 h 163"/>
              <a:gd name="T30" fmla="*/ 214 w 336"/>
              <a:gd name="T31" fmla="*/ 142 h 163"/>
              <a:gd name="T32" fmla="*/ 255 w 336"/>
              <a:gd name="T33" fmla="*/ 133 h 163"/>
              <a:gd name="T34" fmla="*/ 297 w 336"/>
              <a:gd name="T35" fmla="*/ 121 h 163"/>
              <a:gd name="T36" fmla="*/ 336 w 336"/>
              <a:gd name="T37" fmla="*/ 109 h 163"/>
              <a:gd name="T38" fmla="*/ 336 w 336"/>
              <a:gd name="T39" fmla="*/ 0 h 1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336" h="163">
                <a:moveTo>
                  <a:pt x="336" y="0"/>
                </a:moveTo>
                <a:lnTo>
                  <a:pt x="336" y="0"/>
                </a:lnTo>
                <a:lnTo>
                  <a:pt x="291" y="13"/>
                </a:lnTo>
                <a:lnTo>
                  <a:pt x="246" y="29"/>
                </a:lnTo>
                <a:lnTo>
                  <a:pt x="202" y="47"/>
                </a:lnTo>
                <a:lnTo>
                  <a:pt x="159" y="67"/>
                </a:lnTo>
                <a:lnTo>
                  <a:pt x="118" y="89"/>
                </a:lnTo>
                <a:lnTo>
                  <a:pt x="77" y="111"/>
                </a:lnTo>
                <a:lnTo>
                  <a:pt x="38" y="136"/>
                </a:lnTo>
                <a:lnTo>
                  <a:pt x="0" y="163"/>
                </a:lnTo>
                <a:lnTo>
                  <a:pt x="0" y="163"/>
                </a:lnTo>
                <a:lnTo>
                  <a:pt x="43" y="162"/>
                </a:lnTo>
                <a:lnTo>
                  <a:pt x="87" y="160"/>
                </a:lnTo>
                <a:lnTo>
                  <a:pt x="130" y="155"/>
                </a:lnTo>
                <a:lnTo>
                  <a:pt x="173" y="150"/>
                </a:lnTo>
                <a:lnTo>
                  <a:pt x="214" y="142"/>
                </a:lnTo>
                <a:lnTo>
                  <a:pt x="255" y="133"/>
                </a:lnTo>
                <a:lnTo>
                  <a:pt x="297" y="121"/>
                </a:lnTo>
                <a:lnTo>
                  <a:pt x="336" y="109"/>
                </a:lnTo>
                <a:lnTo>
                  <a:pt x="336" y="0"/>
                </a:lnTo>
                <a:close/>
              </a:path>
            </a:pathLst>
          </a:custGeom>
          <a:solidFill>
            <a:srgbClr val="365AB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fi-FI" sz="2400"/>
          </a:p>
        </p:txBody>
      </p:sp>
      <p:sp>
        <p:nvSpPr>
          <p:cNvPr id="25" name="Freeform 27"/>
          <p:cNvSpPr>
            <a:spLocks/>
          </p:cNvSpPr>
          <p:nvPr userDrawn="1"/>
        </p:nvSpPr>
        <p:spPr bwMode="auto">
          <a:xfrm>
            <a:off x="11480801" y="5471584"/>
            <a:ext cx="38100" cy="27517"/>
          </a:xfrm>
          <a:custGeom>
            <a:avLst/>
            <a:gdLst>
              <a:gd name="T0" fmla="*/ 18 w 18"/>
              <a:gd name="T1" fmla="*/ 13 h 13"/>
              <a:gd name="T2" fmla="*/ 18 w 18"/>
              <a:gd name="T3" fmla="*/ 13 h 13"/>
              <a:gd name="T4" fmla="*/ 0 w 18"/>
              <a:gd name="T5" fmla="*/ 0 h 13"/>
              <a:gd name="T6" fmla="*/ 0 w 18"/>
              <a:gd name="T7" fmla="*/ 0 h 13"/>
              <a:gd name="T8" fmla="*/ 18 w 18"/>
              <a:gd name="T9" fmla="*/ 13 h 13"/>
              <a:gd name="T10" fmla="*/ 18 w 18"/>
              <a:gd name="T11" fmla="*/ 13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8" h="13">
                <a:moveTo>
                  <a:pt x="18" y="13"/>
                </a:moveTo>
                <a:lnTo>
                  <a:pt x="18" y="13"/>
                </a:lnTo>
                <a:lnTo>
                  <a:pt x="0" y="0"/>
                </a:lnTo>
                <a:lnTo>
                  <a:pt x="0" y="0"/>
                </a:lnTo>
                <a:lnTo>
                  <a:pt x="18" y="13"/>
                </a:lnTo>
                <a:lnTo>
                  <a:pt x="18" y="13"/>
                </a:lnTo>
                <a:close/>
              </a:path>
            </a:pathLst>
          </a:custGeom>
          <a:solidFill>
            <a:srgbClr val="EDEDE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fi-FI" sz="2400"/>
          </a:p>
        </p:txBody>
      </p:sp>
      <p:sp>
        <p:nvSpPr>
          <p:cNvPr id="26" name="Freeform 28"/>
          <p:cNvSpPr>
            <a:spLocks/>
          </p:cNvSpPr>
          <p:nvPr userDrawn="1"/>
        </p:nvSpPr>
        <p:spPr bwMode="auto">
          <a:xfrm>
            <a:off x="11518901" y="5499100"/>
            <a:ext cx="673100" cy="416984"/>
          </a:xfrm>
          <a:custGeom>
            <a:avLst/>
            <a:gdLst>
              <a:gd name="T0" fmla="*/ 318 w 318"/>
              <a:gd name="T1" fmla="*/ 150 h 197"/>
              <a:gd name="T2" fmla="*/ 318 w 318"/>
              <a:gd name="T3" fmla="*/ 150 h 197"/>
              <a:gd name="T4" fmla="*/ 276 w 318"/>
              <a:gd name="T5" fmla="*/ 138 h 197"/>
              <a:gd name="T6" fmla="*/ 236 w 318"/>
              <a:gd name="T7" fmla="*/ 123 h 197"/>
              <a:gd name="T8" fmla="*/ 195 w 318"/>
              <a:gd name="T9" fmla="*/ 108 h 197"/>
              <a:gd name="T10" fmla="*/ 155 w 318"/>
              <a:gd name="T11" fmla="*/ 90 h 197"/>
              <a:gd name="T12" fmla="*/ 115 w 318"/>
              <a:gd name="T13" fmla="*/ 69 h 197"/>
              <a:gd name="T14" fmla="*/ 76 w 318"/>
              <a:gd name="T15" fmla="*/ 48 h 197"/>
              <a:gd name="T16" fmla="*/ 38 w 318"/>
              <a:gd name="T17" fmla="*/ 24 h 197"/>
              <a:gd name="T18" fmla="*/ 0 w 318"/>
              <a:gd name="T19" fmla="*/ 0 h 197"/>
              <a:gd name="T20" fmla="*/ 0 w 318"/>
              <a:gd name="T21" fmla="*/ 0 h 197"/>
              <a:gd name="T22" fmla="*/ 39 w 318"/>
              <a:gd name="T23" fmla="*/ 27 h 197"/>
              <a:gd name="T24" fmla="*/ 77 w 318"/>
              <a:gd name="T25" fmla="*/ 54 h 197"/>
              <a:gd name="T26" fmla="*/ 117 w 318"/>
              <a:gd name="T27" fmla="*/ 80 h 197"/>
              <a:gd name="T28" fmla="*/ 157 w 318"/>
              <a:gd name="T29" fmla="*/ 104 h 197"/>
              <a:gd name="T30" fmla="*/ 196 w 318"/>
              <a:gd name="T31" fmla="*/ 128 h 197"/>
              <a:gd name="T32" fmla="*/ 237 w 318"/>
              <a:gd name="T33" fmla="*/ 152 h 197"/>
              <a:gd name="T34" fmla="*/ 277 w 318"/>
              <a:gd name="T35" fmla="*/ 174 h 197"/>
              <a:gd name="T36" fmla="*/ 318 w 318"/>
              <a:gd name="T37" fmla="*/ 197 h 197"/>
              <a:gd name="T38" fmla="*/ 318 w 318"/>
              <a:gd name="T39" fmla="*/ 150 h 1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318" h="197">
                <a:moveTo>
                  <a:pt x="318" y="150"/>
                </a:moveTo>
                <a:lnTo>
                  <a:pt x="318" y="150"/>
                </a:lnTo>
                <a:lnTo>
                  <a:pt x="276" y="138"/>
                </a:lnTo>
                <a:lnTo>
                  <a:pt x="236" y="123"/>
                </a:lnTo>
                <a:lnTo>
                  <a:pt x="195" y="108"/>
                </a:lnTo>
                <a:lnTo>
                  <a:pt x="155" y="90"/>
                </a:lnTo>
                <a:lnTo>
                  <a:pt x="115" y="69"/>
                </a:lnTo>
                <a:lnTo>
                  <a:pt x="76" y="48"/>
                </a:lnTo>
                <a:lnTo>
                  <a:pt x="38" y="24"/>
                </a:lnTo>
                <a:lnTo>
                  <a:pt x="0" y="0"/>
                </a:lnTo>
                <a:lnTo>
                  <a:pt x="0" y="0"/>
                </a:lnTo>
                <a:lnTo>
                  <a:pt x="39" y="27"/>
                </a:lnTo>
                <a:lnTo>
                  <a:pt x="77" y="54"/>
                </a:lnTo>
                <a:lnTo>
                  <a:pt x="117" y="80"/>
                </a:lnTo>
                <a:lnTo>
                  <a:pt x="157" y="104"/>
                </a:lnTo>
                <a:lnTo>
                  <a:pt x="196" y="128"/>
                </a:lnTo>
                <a:lnTo>
                  <a:pt x="237" y="152"/>
                </a:lnTo>
                <a:lnTo>
                  <a:pt x="277" y="174"/>
                </a:lnTo>
                <a:lnTo>
                  <a:pt x="318" y="197"/>
                </a:lnTo>
                <a:lnTo>
                  <a:pt x="318" y="150"/>
                </a:lnTo>
                <a:close/>
              </a:path>
            </a:pathLst>
          </a:custGeom>
          <a:solidFill>
            <a:srgbClr val="BCC8E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fi-FI" sz="2400"/>
          </a:p>
        </p:txBody>
      </p:sp>
      <p:sp>
        <p:nvSpPr>
          <p:cNvPr id="27" name="Freeform 29"/>
          <p:cNvSpPr>
            <a:spLocks/>
          </p:cNvSpPr>
          <p:nvPr userDrawn="1"/>
        </p:nvSpPr>
        <p:spPr bwMode="auto">
          <a:xfrm>
            <a:off x="11446933" y="5446184"/>
            <a:ext cx="33867" cy="25400"/>
          </a:xfrm>
          <a:custGeom>
            <a:avLst/>
            <a:gdLst>
              <a:gd name="T0" fmla="*/ 0 w 16"/>
              <a:gd name="T1" fmla="*/ 0 h 12"/>
              <a:gd name="T2" fmla="*/ 0 w 16"/>
              <a:gd name="T3" fmla="*/ 0 h 12"/>
              <a:gd name="T4" fmla="*/ 16 w 16"/>
              <a:gd name="T5" fmla="*/ 12 h 12"/>
              <a:gd name="T6" fmla="*/ 16 w 16"/>
              <a:gd name="T7" fmla="*/ 12 h 12"/>
              <a:gd name="T8" fmla="*/ 0 w 16"/>
              <a:gd name="T9" fmla="*/ 0 h 12"/>
              <a:gd name="T10" fmla="*/ 0 w 16"/>
              <a:gd name="T11" fmla="*/ 0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6" h="12">
                <a:moveTo>
                  <a:pt x="0" y="0"/>
                </a:moveTo>
                <a:lnTo>
                  <a:pt x="0" y="0"/>
                </a:lnTo>
                <a:lnTo>
                  <a:pt x="16" y="12"/>
                </a:lnTo>
                <a:lnTo>
                  <a:pt x="16" y="12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EDEDE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fi-FI" sz="2400"/>
          </a:p>
        </p:txBody>
      </p:sp>
      <p:sp>
        <p:nvSpPr>
          <p:cNvPr id="28" name="Freeform 30"/>
          <p:cNvSpPr>
            <a:spLocks/>
          </p:cNvSpPr>
          <p:nvPr userDrawn="1"/>
        </p:nvSpPr>
        <p:spPr bwMode="auto">
          <a:xfrm>
            <a:off x="10117667" y="5471585"/>
            <a:ext cx="1363133" cy="1386417"/>
          </a:xfrm>
          <a:custGeom>
            <a:avLst/>
            <a:gdLst>
              <a:gd name="T0" fmla="*/ 0 w 644"/>
              <a:gd name="T1" fmla="*/ 655 h 655"/>
              <a:gd name="T2" fmla="*/ 332 w 644"/>
              <a:gd name="T3" fmla="*/ 655 h 655"/>
              <a:gd name="T4" fmla="*/ 332 w 644"/>
              <a:gd name="T5" fmla="*/ 655 h 655"/>
              <a:gd name="T6" fmla="*/ 357 w 644"/>
              <a:gd name="T7" fmla="*/ 617 h 655"/>
              <a:gd name="T8" fmla="*/ 381 w 644"/>
              <a:gd name="T9" fmla="*/ 577 h 655"/>
              <a:gd name="T10" fmla="*/ 404 w 644"/>
              <a:gd name="T11" fmla="*/ 538 h 655"/>
              <a:gd name="T12" fmla="*/ 426 w 644"/>
              <a:gd name="T13" fmla="*/ 499 h 655"/>
              <a:gd name="T14" fmla="*/ 449 w 644"/>
              <a:gd name="T15" fmla="*/ 458 h 655"/>
              <a:gd name="T16" fmla="*/ 470 w 644"/>
              <a:gd name="T17" fmla="*/ 418 h 655"/>
              <a:gd name="T18" fmla="*/ 491 w 644"/>
              <a:gd name="T19" fmla="*/ 377 h 655"/>
              <a:gd name="T20" fmla="*/ 511 w 644"/>
              <a:gd name="T21" fmla="*/ 337 h 655"/>
              <a:gd name="T22" fmla="*/ 530 w 644"/>
              <a:gd name="T23" fmla="*/ 295 h 655"/>
              <a:gd name="T24" fmla="*/ 548 w 644"/>
              <a:gd name="T25" fmla="*/ 253 h 655"/>
              <a:gd name="T26" fmla="*/ 566 w 644"/>
              <a:gd name="T27" fmla="*/ 212 h 655"/>
              <a:gd name="T28" fmla="*/ 583 w 644"/>
              <a:gd name="T29" fmla="*/ 170 h 655"/>
              <a:gd name="T30" fmla="*/ 600 w 644"/>
              <a:gd name="T31" fmla="*/ 129 h 655"/>
              <a:gd name="T32" fmla="*/ 614 w 644"/>
              <a:gd name="T33" fmla="*/ 86 h 655"/>
              <a:gd name="T34" fmla="*/ 630 w 644"/>
              <a:gd name="T35" fmla="*/ 43 h 655"/>
              <a:gd name="T36" fmla="*/ 644 w 644"/>
              <a:gd name="T37" fmla="*/ 0 h 655"/>
              <a:gd name="T38" fmla="*/ 644 w 644"/>
              <a:gd name="T39" fmla="*/ 0 h 655"/>
              <a:gd name="T40" fmla="*/ 644 w 644"/>
              <a:gd name="T41" fmla="*/ 0 h 655"/>
              <a:gd name="T42" fmla="*/ 596 w 644"/>
              <a:gd name="T43" fmla="*/ 35 h 655"/>
              <a:gd name="T44" fmla="*/ 550 w 644"/>
              <a:gd name="T45" fmla="*/ 72 h 655"/>
              <a:gd name="T46" fmla="*/ 504 w 644"/>
              <a:gd name="T47" fmla="*/ 108 h 655"/>
              <a:gd name="T48" fmla="*/ 459 w 644"/>
              <a:gd name="T49" fmla="*/ 147 h 655"/>
              <a:gd name="T50" fmla="*/ 415 w 644"/>
              <a:gd name="T51" fmla="*/ 185 h 655"/>
              <a:gd name="T52" fmla="*/ 372 w 644"/>
              <a:gd name="T53" fmla="*/ 224 h 655"/>
              <a:gd name="T54" fmla="*/ 331 w 644"/>
              <a:gd name="T55" fmla="*/ 265 h 655"/>
              <a:gd name="T56" fmla="*/ 290 w 644"/>
              <a:gd name="T57" fmla="*/ 305 h 655"/>
              <a:gd name="T58" fmla="*/ 250 w 644"/>
              <a:gd name="T59" fmla="*/ 347 h 655"/>
              <a:gd name="T60" fmla="*/ 212 w 644"/>
              <a:gd name="T61" fmla="*/ 388 h 655"/>
              <a:gd name="T62" fmla="*/ 173 w 644"/>
              <a:gd name="T63" fmla="*/ 431 h 655"/>
              <a:gd name="T64" fmla="*/ 137 w 644"/>
              <a:gd name="T65" fmla="*/ 475 h 655"/>
              <a:gd name="T66" fmla="*/ 101 w 644"/>
              <a:gd name="T67" fmla="*/ 519 h 655"/>
              <a:gd name="T68" fmla="*/ 66 w 644"/>
              <a:gd name="T69" fmla="*/ 564 h 655"/>
              <a:gd name="T70" fmla="*/ 33 w 644"/>
              <a:gd name="T71" fmla="*/ 609 h 655"/>
              <a:gd name="T72" fmla="*/ 0 w 644"/>
              <a:gd name="T73" fmla="*/ 655 h 655"/>
              <a:gd name="T74" fmla="*/ 0 w 644"/>
              <a:gd name="T75" fmla="*/ 655 h 6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644" h="655">
                <a:moveTo>
                  <a:pt x="0" y="655"/>
                </a:moveTo>
                <a:lnTo>
                  <a:pt x="332" y="655"/>
                </a:lnTo>
                <a:lnTo>
                  <a:pt x="332" y="655"/>
                </a:lnTo>
                <a:lnTo>
                  <a:pt x="357" y="617"/>
                </a:lnTo>
                <a:lnTo>
                  <a:pt x="381" y="577"/>
                </a:lnTo>
                <a:lnTo>
                  <a:pt x="404" y="538"/>
                </a:lnTo>
                <a:lnTo>
                  <a:pt x="426" y="499"/>
                </a:lnTo>
                <a:lnTo>
                  <a:pt x="449" y="458"/>
                </a:lnTo>
                <a:lnTo>
                  <a:pt x="470" y="418"/>
                </a:lnTo>
                <a:lnTo>
                  <a:pt x="491" y="377"/>
                </a:lnTo>
                <a:lnTo>
                  <a:pt x="511" y="337"/>
                </a:lnTo>
                <a:lnTo>
                  <a:pt x="530" y="295"/>
                </a:lnTo>
                <a:lnTo>
                  <a:pt x="548" y="253"/>
                </a:lnTo>
                <a:lnTo>
                  <a:pt x="566" y="212"/>
                </a:lnTo>
                <a:lnTo>
                  <a:pt x="583" y="170"/>
                </a:lnTo>
                <a:lnTo>
                  <a:pt x="600" y="129"/>
                </a:lnTo>
                <a:lnTo>
                  <a:pt x="614" y="86"/>
                </a:lnTo>
                <a:lnTo>
                  <a:pt x="630" y="43"/>
                </a:lnTo>
                <a:lnTo>
                  <a:pt x="644" y="0"/>
                </a:lnTo>
                <a:lnTo>
                  <a:pt x="644" y="0"/>
                </a:lnTo>
                <a:lnTo>
                  <a:pt x="644" y="0"/>
                </a:lnTo>
                <a:lnTo>
                  <a:pt x="596" y="35"/>
                </a:lnTo>
                <a:lnTo>
                  <a:pt x="550" y="72"/>
                </a:lnTo>
                <a:lnTo>
                  <a:pt x="504" y="108"/>
                </a:lnTo>
                <a:lnTo>
                  <a:pt x="459" y="147"/>
                </a:lnTo>
                <a:lnTo>
                  <a:pt x="415" y="185"/>
                </a:lnTo>
                <a:lnTo>
                  <a:pt x="372" y="224"/>
                </a:lnTo>
                <a:lnTo>
                  <a:pt x="331" y="265"/>
                </a:lnTo>
                <a:lnTo>
                  <a:pt x="290" y="305"/>
                </a:lnTo>
                <a:lnTo>
                  <a:pt x="250" y="347"/>
                </a:lnTo>
                <a:lnTo>
                  <a:pt x="212" y="388"/>
                </a:lnTo>
                <a:lnTo>
                  <a:pt x="173" y="431"/>
                </a:lnTo>
                <a:lnTo>
                  <a:pt x="137" y="475"/>
                </a:lnTo>
                <a:lnTo>
                  <a:pt x="101" y="519"/>
                </a:lnTo>
                <a:lnTo>
                  <a:pt x="66" y="564"/>
                </a:lnTo>
                <a:lnTo>
                  <a:pt x="33" y="609"/>
                </a:lnTo>
                <a:lnTo>
                  <a:pt x="0" y="655"/>
                </a:lnTo>
                <a:lnTo>
                  <a:pt x="0" y="655"/>
                </a:lnTo>
                <a:close/>
              </a:path>
            </a:pathLst>
          </a:custGeom>
          <a:solidFill>
            <a:srgbClr val="D7DEF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fi-FI" sz="2400"/>
          </a:p>
        </p:txBody>
      </p:sp>
      <p:sp>
        <p:nvSpPr>
          <p:cNvPr id="29" name="Freeform 31"/>
          <p:cNvSpPr>
            <a:spLocks/>
          </p:cNvSpPr>
          <p:nvPr userDrawn="1"/>
        </p:nvSpPr>
        <p:spPr bwMode="auto">
          <a:xfrm>
            <a:off x="11480800" y="5029201"/>
            <a:ext cx="711200" cy="825500"/>
          </a:xfrm>
          <a:custGeom>
            <a:avLst/>
            <a:gdLst>
              <a:gd name="T0" fmla="*/ 336 w 336"/>
              <a:gd name="T1" fmla="*/ 0 h 390"/>
              <a:gd name="T2" fmla="*/ 336 w 336"/>
              <a:gd name="T3" fmla="*/ 0 h 390"/>
              <a:gd name="T4" fmla="*/ 292 w 336"/>
              <a:gd name="T5" fmla="*/ 24 h 390"/>
              <a:gd name="T6" fmla="*/ 249 w 336"/>
              <a:gd name="T7" fmla="*/ 47 h 390"/>
              <a:gd name="T8" fmla="*/ 207 w 336"/>
              <a:gd name="T9" fmla="*/ 73 h 390"/>
              <a:gd name="T10" fmla="*/ 164 w 336"/>
              <a:gd name="T11" fmla="*/ 99 h 390"/>
              <a:gd name="T12" fmla="*/ 122 w 336"/>
              <a:gd name="T13" fmla="*/ 125 h 390"/>
              <a:gd name="T14" fmla="*/ 81 w 336"/>
              <a:gd name="T15" fmla="*/ 152 h 390"/>
              <a:gd name="T16" fmla="*/ 40 w 336"/>
              <a:gd name="T17" fmla="*/ 180 h 390"/>
              <a:gd name="T18" fmla="*/ 0 w 336"/>
              <a:gd name="T19" fmla="*/ 209 h 390"/>
              <a:gd name="T20" fmla="*/ 1 w 336"/>
              <a:gd name="T21" fmla="*/ 209 h 390"/>
              <a:gd name="T22" fmla="*/ 1 w 336"/>
              <a:gd name="T23" fmla="*/ 209 h 390"/>
              <a:gd name="T24" fmla="*/ 41 w 336"/>
              <a:gd name="T25" fmla="*/ 239 h 390"/>
              <a:gd name="T26" fmla="*/ 83 w 336"/>
              <a:gd name="T27" fmla="*/ 267 h 390"/>
              <a:gd name="T28" fmla="*/ 124 w 336"/>
              <a:gd name="T29" fmla="*/ 293 h 390"/>
              <a:gd name="T30" fmla="*/ 167 w 336"/>
              <a:gd name="T31" fmla="*/ 317 h 390"/>
              <a:gd name="T32" fmla="*/ 210 w 336"/>
              <a:gd name="T33" fmla="*/ 340 h 390"/>
              <a:gd name="T34" fmla="*/ 252 w 336"/>
              <a:gd name="T35" fmla="*/ 360 h 390"/>
              <a:gd name="T36" fmla="*/ 273 w 336"/>
              <a:gd name="T37" fmla="*/ 369 h 390"/>
              <a:gd name="T38" fmla="*/ 294 w 336"/>
              <a:gd name="T39" fmla="*/ 377 h 390"/>
              <a:gd name="T40" fmla="*/ 315 w 336"/>
              <a:gd name="T41" fmla="*/ 384 h 390"/>
              <a:gd name="T42" fmla="*/ 336 w 336"/>
              <a:gd name="T43" fmla="*/ 390 h 390"/>
              <a:gd name="T44" fmla="*/ 336 w 336"/>
              <a:gd name="T45" fmla="*/ 0 h 3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336" h="390">
                <a:moveTo>
                  <a:pt x="336" y="0"/>
                </a:moveTo>
                <a:lnTo>
                  <a:pt x="336" y="0"/>
                </a:lnTo>
                <a:lnTo>
                  <a:pt x="292" y="24"/>
                </a:lnTo>
                <a:lnTo>
                  <a:pt x="249" y="47"/>
                </a:lnTo>
                <a:lnTo>
                  <a:pt x="207" y="73"/>
                </a:lnTo>
                <a:lnTo>
                  <a:pt x="164" y="99"/>
                </a:lnTo>
                <a:lnTo>
                  <a:pt x="122" y="125"/>
                </a:lnTo>
                <a:lnTo>
                  <a:pt x="81" y="152"/>
                </a:lnTo>
                <a:lnTo>
                  <a:pt x="40" y="180"/>
                </a:lnTo>
                <a:lnTo>
                  <a:pt x="0" y="209"/>
                </a:lnTo>
                <a:lnTo>
                  <a:pt x="1" y="209"/>
                </a:lnTo>
                <a:lnTo>
                  <a:pt x="1" y="209"/>
                </a:lnTo>
                <a:lnTo>
                  <a:pt x="41" y="239"/>
                </a:lnTo>
                <a:lnTo>
                  <a:pt x="83" y="267"/>
                </a:lnTo>
                <a:lnTo>
                  <a:pt x="124" y="293"/>
                </a:lnTo>
                <a:lnTo>
                  <a:pt x="167" y="317"/>
                </a:lnTo>
                <a:lnTo>
                  <a:pt x="210" y="340"/>
                </a:lnTo>
                <a:lnTo>
                  <a:pt x="252" y="360"/>
                </a:lnTo>
                <a:lnTo>
                  <a:pt x="273" y="369"/>
                </a:lnTo>
                <a:lnTo>
                  <a:pt x="294" y="377"/>
                </a:lnTo>
                <a:lnTo>
                  <a:pt x="315" y="384"/>
                </a:lnTo>
                <a:lnTo>
                  <a:pt x="336" y="390"/>
                </a:lnTo>
                <a:lnTo>
                  <a:pt x="336" y="0"/>
                </a:lnTo>
                <a:close/>
              </a:path>
            </a:pathLst>
          </a:custGeom>
          <a:solidFill>
            <a:srgbClr val="365ABD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fi-FI" sz="2400"/>
          </a:p>
        </p:txBody>
      </p:sp>
      <p:sp>
        <p:nvSpPr>
          <p:cNvPr id="13" name="Alatunnisteen paikkamerkki 4"/>
          <p:cNvSpPr>
            <a:spLocks noGrp="1"/>
          </p:cNvSpPr>
          <p:nvPr userDrawn="1">
            <p:ph type="ftr" sz="quarter" idx="11"/>
          </p:nvPr>
        </p:nvSpPr>
        <p:spPr>
          <a:xfrm>
            <a:off x="1583499" y="6497452"/>
            <a:ext cx="3648405" cy="258163"/>
          </a:xfrm>
          <a:prstGeom prst="rect">
            <a:avLst/>
          </a:prstGeom>
        </p:spPr>
        <p:txBody>
          <a:bodyPr/>
          <a:lstStyle>
            <a:lvl1pPr algn="l">
              <a:defRPr sz="106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fi-FI"/>
              <a:t>Petra Kokko</a:t>
            </a:r>
            <a:endParaRPr lang="fi-FI" dirty="0"/>
          </a:p>
        </p:txBody>
      </p:sp>
      <p:sp>
        <p:nvSpPr>
          <p:cNvPr id="17" name="Päivämäärän paikkamerkki 3"/>
          <p:cNvSpPr>
            <a:spLocks noGrp="1"/>
          </p:cNvSpPr>
          <p:nvPr userDrawn="1">
            <p:ph type="dt" sz="half" idx="2"/>
          </p:nvPr>
        </p:nvSpPr>
        <p:spPr>
          <a:xfrm>
            <a:off x="577047" y="6497452"/>
            <a:ext cx="911424" cy="26813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67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fi-FI"/>
              <a:t>19.5.2021</a:t>
            </a:r>
            <a:endParaRPr lang="fi-FI" dirty="0"/>
          </a:p>
        </p:txBody>
      </p:sp>
      <p:sp>
        <p:nvSpPr>
          <p:cNvPr id="41" name="Dian numeron paikkamerkki 5"/>
          <p:cNvSpPr>
            <a:spLocks noGrp="1"/>
          </p:cNvSpPr>
          <p:nvPr userDrawn="1">
            <p:ph type="sldNum" sz="quarter" idx="12"/>
          </p:nvPr>
        </p:nvSpPr>
        <p:spPr>
          <a:xfrm>
            <a:off x="-1" y="6497453"/>
            <a:ext cx="538948" cy="268137"/>
          </a:xfrm>
          <a:prstGeom prst="rect">
            <a:avLst/>
          </a:prstGeom>
        </p:spPr>
        <p:txBody>
          <a:bodyPr rIns="18000" anchor="ctr"/>
          <a:lstStyle>
            <a:lvl1pPr algn="r">
              <a:defRPr sz="1067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1EA1DD0D-7089-48C5-B116-A19F892CF1D9}" type="slidenum">
              <a:rPr lang="fi-FI" smtClean="0"/>
              <a:pPr/>
              <a:t>‹#›</a:t>
            </a:fld>
            <a:r>
              <a:rPr lang="fi-FI" dirty="0"/>
              <a:t>  </a:t>
            </a:r>
            <a:r>
              <a:rPr lang="fi-FI" b="0" dirty="0">
                <a:solidFill>
                  <a:schemeClr val="bg1">
                    <a:lumMod val="65000"/>
                  </a:schemeClr>
                </a:solidFill>
              </a:rPr>
              <a:t>|</a:t>
            </a:r>
            <a:endParaRPr lang="fi-FI" sz="800" b="0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2" name="Group 4"/>
          <p:cNvGrpSpPr>
            <a:grpSpLocks noChangeAspect="1"/>
          </p:cNvGrpSpPr>
          <p:nvPr userDrawn="1"/>
        </p:nvGrpSpPr>
        <p:grpSpPr bwMode="auto">
          <a:xfrm>
            <a:off x="11470217" y="313268"/>
            <a:ext cx="412751" cy="563033"/>
            <a:chOff x="5419" y="148"/>
            <a:chExt cx="195" cy="266"/>
          </a:xfrm>
        </p:grpSpPr>
        <p:sp>
          <p:nvSpPr>
            <p:cNvPr id="4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5420" y="148"/>
              <a:ext cx="193" cy="2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5" name="Freeform 5"/>
            <p:cNvSpPr>
              <a:spLocks noEditPoints="1"/>
            </p:cNvSpPr>
            <p:nvPr userDrawn="1"/>
          </p:nvSpPr>
          <p:spPr bwMode="auto">
            <a:xfrm>
              <a:off x="5419" y="148"/>
              <a:ext cx="195" cy="266"/>
            </a:xfrm>
            <a:custGeom>
              <a:avLst/>
              <a:gdLst>
                <a:gd name="T0" fmla="*/ 147 w 200"/>
                <a:gd name="T1" fmla="*/ 251 h 275"/>
                <a:gd name="T2" fmla="*/ 129 w 200"/>
                <a:gd name="T3" fmla="*/ 152 h 275"/>
                <a:gd name="T4" fmla="*/ 90 w 200"/>
                <a:gd name="T5" fmla="*/ 172 h 275"/>
                <a:gd name="T6" fmla="*/ 49 w 200"/>
                <a:gd name="T7" fmla="*/ 189 h 275"/>
                <a:gd name="T8" fmla="*/ 39 w 200"/>
                <a:gd name="T9" fmla="*/ 201 h 275"/>
                <a:gd name="T10" fmla="*/ 49 w 200"/>
                <a:gd name="T11" fmla="*/ 213 h 275"/>
                <a:gd name="T12" fmla="*/ 59 w 200"/>
                <a:gd name="T13" fmla="*/ 217 h 275"/>
                <a:gd name="T14" fmla="*/ 75 w 200"/>
                <a:gd name="T15" fmla="*/ 216 h 275"/>
                <a:gd name="T16" fmla="*/ 104 w 200"/>
                <a:gd name="T17" fmla="*/ 206 h 275"/>
                <a:gd name="T18" fmla="*/ 113 w 200"/>
                <a:gd name="T19" fmla="*/ 180 h 275"/>
                <a:gd name="T20" fmla="*/ 20 w 200"/>
                <a:gd name="T21" fmla="*/ 235 h 275"/>
                <a:gd name="T22" fmla="*/ 51 w 200"/>
                <a:gd name="T23" fmla="*/ 266 h 275"/>
                <a:gd name="T24" fmla="*/ 54 w 200"/>
                <a:gd name="T25" fmla="*/ 227 h 275"/>
                <a:gd name="T26" fmla="*/ 27 w 200"/>
                <a:gd name="T27" fmla="*/ 224 h 275"/>
                <a:gd name="T28" fmla="*/ 13 w 200"/>
                <a:gd name="T29" fmla="*/ 236 h 275"/>
                <a:gd name="T30" fmla="*/ 44 w 200"/>
                <a:gd name="T31" fmla="*/ 31 h 275"/>
                <a:gd name="T32" fmla="*/ 36 w 200"/>
                <a:gd name="T33" fmla="*/ 23 h 275"/>
                <a:gd name="T34" fmla="*/ 27 w 200"/>
                <a:gd name="T35" fmla="*/ 22 h 275"/>
                <a:gd name="T36" fmla="*/ 33 w 200"/>
                <a:gd name="T37" fmla="*/ 37 h 275"/>
                <a:gd name="T38" fmla="*/ 42 w 200"/>
                <a:gd name="T39" fmla="*/ 36 h 275"/>
                <a:gd name="T40" fmla="*/ 29 w 200"/>
                <a:gd name="T41" fmla="*/ 45 h 275"/>
                <a:gd name="T42" fmla="*/ 31 w 200"/>
                <a:gd name="T43" fmla="*/ 56 h 275"/>
                <a:gd name="T44" fmla="*/ 45 w 200"/>
                <a:gd name="T45" fmla="*/ 83 h 275"/>
                <a:gd name="T46" fmla="*/ 56 w 200"/>
                <a:gd name="T47" fmla="*/ 87 h 275"/>
                <a:gd name="T48" fmla="*/ 53 w 200"/>
                <a:gd name="T49" fmla="*/ 28 h 275"/>
                <a:gd name="T50" fmla="*/ 58 w 200"/>
                <a:gd name="T51" fmla="*/ 46 h 275"/>
                <a:gd name="T52" fmla="*/ 80 w 200"/>
                <a:gd name="T53" fmla="*/ 26 h 275"/>
                <a:gd name="T54" fmla="*/ 125 w 200"/>
                <a:gd name="T55" fmla="*/ 38 h 275"/>
                <a:gd name="T56" fmla="*/ 121 w 200"/>
                <a:gd name="T57" fmla="*/ 26 h 275"/>
                <a:gd name="T58" fmla="*/ 113 w 200"/>
                <a:gd name="T59" fmla="*/ 10 h 275"/>
                <a:gd name="T60" fmla="*/ 96 w 200"/>
                <a:gd name="T61" fmla="*/ 14 h 275"/>
                <a:gd name="T62" fmla="*/ 114 w 200"/>
                <a:gd name="T63" fmla="*/ 26 h 275"/>
                <a:gd name="T64" fmla="*/ 180 w 200"/>
                <a:gd name="T65" fmla="*/ 35 h 275"/>
                <a:gd name="T66" fmla="*/ 166 w 200"/>
                <a:gd name="T67" fmla="*/ 57 h 275"/>
                <a:gd name="T68" fmla="*/ 168 w 200"/>
                <a:gd name="T69" fmla="*/ 86 h 275"/>
                <a:gd name="T70" fmla="*/ 200 w 200"/>
                <a:gd name="T71" fmla="*/ 116 h 275"/>
                <a:gd name="T72" fmla="*/ 143 w 200"/>
                <a:gd name="T73" fmla="*/ 71 h 275"/>
                <a:gd name="T74" fmla="*/ 160 w 200"/>
                <a:gd name="T75" fmla="*/ 118 h 275"/>
                <a:gd name="T76" fmla="*/ 172 w 200"/>
                <a:gd name="T77" fmla="*/ 138 h 275"/>
                <a:gd name="T78" fmla="*/ 125 w 200"/>
                <a:gd name="T79" fmla="*/ 104 h 275"/>
                <a:gd name="T80" fmla="*/ 135 w 200"/>
                <a:gd name="T81" fmla="*/ 85 h 275"/>
                <a:gd name="T82" fmla="*/ 123 w 200"/>
                <a:gd name="T83" fmla="*/ 46 h 275"/>
                <a:gd name="T84" fmla="*/ 79 w 200"/>
                <a:gd name="T85" fmla="*/ 39 h 275"/>
                <a:gd name="T86" fmla="*/ 76 w 200"/>
                <a:gd name="T87" fmla="*/ 58 h 275"/>
                <a:gd name="T88" fmla="*/ 95 w 200"/>
                <a:gd name="T89" fmla="*/ 61 h 275"/>
                <a:gd name="T90" fmla="*/ 75 w 200"/>
                <a:gd name="T91" fmla="*/ 65 h 275"/>
                <a:gd name="T92" fmla="*/ 76 w 200"/>
                <a:gd name="T93" fmla="*/ 75 h 275"/>
                <a:gd name="T94" fmla="*/ 36 w 200"/>
                <a:gd name="T95" fmla="*/ 117 h 275"/>
                <a:gd name="T96" fmla="*/ 21 w 200"/>
                <a:gd name="T97" fmla="*/ 119 h 275"/>
                <a:gd name="T98" fmla="*/ 5 w 200"/>
                <a:gd name="T99" fmla="*/ 124 h 275"/>
                <a:gd name="T100" fmla="*/ 14 w 200"/>
                <a:gd name="T101" fmla="*/ 138 h 275"/>
                <a:gd name="T102" fmla="*/ 31 w 200"/>
                <a:gd name="T103" fmla="*/ 143 h 275"/>
                <a:gd name="T104" fmla="*/ 65 w 200"/>
                <a:gd name="T105" fmla="*/ 130 h 275"/>
                <a:gd name="T106" fmla="*/ 126 w 200"/>
                <a:gd name="T107" fmla="*/ 143 h 275"/>
                <a:gd name="T108" fmla="*/ 151 w 200"/>
                <a:gd name="T109" fmla="*/ 193 h 275"/>
                <a:gd name="T110" fmla="*/ 154 w 200"/>
                <a:gd name="T111" fmla="*/ 228 h 275"/>
                <a:gd name="T112" fmla="*/ 155 w 200"/>
                <a:gd name="T113" fmla="*/ 241 h 275"/>
                <a:gd name="T114" fmla="*/ 172 w 200"/>
                <a:gd name="T115" fmla="*/ 243 h 275"/>
                <a:gd name="T116" fmla="*/ 174 w 200"/>
                <a:gd name="T117" fmla="*/ 255 h 275"/>
                <a:gd name="T118" fmla="*/ 192 w 200"/>
                <a:gd name="T119" fmla="*/ 241 h 275"/>
                <a:gd name="T120" fmla="*/ 187 w 200"/>
                <a:gd name="T121" fmla="*/ 205 h 275"/>
                <a:gd name="T122" fmla="*/ 177 w 200"/>
                <a:gd name="T123" fmla="*/ 175 h 275"/>
                <a:gd name="T124" fmla="*/ 174 w 200"/>
                <a:gd name="T125" fmla="*/ 148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0" h="275">
                  <a:moveTo>
                    <a:pt x="54" y="255"/>
                  </a:moveTo>
                  <a:cubicBezTo>
                    <a:pt x="60" y="258"/>
                    <a:pt x="63" y="260"/>
                    <a:pt x="67" y="262"/>
                  </a:cubicBezTo>
                  <a:cubicBezTo>
                    <a:pt x="77" y="267"/>
                    <a:pt x="99" y="275"/>
                    <a:pt x="128" y="272"/>
                  </a:cubicBezTo>
                  <a:cubicBezTo>
                    <a:pt x="152" y="270"/>
                    <a:pt x="165" y="262"/>
                    <a:pt x="167" y="260"/>
                  </a:cubicBezTo>
                  <a:cubicBezTo>
                    <a:pt x="163" y="259"/>
                    <a:pt x="160" y="257"/>
                    <a:pt x="156" y="254"/>
                  </a:cubicBezTo>
                  <a:cubicBezTo>
                    <a:pt x="156" y="254"/>
                    <a:pt x="156" y="255"/>
                    <a:pt x="156" y="256"/>
                  </a:cubicBezTo>
                  <a:cubicBezTo>
                    <a:pt x="156" y="258"/>
                    <a:pt x="155" y="260"/>
                    <a:pt x="155" y="260"/>
                  </a:cubicBezTo>
                  <a:cubicBezTo>
                    <a:pt x="155" y="260"/>
                    <a:pt x="155" y="260"/>
                    <a:pt x="155" y="260"/>
                  </a:cubicBezTo>
                  <a:cubicBezTo>
                    <a:pt x="155" y="260"/>
                    <a:pt x="155" y="260"/>
                    <a:pt x="155" y="260"/>
                  </a:cubicBezTo>
                  <a:cubicBezTo>
                    <a:pt x="155" y="260"/>
                    <a:pt x="154" y="260"/>
                    <a:pt x="153" y="259"/>
                  </a:cubicBezTo>
                  <a:cubicBezTo>
                    <a:pt x="151" y="258"/>
                    <a:pt x="147" y="255"/>
                    <a:pt x="147" y="251"/>
                  </a:cubicBezTo>
                  <a:cubicBezTo>
                    <a:pt x="147" y="251"/>
                    <a:pt x="147" y="251"/>
                    <a:pt x="147" y="250"/>
                  </a:cubicBezTo>
                  <a:cubicBezTo>
                    <a:pt x="142" y="253"/>
                    <a:pt x="131" y="256"/>
                    <a:pt x="121" y="256"/>
                  </a:cubicBezTo>
                  <a:cubicBezTo>
                    <a:pt x="100" y="257"/>
                    <a:pt x="81" y="253"/>
                    <a:pt x="64" y="246"/>
                  </a:cubicBezTo>
                  <a:cubicBezTo>
                    <a:pt x="62" y="245"/>
                    <a:pt x="60" y="244"/>
                    <a:pt x="59" y="243"/>
                  </a:cubicBezTo>
                  <a:cubicBezTo>
                    <a:pt x="59" y="244"/>
                    <a:pt x="59" y="247"/>
                    <a:pt x="63" y="251"/>
                  </a:cubicBezTo>
                  <a:cubicBezTo>
                    <a:pt x="63" y="251"/>
                    <a:pt x="63" y="251"/>
                    <a:pt x="63" y="252"/>
                  </a:cubicBezTo>
                  <a:cubicBezTo>
                    <a:pt x="63" y="252"/>
                    <a:pt x="63" y="252"/>
                    <a:pt x="63" y="252"/>
                  </a:cubicBezTo>
                  <a:cubicBezTo>
                    <a:pt x="61" y="251"/>
                    <a:pt x="59" y="251"/>
                    <a:pt x="57" y="252"/>
                  </a:cubicBezTo>
                  <a:cubicBezTo>
                    <a:pt x="56" y="253"/>
                    <a:pt x="55" y="254"/>
                    <a:pt x="54" y="255"/>
                  </a:cubicBezTo>
                  <a:moveTo>
                    <a:pt x="129" y="152"/>
                  </a:moveTo>
                  <a:cubicBezTo>
                    <a:pt x="129" y="152"/>
                    <a:pt x="129" y="152"/>
                    <a:pt x="129" y="152"/>
                  </a:cubicBezTo>
                  <a:cubicBezTo>
                    <a:pt x="129" y="152"/>
                    <a:pt x="129" y="152"/>
                    <a:pt x="129" y="152"/>
                  </a:cubicBezTo>
                  <a:cubicBezTo>
                    <a:pt x="131" y="150"/>
                    <a:pt x="133" y="149"/>
                    <a:pt x="133" y="149"/>
                  </a:cubicBezTo>
                  <a:cubicBezTo>
                    <a:pt x="131" y="148"/>
                    <a:pt x="130" y="148"/>
                    <a:pt x="130" y="148"/>
                  </a:cubicBezTo>
                  <a:cubicBezTo>
                    <a:pt x="117" y="153"/>
                    <a:pt x="104" y="160"/>
                    <a:pt x="96" y="165"/>
                  </a:cubicBezTo>
                  <a:cubicBezTo>
                    <a:pt x="96" y="165"/>
                    <a:pt x="96" y="165"/>
                    <a:pt x="96" y="165"/>
                  </a:cubicBezTo>
                  <a:cubicBezTo>
                    <a:pt x="94" y="167"/>
                    <a:pt x="92" y="167"/>
                    <a:pt x="89" y="166"/>
                  </a:cubicBezTo>
                  <a:cubicBezTo>
                    <a:pt x="87" y="166"/>
                    <a:pt x="86" y="165"/>
                    <a:pt x="85" y="165"/>
                  </a:cubicBezTo>
                  <a:cubicBezTo>
                    <a:pt x="84" y="170"/>
                    <a:pt x="84" y="170"/>
                    <a:pt x="84" y="170"/>
                  </a:cubicBezTo>
                  <a:cubicBezTo>
                    <a:pt x="87" y="171"/>
                    <a:pt x="88" y="172"/>
                    <a:pt x="90" y="172"/>
                  </a:cubicBezTo>
                  <a:cubicBezTo>
                    <a:pt x="90" y="172"/>
                    <a:pt x="90" y="172"/>
                    <a:pt x="90" y="172"/>
                  </a:cubicBezTo>
                  <a:cubicBezTo>
                    <a:pt x="90" y="172"/>
                    <a:pt x="90" y="172"/>
                    <a:pt x="90" y="172"/>
                  </a:cubicBezTo>
                  <a:cubicBezTo>
                    <a:pt x="88" y="173"/>
                    <a:pt x="85" y="173"/>
                    <a:pt x="84" y="175"/>
                  </a:cubicBezTo>
                  <a:cubicBezTo>
                    <a:pt x="86" y="179"/>
                    <a:pt x="86" y="179"/>
                    <a:pt x="86" y="179"/>
                  </a:cubicBezTo>
                  <a:cubicBezTo>
                    <a:pt x="86" y="179"/>
                    <a:pt x="89" y="177"/>
                    <a:pt x="93" y="177"/>
                  </a:cubicBezTo>
                  <a:cubicBezTo>
                    <a:pt x="93" y="177"/>
                    <a:pt x="93" y="177"/>
                    <a:pt x="93" y="177"/>
                  </a:cubicBezTo>
                  <a:cubicBezTo>
                    <a:pt x="93" y="177"/>
                    <a:pt x="93" y="178"/>
                    <a:pt x="93" y="178"/>
                  </a:cubicBezTo>
                  <a:cubicBezTo>
                    <a:pt x="94" y="184"/>
                    <a:pt x="84" y="192"/>
                    <a:pt x="76" y="196"/>
                  </a:cubicBezTo>
                  <a:cubicBezTo>
                    <a:pt x="68" y="199"/>
                    <a:pt x="61" y="199"/>
                    <a:pt x="60" y="198"/>
                  </a:cubicBezTo>
                  <a:cubicBezTo>
                    <a:pt x="57" y="196"/>
                    <a:pt x="55" y="194"/>
                    <a:pt x="54" y="192"/>
                  </a:cubicBezTo>
                  <a:cubicBezTo>
                    <a:pt x="53" y="190"/>
                    <a:pt x="52" y="189"/>
                    <a:pt x="51" y="189"/>
                  </a:cubicBezTo>
                  <a:cubicBezTo>
                    <a:pt x="51" y="189"/>
                    <a:pt x="51" y="189"/>
                    <a:pt x="50" y="189"/>
                  </a:cubicBezTo>
                  <a:cubicBezTo>
                    <a:pt x="50" y="189"/>
                    <a:pt x="49" y="190"/>
                    <a:pt x="49" y="189"/>
                  </a:cubicBezTo>
                  <a:cubicBezTo>
                    <a:pt x="45" y="189"/>
                    <a:pt x="40" y="189"/>
                    <a:pt x="38" y="192"/>
                  </a:cubicBezTo>
                  <a:cubicBezTo>
                    <a:pt x="40" y="192"/>
                    <a:pt x="44" y="192"/>
                    <a:pt x="45" y="193"/>
                  </a:cubicBezTo>
                  <a:cubicBezTo>
                    <a:pt x="45" y="194"/>
                    <a:pt x="45" y="194"/>
                    <a:pt x="44" y="195"/>
                  </a:cubicBezTo>
                  <a:cubicBezTo>
                    <a:pt x="43" y="195"/>
                    <a:pt x="43" y="195"/>
                    <a:pt x="43" y="196"/>
                  </a:cubicBezTo>
                  <a:cubicBezTo>
                    <a:pt x="43" y="197"/>
                    <a:pt x="48" y="200"/>
                    <a:pt x="51" y="201"/>
                  </a:cubicBezTo>
                  <a:cubicBezTo>
                    <a:pt x="52" y="202"/>
                    <a:pt x="53" y="202"/>
                    <a:pt x="53" y="203"/>
                  </a:cubicBezTo>
                  <a:cubicBezTo>
                    <a:pt x="53" y="203"/>
                    <a:pt x="54" y="203"/>
                    <a:pt x="54" y="204"/>
                  </a:cubicBezTo>
                  <a:cubicBezTo>
                    <a:pt x="54" y="204"/>
                    <a:pt x="53" y="204"/>
                    <a:pt x="53" y="204"/>
                  </a:cubicBezTo>
                  <a:cubicBezTo>
                    <a:pt x="52" y="204"/>
                    <a:pt x="49" y="203"/>
                    <a:pt x="46" y="202"/>
                  </a:cubicBezTo>
                  <a:cubicBezTo>
                    <a:pt x="44" y="201"/>
                    <a:pt x="43" y="201"/>
                    <a:pt x="41" y="200"/>
                  </a:cubicBezTo>
                  <a:cubicBezTo>
                    <a:pt x="40" y="200"/>
                    <a:pt x="39" y="200"/>
                    <a:pt x="39" y="201"/>
                  </a:cubicBezTo>
                  <a:cubicBezTo>
                    <a:pt x="39" y="201"/>
                    <a:pt x="38" y="201"/>
                    <a:pt x="38" y="201"/>
                  </a:cubicBezTo>
                  <a:cubicBezTo>
                    <a:pt x="36" y="201"/>
                    <a:pt x="32" y="202"/>
                    <a:pt x="30" y="205"/>
                  </a:cubicBezTo>
                  <a:cubicBezTo>
                    <a:pt x="29" y="207"/>
                    <a:pt x="29" y="208"/>
                    <a:pt x="30" y="210"/>
                  </a:cubicBezTo>
                  <a:cubicBezTo>
                    <a:pt x="30" y="209"/>
                    <a:pt x="33" y="206"/>
                    <a:pt x="36" y="206"/>
                  </a:cubicBezTo>
                  <a:cubicBezTo>
                    <a:pt x="36" y="207"/>
                    <a:pt x="36" y="207"/>
                    <a:pt x="36" y="208"/>
                  </a:cubicBezTo>
                  <a:cubicBezTo>
                    <a:pt x="36" y="209"/>
                    <a:pt x="36" y="211"/>
                    <a:pt x="37" y="212"/>
                  </a:cubicBezTo>
                  <a:cubicBezTo>
                    <a:pt x="39" y="213"/>
                    <a:pt x="43" y="212"/>
                    <a:pt x="46" y="212"/>
                  </a:cubicBezTo>
                  <a:cubicBezTo>
                    <a:pt x="48" y="211"/>
                    <a:pt x="50" y="211"/>
                    <a:pt x="51" y="211"/>
                  </a:cubicBezTo>
                  <a:cubicBezTo>
                    <a:pt x="52" y="211"/>
                    <a:pt x="53" y="211"/>
                    <a:pt x="54" y="211"/>
                  </a:cubicBezTo>
                  <a:cubicBezTo>
                    <a:pt x="54" y="212"/>
                    <a:pt x="54" y="212"/>
                    <a:pt x="54" y="212"/>
                  </a:cubicBezTo>
                  <a:cubicBezTo>
                    <a:pt x="54" y="212"/>
                    <a:pt x="52" y="213"/>
                    <a:pt x="49" y="213"/>
                  </a:cubicBezTo>
                  <a:cubicBezTo>
                    <a:pt x="46" y="214"/>
                    <a:pt x="41" y="214"/>
                    <a:pt x="41" y="216"/>
                  </a:cubicBezTo>
                  <a:cubicBezTo>
                    <a:pt x="41" y="216"/>
                    <a:pt x="41" y="216"/>
                    <a:pt x="41" y="217"/>
                  </a:cubicBezTo>
                  <a:cubicBezTo>
                    <a:pt x="41" y="218"/>
                    <a:pt x="41" y="218"/>
                    <a:pt x="40" y="219"/>
                  </a:cubicBezTo>
                  <a:cubicBezTo>
                    <a:pt x="39" y="220"/>
                    <a:pt x="38" y="221"/>
                    <a:pt x="38" y="224"/>
                  </a:cubicBezTo>
                  <a:cubicBezTo>
                    <a:pt x="38" y="227"/>
                    <a:pt x="41" y="230"/>
                    <a:pt x="42" y="230"/>
                  </a:cubicBezTo>
                  <a:cubicBezTo>
                    <a:pt x="42" y="230"/>
                    <a:pt x="42" y="229"/>
                    <a:pt x="42" y="229"/>
                  </a:cubicBezTo>
                  <a:cubicBezTo>
                    <a:pt x="42" y="227"/>
                    <a:pt x="41" y="225"/>
                    <a:pt x="43" y="224"/>
                  </a:cubicBezTo>
                  <a:cubicBezTo>
                    <a:pt x="43" y="224"/>
                    <a:pt x="44" y="224"/>
                    <a:pt x="44" y="225"/>
                  </a:cubicBezTo>
                  <a:cubicBezTo>
                    <a:pt x="45" y="226"/>
                    <a:pt x="46" y="226"/>
                    <a:pt x="47" y="226"/>
                  </a:cubicBezTo>
                  <a:cubicBezTo>
                    <a:pt x="49" y="227"/>
                    <a:pt x="50" y="225"/>
                    <a:pt x="52" y="223"/>
                  </a:cubicBezTo>
                  <a:cubicBezTo>
                    <a:pt x="54" y="221"/>
                    <a:pt x="56" y="219"/>
                    <a:pt x="59" y="217"/>
                  </a:cubicBezTo>
                  <a:cubicBezTo>
                    <a:pt x="63" y="215"/>
                    <a:pt x="64" y="215"/>
                    <a:pt x="64" y="216"/>
                  </a:cubicBezTo>
                  <a:cubicBezTo>
                    <a:pt x="65" y="216"/>
                    <a:pt x="64" y="217"/>
                    <a:pt x="64" y="217"/>
                  </a:cubicBezTo>
                  <a:cubicBezTo>
                    <a:pt x="64" y="218"/>
                    <a:pt x="64" y="219"/>
                    <a:pt x="64" y="219"/>
                  </a:cubicBezTo>
                  <a:cubicBezTo>
                    <a:pt x="64" y="220"/>
                    <a:pt x="64" y="220"/>
                    <a:pt x="65" y="220"/>
                  </a:cubicBezTo>
                  <a:cubicBezTo>
                    <a:pt x="66" y="220"/>
                    <a:pt x="67" y="221"/>
                    <a:pt x="67" y="222"/>
                  </a:cubicBezTo>
                  <a:cubicBezTo>
                    <a:pt x="68" y="224"/>
                    <a:pt x="65" y="226"/>
                    <a:pt x="64" y="226"/>
                  </a:cubicBezTo>
                  <a:cubicBezTo>
                    <a:pt x="65" y="227"/>
                    <a:pt x="66" y="227"/>
                    <a:pt x="67" y="226"/>
                  </a:cubicBezTo>
                  <a:cubicBezTo>
                    <a:pt x="69" y="226"/>
                    <a:pt x="71" y="224"/>
                    <a:pt x="72" y="221"/>
                  </a:cubicBezTo>
                  <a:cubicBezTo>
                    <a:pt x="73" y="220"/>
                    <a:pt x="73" y="219"/>
                    <a:pt x="74" y="219"/>
                  </a:cubicBezTo>
                  <a:cubicBezTo>
                    <a:pt x="74" y="219"/>
                    <a:pt x="75" y="219"/>
                    <a:pt x="75" y="218"/>
                  </a:cubicBezTo>
                  <a:cubicBezTo>
                    <a:pt x="75" y="218"/>
                    <a:pt x="75" y="217"/>
                    <a:pt x="75" y="216"/>
                  </a:cubicBezTo>
                  <a:cubicBezTo>
                    <a:pt x="75" y="216"/>
                    <a:pt x="75" y="215"/>
                    <a:pt x="76" y="214"/>
                  </a:cubicBezTo>
                  <a:cubicBezTo>
                    <a:pt x="76" y="213"/>
                    <a:pt x="78" y="212"/>
                    <a:pt x="80" y="212"/>
                  </a:cubicBezTo>
                  <a:cubicBezTo>
                    <a:pt x="82" y="212"/>
                    <a:pt x="83" y="211"/>
                    <a:pt x="83" y="210"/>
                  </a:cubicBezTo>
                  <a:cubicBezTo>
                    <a:pt x="82" y="207"/>
                    <a:pt x="85" y="206"/>
                    <a:pt x="87" y="205"/>
                  </a:cubicBezTo>
                  <a:cubicBezTo>
                    <a:pt x="87" y="205"/>
                    <a:pt x="87" y="205"/>
                    <a:pt x="87" y="205"/>
                  </a:cubicBezTo>
                  <a:cubicBezTo>
                    <a:pt x="87" y="205"/>
                    <a:pt x="87" y="205"/>
                    <a:pt x="88" y="206"/>
                  </a:cubicBezTo>
                  <a:cubicBezTo>
                    <a:pt x="88" y="207"/>
                    <a:pt x="89" y="210"/>
                    <a:pt x="94" y="212"/>
                  </a:cubicBezTo>
                  <a:cubicBezTo>
                    <a:pt x="94" y="211"/>
                    <a:pt x="95" y="211"/>
                    <a:pt x="95" y="211"/>
                  </a:cubicBezTo>
                  <a:cubicBezTo>
                    <a:pt x="97" y="210"/>
                    <a:pt x="98" y="210"/>
                    <a:pt x="101" y="208"/>
                  </a:cubicBezTo>
                  <a:cubicBezTo>
                    <a:pt x="102" y="207"/>
                    <a:pt x="104" y="207"/>
                    <a:pt x="105" y="206"/>
                  </a:cubicBezTo>
                  <a:cubicBezTo>
                    <a:pt x="105" y="206"/>
                    <a:pt x="105" y="206"/>
                    <a:pt x="104" y="206"/>
                  </a:cubicBezTo>
                  <a:cubicBezTo>
                    <a:pt x="104" y="205"/>
                    <a:pt x="102" y="203"/>
                    <a:pt x="101" y="201"/>
                  </a:cubicBezTo>
                  <a:cubicBezTo>
                    <a:pt x="101" y="200"/>
                    <a:pt x="101" y="199"/>
                    <a:pt x="101" y="198"/>
                  </a:cubicBezTo>
                  <a:cubicBezTo>
                    <a:pt x="101" y="198"/>
                    <a:pt x="101" y="198"/>
                    <a:pt x="101" y="198"/>
                  </a:cubicBezTo>
                  <a:cubicBezTo>
                    <a:pt x="101" y="199"/>
                    <a:pt x="104" y="202"/>
                    <a:pt x="108" y="204"/>
                  </a:cubicBezTo>
                  <a:cubicBezTo>
                    <a:pt x="111" y="202"/>
                    <a:pt x="114" y="201"/>
                    <a:pt x="117" y="199"/>
                  </a:cubicBezTo>
                  <a:cubicBezTo>
                    <a:pt x="117" y="199"/>
                    <a:pt x="118" y="198"/>
                    <a:pt x="118" y="198"/>
                  </a:cubicBezTo>
                  <a:cubicBezTo>
                    <a:pt x="118" y="198"/>
                    <a:pt x="117" y="197"/>
                    <a:pt x="117" y="196"/>
                  </a:cubicBezTo>
                  <a:cubicBezTo>
                    <a:pt x="115" y="195"/>
                    <a:pt x="113" y="193"/>
                    <a:pt x="113" y="192"/>
                  </a:cubicBezTo>
                  <a:cubicBezTo>
                    <a:pt x="113" y="191"/>
                    <a:pt x="114" y="191"/>
                    <a:pt x="114" y="191"/>
                  </a:cubicBezTo>
                  <a:cubicBezTo>
                    <a:pt x="115" y="190"/>
                    <a:pt x="115" y="188"/>
                    <a:pt x="114" y="186"/>
                  </a:cubicBezTo>
                  <a:cubicBezTo>
                    <a:pt x="113" y="184"/>
                    <a:pt x="111" y="181"/>
                    <a:pt x="113" y="180"/>
                  </a:cubicBezTo>
                  <a:cubicBezTo>
                    <a:pt x="120" y="176"/>
                    <a:pt x="127" y="173"/>
                    <a:pt x="134" y="170"/>
                  </a:cubicBezTo>
                  <a:cubicBezTo>
                    <a:pt x="138" y="168"/>
                    <a:pt x="141" y="166"/>
                    <a:pt x="144" y="165"/>
                  </a:cubicBezTo>
                  <a:cubicBezTo>
                    <a:pt x="144" y="164"/>
                    <a:pt x="143" y="161"/>
                    <a:pt x="140" y="158"/>
                  </a:cubicBezTo>
                  <a:cubicBezTo>
                    <a:pt x="137" y="156"/>
                    <a:pt x="134" y="154"/>
                    <a:pt x="131" y="153"/>
                  </a:cubicBezTo>
                  <a:cubicBezTo>
                    <a:pt x="131" y="153"/>
                    <a:pt x="130" y="152"/>
                    <a:pt x="129" y="152"/>
                  </a:cubicBezTo>
                  <a:moveTo>
                    <a:pt x="13" y="236"/>
                  </a:moveTo>
                  <a:cubicBezTo>
                    <a:pt x="13" y="236"/>
                    <a:pt x="12" y="238"/>
                    <a:pt x="14" y="240"/>
                  </a:cubicBezTo>
                  <a:cubicBezTo>
                    <a:pt x="15" y="241"/>
                    <a:pt x="17" y="242"/>
                    <a:pt x="18" y="241"/>
                  </a:cubicBezTo>
                  <a:cubicBezTo>
                    <a:pt x="19" y="240"/>
                    <a:pt x="19" y="239"/>
                    <a:pt x="19" y="238"/>
                  </a:cubicBezTo>
                  <a:cubicBezTo>
                    <a:pt x="19" y="237"/>
                    <a:pt x="19" y="237"/>
                    <a:pt x="19" y="236"/>
                  </a:cubicBezTo>
                  <a:cubicBezTo>
                    <a:pt x="19" y="235"/>
                    <a:pt x="20" y="235"/>
                    <a:pt x="20" y="235"/>
                  </a:cubicBezTo>
                  <a:cubicBezTo>
                    <a:pt x="21" y="235"/>
                    <a:pt x="21" y="235"/>
                    <a:pt x="21" y="235"/>
                  </a:cubicBezTo>
                  <a:cubicBezTo>
                    <a:pt x="21" y="235"/>
                    <a:pt x="21" y="235"/>
                    <a:pt x="21" y="235"/>
                  </a:cubicBezTo>
                  <a:cubicBezTo>
                    <a:pt x="21" y="235"/>
                    <a:pt x="21" y="235"/>
                    <a:pt x="22" y="235"/>
                  </a:cubicBezTo>
                  <a:cubicBezTo>
                    <a:pt x="29" y="238"/>
                    <a:pt x="38" y="243"/>
                    <a:pt x="47" y="250"/>
                  </a:cubicBezTo>
                  <a:cubicBezTo>
                    <a:pt x="48" y="250"/>
                    <a:pt x="48" y="250"/>
                    <a:pt x="49" y="251"/>
                  </a:cubicBezTo>
                  <a:cubicBezTo>
                    <a:pt x="49" y="251"/>
                    <a:pt x="49" y="251"/>
                    <a:pt x="49" y="251"/>
                  </a:cubicBezTo>
                  <a:cubicBezTo>
                    <a:pt x="48" y="252"/>
                    <a:pt x="48" y="253"/>
                    <a:pt x="47" y="255"/>
                  </a:cubicBezTo>
                  <a:cubicBezTo>
                    <a:pt x="47" y="255"/>
                    <a:pt x="47" y="256"/>
                    <a:pt x="46" y="256"/>
                  </a:cubicBezTo>
                  <a:cubicBezTo>
                    <a:pt x="44" y="260"/>
                    <a:pt x="43" y="263"/>
                    <a:pt x="43" y="266"/>
                  </a:cubicBezTo>
                  <a:cubicBezTo>
                    <a:pt x="43" y="268"/>
                    <a:pt x="45" y="269"/>
                    <a:pt x="46" y="269"/>
                  </a:cubicBezTo>
                  <a:cubicBezTo>
                    <a:pt x="49" y="269"/>
                    <a:pt x="50" y="267"/>
                    <a:pt x="51" y="266"/>
                  </a:cubicBezTo>
                  <a:cubicBezTo>
                    <a:pt x="51" y="265"/>
                    <a:pt x="51" y="264"/>
                    <a:pt x="50" y="263"/>
                  </a:cubicBezTo>
                  <a:cubicBezTo>
                    <a:pt x="49" y="262"/>
                    <a:pt x="48" y="262"/>
                    <a:pt x="48" y="262"/>
                  </a:cubicBezTo>
                  <a:cubicBezTo>
                    <a:pt x="48" y="262"/>
                    <a:pt x="48" y="262"/>
                    <a:pt x="48" y="262"/>
                  </a:cubicBezTo>
                  <a:cubicBezTo>
                    <a:pt x="48" y="262"/>
                    <a:pt x="48" y="262"/>
                    <a:pt x="48" y="262"/>
                  </a:cubicBezTo>
                  <a:cubicBezTo>
                    <a:pt x="48" y="262"/>
                    <a:pt x="49" y="258"/>
                    <a:pt x="49" y="257"/>
                  </a:cubicBezTo>
                  <a:cubicBezTo>
                    <a:pt x="52" y="250"/>
                    <a:pt x="56" y="249"/>
                    <a:pt x="57" y="249"/>
                  </a:cubicBezTo>
                  <a:cubicBezTo>
                    <a:pt x="56" y="248"/>
                    <a:pt x="54" y="244"/>
                    <a:pt x="58" y="238"/>
                  </a:cubicBezTo>
                  <a:cubicBezTo>
                    <a:pt x="60" y="234"/>
                    <a:pt x="61" y="231"/>
                    <a:pt x="62" y="228"/>
                  </a:cubicBezTo>
                  <a:cubicBezTo>
                    <a:pt x="62" y="227"/>
                    <a:pt x="61" y="226"/>
                    <a:pt x="61" y="225"/>
                  </a:cubicBezTo>
                  <a:cubicBezTo>
                    <a:pt x="60" y="224"/>
                    <a:pt x="59" y="224"/>
                    <a:pt x="58" y="223"/>
                  </a:cubicBezTo>
                  <a:cubicBezTo>
                    <a:pt x="56" y="223"/>
                    <a:pt x="54" y="225"/>
                    <a:pt x="54" y="227"/>
                  </a:cubicBezTo>
                  <a:cubicBezTo>
                    <a:pt x="54" y="230"/>
                    <a:pt x="55" y="231"/>
                    <a:pt x="56" y="231"/>
                  </a:cubicBezTo>
                  <a:cubicBezTo>
                    <a:pt x="57" y="231"/>
                    <a:pt x="57" y="231"/>
                    <a:pt x="57" y="232"/>
                  </a:cubicBezTo>
                  <a:cubicBezTo>
                    <a:pt x="56" y="235"/>
                    <a:pt x="55" y="238"/>
                    <a:pt x="53" y="240"/>
                  </a:cubicBezTo>
                  <a:cubicBezTo>
                    <a:pt x="53" y="240"/>
                    <a:pt x="53" y="240"/>
                    <a:pt x="53" y="240"/>
                  </a:cubicBezTo>
                  <a:cubicBezTo>
                    <a:pt x="52" y="240"/>
                    <a:pt x="51" y="239"/>
                    <a:pt x="50" y="239"/>
                  </a:cubicBezTo>
                  <a:cubicBezTo>
                    <a:pt x="49" y="238"/>
                    <a:pt x="49" y="238"/>
                    <a:pt x="49" y="238"/>
                  </a:cubicBezTo>
                  <a:cubicBezTo>
                    <a:pt x="41" y="234"/>
                    <a:pt x="34" y="230"/>
                    <a:pt x="25" y="228"/>
                  </a:cubicBezTo>
                  <a:cubicBezTo>
                    <a:pt x="25" y="228"/>
                    <a:pt x="25" y="228"/>
                    <a:pt x="25" y="228"/>
                  </a:cubicBezTo>
                  <a:cubicBezTo>
                    <a:pt x="25" y="228"/>
                    <a:pt x="25" y="228"/>
                    <a:pt x="25" y="228"/>
                  </a:cubicBezTo>
                  <a:cubicBezTo>
                    <a:pt x="25" y="227"/>
                    <a:pt x="26" y="227"/>
                    <a:pt x="26" y="226"/>
                  </a:cubicBezTo>
                  <a:cubicBezTo>
                    <a:pt x="26" y="225"/>
                    <a:pt x="27" y="225"/>
                    <a:pt x="27" y="224"/>
                  </a:cubicBezTo>
                  <a:cubicBezTo>
                    <a:pt x="28" y="223"/>
                    <a:pt x="28" y="222"/>
                    <a:pt x="28" y="222"/>
                  </a:cubicBezTo>
                  <a:cubicBezTo>
                    <a:pt x="28" y="222"/>
                    <a:pt x="28" y="222"/>
                    <a:pt x="27" y="223"/>
                  </a:cubicBezTo>
                  <a:cubicBezTo>
                    <a:pt x="27" y="223"/>
                    <a:pt x="26" y="223"/>
                    <a:pt x="25" y="224"/>
                  </a:cubicBezTo>
                  <a:cubicBezTo>
                    <a:pt x="22" y="225"/>
                    <a:pt x="22" y="226"/>
                    <a:pt x="20" y="226"/>
                  </a:cubicBezTo>
                  <a:cubicBezTo>
                    <a:pt x="19" y="226"/>
                    <a:pt x="19" y="226"/>
                    <a:pt x="18" y="226"/>
                  </a:cubicBezTo>
                  <a:cubicBezTo>
                    <a:pt x="18" y="225"/>
                    <a:pt x="18" y="225"/>
                    <a:pt x="17" y="225"/>
                  </a:cubicBezTo>
                  <a:cubicBezTo>
                    <a:pt x="17" y="226"/>
                    <a:pt x="16" y="227"/>
                    <a:pt x="16" y="229"/>
                  </a:cubicBezTo>
                  <a:cubicBezTo>
                    <a:pt x="15" y="230"/>
                    <a:pt x="15" y="230"/>
                    <a:pt x="15" y="230"/>
                  </a:cubicBezTo>
                  <a:cubicBezTo>
                    <a:pt x="15" y="232"/>
                    <a:pt x="15" y="232"/>
                    <a:pt x="14" y="233"/>
                  </a:cubicBezTo>
                  <a:cubicBezTo>
                    <a:pt x="14" y="234"/>
                    <a:pt x="14" y="234"/>
                    <a:pt x="13" y="235"/>
                  </a:cubicBezTo>
                  <a:cubicBezTo>
                    <a:pt x="13" y="235"/>
                    <a:pt x="13" y="235"/>
                    <a:pt x="13" y="236"/>
                  </a:cubicBezTo>
                  <a:moveTo>
                    <a:pt x="15" y="38"/>
                  </a:moveTo>
                  <a:cubicBezTo>
                    <a:pt x="18" y="38"/>
                    <a:pt x="22" y="38"/>
                    <a:pt x="23" y="37"/>
                  </a:cubicBezTo>
                  <a:cubicBezTo>
                    <a:pt x="23" y="26"/>
                    <a:pt x="23" y="26"/>
                    <a:pt x="23" y="26"/>
                  </a:cubicBezTo>
                  <a:cubicBezTo>
                    <a:pt x="22" y="25"/>
                    <a:pt x="19" y="25"/>
                    <a:pt x="17" y="25"/>
                  </a:cubicBezTo>
                  <a:cubicBezTo>
                    <a:pt x="16" y="25"/>
                    <a:pt x="16" y="25"/>
                    <a:pt x="16" y="25"/>
                  </a:cubicBezTo>
                  <a:cubicBezTo>
                    <a:pt x="15" y="25"/>
                    <a:pt x="14" y="25"/>
                    <a:pt x="13" y="25"/>
                  </a:cubicBezTo>
                  <a:cubicBezTo>
                    <a:pt x="11" y="27"/>
                    <a:pt x="11" y="30"/>
                    <a:pt x="11" y="30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3"/>
                    <a:pt x="12" y="38"/>
                    <a:pt x="15" y="38"/>
                  </a:cubicBezTo>
                  <a:close/>
                  <a:moveTo>
                    <a:pt x="44" y="34"/>
                  </a:moveTo>
                  <a:cubicBezTo>
                    <a:pt x="44" y="33"/>
                    <a:pt x="44" y="32"/>
                    <a:pt x="44" y="31"/>
                  </a:cubicBezTo>
                  <a:cubicBezTo>
                    <a:pt x="44" y="31"/>
                    <a:pt x="44" y="31"/>
                    <a:pt x="44" y="30"/>
                  </a:cubicBezTo>
                  <a:cubicBezTo>
                    <a:pt x="44" y="28"/>
                    <a:pt x="44" y="26"/>
                    <a:pt x="44" y="24"/>
                  </a:cubicBezTo>
                  <a:cubicBezTo>
                    <a:pt x="44" y="23"/>
                    <a:pt x="44" y="22"/>
                    <a:pt x="43" y="22"/>
                  </a:cubicBezTo>
                  <a:cubicBezTo>
                    <a:pt x="42" y="22"/>
                    <a:pt x="41" y="22"/>
                    <a:pt x="41" y="22"/>
                  </a:cubicBezTo>
                  <a:cubicBezTo>
                    <a:pt x="41" y="22"/>
                    <a:pt x="41" y="22"/>
                    <a:pt x="40" y="23"/>
                  </a:cubicBezTo>
                  <a:cubicBezTo>
                    <a:pt x="40" y="23"/>
                    <a:pt x="40" y="24"/>
                    <a:pt x="40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8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3"/>
                  </a:cubicBezTo>
                  <a:cubicBezTo>
                    <a:pt x="35" y="23"/>
                    <a:pt x="35" y="24"/>
                    <a:pt x="35" y="24"/>
                  </a:cubicBezTo>
                  <a:cubicBezTo>
                    <a:pt x="35" y="24"/>
                    <a:pt x="35" y="24"/>
                    <a:pt x="35" y="24"/>
                  </a:cubicBezTo>
                  <a:cubicBezTo>
                    <a:pt x="35" y="24"/>
                    <a:pt x="35" y="24"/>
                    <a:pt x="35" y="24"/>
                  </a:cubicBezTo>
                  <a:cubicBezTo>
                    <a:pt x="34" y="22"/>
                    <a:pt x="34" y="22"/>
                    <a:pt x="34" y="22"/>
                  </a:cubicBezTo>
                  <a:cubicBezTo>
                    <a:pt x="33" y="22"/>
                    <a:pt x="32" y="22"/>
                    <a:pt x="31" y="22"/>
                  </a:cubicBezTo>
                  <a:cubicBezTo>
                    <a:pt x="31" y="22"/>
                    <a:pt x="31" y="23"/>
                    <a:pt x="31" y="23"/>
                  </a:cubicBezTo>
                  <a:cubicBezTo>
                    <a:pt x="30" y="24"/>
                    <a:pt x="30" y="24"/>
                    <a:pt x="30" y="24"/>
                  </a:cubicBezTo>
                  <a:cubicBezTo>
                    <a:pt x="30" y="24"/>
                    <a:pt x="30" y="24"/>
                    <a:pt x="30" y="24"/>
                  </a:cubicBezTo>
                  <a:cubicBezTo>
                    <a:pt x="30" y="24"/>
                    <a:pt x="30" y="24"/>
                    <a:pt x="30" y="24"/>
                  </a:cubicBezTo>
                  <a:cubicBezTo>
                    <a:pt x="29" y="22"/>
                    <a:pt x="29" y="22"/>
                    <a:pt x="29" y="22"/>
                  </a:cubicBezTo>
                  <a:cubicBezTo>
                    <a:pt x="29" y="22"/>
                    <a:pt x="28" y="22"/>
                    <a:pt x="27" y="22"/>
                  </a:cubicBezTo>
                  <a:cubicBezTo>
                    <a:pt x="27" y="22"/>
                    <a:pt x="26" y="23"/>
                    <a:pt x="26" y="24"/>
                  </a:cubicBezTo>
                  <a:cubicBezTo>
                    <a:pt x="26" y="26"/>
                    <a:pt x="26" y="27"/>
                    <a:pt x="26" y="28"/>
                  </a:cubicBezTo>
                  <a:cubicBezTo>
                    <a:pt x="26" y="29"/>
                    <a:pt x="26" y="29"/>
                    <a:pt x="26" y="30"/>
                  </a:cubicBezTo>
                  <a:cubicBezTo>
                    <a:pt x="26" y="31"/>
                    <a:pt x="26" y="36"/>
                    <a:pt x="26" y="37"/>
                  </a:cubicBezTo>
                  <a:cubicBezTo>
                    <a:pt x="27" y="37"/>
                    <a:pt x="28" y="37"/>
                    <a:pt x="29" y="37"/>
                  </a:cubicBezTo>
                  <a:cubicBezTo>
                    <a:pt x="30" y="36"/>
                    <a:pt x="30" y="35"/>
                    <a:pt x="30" y="34"/>
                  </a:cubicBezTo>
                  <a:cubicBezTo>
                    <a:pt x="30" y="34"/>
                    <a:pt x="30" y="34"/>
                    <a:pt x="30" y="34"/>
                  </a:cubicBezTo>
                  <a:cubicBezTo>
                    <a:pt x="30" y="34"/>
                    <a:pt x="30" y="34"/>
                    <a:pt x="30" y="34"/>
                  </a:cubicBezTo>
                  <a:cubicBezTo>
                    <a:pt x="30" y="34"/>
                    <a:pt x="30" y="34"/>
                    <a:pt x="30" y="34"/>
                  </a:cubicBezTo>
                  <a:cubicBezTo>
                    <a:pt x="30" y="35"/>
                    <a:pt x="30" y="37"/>
                    <a:pt x="30" y="38"/>
                  </a:cubicBezTo>
                  <a:cubicBezTo>
                    <a:pt x="31" y="38"/>
                    <a:pt x="32" y="39"/>
                    <a:pt x="33" y="37"/>
                  </a:cubicBezTo>
                  <a:cubicBezTo>
                    <a:pt x="34" y="36"/>
                    <a:pt x="35" y="35"/>
                    <a:pt x="35" y="34"/>
                  </a:cubicBezTo>
                  <a:cubicBezTo>
                    <a:pt x="35" y="34"/>
                    <a:pt x="35" y="34"/>
                    <a:pt x="35" y="34"/>
                  </a:cubicBezTo>
                  <a:cubicBezTo>
                    <a:pt x="35" y="34"/>
                    <a:pt x="35" y="34"/>
                    <a:pt x="35" y="34"/>
                  </a:cubicBezTo>
                  <a:cubicBezTo>
                    <a:pt x="35" y="35"/>
                    <a:pt x="35" y="38"/>
                    <a:pt x="35" y="38"/>
                  </a:cubicBezTo>
                  <a:cubicBezTo>
                    <a:pt x="36" y="38"/>
                    <a:pt x="37" y="38"/>
                    <a:pt x="38" y="37"/>
                  </a:cubicBezTo>
                  <a:cubicBezTo>
                    <a:pt x="39" y="36"/>
                    <a:pt x="40" y="35"/>
                    <a:pt x="40" y="34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40" y="35"/>
                    <a:pt x="40" y="36"/>
                    <a:pt x="40" y="37"/>
                  </a:cubicBezTo>
                  <a:cubicBezTo>
                    <a:pt x="40" y="37"/>
                    <a:pt x="41" y="37"/>
                    <a:pt x="41" y="37"/>
                  </a:cubicBezTo>
                  <a:cubicBezTo>
                    <a:pt x="41" y="37"/>
                    <a:pt x="42" y="36"/>
                    <a:pt x="42" y="36"/>
                  </a:cubicBezTo>
                  <a:cubicBezTo>
                    <a:pt x="42" y="36"/>
                    <a:pt x="43" y="36"/>
                    <a:pt x="43" y="36"/>
                  </a:cubicBezTo>
                  <a:cubicBezTo>
                    <a:pt x="43" y="36"/>
                    <a:pt x="44" y="35"/>
                    <a:pt x="44" y="34"/>
                  </a:cubicBezTo>
                  <a:moveTo>
                    <a:pt x="50" y="36"/>
                  </a:moveTo>
                  <a:cubicBezTo>
                    <a:pt x="50" y="36"/>
                    <a:pt x="49" y="35"/>
                    <a:pt x="49" y="32"/>
                  </a:cubicBezTo>
                  <a:cubicBezTo>
                    <a:pt x="49" y="30"/>
                    <a:pt x="50" y="28"/>
                    <a:pt x="50" y="27"/>
                  </a:cubicBezTo>
                  <a:cubicBezTo>
                    <a:pt x="50" y="24"/>
                    <a:pt x="50" y="24"/>
                    <a:pt x="50" y="24"/>
                  </a:cubicBezTo>
                  <a:cubicBezTo>
                    <a:pt x="50" y="23"/>
                    <a:pt x="48" y="22"/>
                    <a:pt x="47" y="22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7" y="38"/>
                    <a:pt x="44" y="40"/>
                    <a:pt x="41" y="41"/>
                  </a:cubicBezTo>
                  <a:cubicBezTo>
                    <a:pt x="35" y="42"/>
                    <a:pt x="30" y="42"/>
                    <a:pt x="28" y="42"/>
                  </a:cubicBezTo>
                  <a:cubicBezTo>
                    <a:pt x="29" y="42"/>
                    <a:pt x="29" y="43"/>
                    <a:pt x="29" y="45"/>
                  </a:cubicBezTo>
                  <a:cubicBezTo>
                    <a:pt x="29" y="46"/>
                    <a:pt x="31" y="47"/>
                    <a:pt x="31" y="47"/>
                  </a:cubicBezTo>
                  <a:cubicBezTo>
                    <a:pt x="46" y="47"/>
                    <a:pt x="46" y="47"/>
                    <a:pt x="46" y="47"/>
                  </a:cubicBezTo>
                  <a:cubicBezTo>
                    <a:pt x="50" y="40"/>
                    <a:pt x="50" y="40"/>
                    <a:pt x="50" y="40"/>
                  </a:cubicBezTo>
                  <a:lnTo>
                    <a:pt x="50" y="36"/>
                  </a:lnTo>
                  <a:close/>
                  <a:moveTo>
                    <a:pt x="31" y="56"/>
                  </a:moveTo>
                  <a:cubicBezTo>
                    <a:pt x="46" y="56"/>
                    <a:pt x="46" y="56"/>
                    <a:pt x="46" y="56"/>
                  </a:cubicBezTo>
                  <a:cubicBezTo>
                    <a:pt x="46" y="55"/>
                    <a:pt x="47" y="53"/>
                    <a:pt x="47" y="53"/>
                  </a:cubicBezTo>
                  <a:cubicBezTo>
                    <a:pt x="47" y="50"/>
                    <a:pt x="47" y="50"/>
                    <a:pt x="47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0" y="53"/>
                    <a:pt x="30" y="53"/>
                    <a:pt x="30" y="53"/>
                  </a:cubicBezTo>
                  <a:lnTo>
                    <a:pt x="31" y="56"/>
                  </a:lnTo>
                  <a:close/>
                  <a:moveTo>
                    <a:pt x="46" y="59"/>
                  </a:moveTo>
                  <a:cubicBezTo>
                    <a:pt x="31" y="59"/>
                    <a:pt x="31" y="59"/>
                    <a:pt x="31" y="59"/>
                  </a:cubicBezTo>
                  <a:cubicBezTo>
                    <a:pt x="31" y="79"/>
                    <a:pt x="31" y="79"/>
                    <a:pt x="31" y="79"/>
                  </a:cubicBezTo>
                  <a:cubicBezTo>
                    <a:pt x="44" y="79"/>
                    <a:pt x="44" y="79"/>
                    <a:pt x="44" y="79"/>
                  </a:cubicBezTo>
                  <a:cubicBezTo>
                    <a:pt x="48" y="76"/>
                    <a:pt x="48" y="76"/>
                    <a:pt x="48" y="76"/>
                  </a:cubicBezTo>
                  <a:lnTo>
                    <a:pt x="46" y="59"/>
                  </a:lnTo>
                  <a:close/>
                  <a:moveTo>
                    <a:pt x="53" y="84"/>
                  </a:moveTo>
                  <a:cubicBezTo>
                    <a:pt x="53" y="84"/>
                    <a:pt x="51" y="82"/>
                    <a:pt x="51" y="82"/>
                  </a:cubicBezTo>
                  <a:cubicBezTo>
                    <a:pt x="50" y="82"/>
                    <a:pt x="50" y="80"/>
                    <a:pt x="50" y="79"/>
                  </a:cubicBezTo>
                  <a:cubicBezTo>
                    <a:pt x="46" y="83"/>
                    <a:pt x="46" y="83"/>
                    <a:pt x="46" y="83"/>
                  </a:cubicBezTo>
                  <a:cubicBezTo>
                    <a:pt x="45" y="83"/>
                    <a:pt x="45" y="83"/>
                    <a:pt x="45" y="83"/>
                  </a:cubicBezTo>
                  <a:cubicBezTo>
                    <a:pt x="30" y="83"/>
                    <a:pt x="30" y="83"/>
                    <a:pt x="30" y="83"/>
                  </a:cubicBezTo>
                  <a:cubicBezTo>
                    <a:pt x="30" y="84"/>
                    <a:pt x="30" y="90"/>
                    <a:pt x="30" y="93"/>
                  </a:cubicBezTo>
                  <a:cubicBezTo>
                    <a:pt x="33" y="96"/>
                    <a:pt x="37" y="99"/>
                    <a:pt x="38" y="99"/>
                  </a:cubicBezTo>
                  <a:cubicBezTo>
                    <a:pt x="48" y="87"/>
                    <a:pt x="48" y="87"/>
                    <a:pt x="48" y="87"/>
                  </a:cubicBezTo>
                  <a:cubicBezTo>
                    <a:pt x="48" y="87"/>
                    <a:pt x="48" y="87"/>
                    <a:pt x="48" y="87"/>
                  </a:cubicBezTo>
                  <a:lnTo>
                    <a:pt x="53" y="84"/>
                  </a:lnTo>
                  <a:close/>
                  <a:moveTo>
                    <a:pt x="50" y="89"/>
                  </a:moveTo>
                  <a:cubicBezTo>
                    <a:pt x="41" y="101"/>
                    <a:pt x="41" y="101"/>
                    <a:pt x="41" y="101"/>
                  </a:cubicBezTo>
                  <a:cubicBezTo>
                    <a:pt x="56" y="107"/>
                    <a:pt x="56" y="107"/>
                    <a:pt x="56" y="107"/>
                  </a:cubicBezTo>
                  <a:cubicBezTo>
                    <a:pt x="64" y="103"/>
                    <a:pt x="74" y="96"/>
                    <a:pt x="76" y="94"/>
                  </a:cubicBezTo>
                  <a:cubicBezTo>
                    <a:pt x="56" y="87"/>
                    <a:pt x="56" y="87"/>
                    <a:pt x="56" y="87"/>
                  </a:cubicBezTo>
                  <a:lnTo>
                    <a:pt x="50" y="89"/>
                  </a:lnTo>
                  <a:close/>
                  <a:moveTo>
                    <a:pt x="58" y="28"/>
                  </a:moveTo>
                  <a:cubicBezTo>
                    <a:pt x="58" y="26"/>
                    <a:pt x="58" y="16"/>
                    <a:pt x="58" y="15"/>
                  </a:cubicBezTo>
                  <a:cubicBezTo>
                    <a:pt x="58" y="15"/>
                    <a:pt x="58" y="15"/>
                    <a:pt x="58" y="15"/>
                  </a:cubicBezTo>
                  <a:cubicBezTo>
                    <a:pt x="58" y="15"/>
                    <a:pt x="59" y="15"/>
                    <a:pt x="59" y="14"/>
                  </a:cubicBezTo>
                  <a:cubicBezTo>
                    <a:pt x="59" y="14"/>
                    <a:pt x="59" y="13"/>
                    <a:pt x="59" y="12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52" y="13"/>
                    <a:pt x="52" y="13"/>
                    <a:pt x="52" y="14"/>
                  </a:cubicBezTo>
                  <a:cubicBezTo>
                    <a:pt x="52" y="14"/>
                    <a:pt x="53" y="15"/>
                    <a:pt x="53" y="15"/>
                  </a:cubicBezTo>
                  <a:cubicBezTo>
                    <a:pt x="53" y="15"/>
                    <a:pt x="53" y="15"/>
                    <a:pt x="53" y="15"/>
                  </a:cubicBezTo>
                  <a:cubicBezTo>
                    <a:pt x="53" y="28"/>
                    <a:pt x="53" y="28"/>
                    <a:pt x="53" y="28"/>
                  </a:cubicBezTo>
                  <a:cubicBezTo>
                    <a:pt x="53" y="28"/>
                    <a:pt x="53" y="28"/>
                    <a:pt x="53" y="28"/>
                  </a:cubicBezTo>
                  <a:cubicBezTo>
                    <a:pt x="53" y="28"/>
                    <a:pt x="52" y="29"/>
                    <a:pt x="52" y="32"/>
                  </a:cubicBezTo>
                  <a:cubicBezTo>
                    <a:pt x="52" y="34"/>
                    <a:pt x="53" y="36"/>
                    <a:pt x="53" y="36"/>
                  </a:cubicBezTo>
                  <a:cubicBezTo>
                    <a:pt x="53" y="36"/>
                    <a:pt x="53" y="36"/>
                    <a:pt x="53" y="36"/>
                  </a:cubicBezTo>
                  <a:cubicBezTo>
                    <a:pt x="53" y="46"/>
                    <a:pt x="53" y="46"/>
                    <a:pt x="53" y="46"/>
                  </a:cubicBezTo>
                  <a:cubicBezTo>
                    <a:pt x="53" y="46"/>
                    <a:pt x="53" y="46"/>
                    <a:pt x="53" y="46"/>
                  </a:cubicBezTo>
                  <a:cubicBezTo>
                    <a:pt x="53" y="47"/>
                    <a:pt x="52" y="47"/>
                    <a:pt x="52" y="48"/>
                  </a:cubicBezTo>
                  <a:cubicBezTo>
                    <a:pt x="52" y="49"/>
                    <a:pt x="52" y="49"/>
                    <a:pt x="52" y="49"/>
                  </a:cubicBezTo>
                  <a:cubicBezTo>
                    <a:pt x="59" y="49"/>
                    <a:pt x="59" y="49"/>
                    <a:pt x="59" y="49"/>
                  </a:cubicBezTo>
                  <a:cubicBezTo>
                    <a:pt x="59" y="49"/>
                    <a:pt x="59" y="48"/>
                    <a:pt x="59" y="47"/>
                  </a:cubicBezTo>
                  <a:cubicBezTo>
                    <a:pt x="59" y="47"/>
                    <a:pt x="59" y="46"/>
                    <a:pt x="58" y="46"/>
                  </a:cubicBezTo>
                  <a:cubicBezTo>
                    <a:pt x="58" y="46"/>
                    <a:pt x="58" y="46"/>
                    <a:pt x="58" y="46"/>
                  </a:cubicBezTo>
                  <a:cubicBezTo>
                    <a:pt x="58" y="36"/>
                    <a:pt x="58" y="36"/>
                    <a:pt x="58" y="36"/>
                  </a:cubicBezTo>
                  <a:cubicBezTo>
                    <a:pt x="58" y="36"/>
                    <a:pt x="58" y="36"/>
                    <a:pt x="58" y="36"/>
                  </a:cubicBezTo>
                  <a:cubicBezTo>
                    <a:pt x="58" y="36"/>
                    <a:pt x="59" y="35"/>
                    <a:pt x="59" y="35"/>
                  </a:cubicBezTo>
                  <a:cubicBezTo>
                    <a:pt x="59" y="34"/>
                    <a:pt x="60" y="33"/>
                    <a:pt x="60" y="32"/>
                  </a:cubicBezTo>
                  <a:cubicBezTo>
                    <a:pt x="60" y="30"/>
                    <a:pt x="59" y="29"/>
                    <a:pt x="58" y="28"/>
                  </a:cubicBezTo>
                  <a:cubicBezTo>
                    <a:pt x="58" y="28"/>
                    <a:pt x="58" y="28"/>
                    <a:pt x="58" y="28"/>
                  </a:cubicBezTo>
                  <a:cubicBezTo>
                    <a:pt x="58" y="28"/>
                    <a:pt x="58" y="28"/>
                    <a:pt x="58" y="28"/>
                  </a:cubicBezTo>
                  <a:moveTo>
                    <a:pt x="74" y="38"/>
                  </a:moveTo>
                  <a:cubicBezTo>
                    <a:pt x="85" y="26"/>
                    <a:pt x="85" y="26"/>
                    <a:pt x="85" y="26"/>
                  </a:cubicBezTo>
                  <a:cubicBezTo>
                    <a:pt x="83" y="26"/>
                    <a:pt x="82" y="26"/>
                    <a:pt x="80" y="26"/>
                  </a:cubicBezTo>
                  <a:cubicBezTo>
                    <a:pt x="77" y="26"/>
                    <a:pt x="73" y="26"/>
                    <a:pt x="69" y="26"/>
                  </a:cubicBezTo>
                  <a:cubicBezTo>
                    <a:pt x="68" y="26"/>
                    <a:pt x="66" y="25"/>
                    <a:pt x="65" y="25"/>
                  </a:cubicBezTo>
                  <a:cubicBezTo>
                    <a:pt x="64" y="24"/>
                    <a:pt x="62" y="23"/>
                    <a:pt x="62" y="23"/>
                  </a:cubicBezTo>
                  <a:cubicBezTo>
                    <a:pt x="62" y="24"/>
                    <a:pt x="61" y="26"/>
                    <a:pt x="61" y="27"/>
                  </a:cubicBezTo>
                  <a:cubicBezTo>
                    <a:pt x="61" y="27"/>
                    <a:pt x="63" y="29"/>
                    <a:pt x="63" y="32"/>
                  </a:cubicBezTo>
                  <a:cubicBezTo>
                    <a:pt x="63" y="32"/>
                    <a:pt x="63" y="32"/>
                    <a:pt x="63" y="32"/>
                  </a:cubicBezTo>
                  <a:cubicBezTo>
                    <a:pt x="63" y="33"/>
                    <a:pt x="63" y="35"/>
                    <a:pt x="61" y="37"/>
                  </a:cubicBezTo>
                  <a:cubicBezTo>
                    <a:pt x="62" y="39"/>
                    <a:pt x="62" y="40"/>
                    <a:pt x="63" y="41"/>
                  </a:cubicBezTo>
                  <a:cubicBezTo>
                    <a:pt x="63" y="40"/>
                    <a:pt x="66" y="38"/>
                    <a:pt x="69" y="38"/>
                  </a:cubicBezTo>
                  <a:cubicBezTo>
                    <a:pt x="69" y="38"/>
                    <a:pt x="71" y="38"/>
                    <a:pt x="74" y="38"/>
                  </a:cubicBezTo>
                  <a:moveTo>
                    <a:pt x="125" y="38"/>
                  </a:moveTo>
                  <a:cubicBezTo>
                    <a:pt x="140" y="19"/>
                    <a:pt x="140" y="19"/>
                    <a:pt x="140" y="19"/>
                  </a:cubicBezTo>
                  <a:cubicBezTo>
                    <a:pt x="139" y="19"/>
                    <a:pt x="138" y="19"/>
                    <a:pt x="136" y="20"/>
                  </a:cubicBezTo>
                  <a:cubicBezTo>
                    <a:pt x="135" y="21"/>
                    <a:pt x="134" y="23"/>
                    <a:pt x="134" y="24"/>
                  </a:cubicBezTo>
                  <a:cubicBezTo>
                    <a:pt x="134" y="24"/>
                    <a:pt x="134" y="24"/>
                    <a:pt x="134" y="24"/>
                  </a:cubicBezTo>
                  <a:cubicBezTo>
                    <a:pt x="134" y="24"/>
                    <a:pt x="134" y="24"/>
                    <a:pt x="134" y="24"/>
                  </a:cubicBezTo>
                  <a:cubicBezTo>
                    <a:pt x="134" y="23"/>
                    <a:pt x="133" y="22"/>
                    <a:pt x="132" y="22"/>
                  </a:cubicBezTo>
                  <a:cubicBezTo>
                    <a:pt x="131" y="22"/>
                    <a:pt x="129" y="22"/>
                    <a:pt x="128" y="23"/>
                  </a:cubicBezTo>
                  <a:cubicBezTo>
                    <a:pt x="130" y="26"/>
                    <a:pt x="130" y="27"/>
                    <a:pt x="129" y="28"/>
                  </a:cubicBezTo>
                  <a:cubicBezTo>
                    <a:pt x="128" y="29"/>
                    <a:pt x="127" y="29"/>
                    <a:pt x="126" y="29"/>
                  </a:cubicBezTo>
                  <a:cubicBezTo>
                    <a:pt x="124" y="28"/>
                    <a:pt x="124" y="26"/>
                    <a:pt x="124" y="25"/>
                  </a:cubicBezTo>
                  <a:cubicBezTo>
                    <a:pt x="124" y="26"/>
                    <a:pt x="123" y="26"/>
                    <a:pt x="121" y="26"/>
                  </a:cubicBezTo>
                  <a:cubicBezTo>
                    <a:pt x="121" y="26"/>
                    <a:pt x="120" y="26"/>
                    <a:pt x="119" y="25"/>
                  </a:cubicBezTo>
                  <a:cubicBezTo>
                    <a:pt x="119" y="24"/>
                    <a:pt x="119" y="24"/>
                    <a:pt x="119" y="23"/>
                  </a:cubicBezTo>
                  <a:cubicBezTo>
                    <a:pt x="120" y="21"/>
                    <a:pt x="122" y="21"/>
                    <a:pt x="124" y="21"/>
                  </a:cubicBezTo>
                  <a:cubicBezTo>
                    <a:pt x="124" y="20"/>
                    <a:pt x="124" y="18"/>
                    <a:pt x="122" y="17"/>
                  </a:cubicBezTo>
                  <a:cubicBezTo>
                    <a:pt x="121" y="16"/>
                    <a:pt x="118" y="17"/>
                    <a:pt x="118" y="17"/>
                  </a:cubicBezTo>
                  <a:cubicBezTo>
                    <a:pt x="118" y="17"/>
                    <a:pt x="118" y="17"/>
                    <a:pt x="118" y="17"/>
                  </a:cubicBezTo>
                  <a:cubicBezTo>
                    <a:pt x="118" y="17"/>
                    <a:pt x="118" y="16"/>
                    <a:pt x="118" y="16"/>
                  </a:cubicBezTo>
                  <a:cubicBezTo>
                    <a:pt x="118" y="16"/>
                    <a:pt x="120" y="15"/>
                    <a:pt x="120" y="13"/>
                  </a:cubicBezTo>
                  <a:cubicBezTo>
                    <a:pt x="120" y="12"/>
                    <a:pt x="120" y="10"/>
                    <a:pt x="118" y="8"/>
                  </a:cubicBezTo>
                  <a:cubicBezTo>
                    <a:pt x="118" y="8"/>
                    <a:pt x="118" y="8"/>
                    <a:pt x="118" y="8"/>
                  </a:cubicBezTo>
                  <a:cubicBezTo>
                    <a:pt x="116" y="8"/>
                    <a:pt x="114" y="9"/>
                    <a:pt x="113" y="10"/>
                  </a:cubicBezTo>
                  <a:cubicBezTo>
                    <a:pt x="112" y="12"/>
                    <a:pt x="112" y="14"/>
                    <a:pt x="112" y="14"/>
                  </a:cubicBezTo>
                  <a:cubicBezTo>
                    <a:pt x="113" y="14"/>
                    <a:pt x="112" y="14"/>
                    <a:pt x="112" y="14"/>
                  </a:cubicBezTo>
                  <a:cubicBezTo>
                    <a:pt x="112" y="14"/>
                    <a:pt x="112" y="14"/>
                    <a:pt x="112" y="14"/>
                  </a:cubicBezTo>
                  <a:cubicBezTo>
                    <a:pt x="112" y="14"/>
                    <a:pt x="111" y="11"/>
                    <a:pt x="109" y="11"/>
                  </a:cubicBezTo>
                  <a:cubicBezTo>
                    <a:pt x="107" y="10"/>
                    <a:pt x="105" y="12"/>
                    <a:pt x="105" y="12"/>
                  </a:cubicBezTo>
                  <a:cubicBezTo>
                    <a:pt x="107" y="14"/>
                    <a:pt x="107" y="16"/>
                    <a:pt x="107" y="17"/>
                  </a:cubicBezTo>
                  <a:cubicBezTo>
                    <a:pt x="106" y="18"/>
                    <a:pt x="106" y="19"/>
                    <a:pt x="105" y="19"/>
                  </a:cubicBezTo>
                  <a:cubicBezTo>
                    <a:pt x="104" y="19"/>
                    <a:pt x="103" y="18"/>
                    <a:pt x="103" y="18"/>
                  </a:cubicBezTo>
                  <a:cubicBezTo>
                    <a:pt x="102" y="17"/>
                    <a:pt x="102" y="16"/>
                    <a:pt x="102" y="16"/>
                  </a:cubicBezTo>
                  <a:cubicBezTo>
                    <a:pt x="101" y="16"/>
                    <a:pt x="99" y="17"/>
                    <a:pt x="98" y="16"/>
                  </a:cubicBezTo>
                  <a:cubicBezTo>
                    <a:pt x="97" y="15"/>
                    <a:pt x="96" y="15"/>
                    <a:pt x="96" y="14"/>
                  </a:cubicBezTo>
                  <a:cubicBezTo>
                    <a:pt x="97" y="13"/>
                    <a:pt x="97" y="11"/>
                    <a:pt x="101" y="11"/>
                  </a:cubicBezTo>
                  <a:cubicBezTo>
                    <a:pt x="101" y="10"/>
                    <a:pt x="100" y="8"/>
                    <a:pt x="99" y="7"/>
                  </a:cubicBezTo>
                  <a:cubicBezTo>
                    <a:pt x="98" y="7"/>
                    <a:pt x="97" y="7"/>
                    <a:pt x="96" y="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7"/>
                    <a:pt x="98" y="5"/>
                    <a:pt x="98" y="3"/>
                  </a:cubicBezTo>
                  <a:cubicBezTo>
                    <a:pt x="97" y="1"/>
                    <a:pt x="96" y="0"/>
                    <a:pt x="96" y="0"/>
                  </a:cubicBezTo>
                  <a:cubicBezTo>
                    <a:pt x="92" y="23"/>
                    <a:pt x="92" y="23"/>
                    <a:pt x="92" y="23"/>
                  </a:cubicBezTo>
                  <a:cubicBezTo>
                    <a:pt x="102" y="28"/>
                    <a:pt x="102" y="28"/>
                    <a:pt x="102" y="28"/>
                  </a:cubicBezTo>
                  <a:cubicBezTo>
                    <a:pt x="103" y="27"/>
                    <a:pt x="105" y="26"/>
                    <a:pt x="106" y="26"/>
                  </a:cubicBezTo>
                  <a:cubicBezTo>
                    <a:pt x="108" y="24"/>
                    <a:pt x="111" y="25"/>
                    <a:pt x="114" y="26"/>
                  </a:cubicBezTo>
                  <a:cubicBezTo>
                    <a:pt x="118" y="28"/>
                    <a:pt x="119" y="30"/>
                    <a:pt x="119" y="31"/>
                  </a:cubicBezTo>
                  <a:cubicBezTo>
                    <a:pt x="119" y="32"/>
                    <a:pt x="118" y="34"/>
                    <a:pt x="118" y="35"/>
                  </a:cubicBezTo>
                  <a:lnTo>
                    <a:pt x="125" y="38"/>
                  </a:lnTo>
                  <a:close/>
                  <a:moveTo>
                    <a:pt x="180" y="35"/>
                  </a:moveTo>
                  <a:cubicBezTo>
                    <a:pt x="189" y="31"/>
                    <a:pt x="189" y="31"/>
                    <a:pt x="189" y="31"/>
                  </a:cubicBezTo>
                  <a:cubicBezTo>
                    <a:pt x="180" y="27"/>
                    <a:pt x="180" y="27"/>
                    <a:pt x="180" y="27"/>
                  </a:cubicBezTo>
                  <a:cubicBezTo>
                    <a:pt x="175" y="27"/>
                    <a:pt x="166" y="27"/>
                    <a:pt x="154" y="26"/>
                  </a:cubicBezTo>
                  <a:cubicBezTo>
                    <a:pt x="149" y="26"/>
                    <a:pt x="144" y="26"/>
                    <a:pt x="139" y="26"/>
                  </a:cubicBezTo>
                  <a:cubicBezTo>
                    <a:pt x="131" y="36"/>
                    <a:pt x="131" y="36"/>
                    <a:pt x="131" y="36"/>
                  </a:cubicBezTo>
                  <a:cubicBezTo>
                    <a:pt x="144" y="36"/>
                    <a:pt x="144" y="36"/>
                    <a:pt x="144" y="36"/>
                  </a:cubicBezTo>
                  <a:cubicBezTo>
                    <a:pt x="160" y="35"/>
                    <a:pt x="174" y="35"/>
                    <a:pt x="180" y="35"/>
                  </a:cubicBezTo>
                  <a:moveTo>
                    <a:pt x="168" y="86"/>
                  </a:moveTo>
                  <a:cubicBezTo>
                    <a:pt x="168" y="86"/>
                    <a:pt x="168" y="86"/>
                    <a:pt x="168" y="86"/>
                  </a:cubicBezTo>
                  <a:cubicBezTo>
                    <a:pt x="168" y="86"/>
                    <a:pt x="168" y="86"/>
                    <a:pt x="168" y="86"/>
                  </a:cubicBezTo>
                  <a:cubicBezTo>
                    <a:pt x="167" y="85"/>
                    <a:pt x="166" y="85"/>
                    <a:pt x="166" y="85"/>
                  </a:cubicBezTo>
                  <a:cubicBezTo>
                    <a:pt x="159" y="82"/>
                    <a:pt x="154" y="79"/>
                    <a:pt x="151" y="74"/>
                  </a:cubicBezTo>
                  <a:cubicBezTo>
                    <a:pt x="151" y="74"/>
                    <a:pt x="151" y="74"/>
                    <a:pt x="151" y="74"/>
                  </a:cubicBezTo>
                  <a:cubicBezTo>
                    <a:pt x="148" y="69"/>
                    <a:pt x="149" y="58"/>
                    <a:pt x="157" y="54"/>
                  </a:cubicBezTo>
                  <a:cubicBezTo>
                    <a:pt x="157" y="53"/>
                    <a:pt x="157" y="53"/>
                    <a:pt x="157" y="54"/>
                  </a:cubicBezTo>
                  <a:cubicBezTo>
                    <a:pt x="158" y="55"/>
                    <a:pt x="159" y="57"/>
                    <a:pt x="159" y="57"/>
                  </a:cubicBezTo>
                  <a:cubicBezTo>
                    <a:pt x="160" y="57"/>
                    <a:pt x="161" y="57"/>
                    <a:pt x="163" y="57"/>
                  </a:cubicBezTo>
                  <a:cubicBezTo>
                    <a:pt x="164" y="57"/>
                    <a:pt x="165" y="57"/>
                    <a:pt x="166" y="57"/>
                  </a:cubicBezTo>
                  <a:cubicBezTo>
                    <a:pt x="166" y="55"/>
                    <a:pt x="166" y="53"/>
                    <a:pt x="165" y="51"/>
                  </a:cubicBezTo>
                  <a:cubicBezTo>
                    <a:pt x="165" y="51"/>
                    <a:pt x="165" y="51"/>
                    <a:pt x="165" y="51"/>
                  </a:cubicBezTo>
                  <a:cubicBezTo>
                    <a:pt x="165" y="51"/>
                    <a:pt x="165" y="51"/>
                    <a:pt x="166" y="51"/>
                  </a:cubicBezTo>
                  <a:cubicBezTo>
                    <a:pt x="168" y="53"/>
                    <a:pt x="169" y="54"/>
                    <a:pt x="169" y="57"/>
                  </a:cubicBezTo>
                  <a:cubicBezTo>
                    <a:pt x="171" y="57"/>
                    <a:pt x="175" y="57"/>
                    <a:pt x="176" y="57"/>
                  </a:cubicBezTo>
                  <a:cubicBezTo>
                    <a:pt x="176" y="55"/>
                    <a:pt x="176" y="54"/>
                    <a:pt x="175" y="53"/>
                  </a:cubicBezTo>
                  <a:cubicBezTo>
                    <a:pt x="175" y="53"/>
                    <a:pt x="175" y="53"/>
                    <a:pt x="175" y="53"/>
                  </a:cubicBezTo>
                  <a:cubicBezTo>
                    <a:pt x="175" y="53"/>
                    <a:pt x="175" y="53"/>
                    <a:pt x="175" y="53"/>
                  </a:cubicBezTo>
                  <a:cubicBezTo>
                    <a:pt x="183" y="56"/>
                    <a:pt x="185" y="63"/>
                    <a:pt x="185" y="67"/>
                  </a:cubicBezTo>
                  <a:cubicBezTo>
                    <a:pt x="185" y="73"/>
                    <a:pt x="182" y="78"/>
                    <a:pt x="177" y="81"/>
                  </a:cubicBezTo>
                  <a:cubicBezTo>
                    <a:pt x="174" y="83"/>
                    <a:pt x="171" y="85"/>
                    <a:pt x="168" y="86"/>
                  </a:cubicBezTo>
                  <a:moveTo>
                    <a:pt x="91" y="42"/>
                  </a:moveTo>
                  <a:cubicBezTo>
                    <a:pt x="90" y="43"/>
                    <a:pt x="87" y="43"/>
                    <a:pt x="85" y="43"/>
                  </a:cubicBezTo>
                  <a:cubicBezTo>
                    <a:pt x="85" y="43"/>
                    <a:pt x="85" y="43"/>
                    <a:pt x="84" y="43"/>
                  </a:cubicBezTo>
                  <a:cubicBezTo>
                    <a:pt x="84" y="43"/>
                    <a:pt x="84" y="40"/>
                    <a:pt x="84" y="39"/>
                  </a:cubicBezTo>
                  <a:cubicBezTo>
                    <a:pt x="84" y="39"/>
                    <a:pt x="85" y="39"/>
                    <a:pt x="86" y="39"/>
                  </a:cubicBezTo>
                  <a:cubicBezTo>
                    <a:pt x="87" y="39"/>
                    <a:pt x="90" y="40"/>
                    <a:pt x="91" y="42"/>
                  </a:cubicBezTo>
                  <a:cubicBezTo>
                    <a:pt x="91" y="42"/>
                    <a:pt x="91" y="42"/>
                    <a:pt x="91" y="42"/>
                  </a:cubicBezTo>
                  <a:moveTo>
                    <a:pt x="194" y="117"/>
                  </a:moveTo>
                  <a:cubicBezTo>
                    <a:pt x="194" y="117"/>
                    <a:pt x="194" y="117"/>
                    <a:pt x="195" y="117"/>
                  </a:cubicBezTo>
                  <a:cubicBezTo>
                    <a:pt x="195" y="117"/>
                    <a:pt x="195" y="117"/>
                    <a:pt x="195" y="117"/>
                  </a:cubicBezTo>
                  <a:cubicBezTo>
                    <a:pt x="197" y="117"/>
                    <a:pt x="199" y="117"/>
                    <a:pt x="200" y="116"/>
                  </a:cubicBezTo>
                  <a:cubicBezTo>
                    <a:pt x="200" y="116"/>
                    <a:pt x="199" y="110"/>
                    <a:pt x="198" y="108"/>
                  </a:cubicBezTo>
                  <a:cubicBezTo>
                    <a:pt x="196" y="108"/>
                    <a:pt x="193" y="108"/>
                    <a:pt x="191" y="105"/>
                  </a:cubicBezTo>
                  <a:cubicBezTo>
                    <a:pt x="191" y="104"/>
                    <a:pt x="190" y="104"/>
                    <a:pt x="190" y="103"/>
                  </a:cubicBezTo>
                  <a:cubicBezTo>
                    <a:pt x="186" y="98"/>
                    <a:pt x="181" y="93"/>
                    <a:pt x="174" y="89"/>
                  </a:cubicBezTo>
                  <a:cubicBezTo>
                    <a:pt x="174" y="89"/>
                    <a:pt x="174" y="89"/>
                    <a:pt x="174" y="89"/>
                  </a:cubicBezTo>
                  <a:cubicBezTo>
                    <a:pt x="174" y="89"/>
                    <a:pt x="174" y="89"/>
                    <a:pt x="174" y="89"/>
                  </a:cubicBezTo>
                  <a:cubicBezTo>
                    <a:pt x="184" y="84"/>
                    <a:pt x="187" y="79"/>
                    <a:pt x="189" y="77"/>
                  </a:cubicBezTo>
                  <a:cubicBezTo>
                    <a:pt x="190" y="74"/>
                    <a:pt x="192" y="67"/>
                    <a:pt x="190" y="61"/>
                  </a:cubicBezTo>
                  <a:cubicBezTo>
                    <a:pt x="189" y="55"/>
                    <a:pt x="186" y="51"/>
                    <a:pt x="180" y="48"/>
                  </a:cubicBezTo>
                  <a:cubicBezTo>
                    <a:pt x="170" y="43"/>
                    <a:pt x="160" y="45"/>
                    <a:pt x="155" y="47"/>
                  </a:cubicBezTo>
                  <a:cubicBezTo>
                    <a:pt x="146" y="52"/>
                    <a:pt x="141" y="61"/>
                    <a:pt x="143" y="71"/>
                  </a:cubicBezTo>
                  <a:cubicBezTo>
                    <a:pt x="145" y="82"/>
                    <a:pt x="152" y="85"/>
                    <a:pt x="160" y="89"/>
                  </a:cubicBezTo>
                  <a:cubicBezTo>
                    <a:pt x="160" y="89"/>
                    <a:pt x="160" y="89"/>
                    <a:pt x="160" y="89"/>
                  </a:cubicBezTo>
                  <a:cubicBezTo>
                    <a:pt x="160" y="89"/>
                    <a:pt x="160" y="89"/>
                    <a:pt x="160" y="89"/>
                  </a:cubicBezTo>
                  <a:cubicBezTo>
                    <a:pt x="153" y="93"/>
                    <a:pt x="149" y="97"/>
                    <a:pt x="149" y="105"/>
                  </a:cubicBezTo>
                  <a:cubicBezTo>
                    <a:pt x="149" y="106"/>
                    <a:pt x="149" y="108"/>
                    <a:pt x="150" y="110"/>
                  </a:cubicBezTo>
                  <a:cubicBezTo>
                    <a:pt x="151" y="113"/>
                    <a:pt x="152" y="117"/>
                    <a:pt x="151" y="123"/>
                  </a:cubicBezTo>
                  <a:cubicBezTo>
                    <a:pt x="151" y="123"/>
                    <a:pt x="156" y="121"/>
                    <a:pt x="156" y="120"/>
                  </a:cubicBezTo>
                  <a:cubicBezTo>
                    <a:pt x="158" y="116"/>
                    <a:pt x="158" y="109"/>
                    <a:pt x="158" y="109"/>
                  </a:cubicBezTo>
                  <a:cubicBezTo>
                    <a:pt x="158" y="109"/>
                    <a:pt x="158" y="109"/>
                    <a:pt x="158" y="109"/>
                  </a:cubicBezTo>
                  <a:cubicBezTo>
                    <a:pt x="158" y="109"/>
                    <a:pt x="158" y="109"/>
                    <a:pt x="158" y="109"/>
                  </a:cubicBezTo>
                  <a:cubicBezTo>
                    <a:pt x="160" y="111"/>
                    <a:pt x="160" y="115"/>
                    <a:pt x="160" y="118"/>
                  </a:cubicBezTo>
                  <a:cubicBezTo>
                    <a:pt x="161" y="117"/>
                    <a:pt x="163" y="116"/>
                    <a:pt x="164" y="115"/>
                  </a:cubicBezTo>
                  <a:cubicBezTo>
                    <a:pt x="165" y="109"/>
                    <a:pt x="164" y="105"/>
                    <a:pt x="163" y="102"/>
                  </a:cubicBezTo>
                  <a:cubicBezTo>
                    <a:pt x="163" y="102"/>
                    <a:pt x="162" y="102"/>
                    <a:pt x="162" y="101"/>
                  </a:cubicBezTo>
                  <a:cubicBezTo>
                    <a:pt x="161" y="98"/>
                    <a:pt x="164" y="94"/>
                    <a:pt x="166" y="93"/>
                  </a:cubicBezTo>
                  <a:cubicBezTo>
                    <a:pt x="167" y="93"/>
                    <a:pt x="167" y="93"/>
                    <a:pt x="167" y="93"/>
                  </a:cubicBezTo>
                  <a:cubicBezTo>
                    <a:pt x="169" y="94"/>
                    <a:pt x="171" y="95"/>
                    <a:pt x="172" y="96"/>
                  </a:cubicBezTo>
                  <a:cubicBezTo>
                    <a:pt x="175" y="98"/>
                    <a:pt x="182" y="103"/>
                    <a:pt x="185" y="110"/>
                  </a:cubicBezTo>
                  <a:cubicBezTo>
                    <a:pt x="189" y="120"/>
                    <a:pt x="187" y="126"/>
                    <a:pt x="185" y="130"/>
                  </a:cubicBezTo>
                  <a:cubicBezTo>
                    <a:pt x="181" y="135"/>
                    <a:pt x="178" y="138"/>
                    <a:pt x="172" y="138"/>
                  </a:cubicBezTo>
                  <a:cubicBezTo>
                    <a:pt x="172" y="138"/>
                    <a:pt x="172" y="138"/>
                    <a:pt x="172" y="138"/>
                  </a:cubicBezTo>
                  <a:cubicBezTo>
                    <a:pt x="172" y="138"/>
                    <a:pt x="172" y="138"/>
                    <a:pt x="172" y="138"/>
                  </a:cubicBezTo>
                  <a:cubicBezTo>
                    <a:pt x="170" y="138"/>
                    <a:pt x="169" y="138"/>
                    <a:pt x="167" y="138"/>
                  </a:cubicBezTo>
                  <a:cubicBezTo>
                    <a:pt x="166" y="138"/>
                    <a:pt x="164" y="138"/>
                    <a:pt x="163" y="137"/>
                  </a:cubicBezTo>
                  <a:cubicBezTo>
                    <a:pt x="162" y="137"/>
                    <a:pt x="161" y="137"/>
                    <a:pt x="160" y="136"/>
                  </a:cubicBezTo>
                  <a:cubicBezTo>
                    <a:pt x="160" y="136"/>
                    <a:pt x="160" y="136"/>
                    <a:pt x="160" y="136"/>
                  </a:cubicBezTo>
                  <a:cubicBezTo>
                    <a:pt x="160" y="136"/>
                    <a:pt x="160" y="136"/>
                    <a:pt x="159" y="136"/>
                  </a:cubicBezTo>
                  <a:cubicBezTo>
                    <a:pt x="159" y="136"/>
                    <a:pt x="159" y="136"/>
                    <a:pt x="159" y="136"/>
                  </a:cubicBezTo>
                  <a:cubicBezTo>
                    <a:pt x="159" y="136"/>
                    <a:pt x="159" y="136"/>
                    <a:pt x="159" y="136"/>
                  </a:cubicBezTo>
                  <a:cubicBezTo>
                    <a:pt x="159" y="136"/>
                    <a:pt x="159" y="136"/>
                    <a:pt x="159" y="136"/>
                  </a:cubicBezTo>
                  <a:cubicBezTo>
                    <a:pt x="156" y="134"/>
                    <a:pt x="147" y="129"/>
                    <a:pt x="138" y="120"/>
                  </a:cubicBezTo>
                  <a:cubicBezTo>
                    <a:pt x="133" y="114"/>
                    <a:pt x="129" y="109"/>
                    <a:pt x="126" y="106"/>
                  </a:cubicBezTo>
                  <a:cubicBezTo>
                    <a:pt x="125" y="104"/>
                    <a:pt x="125" y="104"/>
                    <a:pt x="125" y="104"/>
                  </a:cubicBezTo>
                  <a:cubicBezTo>
                    <a:pt x="125" y="104"/>
                    <a:pt x="125" y="104"/>
                    <a:pt x="125" y="104"/>
                  </a:cubicBezTo>
                  <a:cubicBezTo>
                    <a:pt x="125" y="104"/>
                    <a:pt x="125" y="104"/>
                    <a:pt x="125" y="104"/>
                  </a:cubicBezTo>
                  <a:cubicBezTo>
                    <a:pt x="129" y="106"/>
                    <a:pt x="133" y="105"/>
                    <a:pt x="134" y="105"/>
                  </a:cubicBezTo>
                  <a:cubicBezTo>
                    <a:pt x="134" y="105"/>
                    <a:pt x="134" y="102"/>
                    <a:pt x="134" y="100"/>
                  </a:cubicBezTo>
                  <a:cubicBezTo>
                    <a:pt x="134" y="94"/>
                    <a:pt x="134" y="94"/>
                    <a:pt x="134" y="94"/>
                  </a:cubicBezTo>
                  <a:cubicBezTo>
                    <a:pt x="134" y="94"/>
                    <a:pt x="134" y="92"/>
                    <a:pt x="134" y="90"/>
                  </a:cubicBezTo>
                  <a:cubicBezTo>
                    <a:pt x="133" y="90"/>
                    <a:pt x="123" y="89"/>
                    <a:pt x="121" y="84"/>
                  </a:cubicBezTo>
                  <a:cubicBezTo>
                    <a:pt x="121" y="84"/>
                    <a:pt x="121" y="84"/>
                    <a:pt x="121" y="84"/>
                  </a:cubicBezTo>
                  <a:cubicBezTo>
                    <a:pt x="121" y="84"/>
                    <a:pt x="121" y="84"/>
                    <a:pt x="121" y="84"/>
                  </a:cubicBezTo>
                  <a:cubicBezTo>
                    <a:pt x="121" y="84"/>
                    <a:pt x="124" y="85"/>
                    <a:pt x="127" y="86"/>
                  </a:cubicBezTo>
                  <a:cubicBezTo>
                    <a:pt x="130" y="86"/>
                    <a:pt x="134" y="85"/>
                    <a:pt x="135" y="85"/>
                  </a:cubicBezTo>
                  <a:cubicBezTo>
                    <a:pt x="135" y="84"/>
                    <a:pt x="135" y="78"/>
                    <a:pt x="135" y="75"/>
                  </a:cubicBezTo>
                  <a:cubicBezTo>
                    <a:pt x="135" y="75"/>
                    <a:pt x="135" y="72"/>
                    <a:pt x="135" y="71"/>
                  </a:cubicBezTo>
                  <a:cubicBezTo>
                    <a:pt x="134" y="71"/>
                    <a:pt x="131" y="71"/>
                    <a:pt x="128" y="70"/>
                  </a:cubicBezTo>
                  <a:cubicBezTo>
                    <a:pt x="126" y="70"/>
                    <a:pt x="122" y="68"/>
                    <a:pt x="121" y="65"/>
                  </a:cubicBezTo>
                  <a:cubicBezTo>
                    <a:pt x="121" y="65"/>
                    <a:pt x="121" y="65"/>
                    <a:pt x="121" y="65"/>
                  </a:cubicBezTo>
                  <a:cubicBezTo>
                    <a:pt x="121" y="65"/>
                    <a:pt x="121" y="65"/>
                    <a:pt x="121" y="65"/>
                  </a:cubicBezTo>
                  <a:cubicBezTo>
                    <a:pt x="121" y="65"/>
                    <a:pt x="123" y="66"/>
                    <a:pt x="127" y="66"/>
                  </a:cubicBezTo>
                  <a:cubicBezTo>
                    <a:pt x="131" y="67"/>
                    <a:pt x="136" y="66"/>
                    <a:pt x="136" y="66"/>
                  </a:cubicBezTo>
                  <a:cubicBezTo>
                    <a:pt x="136" y="63"/>
                    <a:pt x="136" y="56"/>
                    <a:pt x="136" y="56"/>
                  </a:cubicBezTo>
                  <a:cubicBezTo>
                    <a:pt x="136" y="54"/>
                    <a:pt x="136" y="52"/>
                    <a:pt x="136" y="51"/>
                  </a:cubicBezTo>
                  <a:cubicBezTo>
                    <a:pt x="135" y="52"/>
                    <a:pt x="128" y="51"/>
                    <a:pt x="123" y="46"/>
                  </a:cubicBezTo>
                  <a:cubicBezTo>
                    <a:pt x="123" y="46"/>
                    <a:pt x="121" y="44"/>
                    <a:pt x="123" y="41"/>
                  </a:cubicBezTo>
                  <a:cubicBezTo>
                    <a:pt x="112" y="36"/>
                    <a:pt x="112" y="36"/>
                    <a:pt x="112" y="36"/>
                  </a:cubicBezTo>
                  <a:cubicBezTo>
                    <a:pt x="112" y="36"/>
                    <a:pt x="112" y="36"/>
                    <a:pt x="112" y="36"/>
                  </a:cubicBezTo>
                  <a:cubicBezTo>
                    <a:pt x="113" y="36"/>
                    <a:pt x="115" y="34"/>
                    <a:pt x="115" y="32"/>
                  </a:cubicBezTo>
                  <a:cubicBezTo>
                    <a:pt x="115" y="31"/>
                    <a:pt x="114" y="30"/>
                    <a:pt x="114" y="30"/>
                  </a:cubicBezTo>
                  <a:cubicBezTo>
                    <a:pt x="113" y="29"/>
                    <a:pt x="110" y="28"/>
                    <a:pt x="108" y="29"/>
                  </a:cubicBezTo>
                  <a:cubicBezTo>
                    <a:pt x="105" y="29"/>
                    <a:pt x="103" y="32"/>
                    <a:pt x="103" y="32"/>
                  </a:cubicBezTo>
                  <a:cubicBezTo>
                    <a:pt x="103" y="32"/>
                    <a:pt x="103" y="32"/>
                    <a:pt x="103" y="32"/>
                  </a:cubicBezTo>
                  <a:cubicBezTo>
                    <a:pt x="90" y="26"/>
                    <a:pt x="90" y="26"/>
                    <a:pt x="90" y="26"/>
                  </a:cubicBezTo>
                  <a:cubicBezTo>
                    <a:pt x="79" y="37"/>
                    <a:pt x="79" y="37"/>
                    <a:pt x="79" y="37"/>
                  </a:cubicBezTo>
                  <a:cubicBezTo>
                    <a:pt x="79" y="37"/>
                    <a:pt x="79" y="38"/>
                    <a:pt x="79" y="39"/>
                  </a:cubicBezTo>
                  <a:cubicBezTo>
                    <a:pt x="79" y="40"/>
                    <a:pt x="79" y="40"/>
                    <a:pt x="79" y="40"/>
                  </a:cubicBezTo>
                  <a:cubicBezTo>
                    <a:pt x="79" y="40"/>
                    <a:pt x="79" y="41"/>
                    <a:pt x="78" y="41"/>
                  </a:cubicBezTo>
                  <a:cubicBezTo>
                    <a:pt x="78" y="42"/>
                    <a:pt x="77" y="42"/>
                    <a:pt x="77" y="43"/>
                  </a:cubicBezTo>
                  <a:cubicBezTo>
                    <a:pt x="76" y="44"/>
                    <a:pt x="76" y="44"/>
                    <a:pt x="75" y="45"/>
                  </a:cubicBezTo>
                  <a:cubicBezTo>
                    <a:pt x="74" y="46"/>
                    <a:pt x="74" y="47"/>
                    <a:pt x="73" y="47"/>
                  </a:cubicBezTo>
                  <a:cubicBezTo>
                    <a:pt x="72" y="49"/>
                    <a:pt x="72" y="50"/>
                    <a:pt x="72" y="51"/>
                  </a:cubicBezTo>
                  <a:cubicBezTo>
                    <a:pt x="72" y="51"/>
                    <a:pt x="72" y="51"/>
                    <a:pt x="72" y="51"/>
                  </a:cubicBezTo>
                  <a:cubicBezTo>
                    <a:pt x="72" y="52"/>
                    <a:pt x="70" y="54"/>
                    <a:pt x="75" y="58"/>
                  </a:cubicBezTo>
                  <a:cubicBezTo>
                    <a:pt x="75" y="58"/>
                    <a:pt x="75" y="58"/>
                    <a:pt x="75" y="58"/>
                  </a:cubicBezTo>
                  <a:cubicBezTo>
                    <a:pt x="75" y="58"/>
                    <a:pt x="75" y="58"/>
                    <a:pt x="75" y="58"/>
                  </a:cubicBezTo>
                  <a:cubicBezTo>
                    <a:pt x="76" y="58"/>
                    <a:pt x="76" y="58"/>
                    <a:pt x="76" y="58"/>
                  </a:cubicBezTo>
                  <a:cubicBezTo>
                    <a:pt x="76" y="58"/>
                    <a:pt x="76" y="58"/>
                    <a:pt x="76" y="58"/>
                  </a:cubicBezTo>
                  <a:cubicBezTo>
                    <a:pt x="76" y="58"/>
                    <a:pt x="76" y="58"/>
                    <a:pt x="76" y="58"/>
                  </a:cubicBezTo>
                  <a:cubicBezTo>
                    <a:pt x="76" y="58"/>
                    <a:pt x="76" y="58"/>
                    <a:pt x="76" y="58"/>
                  </a:cubicBezTo>
                  <a:cubicBezTo>
                    <a:pt x="77" y="58"/>
                    <a:pt x="77" y="59"/>
                    <a:pt x="78" y="60"/>
                  </a:cubicBezTo>
                  <a:cubicBezTo>
                    <a:pt x="78" y="59"/>
                    <a:pt x="79" y="58"/>
                    <a:pt x="80" y="57"/>
                  </a:cubicBezTo>
                  <a:cubicBezTo>
                    <a:pt x="81" y="55"/>
                    <a:pt x="82" y="54"/>
                    <a:pt x="84" y="53"/>
                  </a:cubicBezTo>
                  <a:cubicBezTo>
                    <a:pt x="85" y="52"/>
                    <a:pt x="87" y="51"/>
                    <a:pt x="89" y="51"/>
                  </a:cubicBezTo>
                  <a:cubicBezTo>
                    <a:pt x="91" y="51"/>
                    <a:pt x="92" y="52"/>
                    <a:pt x="93" y="53"/>
                  </a:cubicBezTo>
                  <a:cubicBezTo>
                    <a:pt x="95" y="55"/>
                    <a:pt x="95" y="59"/>
                    <a:pt x="95" y="61"/>
                  </a:cubicBezTo>
                  <a:cubicBezTo>
                    <a:pt x="95" y="61"/>
                    <a:pt x="95" y="61"/>
                    <a:pt x="95" y="61"/>
                  </a:cubicBezTo>
                  <a:cubicBezTo>
                    <a:pt x="95" y="61"/>
                    <a:pt x="95" y="61"/>
                    <a:pt x="95" y="61"/>
                  </a:cubicBezTo>
                  <a:cubicBezTo>
                    <a:pt x="94" y="61"/>
                    <a:pt x="93" y="60"/>
                    <a:pt x="93" y="60"/>
                  </a:cubicBezTo>
                  <a:cubicBezTo>
                    <a:pt x="92" y="59"/>
                    <a:pt x="87" y="57"/>
                    <a:pt x="82" y="60"/>
                  </a:cubicBezTo>
                  <a:cubicBezTo>
                    <a:pt x="81" y="60"/>
                    <a:pt x="81" y="60"/>
                    <a:pt x="81" y="60"/>
                  </a:cubicBezTo>
                  <a:cubicBezTo>
                    <a:pt x="79" y="61"/>
                    <a:pt x="76" y="62"/>
                    <a:pt x="71" y="64"/>
                  </a:cubicBezTo>
                  <a:cubicBezTo>
                    <a:pt x="69" y="64"/>
                    <a:pt x="67" y="64"/>
                    <a:pt x="66" y="64"/>
                  </a:cubicBezTo>
                  <a:cubicBezTo>
                    <a:pt x="66" y="63"/>
                    <a:pt x="65" y="63"/>
                    <a:pt x="65" y="62"/>
                  </a:cubicBezTo>
                  <a:cubicBezTo>
                    <a:pt x="65" y="60"/>
                    <a:pt x="65" y="59"/>
                    <a:pt x="65" y="58"/>
                  </a:cubicBezTo>
                  <a:cubicBezTo>
                    <a:pt x="64" y="58"/>
                    <a:pt x="62" y="59"/>
                    <a:pt x="61" y="62"/>
                  </a:cubicBezTo>
                  <a:cubicBezTo>
                    <a:pt x="61" y="63"/>
                    <a:pt x="61" y="65"/>
                    <a:pt x="62" y="66"/>
                  </a:cubicBezTo>
                  <a:cubicBezTo>
                    <a:pt x="62" y="67"/>
                    <a:pt x="63" y="68"/>
                    <a:pt x="65" y="69"/>
                  </a:cubicBezTo>
                  <a:cubicBezTo>
                    <a:pt x="67" y="69"/>
                    <a:pt x="70" y="68"/>
                    <a:pt x="75" y="65"/>
                  </a:cubicBezTo>
                  <a:cubicBezTo>
                    <a:pt x="78" y="64"/>
                    <a:pt x="79" y="63"/>
                    <a:pt x="81" y="63"/>
                  </a:cubicBezTo>
                  <a:cubicBezTo>
                    <a:pt x="84" y="61"/>
                    <a:pt x="86" y="61"/>
                    <a:pt x="89" y="63"/>
                  </a:cubicBezTo>
                  <a:cubicBezTo>
                    <a:pt x="92" y="64"/>
                    <a:pt x="93" y="65"/>
                    <a:pt x="93" y="65"/>
                  </a:cubicBezTo>
                  <a:cubicBezTo>
                    <a:pt x="93" y="65"/>
                    <a:pt x="93" y="65"/>
                    <a:pt x="93" y="66"/>
                  </a:cubicBezTo>
                  <a:cubicBezTo>
                    <a:pt x="93" y="66"/>
                    <a:pt x="92" y="68"/>
                    <a:pt x="88" y="69"/>
                  </a:cubicBezTo>
                  <a:cubicBezTo>
                    <a:pt x="85" y="69"/>
                    <a:pt x="83" y="67"/>
                    <a:pt x="81" y="66"/>
                  </a:cubicBezTo>
                  <a:cubicBezTo>
                    <a:pt x="81" y="66"/>
                    <a:pt x="81" y="67"/>
                    <a:pt x="81" y="68"/>
                  </a:cubicBezTo>
                  <a:cubicBezTo>
                    <a:pt x="80" y="69"/>
                    <a:pt x="80" y="69"/>
                    <a:pt x="80" y="70"/>
                  </a:cubicBezTo>
                  <a:cubicBezTo>
                    <a:pt x="80" y="70"/>
                    <a:pt x="81" y="71"/>
                    <a:pt x="80" y="72"/>
                  </a:cubicBezTo>
                  <a:cubicBezTo>
                    <a:pt x="80" y="73"/>
                    <a:pt x="78" y="74"/>
                    <a:pt x="77" y="75"/>
                  </a:cubicBezTo>
                  <a:cubicBezTo>
                    <a:pt x="76" y="75"/>
                    <a:pt x="76" y="75"/>
                    <a:pt x="76" y="75"/>
                  </a:cubicBezTo>
                  <a:cubicBezTo>
                    <a:pt x="75" y="76"/>
                    <a:pt x="72" y="77"/>
                    <a:pt x="70" y="78"/>
                  </a:cubicBezTo>
                  <a:cubicBezTo>
                    <a:pt x="71" y="79"/>
                    <a:pt x="72" y="82"/>
                    <a:pt x="73" y="83"/>
                  </a:cubicBezTo>
                  <a:cubicBezTo>
                    <a:pt x="73" y="83"/>
                    <a:pt x="73" y="83"/>
                    <a:pt x="73" y="84"/>
                  </a:cubicBezTo>
                  <a:cubicBezTo>
                    <a:pt x="74" y="86"/>
                    <a:pt x="76" y="89"/>
                    <a:pt x="77" y="90"/>
                  </a:cubicBezTo>
                  <a:cubicBezTo>
                    <a:pt x="78" y="90"/>
                    <a:pt x="81" y="89"/>
                    <a:pt x="83" y="88"/>
                  </a:cubicBezTo>
                  <a:cubicBezTo>
                    <a:pt x="86" y="86"/>
                    <a:pt x="88" y="85"/>
                    <a:pt x="88" y="83"/>
                  </a:cubicBezTo>
                  <a:cubicBezTo>
                    <a:pt x="88" y="83"/>
                    <a:pt x="88" y="83"/>
                    <a:pt x="89" y="83"/>
                  </a:cubicBezTo>
                  <a:cubicBezTo>
                    <a:pt x="89" y="83"/>
                    <a:pt x="89" y="83"/>
                    <a:pt x="89" y="84"/>
                  </a:cubicBezTo>
                  <a:cubicBezTo>
                    <a:pt x="85" y="92"/>
                    <a:pt x="82" y="95"/>
                    <a:pt x="80" y="96"/>
                  </a:cubicBezTo>
                  <a:cubicBezTo>
                    <a:pt x="79" y="96"/>
                    <a:pt x="78" y="97"/>
                    <a:pt x="77" y="98"/>
                  </a:cubicBezTo>
                  <a:cubicBezTo>
                    <a:pt x="68" y="104"/>
                    <a:pt x="52" y="115"/>
                    <a:pt x="36" y="117"/>
                  </a:cubicBezTo>
                  <a:cubicBezTo>
                    <a:pt x="31" y="117"/>
                    <a:pt x="23" y="110"/>
                    <a:pt x="21" y="107"/>
                  </a:cubicBezTo>
                  <a:cubicBezTo>
                    <a:pt x="21" y="107"/>
                    <a:pt x="20" y="106"/>
                    <a:pt x="20" y="106"/>
                  </a:cubicBezTo>
                  <a:cubicBezTo>
                    <a:pt x="18" y="106"/>
                    <a:pt x="17" y="108"/>
                    <a:pt x="17" y="108"/>
                  </a:cubicBezTo>
                  <a:cubicBezTo>
                    <a:pt x="17" y="108"/>
                    <a:pt x="16" y="108"/>
                    <a:pt x="16" y="108"/>
                  </a:cubicBezTo>
                  <a:cubicBezTo>
                    <a:pt x="16" y="108"/>
                    <a:pt x="10" y="107"/>
                    <a:pt x="7" y="111"/>
                  </a:cubicBezTo>
                  <a:cubicBezTo>
                    <a:pt x="7" y="111"/>
                    <a:pt x="8" y="111"/>
                    <a:pt x="8" y="111"/>
                  </a:cubicBezTo>
                  <a:cubicBezTo>
                    <a:pt x="10" y="111"/>
                    <a:pt x="11" y="111"/>
                    <a:pt x="13" y="111"/>
                  </a:cubicBezTo>
                  <a:cubicBezTo>
                    <a:pt x="13" y="111"/>
                    <a:pt x="14" y="111"/>
                    <a:pt x="14" y="112"/>
                  </a:cubicBezTo>
                  <a:cubicBezTo>
                    <a:pt x="14" y="112"/>
                    <a:pt x="14" y="112"/>
                    <a:pt x="13" y="113"/>
                  </a:cubicBezTo>
                  <a:cubicBezTo>
                    <a:pt x="13" y="113"/>
                    <a:pt x="12" y="114"/>
                    <a:pt x="12" y="114"/>
                  </a:cubicBezTo>
                  <a:cubicBezTo>
                    <a:pt x="12" y="116"/>
                    <a:pt x="18" y="118"/>
                    <a:pt x="21" y="119"/>
                  </a:cubicBezTo>
                  <a:cubicBezTo>
                    <a:pt x="22" y="119"/>
                    <a:pt x="22" y="119"/>
                    <a:pt x="23" y="119"/>
                  </a:cubicBezTo>
                  <a:cubicBezTo>
                    <a:pt x="23" y="119"/>
                    <a:pt x="24" y="120"/>
                    <a:pt x="23" y="120"/>
                  </a:cubicBezTo>
                  <a:cubicBezTo>
                    <a:pt x="23" y="121"/>
                    <a:pt x="23" y="121"/>
                    <a:pt x="23" y="121"/>
                  </a:cubicBezTo>
                  <a:cubicBezTo>
                    <a:pt x="19" y="121"/>
                    <a:pt x="16" y="119"/>
                    <a:pt x="14" y="118"/>
                  </a:cubicBezTo>
                  <a:cubicBezTo>
                    <a:pt x="13" y="118"/>
                    <a:pt x="12" y="118"/>
                    <a:pt x="12" y="117"/>
                  </a:cubicBezTo>
                  <a:cubicBezTo>
                    <a:pt x="9" y="117"/>
                    <a:pt x="8" y="117"/>
                    <a:pt x="7" y="117"/>
                  </a:cubicBezTo>
                  <a:cubicBezTo>
                    <a:pt x="6" y="118"/>
                    <a:pt x="6" y="118"/>
                    <a:pt x="6" y="119"/>
                  </a:cubicBezTo>
                  <a:cubicBezTo>
                    <a:pt x="6" y="119"/>
                    <a:pt x="5" y="120"/>
                    <a:pt x="5" y="120"/>
                  </a:cubicBezTo>
                  <a:cubicBezTo>
                    <a:pt x="3" y="121"/>
                    <a:pt x="0" y="122"/>
                    <a:pt x="0" y="128"/>
                  </a:cubicBezTo>
                  <a:cubicBezTo>
                    <a:pt x="0" y="128"/>
                    <a:pt x="1" y="127"/>
                    <a:pt x="1" y="127"/>
                  </a:cubicBezTo>
                  <a:cubicBezTo>
                    <a:pt x="3" y="125"/>
                    <a:pt x="4" y="123"/>
                    <a:pt x="5" y="124"/>
                  </a:cubicBezTo>
                  <a:cubicBezTo>
                    <a:pt x="5" y="124"/>
                    <a:pt x="6" y="124"/>
                    <a:pt x="6" y="124"/>
                  </a:cubicBezTo>
                  <a:cubicBezTo>
                    <a:pt x="6" y="129"/>
                    <a:pt x="12" y="128"/>
                    <a:pt x="16" y="127"/>
                  </a:cubicBezTo>
                  <a:cubicBezTo>
                    <a:pt x="19" y="127"/>
                    <a:pt x="21" y="127"/>
                    <a:pt x="22" y="127"/>
                  </a:cubicBezTo>
                  <a:cubicBezTo>
                    <a:pt x="22" y="128"/>
                    <a:pt x="22" y="128"/>
                    <a:pt x="22" y="128"/>
                  </a:cubicBezTo>
                  <a:cubicBezTo>
                    <a:pt x="22" y="128"/>
                    <a:pt x="21" y="129"/>
                    <a:pt x="19" y="129"/>
                  </a:cubicBezTo>
                  <a:cubicBezTo>
                    <a:pt x="16" y="129"/>
                    <a:pt x="12" y="130"/>
                    <a:pt x="11" y="132"/>
                  </a:cubicBezTo>
                  <a:cubicBezTo>
                    <a:pt x="11" y="132"/>
                    <a:pt x="11" y="133"/>
                    <a:pt x="11" y="133"/>
                  </a:cubicBezTo>
                  <a:cubicBezTo>
                    <a:pt x="11" y="133"/>
                    <a:pt x="11" y="134"/>
                    <a:pt x="11" y="134"/>
                  </a:cubicBezTo>
                  <a:cubicBezTo>
                    <a:pt x="9" y="136"/>
                    <a:pt x="6" y="139"/>
                    <a:pt x="10" y="143"/>
                  </a:cubicBezTo>
                  <a:cubicBezTo>
                    <a:pt x="10" y="142"/>
                    <a:pt x="11" y="140"/>
                    <a:pt x="12" y="138"/>
                  </a:cubicBezTo>
                  <a:cubicBezTo>
                    <a:pt x="13" y="138"/>
                    <a:pt x="14" y="137"/>
                    <a:pt x="14" y="138"/>
                  </a:cubicBezTo>
                  <a:cubicBezTo>
                    <a:pt x="15" y="138"/>
                    <a:pt x="16" y="138"/>
                    <a:pt x="17" y="138"/>
                  </a:cubicBezTo>
                  <a:cubicBezTo>
                    <a:pt x="19" y="139"/>
                    <a:pt x="20" y="140"/>
                    <a:pt x="23" y="138"/>
                  </a:cubicBezTo>
                  <a:cubicBezTo>
                    <a:pt x="23" y="138"/>
                    <a:pt x="23" y="137"/>
                    <a:pt x="23" y="137"/>
                  </a:cubicBezTo>
                  <a:cubicBezTo>
                    <a:pt x="24" y="136"/>
                    <a:pt x="26" y="135"/>
                    <a:pt x="30" y="134"/>
                  </a:cubicBezTo>
                  <a:cubicBezTo>
                    <a:pt x="30" y="134"/>
                    <a:pt x="30" y="134"/>
                    <a:pt x="30" y="134"/>
                  </a:cubicBezTo>
                  <a:cubicBezTo>
                    <a:pt x="30" y="134"/>
                    <a:pt x="30" y="134"/>
                    <a:pt x="31" y="135"/>
                  </a:cubicBezTo>
                  <a:cubicBezTo>
                    <a:pt x="31" y="135"/>
                    <a:pt x="31" y="136"/>
                    <a:pt x="31" y="137"/>
                  </a:cubicBezTo>
                  <a:cubicBezTo>
                    <a:pt x="31" y="137"/>
                    <a:pt x="32" y="137"/>
                    <a:pt x="32" y="137"/>
                  </a:cubicBezTo>
                  <a:cubicBezTo>
                    <a:pt x="33" y="138"/>
                    <a:pt x="33" y="138"/>
                    <a:pt x="33" y="138"/>
                  </a:cubicBezTo>
                  <a:cubicBezTo>
                    <a:pt x="33" y="140"/>
                    <a:pt x="31" y="142"/>
                    <a:pt x="31" y="143"/>
                  </a:cubicBezTo>
                  <a:cubicBezTo>
                    <a:pt x="31" y="143"/>
                    <a:pt x="31" y="143"/>
                    <a:pt x="31" y="143"/>
                  </a:cubicBezTo>
                  <a:cubicBezTo>
                    <a:pt x="31" y="143"/>
                    <a:pt x="32" y="143"/>
                    <a:pt x="32" y="143"/>
                  </a:cubicBezTo>
                  <a:cubicBezTo>
                    <a:pt x="34" y="142"/>
                    <a:pt x="35" y="141"/>
                    <a:pt x="37" y="139"/>
                  </a:cubicBezTo>
                  <a:cubicBezTo>
                    <a:pt x="37" y="138"/>
                    <a:pt x="38" y="138"/>
                    <a:pt x="38" y="138"/>
                  </a:cubicBezTo>
                  <a:cubicBezTo>
                    <a:pt x="39" y="138"/>
                    <a:pt x="39" y="138"/>
                    <a:pt x="39" y="138"/>
                  </a:cubicBezTo>
                  <a:cubicBezTo>
                    <a:pt x="42" y="138"/>
                    <a:pt x="41" y="137"/>
                    <a:pt x="41" y="135"/>
                  </a:cubicBezTo>
                  <a:cubicBezTo>
                    <a:pt x="41" y="134"/>
                    <a:pt x="41" y="133"/>
                    <a:pt x="42" y="132"/>
                  </a:cubicBezTo>
                  <a:cubicBezTo>
                    <a:pt x="45" y="129"/>
                    <a:pt x="49" y="127"/>
                    <a:pt x="52" y="126"/>
                  </a:cubicBezTo>
                  <a:cubicBezTo>
                    <a:pt x="52" y="126"/>
                    <a:pt x="52" y="126"/>
                    <a:pt x="52" y="126"/>
                  </a:cubicBezTo>
                  <a:cubicBezTo>
                    <a:pt x="52" y="126"/>
                    <a:pt x="52" y="126"/>
                    <a:pt x="52" y="126"/>
                  </a:cubicBezTo>
                  <a:cubicBezTo>
                    <a:pt x="52" y="126"/>
                    <a:pt x="51" y="130"/>
                    <a:pt x="53" y="133"/>
                  </a:cubicBezTo>
                  <a:cubicBezTo>
                    <a:pt x="65" y="130"/>
                    <a:pt x="65" y="130"/>
                    <a:pt x="65" y="130"/>
                  </a:cubicBezTo>
                  <a:cubicBezTo>
                    <a:pt x="64" y="126"/>
                    <a:pt x="67" y="122"/>
                    <a:pt x="69" y="119"/>
                  </a:cubicBezTo>
                  <a:cubicBezTo>
                    <a:pt x="69" y="119"/>
                    <a:pt x="69" y="119"/>
                    <a:pt x="69" y="119"/>
                  </a:cubicBezTo>
                  <a:cubicBezTo>
                    <a:pt x="69" y="119"/>
                    <a:pt x="69" y="119"/>
                    <a:pt x="69" y="121"/>
                  </a:cubicBezTo>
                  <a:cubicBezTo>
                    <a:pt x="69" y="123"/>
                    <a:pt x="68" y="128"/>
                    <a:pt x="69" y="129"/>
                  </a:cubicBezTo>
                  <a:cubicBezTo>
                    <a:pt x="82" y="126"/>
                    <a:pt x="82" y="126"/>
                    <a:pt x="82" y="126"/>
                  </a:cubicBezTo>
                  <a:cubicBezTo>
                    <a:pt x="81" y="124"/>
                    <a:pt x="82" y="120"/>
                    <a:pt x="83" y="118"/>
                  </a:cubicBezTo>
                  <a:cubicBezTo>
                    <a:pt x="83" y="118"/>
                    <a:pt x="83" y="118"/>
                    <a:pt x="83" y="118"/>
                  </a:cubicBezTo>
                  <a:cubicBezTo>
                    <a:pt x="83" y="118"/>
                    <a:pt x="83" y="118"/>
                    <a:pt x="83" y="118"/>
                  </a:cubicBezTo>
                  <a:cubicBezTo>
                    <a:pt x="85" y="126"/>
                    <a:pt x="88" y="130"/>
                    <a:pt x="93" y="133"/>
                  </a:cubicBezTo>
                  <a:cubicBezTo>
                    <a:pt x="101" y="136"/>
                    <a:pt x="107" y="138"/>
                    <a:pt x="116" y="140"/>
                  </a:cubicBezTo>
                  <a:cubicBezTo>
                    <a:pt x="119" y="141"/>
                    <a:pt x="122" y="142"/>
                    <a:pt x="126" y="143"/>
                  </a:cubicBezTo>
                  <a:cubicBezTo>
                    <a:pt x="130" y="144"/>
                    <a:pt x="134" y="146"/>
                    <a:pt x="136" y="147"/>
                  </a:cubicBezTo>
                  <a:cubicBezTo>
                    <a:pt x="136" y="147"/>
                    <a:pt x="137" y="147"/>
                    <a:pt x="137" y="148"/>
                  </a:cubicBezTo>
                  <a:cubicBezTo>
                    <a:pt x="137" y="149"/>
                    <a:pt x="135" y="151"/>
                    <a:pt x="135" y="151"/>
                  </a:cubicBezTo>
                  <a:cubicBezTo>
                    <a:pt x="135" y="151"/>
                    <a:pt x="135" y="152"/>
                    <a:pt x="136" y="152"/>
                  </a:cubicBezTo>
                  <a:cubicBezTo>
                    <a:pt x="137" y="152"/>
                    <a:pt x="139" y="153"/>
                    <a:pt x="142" y="155"/>
                  </a:cubicBezTo>
                  <a:cubicBezTo>
                    <a:pt x="146" y="158"/>
                    <a:pt x="148" y="165"/>
                    <a:pt x="149" y="172"/>
                  </a:cubicBezTo>
                  <a:cubicBezTo>
                    <a:pt x="151" y="177"/>
                    <a:pt x="152" y="184"/>
                    <a:pt x="150" y="186"/>
                  </a:cubicBezTo>
                  <a:cubicBezTo>
                    <a:pt x="149" y="187"/>
                    <a:pt x="148" y="188"/>
                    <a:pt x="142" y="189"/>
                  </a:cubicBezTo>
                  <a:cubicBezTo>
                    <a:pt x="143" y="194"/>
                    <a:pt x="143" y="194"/>
                    <a:pt x="143" y="194"/>
                  </a:cubicBezTo>
                  <a:cubicBezTo>
                    <a:pt x="147" y="194"/>
                    <a:pt x="150" y="193"/>
                    <a:pt x="150" y="193"/>
                  </a:cubicBezTo>
                  <a:cubicBezTo>
                    <a:pt x="150" y="193"/>
                    <a:pt x="150" y="193"/>
                    <a:pt x="151" y="193"/>
                  </a:cubicBezTo>
                  <a:cubicBezTo>
                    <a:pt x="151" y="193"/>
                    <a:pt x="151" y="193"/>
                    <a:pt x="150" y="193"/>
                  </a:cubicBezTo>
                  <a:cubicBezTo>
                    <a:pt x="150" y="193"/>
                    <a:pt x="150" y="193"/>
                    <a:pt x="150" y="194"/>
                  </a:cubicBezTo>
                  <a:cubicBezTo>
                    <a:pt x="148" y="196"/>
                    <a:pt x="148" y="197"/>
                    <a:pt x="148" y="199"/>
                  </a:cubicBezTo>
                  <a:cubicBezTo>
                    <a:pt x="153" y="202"/>
                    <a:pt x="153" y="202"/>
                    <a:pt x="153" y="202"/>
                  </a:cubicBezTo>
                  <a:cubicBezTo>
                    <a:pt x="154" y="198"/>
                    <a:pt x="155" y="194"/>
                    <a:pt x="157" y="193"/>
                  </a:cubicBezTo>
                  <a:cubicBezTo>
                    <a:pt x="160" y="192"/>
                    <a:pt x="171" y="198"/>
                    <a:pt x="175" y="208"/>
                  </a:cubicBezTo>
                  <a:cubicBezTo>
                    <a:pt x="176" y="213"/>
                    <a:pt x="177" y="221"/>
                    <a:pt x="174" y="226"/>
                  </a:cubicBezTo>
                  <a:cubicBezTo>
                    <a:pt x="173" y="228"/>
                    <a:pt x="171" y="229"/>
                    <a:pt x="170" y="229"/>
                  </a:cubicBezTo>
                  <a:cubicBezTo>
                    <a:pt x="168" y="229"/>
                    <a:pt x="166" y="228"/>
                    <a:pt x="164" y="227"/>
                  </a:cubicBezTo>
                  <a:cubicBezTo>
                    <a:pt x="161" y="226"/>
                    <a:pt x="158" y="224"/>
                    <a:pt x="157" y="226"/>
                  </a:cubicBezTo>
                  <a:cubicBezTo>
                    <a:pt x="157" y="227"/>
                    <a:pt x="155" y="228"/>
                    <a:pt x="154" y="228"/>
                  </a:cubicBezTo>
                  <a:cubicBezTo>
                    <a:pt x="151" y="230"/>
                    <a:pt x="148" y="232"/>
                    <a:pt x="150" y="237"/>
                  </a:cubicBezTo>
                  <a:cubicBezTo>
                    <a:pt x="152" y="234"/>
                    <a:pt x="154" y="233"/>
                    <a:pt x="155" y="234"/>
                  </a:cubicBezTo>
                  <a:cubicBezTo>
                    <a:pt x="156" y="234"/>
                    <a:pt x="156" y="234"/>
                    <a:pt x="156" y="235"/>
                  </a:cubicBezTo>
                  <a:cubicBezTo>
                    <a:pt x="156" y="235"/>
                    <a:pt x="157" y="236"/>
                    <a:pt x="157" y="236"/>
                  </a:cubicBezTo>
                  <a:cubicBezTo>
                    <a:pt x="157" y="237"/>
                    <a:pt x="160" y="237"/>
                    <a:pt x="162" y="236"/>
                  </a:cubicBezTo>
                  <a:cubicBezTo>
                    <a:pt x="164" y="236"/>
                    <a:pt x="167" y="236"/>
                    <a:pt x="167" y="237"/>
                  </a:cubicBezTo>
                  <a:cubicBezTo>
                    <a:pt x="167" y="237"/>
                    <a:pt x="167" y="237"/>
                    <a:pt x="167" y="237"/>
                  </a:cubicBezTo>
                  <a:cubicBezTo>
                    <a:pt x="167" y="238"/>
                    <a:pt x="166" y="238"/>
                    <a:pt x="165" y="238"/>
                  </a:cubicBezTo>
                  <a:cubicBezTo>
                    <a:pt x="165" y="238"/>
                    <a:pt x="165" y="238"/>
                    <a:pt x="165" y="238"/>
                  </a:cubicBezTo>
                  <a:cubicBezTo>
                    <a:pt x="164" y="238"/>
                    <a:pt x="164" y="238"/>
                    <a:pt x="163" y="238"/>
                  </a:cubicBezTo>
                  <a:cubicBezTo>
                    <a:pt x="159" y="239"/>
                    <a:pt x="155" y="239"/>
                    <a:pt x="155" y="241"/>
                  </a:cubicBezTo>
                  <a:cubicBezTo>
                    <a:pt x="155" y="241"/>
                    <a:pt x="155" y="241"/>
                    <a:pt x="155" y="242"/>
                  </a:cubicBezTo>
                  <a:cubicBezTo>
                    <a:pt x="155" y="242"/>
                    <a:pt x="155" y="242"/>
                    <a:pt x="155" y="243"/>
                  </a:cubicBezTo>
                  <a:cubicBezTo>
                    <a:pt x="154" y="244"/>
                    <a:pt x="154" y="245"/>
                    <a:pt x="153" y="245"/>
                  </a:cubicBezTo>
                  <a:cubicBezTo>
                    <a:pt x="151" y="246"/>
                    <a:pt x="150" y="247"/>
                    <a:pt x="150" y="251"/>
                  </a:cubicBezTo>
                  <a:cubicBezTo>
                    <a:pt x="150" y="254"/>
                    <a:pt x="153" y="256"/>
                    <a:pt x="153" y="256"/>
                  </a:cubicBezTo>
                  <a:cubicBezTo>
                    <a:pt x="153" y="256"/>
                    <a:pt x="153" y="255"/>
                    <a:pt x="153" y="255"/>
                  </a:cubicBezTo>
                  <a:cubicBezTo>
                    <a:pt x="153" y="253"/>
                    <a:pt x="154" y="250"/>
                    <a:pt x="156" y="249"/>
                  </a:cubicBezTo>
                  <a:cubicBezTo>
                    <a:pt x="156" y="249"/>
                    <a:pt x="157" y="250"/>
                    <a:pt x="157" y="250"/>
                  </a:cubicBezTo>
                  <a:cubicBezTo>
                    <a:pt x="158" y="251"/>
                    <a:pt x="158" y="252"/>
                    <a:pt x="159" y="252"/>
                  </a:cubicBezTo>
                  <a:cubicBezTo>
                    <a:pt x="161" y="251"/>
                    <a:pt x="163" y="249"/>
                    <a:pt x="165" y="247"/>
                  </a:cubicBezTo>
                  <a:cubicBezTo>
                    <a:pt x="168" y="245"/>
                    <a:pt x="170" y="243"/>
                    <a:pt x="172" y="243"/>
                  </a:cubicBezTo>
                  <a:cubicBezTo>
                    <a:pt x="172" y="243"/>
                    <a:pt x="172" y="243"/>
                    <a:pt x="172" y="243"/>
                  </a:cubicBezTo>
                  <a:cubicBezTo>
                    <a:pt x="172" y="243"/>
                    <a:pt x="172" y="243"/>
                    <a:pt x="172" y="243"/>
                  </a:cubicBezTo>
                  <a:cubicBezTo>
                    <a:pt x="172" y="243"/>
                    <a:pt x="172" y="243"/>
                    <a:pt x="172" y="243"/>
                  </a:cubicBezTo>
                  <a:cubicBezTo>
                    <a:pt x="172" y="243"/>
                    <a:pt x="172" y="244"/>
                    <a:pt x="170" y="245"/>
                  </a:cubicBezTo>
                  <a:cubicBezTo>
                    <a:pt x="169" y="247"/>
                    <a:pt x="166" y="249"/>
                    <a:pt x="166" y="251"/>
                  </a:cubicBezTo>
                  <a:cubicBezTo>
                    <a:pt x="165" y="252"/>
                    <a:pt x="166" y="253"/>
                    <a:pt x="167" y="254"/>
                  </a:cubicBezTo>
                  <a:cubicBezTo>
                    <a:pt x="168" y="255"/>
                    <a:pt x="168" y="255"/>
                    <a:pt x="168" y="256"/>
                  </a:cubicBezTo>
                  <a:cubicBezTo>
                    <a:pt x="168" y="258"/>
                    <a:pt x="170" y="260"/>
                    <a:pt x="172" y="261"/>
                  </a:cubicBezTo>
                  <a:cubicBezTo>
                    <a:pt x="175" y="262"/>
                    <a:pt x="178" y="262"/>
                    <a:pt x="178" y="262"/>
                  </a:cubicBezTo>
                  <a:cubicBezTo>
                    <a:pt x="178" y="262"/>
                    <a:pt x="177" y="261"/>
                    <a:pt x="176" y="261"/>
                  </a:cubicBezTo>
                  <a:cubicBezTo>
                    <a:pt x="175" y="259"/>
                    <a:pt x="173" y="256"/>
                    <a:pt x="174" y="255"/>
                  </a:cubicBezTo>
                  <a:cubicBezTo>
                    <a:pt x="174" y="254"/>
                    <a:pt x="175" y="255"/>
                    <a:pt x="176" y="255"/>
                  </a:cubicBezTo>
                  <a:cubicBezTo>
                    <a:pt x="176" y="255"/>
                    <a:pt x="177" y="255"/>
                    <a:pt x="178" y="255"/>
                  </a:cubicBezTo>
                  <a:cubicBezTo>
                    <a:pt x="178" y="255"/>
                    <a:pt x="178" y="254"/>
                    <a:pt x="178" y="253"/>
                  </a:cubicBezTo>
                  <a:cubicBezTo>
                    <a:pt x="178" y="251"/>
                    <a:pt x="177" y="246"/>
                    <a:pt x="183" y="240"/>
                  </a:cubicBezTo>
                  <a:cubicBezTo>
                    <a:pt x="183" y="240"/>
                    <a:pt x="183" y="240"/>
                    <a:pt x="183" y="240"/>
                  </a:cubicBezTo>
                  <a:cubicBezTo>
                    <a:pt x="183" y="240"/>
                    <a:pt x="183" y="240"/>
                    <a:pt x="183" y="240"/>
                  </a:cubicBezTo>
                  <a:cubicBezTo>
                    <a:pt x="183" y="240"/>
                    <a:pt x="185" y="243"/>
                    <a:pt x="187" y="243"/>
                  </a:cubicBezTo>
                  <a:cubicBezTo>
                    <a:pt x="190" y="244"/>
                    <a:pt x="189" y="247"/>
                    <a:pt x="189" y="249"/>
                  </a:cubicBezTo>
                  <a:cubicBezTo>
                    <a:pt x="189" y="249"/>
                    <a:pt x="189" y="250"/>
                    <a:pt x="189" y="250"/>
                  </a:cubicBezTo>
                  <a:cubicBezTo>
                    <a:pt x="190" y="249"/>
                    <a:pt x="192" y="246"/>
                    <a:pt x="192" y="241"/>
                  </a:cubicBezTo>
                  <a:cubicBezTo>
                    <a:pt x="192" y="241"/>
                    <a:pt x="192" y="241"/>
                    <a:pt x="192" y="241"/>
                  </a:cubicBezTo>
                  <a:cubicBezTo>
                    <a:pt x="192" y="241"/>
                    <a:pt x="194" y="239"/>
                    <a:pt x="194" y="238"/>
                  </a:cubicBezTo>
                  <a:cubicBezTo>
                    <a:pt x="195" y="237"/>
                    <a:pt x="194" y="236"/>
                    <a:pt x="193" y="235"/>
                  </a:cubicBezTo>
                  <a:cubicBezTo>
                    <a:pt x="192" y="234"/>
                    <a:pt x="190" y="232"/>
                    <a:pt x="190" y="225"/>
                  </a:cubicBezTo>
                  <a:cubicBezTo>
                    <a:pt x="190" y="224"/>
                    <a:pt x="190" y="223"/>
                    <a:pt x="189" y="223"/>
                  </a:cubicBezTo>
                  <a:cubicBezTo>
                    <a:pt x="189" y="223"/>
                    <a:pt x="189" y="222"/>
                    <a:pt x="188" y="222"/>
                  </a:cubicBezTo>
                  <a:cubicBezTo>
                    <a:pt x="187" y="221"/>
                    <a:pt x="187" y="220"/>
                    <a:pt x="187" y="219"/>
                  </a:cubicBezTo>
                  <a:cubicBezTo>
                    <a:pt x="187" y="219"/>
                    <a:pt x="187" y="219"/>
                    <a:pt x="188" y="219"/>
                  </a:cubicBezTo>
                  <a:cubicBezTo>
                    <a:pt x="190" y="221"/>
                    <a:pt x="194" y="220"/>
                    <a:pt x="194" y="220"/>
                  </a:cubicBezTo>
                  <a:cubicBezTo>
                    <a:pt x="195" y="210"/>
                    <a:pt x="195" y="208"/>
                    <a:pt x="195" y="207"/>
                  </a:cubicBezTo>
                  <a:cubicBezTo>
                    <a:pt x="191" y="207"/>
                    <a:pt x="189" y="207"/>
                    <a:pt x="187" y="205"/>
                  </a:cubicBezTo>
                  <a:cubicBezTo>
                    <a:pt x="187" y="205"/>
                    <a:pt x="187" y="205"/>
                    <a:pt x="187" y="205"/>
                  </a:cubicBezTo>
                  <a:cubicBezTo>
                    <a:pt x="187" y="205"/>
                    <a:pt x="187" y="205"/>
                    <a:pt x="188" y="205"/>
                  </a:cubicBezTo>
                  <a:cubicBezTo>
                    <a:pt x="190" y="205"/>
                    <a:pt x="193" y="205"/>
                    <a:pt x="195" y="204"/>
                  </a:cubicBezTo>
                  <a:cubicBezTo>
                    <a:pt x="194" y="198"/>
                    <a:pt x="194" y="193"/>
                    <a:pt x="194" y="192"/>
                  </a:cubicBezTo>
                  <a:cubicBezTo>
                    <a:pt x="190" y="193"/>
                    <a:pt x="188" y="193"/>
                    <a:pt x="186" y="191"/>
                  </a:cubicBezTo>
                  <a:cubicBezTo>
                    <a:pt x="184" y="190"/>
                    <a:pt x="184" y="189"/>
                    <a:pt x="184" y="188"/>
                  </a:cubicBezTo>
                  <a:cubicBezTo>
                    <a:pt x="184" y="187"/>
                    <a:pt x="184" y="186"/>
                    <a:pt x="183" y="186"/>
                  </a:cubicBezTo>
                  <a:cubicBezTo>
                    <a:pt x="178" y="184"/>
                    <a:pt x="174" y="181"/>
                    <a:pt x="173" y="180"/>
                  </a:cubicBezTo>
                  <a:cubicBezTo>
                    <a:pt x="171" y="177"/>
                    <a:pt x="171" y="175"/>
                    <a:pt x="171" y="175"/>
                  </a:cubicBezTo>
                  <a:cubicBezTo>
                    <a:pt x="171" y="175"/>
                    <a:pt x="171" y="175"/>
                    <a:pt x="171" y="175"/>
                  </a:cubicBezTo>
                  <a:cubicBezTo>
                    <a:pt x="171" y="175"/>
                    <a:pt x="171" y="175"/>
                    <a:pt x="172" y="175"/>
                  </a:cubicBezTo>
                  <a:cubicBezTo>
                    <a:pt x="174" y="176"/>
                    <a:pt x="176" y="176"/>
                    <a:pt x="177" y="175"/>
                  </a:cubicBezTo>
                  <a:cubicBezTo>
                    <a:pt x="178" y="166"/>
                    <a:pt x="178" y="166"/>
                    <a:pt x="178" y="166"/>
                  </a:cubicBezTo>
                  <a:cubicBezTo>
                    <a:pt x="177" y="166"/>
                    <a:pt x="176" y="166"/>
                    <a:pt x="175" y="165"/>
                  </a:cubicBezTo>
                  <a:cubicBezTo>
                    <a:pt x="173" y="164"/>
                    <a:pt x="171" y="162"/>
                    <a:pt x="171" y="162"/>
                  </a:cubicBezTo>
                  <a:cubicBezTo>
                    <a:pt x="171" y="162"/>
                    <a:pt x="171" y="162"/>
                    <a:pt x="171" y="162"/>
                  </a:cubicBezTo>
                  <a:cubicBezTo>
                    <a:pt x="171" y="162"/>
                    <a:pt x="171" y="162"/>
                    <a:pt x="172" y="162"/>
                  </a:cubicBezTo>
                  <a:cubicBezTo>
                    <a:pt x="172" y="162"/>
                    <a:pt x="173" y="162"/>
                    <a:pt x="175" y="163"/>
                  </a:cubicBezTo>
                  <a:cubicBezTo>
                    <a:pt x="177" y="163"/>
                    <a:pt x="178" y="162"/>
                    <a:pt x="178" y="162"/>
                  </a:cubicBezTo>
                  <a:cubicBezTo>
                    <a:pt x="180" y="152"/>
                    <a:pt x="180" y="152"/>
                    <a:pt x="180" y="152"/>
                  </a:cubicBezTo>
                  <a:cubicBezTo>
                    <a:pt x="177" y="152"/>
                    <a:pt x="176" y="151"/>
                    <a:pt x="175" y="150"/>
                  </a:cubicBezTo>
                  <a:cubicBezTo>
                    <a:pt x="174" y="149"/>
                    <a:pt x="174" y="148"/>
                    <a:pt x="174" y="148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85" y="146"/>
                    <a:pt x="192" y="136"/>
                    <a:pt x="194" y="127"/>
                  </a:cubicBezTo>
                  <a:cubicBezTo>
                    <a:pt x="194" y="127"/>
                    <a:pt x="194" y="127"/>
                    <a:pt x="194" y="127"/>
                  </a:cubicBezTo>
                  <a:cubicBezTo>
                    <a:pt x="194" y="127"/>
                    <a:pt x="194" y="127"/>
                    <a:pt x="194" y="127"/>
                  </a:cubicBezTo>
                  <a:cubicBezTo>
                    <a:pt x="195" y="128"/>
                    <a:pt x="198" y="129"/>
                    <a:pt x="199" y="128"/>
                  </a:cubicBezTo>
                  <a:cubicBezTo>
                    <a:pt x="200" y="126"/>
                    <a:pt x="200" y="121"/>
                    <a:pt x="200" y="120"/>
                  </a:cubicBezTo>
                  <a:cubicBezTo>
                    <a:pt x="197" y="120"/>
                    <a:pt x="195" y="119"/>
                    <a:pt x="194" y="11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</p:grpSp>
      <p:sp>
        <p:nvSpPr>
          <p:cNvPr id="3" name="Sisällön paikkamerkki"/>
          <p:cNvSpPr>
            <a:spLocks noGrp="1"/>
          </p:cNvSpPr>
          <p:nvPr userDrawn="1">
            <p:ph idx="1"/>
          </p:nvPr>
        </p:nvSpPr>
        <p:spPr>
          <a:xfrm>
            <a:off x="577047" y="1881330"/>
            <a:ext cx="8473820" cy="4524001"/>
          </a:xfrm>
        </p:spPr>
        <p:txBody>
          <a:bodyPr/>
          <a:lstStyle>
            <a:lvl1pPr>
              <a:buClr>
                <a:schemeClr val="tx2"/>
              </a:buClr>
              <a:defRPr/>
            </a:lvl1pPr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8" name="Otsikko"/>
          <p:cNvSpPr>
            <a:spLocks noGrp="1"/>
          </p:cNvSpPr>
          <p:nvPr userDrawn="1">
            <p:ph type="title"/>
          </p:nvPr>
        </p:nvSpPr>
        <p:spPr>
          <a:xfrm>
            <a:off x="577047" y="313787"/>
            <a:ext cx="8473820" cy="1299027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fi-FI"/>
              <a:t>Muokkaa perustyyl. napsautt.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34938620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 6"/>
          <p:cNvSpPr>
            <a:spLocks/>
          </p:cNvSpPr>
          <p:nvPr userDrawn="1"/>
        </p:nvSpPr>
        <p:spPr bwMode="auto">
          <a:xfrm rot="5400000">
            <a:off x="10534649" y="5200652"/>
            <a:ext cx="1557867" cy="1756833"/>
          </a:xfrm>
          <a:custGeom>
            <a:avLst/>
            <a:gdLst>
              <a:gd name="T0" fmla="*/ 548 w 736"/>
              <a:gd name="T1" fmla="*/ 713 h 830"/>
              <a:gd name="T2" fmla="*/ 548 w 736"/>
              <a:gd name="T3" fmla="*/ 713 h 830"/>
              <a:gd name="T4" fmla="*/ 594 w 736"/>
              <a:gd name="T5" fmla="*/ 745 h 830"/>
              <a:gd name="T6" fmla="*/ 640 w 736"/>
              <a:gd name="T7" fmla="*/ 775 h 830"/>
              <a:gd name="T8" fmla="*/ 688 w 736"/>
              <a:gd name="T9" fmla="*/ 803 h 830"/>
              <a:gd name="T10" fmla="*/ 736 w 736"/>
              <a:gd name="T11" fmla="*/ 830 h 830"/>
              <a:gd name="T12" fmla="*/ 736 w 736"/>
              <a:gd name="T13" fmla="*/ 0 h 830"/>
              <a:gd name="T14" fmla="*/ 0 w 736"/>
              <a:gd name="T15" fmla="*/ 0 h 830"/>
              <a:gd name="T16" fmla="*/ 0 w 736"/>
              <a:gd name="T17" fmla="*/ 0 h 830"/>
              <a:gd name="T18" fmla="*/ 22 w 736"/>
              <a:gd name="T19" fmla="*/ 55 h 830"/>
              <a:gd name="T20" fmla="*/ 46 w 736"/>
              <a:gd name="T21" fmla="*/ 108 h 830"/>
              <a:gd name="T22" fmla="*/ 72 w 736"/>
              <a:gd name="T23" fmla="*/ 161 h 830"/>
              <a:gd name="T24" fmla="*/ 100 w 736"/>
              <a:gd name="T25" fmla="*/ 211 h 830"/>
              <a:gd name="T26" fmla="*/ 129 w 736"/>
              <a:gd name="T27" fmla="*/ 261 h 830"/>
              <a:gd name="T28" fmla="*/ 160 w 736"/>
              <a:gd name="T29" fmla="*/ 309 h 830"/>
              <a:gd name="T30" fmla="*/ 192 w 736"/>
              <a:gd name="T31" fmla="*/ 357 h 830"/>
              <a:gd name="T32" fmla="*/ 226 w 736"/>
              <a:gd name="T33" fmla="*/ 402 h 830"/>
              <a:gd name="T34" fmla="*/ 262 w 736"/>
              <a:gd name="T35" fmla="*/ 445 h 830"/>
              <a:gd name="T36" fmla="*/ 298 w 736"/>
              <a:gd name="T37" fmla="*/ 488 h 830"/>
              <a:gd name="T38" fmla="*/ 338 w 736"/>
              <a:gd name="T39" fmla="*/ 530 h 830"/>
              <a:gd name="T40" fmla="*/ 377 w 736"/>
              <a:gd name="T41" fmla="*/ 569 h 830"/>
              <a:gd name="T42" fmla="*/ 418 w 736"/>
              <a:gd name="T43" fmla="*/ 607 h 830"/>
              <a:gd name="T44" fmla="*/ 460 w 736"/>
              <a:gd name="T45" fmla="*/ 645 h 830"/>
              <a:gd name="T46" fmla="*/ 503 w 736"/>
              <a:gd name="T47" fmla="*/ 679 h 830"/>
              <a:gd name="T48" fmla="*/ 548 w 736"/>
              <a:gd name="T49" fmla="*/ 713 h 830"/>
              <a:gd name="T50" fmla="*/ 548 w 736"/>
              <a:gd name="T51" fmla="*/ 713 h 8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736" h="830">
                <a:moveTo>
                  <a:pt x="548" y="713"/>
                </a:moveTo>
                <a:lnTo>
                  <a:pt x="548" y="713"/>
                </a:lnTo>
                <a:lnTo>
                  <a:pt x="594" y="745"/>
                </a:lnTo>
                <a:lnTo>
                  <a:pt x="640" y="775"/>
                </a:lnTo>
                <a:lnTo>
                  <a:pt x="688" y="803"/>
                </a:lnTo>
                <a:lnTo>
                  <a:pt x="736" y="830"/>
                </a:lnTo>
                <a:lnTo>
                  <a:pt x="736" y="0"/>
                </a:lnTo>
                <a:lnTo>
                  <a:pt x="0" y="0"/>
                </a:lnTo>
                <a:lnTo>
                  <a:pt x="0" y="0"/>
                </a:lnTo>
                <a:lnTo>
                  <a:pt x="22" y="55"/>
                </a:lnTo>
                <a:lnTo>
                  <a:pt x="46" y="108"/>
                </a:lnTo>
                <a:lnTo>
                  <a:pt x="72" y="161"/>
                </a:lnTo>
                <a:lnTo>
                  <a:pt x="100" y="211"/>
                </a:lnTo>
                <a:lnTo>
                  <a:pt x="129" y="261"/>
                </a:lnTo>
                <a:lnTo>
                  <a:pt x="160" y="309"/>
                </a:lnTo>
                <a:lnTo>
                  <a:pt x="192" y="357"/>
                </a:lnTo>
                <a:lnTo>
                  <a:pt x="226" y="402"/>
                </a:lnTo>
                <a:lnTo>
                  <a:pt x="262" y="445"/>
                </a:lnTo>
                <a:lnTo>
                  <a:pt x="298" y="488"/>
                </a:lnTo>
                <a:lnTo>
                  <a:pt x="338" y="530"/>
                </a:lnTo>
                <a:lnTo>
                  <a:pt x="377" y="569"/>
                </a:lnTo>
                <a:lnTo>
                  <a:pt x="418" y="607"/>
                </a:lnTo>
                <a:lnTo>
                  <a:pt x="460" y="645"/>
                </a:lnTo>
                <a:lnTo>
                  <a:pt x="503" y="679"/>
                </a:lnTo>
                <a:lnTo>
                  <a:pt x="548" y="713"/>
                </a:lnTo>
                <a:lnTo>
                  <a:pt x="548" y="713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fi-FI" sz="2400">
              <a:solidFill>
                <a:schemeClr val="tx2"/>
              </a:solidFill>
            </a:endParaRPr>
          </a:p>
        </p:txBody>
      </p:sp>
      <p:sp>
        <p:nvSpPr>
          <p:cNvPr id="13" name="Alatunnisteen paikkamerkki 4"/>
          <p:cNvSpPr>
            <a:spLocks noGrp="1"/>
          </p:cNvSpPr>
          <p:nvPr userDrawn="1">
            <p:ph type="ftr" sz="quarter" idx="11"/>
          </p:nvPr>
        </p:nvSpPr>
        <p:spPr>
          <a:xfrm>
            <a:off x="1583499" y="6497452"/>
            <a:ext cx="3648405" cy="258163"/>
          </a:xfrm>
          <a:prstGeom prst="rect">
            <a:avLst/>
          </a:prstGeom>
        </p:spPr>
        <p:txBody>
          <a:bodyPr/>
          <a:lstStyle>
            <a:lvl1pPr algn="l">
              <a:defRPr sz="106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fi-FI"/>
              <a:t>Petra Kokko</a:t>
            </a:r>
            <a:endParaRPr lang="fi-FI" dirty="0"/>
          </a:p>
        </p:txBody>
      </p:sp>
      <p:sp>
        <p:nvSpPr>
          <p:cNvPr id="17" name="Päivämäärän paikkamerkki 3"/>
          <p:cNvSpPr>
            <a:spLocks noGrp="1"/>
          </p:cNvSpPr>
          <p:nvPr userDrawn="1">
            <p:ph type="dt" sz="half" idx="2"/>
          </p:nvPr>
        </p:nvSpPr>
        <p:spPr>
          <a:xfrm>
            <a:off x="577047" y="6497452"/>
            <a:ext cx="911424" cy="26813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67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fi-FI"/>
              <a:t>19.5.2021</a:t>
            </a:r>
            <a:endParaRPr lang="fi-FI" dirty="0"/>
          </a:p>
        </p:txBody>
      </p:sp>
      <p:sp>
        <p:nvSpPr>
          <p:cNvPr id="11" name="Dian numeron paikkamerkki 5"/>
          <p:cNvSpPr>
            <a:spLocks noGrp="1"/>
          </p:cNvSpPr>
          <p:nvPr>
            <p:ph type="sldNum" sz="quarter" idx="12"/>
          </p:nvPr>
        </p:nvSpPr>
        <p:spPr>
          <a:xfrm>
            <a:off x="-1" y="6497453"/>
            <a:ext cx="538948" cy="268137"/>
          </a:xfrm>
          <a:prstGeom prst="rect">
            <a:avLst/>
          </a:prstGeom>
        </p:spPr>
        <p:txBody>
          <a:bodyPr rIns="18000" anchor="ctr"/>
          <a:lstStyle>
            <a:lvl1pPr algn="r">
              <a:defRPr sz="1067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1EA1DD0D-7089-48C5-B116-A19F892CF1D9}" type="slidenum">
              <a:rPr lang="fi-FI" smtClean="0"/>
              <a:pPr/>
              <a:t>‹#›</a:t>
            </a:fld>
            <a:r>
              <a:rPr lang="fi-FI" dirty="0"/>
              <a:t>  </a:t>
            </a:r>
            <a:r>
              <a:rPr lang="fi-FI" b="0" dirty="0">
                <a:solidFill>
                  <a:schemeClr val="bg1">
                    <a:lumMod val="65000"/>
                  </a:schemeClr>
                </a:solidFill>
              </a:rPr>
              <a:t>|</a:t>
            </a:r>
            <a:endParaRPr lang="fi-FI" sz="800" b="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3" name="Sisällön paikkamerkki"/>
          <p:cNvSpPr>
            <a:spLocks noGrp="1"/>
          </p:cNvSpPr>
          <p:nvPr userDrawn="1">
            <p:ph idx="1"/>
          </p:nvPr>
        </p:nvSpPr>
        <p:spPr>
          <a:xfrm>
            <a:off x="577047" y="1881330"/>
            <a:ext cx="10319487" cy="4524001"/>
          </a:xfrm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8" name="Otsikko"/>
          <p:cNvSpPr>
            <a:spLocks noGrp="1"/>
          </p:cNvSpPr>
          <p:nvPr userDrawn="1">
            <p:ph type="title"/>
          </p:nvPr>
        </p:nvSpPr>
        <p:spPr>
          <a:xfrm>
            <a:off x="577047" y="313787"/>
            <a:ext cx="10319487" cy="1299027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fi-FI"/>
              <a:t>Muokkaa perustyyl. napsautt.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8386395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Väli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tangle 50"/>
          <p:cNvSpPr/>
          <p:nvPr userDrawn="1"/>
        </p:nvSpPr>
        <p:spPr>
          <a:xfrm rot="10800000" flipV="1">
            <a:off x="-14222" y="-29072"/>
            <a:ext cx="6110223" cy="688706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2400"/>
          </a:p>
        </p:txBody>
      </p:sp>
      <p:sp>
        <p:nvSpPr>
          <p:cNvPr id="58" name="Rectangle 57"/>
          <p:cNvSpPr/>
          <p:nvPr userDrawn="1"/>
        </p:nvSpPr>
        <p:spPr>
          <a:xfrm rot="10800000" flipV="1">
            <a:off x="5903977" y="-29072"/>
            <a:ext cx="6285907" cy="688706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2400"/>
          </a:p>
        </p:txBody>
      </p:sp>
      <p:sp>
        <p:nvSpPr>
          <p:cNvPr id="54" name="Freeform 7"/>
          <p:cNvSpPr>
            <a:spLocks/>
          </p:cNvSpPr>
          <p:nvPr userDrawn="1"/>
        </p:nvSpPr>
        <p:spPr bwMode="auto">
          <a:xfrm rot="10800000" flipV="1">
            <a:off x="4523859" y="-29071"/>
            <a:ext cx="5706533" cy="6887069"/>
          </a:xfrm>
          <a:custGeom>
            <a:avLst/>
            <a:gdLst>
              <a:gd name="T0" fmla="*/ 2425 w 2696"/>
              <a:gd name="T1" fmla="*/ 3240 h 3240"/>
              <a:gd name="T2" fmla="*/ 2398 w 2696"/>
              <a:gd name="T3" fmla="*/ 3171 h 3240"/>
              <a:gd name="T4" fmla="*/ 2372 w 2696"/>
              <a:gd name="T5" fmla="*/ 3103 h 3240"/>
              <a:gd name="T6" fmla="*/ 2325 w 2696"/>
              <a:gd name="T7" fmla="*/ 2966 h 3240"/>
              <a:gd name="T8" fmla="*/ 2283 w 2696"/>
              <a:gd name="T9" fmla="*/ 2828 h 3240"/>
              <a:gd name="T10" fmla="*/ 2248 w 2696"/>
              <a:gd name="T11" fmla="*/ 2689 h 3240"/>
              <a:gd name="T12" fmla="*/ 2219 w 2696"/>
              <a:gd name="T13" fmla="*/ 2550 h 3240"/>
              <a:gd name="T14" fmla="*/ 2196 w 2696"/>
              <a:gd name="T15" fmla="*/ 2411 h 3240"/>
              <a:gd name="T16" fmla="*/ 2178 w 2696"/>
              <a:gd name="T17" fmla="*/ 2273 h 3240"/>
              <a:gd name="T18" fmla="*/ 2164 w 2696"/>
              <a:gd name="T19" fmla="*/ 2133 h 3240"/>
              <a:gd name="T20" fmla="*/ 2157 w 2696"/>
              <a:gd name="T21" fmla="*/ 1995 h 3240"/>
              <a:gd name="T22" fmla="*/ 2156 w 2696"/>
              <a:gd name="T23" fmla="*/ 1856 h 3240"/>
              <a:gd name="T24" fmla="*/ 2160 w 2696"/>
              <a:gd name="T25" fmla="*/ 1718 h 3240"/>
              <a:gd name="T26" fmla="*/ 2170 w 2696"/>
              <a:gd name="T27" fmla="*/ 1581 h 3240"/>
              <a:gd name="T28" fmla="*/ 2183 w 2696"/>
              <a:gd name="T29" fmla="*/ 1445 h 3240"/>
              <a:gd name="T30" fmla="*/ 2203 w 2696"/>
              <a:gd name="T31" fmla="*/ 1310 h 3240"/>
              <a:gd name="T32" fmla="*/ 2228 w 2696"/>
              <a:gd name="T33" fmla="*/ 1175 h 3240"/>
              <a:gd name="T34" fmla="*/ 2259 w 2696"/>
              <a:gd name="T35" fmla="*/ 1042 h 3240"/>
              <a:gd name="T36" fmla="*/ 2274 w 2696"/>
              <a:gd name="T37" fmla="*/ 977 h 3240"/>
              <a:gd name="T38" fmla="*/ 2313 w 2696"/>
              <a:gd name="T39" fmla="*/ 845 h 3240"/>
              <a:gd name="T40" fmla="*/ 2354 w 2696"/>
              <a:gd name="T41" fmla="*/ 716 h 3240"/>
              <a:gd name="T42" fmla="*/ 2400 w 2696"/>
              <a:gd name="T43" fmla="*/ 590 h 3240"/>
              <a:gd name="T44" fmla="*/ 2452 w 2696"/>
              <a:gd name="T45" fmla="*/ 466 h 3240"/>
              <a:gd name="T46" fmla="*/ 2507 w 2696"/>
              <a:gd name="T47" fmla="*/ 345 h 3240"/>
              <a:gd name="T48" fmla="*/ 2566 w 2696"/>
              <a:gd name="T49" fmla="*/ 227 h 3240"/>
              <a:gd name="T50" fmla="*/ 2630 w 2696"/>
              <a:gd name="T51" fmla="*/ 113 h 3240"/>
              <a:gd name="T52" fmla="*/ 2696 w 2696"/>
              <a:gd name="T53" fmla="*/ 0 h 3240"/>
              <a:gd name="T54" fmla="*/ 0 w 2696"/>
              <a:gd name="T55" fmla="*/ 0 h 3240"/>
              <a:gd name="T56" fmla="*/ 72 w 2696"/>
              <a:gd name="T57" fmla="*/ 207 h 3240"/>
              <a:gd name="T58" fmla="*/ 150 w 2696"/>
              <a:gd name="T59" fmla="*/ 414 h 3240"/>
              <a:gd name="T60" fmla="*/ 187 w 2696"/>
              <a:gd name="T61" fmla="*/ 510 h 3240"/>
              <a:gd name="T62" fmla="*/ 266 w 2696"/>
              <a:gd name="T63" fmla="*/ 701 h 3240"/>
              <a:gd name="T64" fmla="*/ 349 w 2696"/>
              <a:gd name="T65" fmla="*/ 890 h 3240"/>
              <a:gd name="T66" fmla="*/ 436 w 2696"/>
              <a:gd name="T67" fmla="*/ 1077 h 3240"/>
              <a:gd name="T68" fmla="*/ 527 w 2696"/>
              <a:gd name="T69" fmla="*/ 1262 h 3240"/>
              <a:gd name="T70" fmla="*/ 622 w 2696"/>
              <a:gd name="T71" fmla="*/ 1446 h 3240"/>
              <a:gd name="T72" fmla="*/ 722 w 2696"/>
              <a:gd name="T73" fmla="*/ 1627 h 3240"/>
              <a:gd name="T74" fmla="*/ 826 w 2696"/>
              <a:gd name="T75" fmla="*/ 1807 h 3240"/>
              <a:gd name="T76" fmla="*/ 934 w 2696"/>
              <a:gd name="T77" fmla="*/ 1983 h 3240"/>
              <a:gd name="T78" fmla="*/ 1046 w 2696"/>
              <a:gd name="T79" fmla="*/ 2159 h 3240"/>
              <a:gd name="T80" fmla="*/ 1162 w 2696"/>
              <a:gd name="T81" fmla="*/ 2332 h 3240"/>
              <a:gd name="T82" fmla="*/ 1282 w 2696"/>
              <a:gd name="T83" fmla="*/ 2503 h 3240"/>
              <a:gd name="T84" fmla="*/ 1406 w 2696"/>
              <a:gd name="T85" fmla="*/ 2671 h 3240"/>
              <a:gd name="T86" fmla="*/ 1535 w 2696"/>
              <a:gd name="T87" fmla="*/ 2837 h 3240"/>
              <a:gd name="T88" fmla="*/ 1667 w 2696"/>
              <a:gd name="T89" fmla="*/ 3000 h 3240"/>
              <a:gd name="T90" fmla="*/ 1804 w 2696"/>
              <a:gd name="T91" fmla="*/ 3160 h 3240"/>
              <a:gd name="T92" fmla="*/ 1874 w 2696"/>
              <a:gd name="T93" fmla="*/ 3240 h 3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696" h="3240">
                <a:moveTo>
                  <a:pt x="1874" y="3240"/>
                </a:moveTo>
                <a:lnTo>
                  <a:pt x="2425" y="3240"/>
                </a:lnTo>
                <a:lnTo>
                  <a:pt x="2425" y="3240"/>
                </a:lnTo>
                <a:lnTo>
                  <a:pt x="2398" y="3171"/>
                </a:lnTo>
                <a:lnTo>
                  <a:pt x="2398" y="3171"/>
                </a:lnTo>
                <a:lnTo>
                  <a:pt x="2372" y="3103"/>
                </a:lnTo>
                <a:lnTo>
                  <a:pt x="2347" y="3034"/>
                </a:lnTo>
                <a:lnTo>
                  <a:pt x="2325" y="2966"/>
                </a:lnTo>
                <a:lnTo>
                  <a:pt x="2304" y="2897"/>
                </a:lnTo>
                <a:lnTo>
                  <a:pt x="2283" y="2828"/>
                </a:lnTo>
                <a:lnTo>
                  <a:pt x="2265" y="2759"/>
                </a:lnTo>
                <a:lnTo>
                  <a:pt x="2248" y="2689"/>
                </a:lnTo>
                <a:lnTo>
                  <a:pt x="2233" y="2620"/>
                </a:lnTo>
                <a:lnTo>
                  <a:pt x="2219" y="2550"/>
                </a:lnTo>
                <a:lnTo>
                  <a:pt x="2207" y="2481"/>
                </a:lnTo>
                <a:lnTo>
                  <a:pt x="2196" y="2411"/>
                </a:lnTo>
                <a:lnTo>
                  <a:pt x="2185" y="2342"/>
                </a:lnTo>
                <a:lnTo>
                  <a:pt x="2178" y="2273"/>
                </a:lnTo>
                <a:lnTo>
                  <a:pt x="2170" y="2203"/>
                </a:lnTo>
                <a:lnTo>
                  <a:pt x="2164" y="2133"/>
                </a:lnTo>
                <a:lnTo>
                  <a:pt x="2161" y="2063"/>
                </a:lnTo>
                <a:lnTo>
                  <a:pt x="2157" y="1995"/>
                </a:lnTo>
                <a:lnTo>
                  <a:pt x="2156" y="1925"/>
                </a:lnTo>
                <a:lnTo>
                  <a:pt x="2156" y="1856"/>
                </a:lnTo>
                <a:lnTo>
                  <a:pt x="2157" y="1787"/>
                </a:lnTo>
                <a:lnTo>
                  <a:pt x="2160" y="1718"/>
                </a:lnTo>
                <a:lnTo>
                  <a:pt x="2164" y="1649"/>
                </a:lnTo>
                <a:lnTo>
                  <a:pt x="2170" y="1581"/>
                </a:lnTo>
                <a:lnTo>
                  <a:pt x="2175" y="1513"/>
                </a:lnTo>
                <a:lnTo>
                  <a:pt x="2183" y="1445"/>
                </a:lnTo>
                <a:lnTo>
                  <a:pt x="2193" y="1377"/>
                </a:lnTo>
                <a:lnTo>
                  <a:pt x="2203" y="1310"/>
                </a:lnTo>
                <a:lnTo>
                  <a:pt x="2215" y="1242"/>
                </a:lnTo>
                <a:lnTo>
                  <a:pt x="2228" y="1175"/>
                </a:lnTo>
                <a:lnTo>
                  <a:pt x="2243" y="1108"/>
                </a:lnTo>
                <a:lnTo>
                  <a:pt x="2259" y="1042"/>
                </a:lnTo>
                <a:lnTo>
                  <a:pt x="2274" y="977"/>
                </a:lnTo>
                <a:lnTo>
                  <a:pt x="2274" y="977"/>
                </a:lnTo>
                <a:lnTo>
                  <a:pt x="2293" y="910"/>
                </a:lnTo>
                <a:lnTo>
                  <a:pt x="2313" y="845"/>
                </a:lnTo>
                <a:lnTo>
                  <a:pt x="2333" y="780"/>
                </a:lnTo>
                <a:lnTo>
                  <a:pt x="2354" y="716"/>
                </a:lnTo>
                <a:lnTo>
                  <a:pt x="2377" y="653"/>
                </a:lnTo>
                <a:lnTo>
                  <a:pt x="2400" y="590"/>
                </a:lnTo>
                <a:lnTo>
                  <a:pt x="2426" y="528"/>
                </a:lnTo>
                <a:lnTo>
                  <a:pt x="2452" y="466"/>
                </a:lnTo>
                <a:lnTo>
                  <a:pt x="2479" y="405"/>
                </a:lnTo>
                <a:lnTo>
                  <a:pt x="2507" y="345"/>
                </a:lnTo>
                <a:lnTo>
                  <a:pt x="2536" y="286"/>
                </a:lnTo>
                <a:lnTo>
                  <a:pt x="2566" y="227"/>
                </a:lnTo>
                <a:lnTo>
                  <a:pt x="2597" y="169"/>
                </a:lnTo>
                <a:lnTo>
                  <a:pt x="2630" y="113"/>
                </a:lnTo>
                <a:lnTo>
                  <a:pt x="2662" y="55"/>
                </a:lnTo>
                <a:lnTo>
                  <a:pt x="2696" y="0"/>
                </a:lnTo>
                <a:lnTo>
                  <a:pt x="0" y="0"/>
                </a:lnTo>
                <a:lnTo>
                  <a:pt x="0" y="0"/>
                </a:lnTo>
                <a:lnTo>
                  <a:pt x="35" y="104"/>
                </a:lnTo>
                <a:lnTo>
                  <a:pt x="72" y="207"/>
                </a:lnTo>
                <a:lnTo>
                  <a:pt x="111" y="311"/>
                </a:lnTo>
                <a:lnTo>
                  <a:pt x="150" y="414"/>
                </a:lnTo>
                <a:lnTo>
                  <a:pt x="150" y="414"/>
                </a:lnTo>
                <a:lnTo>
                  <a:pt x="187" y="510"/>
                </a:lnTo>
                <a:lnTo>
                  <a:pt x="226" y="605"/>
                </a:lnTo>
                <a:lnTo>
                  <a:pt x="266" y="701"/>
                </a:lnTo>
                <a:lnTo>
                  <a:pt x="306" y="795"/>
                </a:lnTo>
                <a:lnTo>
                  <a:pt x="349" y="890"/>
                </a:lnTo>
                <a:lnTo>
                  <a:pt x="392" y="983"/>
                </a:lnTo>
                <a:lnTo>
                  <a:pt x="436" y="1077"/>
                </a:lnTo>
                <a:lnTo>
                  <a:pt x="481" y="1169"/>
                </a:lnTo>
                <a:lnTo>
                  <a:pt x="527" y="1262"/>
                </a:lnTo>
                <a:lnTo>
                  <a:pt x="574" y="1353"/>
                </a:lnTo>
                <a:lnTo>
                  <a:pt x="622" y="1446"/>
                </a:lnTo>
                <a:lnTo>
                  <a:pt x="672" y="1537"/>
                </a:lnTo>
                <a:lnTo>
                  <a:pt x="722" y="1627"/>
                </a:lnTo>
                <a:lnTo>
                  <a:pt x="773" y="1717"/>
                </a:lnTo>
                <a:lnTo>
                  <a:pt x="826" y="1807"/>
                </a:lnTo>
                <a:lnTo>
                  <a:pt x="879" y="1896"/>
                </a:lnTo>
                <a:lnTo>
                  <a:pt x="934" y="1983"/>
                </a:lnTo>
                <a:lnTo>
                  <a:pt x="989" y="2072"/>
                </a:lnTo>
                <a:lnTo>
                  <a:pt x="1046" y="2159"/>
                </a:lnTo>
                <a:lnTo>
                  <a:pt x="1104" y="2246"/>
                </a:lnTo>
                <a:lnTo>
                  <a:pt x="1162" y="2332"/>
                </a:lnTo>
                <a:lnTo>
                  <a:pt x="1222" y="2418"/>
                </a:lnTo>
                <a:lnTo>
                  <a:pt x="1282" y="2503"/>
                </a:lnTo>
                <a:lnTo>
                  <a:pt x="1344" y="2588"/>
                </a:lnTo>
                <a:lnTo>
                  <a:pt x="1406" y="2671"/>
                </a:lnTo>
                <a:lnTo>
                  <a:pt x="1470" y="2754"/>
                </a:lnTo>
                <a:lnTo>
                  <a:pt x="1535" y="2837"/>
                </a:lnTo>
                <a:lnTo>
                  <a:pt x="1601" y="2918"/>
                </a:lnTo>
                <a:lnTo>
                  <a:pt x="1667" y="3000"/>
                </a:lnTo>
                <a:lnTo>
                  <a:pt x="1736" y="3080"/>
                </a:lnTo>
                <a:lnTo>
                  <a:pt x="1804" y="3160"/>
                </a:lnTo>
                <a:lnTo>
                  <a:pt x="1874" y="3240"/>
                </a:lnTo>
                <a:lnTo>
                  <a:pt x="1874" y="3240"/>
                </a:lnTo>
                <a:close/>
              </a:path>
            </a:pathLst>
          </a:custGeom>
          <a:solidFill>
            <a:schemeClr val="tx2">
              <a:lumMod val="60000"/>
              <a:lumOff val="4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fi-FI" sz="2400"/>
          </a:p>
        </p:txBody>
      </p:sp>
      <p:grpSp>
        <p:nvGrpSpPr>
          <p:cNvPr id="2" name="Group 4"/>
          <p:cNvGrpSpPr>
            <a:grpSpLocks noChangeAspect="1"/>
          </p:cNvGrpSpPr>
          <p:nvPr userDrawn="1"/>
        </p:nvGrpSpPr>
        <p:grpSpPr bwMode="auto">
          <a:xfrm>
            <a:off x="8917517" y="4504267"/>
            <a:ext cx="2834216" cy="1900767"/>
            <a:chOff x="4213" y="2128"/>
            <a:chExt cx="1339" cy="898"/>
          </a:xfrm>
        </p:grpSpPr>
        <p:sp>
          <p:nvSpPr>
            <p:cNvPr id="3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4213" y="2128"/>
              <a:ext cx="1339" cy="8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4" name="Freeform 5"/>
            <p:cNvSpPr>
              <a:spLocks/>
            </p:cNvSpPr>
            <p:nvPr userDrawn="1"/>
          </p:nvSpPr>
          <p:spPr bwMode="auto">
            <a:xfrm>
              <a:off x="4213" y="2784"/>
              <a:ext cx="95" cy="85"/>
            </a:xfrm>
            <a:custGeom>
              <a:avLst/>
              <a:gdLst>
                <a:gd name="T0" fmla="*/ 77 w 95"/>
                <a:gd name="T1" fmla="*/ 17 h 85"/>
                <a:gd name="T2" fmla="*/ 49 w 95"/>
                <a:gd name="T3" fmla="*/ 85 h 85"/>
                <a:gd name="T4" fmla="*/ 46 w 95"/>
                <a:gd name="T5" fmla="*/ 85 h 85"/>
                <a:gd name="T6" fmla="*/ 16 w 95"/>
                <a:gd name="T7" fmla="*/ 17 h 85"/>
                <a:gd name="T8" fmla="*/ 16 w 95"/>
                <a:gd name="T9" fmla="*/ 17 h 85"/>
                <a:gd name="T10" fmla="*/ 14 w 95"/>
                <a:gd name="T11" fmla="*/ 11 h 85"/>
                <a:gd name="T12" fmla="*/ 10 w 95"/>
                <a:gd name="T13" fmla="*/ 7 h 85"/>
                <a:gd name="T14" fmla="*/ 6 w 95"/>
                <a:gd name="T15" fmla="*/ 5 h 85"/>
                <a:gd name="T16" fmla="*/ 0 w 95"/>
                <a:gd name="T17" fmla="*/ 5 h 85"/>
                <a:gd name="T18" fmla="*/ 0 w 95"/>
                <a:gd name="T19" fmla="*/ 0 h 85"/>
                <a:gd name="T20" fmla="*/ 44 w 95"/>
                <a:gd name="T21" fmla="*/ 0 h 85"/>
                <a:gd name="T22" fmla="*/ 44 w 95"/>
                <a:gd name="T23" fmla="*/ 5 h 85"/>
                <a:gd name="T24" fmla="*/ 44 w 95"/>
                <a:gd name="T25" fmla="*/ 5 h 85"/>
                <a:gd name="T26" fmla="*/ 37 w 95"/>
                <a:gd name="T27" fmla="*/ 5 h 85"/>
                <a:gd name="T28" fmla="*/ 34 w 95"/>
                <a:gd name="T29" fmla="*/ 7 h 85"/>
                <a:gd name="T30" fmla="*/ 32 w 95"/>
                <a:gd name="T31" fmla="*/ 9 h 85"/>
                <a:gd name="T32" fmla="*/ 32 w 95"/>
                <a:gd name="T33" fmla="*/ 10 h 85"/>
                <a:gd name="T34" fmla="*/ 34 w 95"/>
                <a:gd name="T35" fmla="*/ 15 h 85"/>
                <a:gd name="T36" fmla="*/ 53 w 95"/>
                <a:gd name="T37" fmla="*/ 59 h 85"/>
                <a:gd name="T38" fmla="*/ 72 w 95"/>
                <a:gd name="T39" fmla="*/ 15 h 85"/>
                <a:gd name="T40" fmla="*/ 72 w 95"/>
                <a:gd name="T41" fmla="*/ 15 h 85"/>
                <a:gd name="T42" fmla="*/ 73 w 95"/>
                <a:gd name="T43" fmla="*/ 10 h 85"/>
                <a:gd name="T44" fmla="*/ 73 w 95"/>
                <a:gd name="T45" fmla="*/ 9 h 85"/>
                <a:gd name="T46" fmla="*/ 73 w 95"/>
                <a:gd name="T47" fmla="*/ 7 h 85"/>
                <a:gd name="T48" fmla="*/ 68 w 95"/>
                <a:gd name="T49" fmla="*/ 5 h 85"/>
                <a:gd name="T50" fmla="*/ 62 w 95"/>
                <a:gd name="T51" fmla="*/ 5 h 85"/>
                <a:gd name="T52" fmla="*/ 62 w 95"/>
                <a:gd name="T53" fmla="*/ 0 h 85"/>
                <a:gd name="T54" fmla="*/ 95 w 95"/>
                <a:gd name="T55" fmla="*/ 0 h 85"/>
                <a:gd name="T56" fmla="*/ 95 w 95"/>
                <a:gd name="T57" fmla="*/ 5 h 85"/>
                <a:gd name="T58" fmla="*/ 95 w 95"/>
                <a:gd name="T59" fmla="*/ 5 h 85"/>
                <a:gd name="T60" fmla="*/ 89 w 95"/>
                <a:gd name="T61" fmla="*/ 5 h 85"/>
                <a:gd name="T62" fmla="*/ 84 w 95"/>
                <a:gd name="T63" fmla="*/ 7 h 85"/>
                <a:gd name="T64" fmla="*/ 81 w 95"/>
                <a:gd name="T65" fmla="*/ 11 h 85"/>
                <a:gd name="T66" fmla="*/ 77 w 95"/>
                <a:gd name="T67" fmla="*/ 17 h 85"/>
                <a:gd name="T68" fmla="*/ 77 w 95"/>
                <a:gd name="T69" fmla="*/ 17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95" h="85">
                  <a:moveTo>
                    <a:pt x="77" y="17"/>
                  </a:moveTo>
                  <a:lnTo>
                    <a:pt x="49" y="85"/>
                  </a:lnTo>
                  <a:lnTo>
                    <a:pt x="46" y="85"/>
                  </a:lnTo>
                  <a:lnTo>
                    <a:pt x="16" y="17"/>
                  </a:lnTo>
                  <a:lnTo>
                    <a:pt x="16" y="17"/>
                  </a:lnTo>
                  <a:lnTo>
                    <a:pt x="14" y="11"/>
                  </a:lnTo>
                  <a:lnTo>
                    <a:pt x="10" y="7"/>
                  </a:lnTo>
                  <a:lnTo>
                    <a:pt x="6" y="5"/>
                  </a:lnTo>
                  <a:lnTo>
                    <a:pt x="0" y="5"/>
                  </a:lnTo>
                  <a:lnTo>
                    <a:pt x="0" y="0"/>
                  </a:lnTo>
                  <a:lnTo>
                    <a:pt x="44" y="0"/>
                  </a:lnTo>
                  <a:lnTo>
                    <a:pt x="44" y="5"/>
                  </a:lnTo>
                  <a:lnTo>
                    <a:pt x="44" y="5"/>
                  </a:lnTo>
                  <a:lnTo>
                    <a:pt x="37" y="5"/>
                  </a:lnTo>
                  <a:lnTo>
                    <a:pt x="34" y="7"/>
                  </a:lnTo>
                  <a:lnTo>
                    <a:pt x="32" y="9"/>
                  </a:lnTo>
                  <a:lnTo>
                    <a:pt x="32" y="10"/>
                  </a:lnTo>
                  <a:lnTo>
                    <a:pt x="34" y="15"/>
                  </a:lnTo>
                  <a:lnTo>
                    <a:pt x="53" y="59"/>
                  </a:lnTo>
                  <a:lnTo>
                    <a:pt x="72" y="15"/>
                  </a:lnTo>
                  <a:lnTo>
                    <a:pt x="72" y="15"/>
                  </a:lnTo>
                  <a:lnTo>
                    <a:pt x="73" y="10"/>
                  </a:lnTo>
                  <a:lnTo>
                    <a:pt x="73" y="9"/>
                  </a:lnTo>
                  <a:lnTo>
                    <a:pt x="73" y="7"/>
                  </a:lnTo>
                  <a:lnTo>
                    <a:pt x="68" y="5"/>
                  </a:lnTo>
                  <a:lnTo>
                    <a:pt x="62" y="5"/>
                  </a:lnTo>
                  <a:lnTo>
                    <a:pt x="62" y="0"/>
                  </a:lnTo>
                  <a:lnTo>
                    <a:pt x="95" y="0"/>
                  </a:lnTo>
                  <a:lnTo>
                    <a:pt x="95" y="5"/>
                  </a:lnTo>
                  <a:lnTo>
                    <a:pt x="95" y="5"/>
                  </a:lnTo>
                  <a:lnTo>
                    <a:pt x="89" y="5"/>
                  </a:lnTo>
                  <a:lnTo>
                    <a:pt x="84" y="7"/>
                  </a:lnTo>
                  <a:lnTo>
                    <a:pt x="81" y="11"/>
                  </a:lnTo>
                  <a:lnTo>
                    <a:pt x="77" y="17"/>
                  </a:lnTo>
                  <a:lnTo>
                    <a:pt x="77" y="1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5" name="Freeform 6"/>
            <p:cNvSpPr>
              <a:spLocks noEditPoints="1"/>
            </p:cNvSpPr>
            <p:nvPr userDrawn="1"/>
          </p:nvSpPr>
          <p:spPr bwMode="auto">
            <a:xfrm>
              <a:off x="4297" y="2782"/>
              <a:ext cx="96" cy="85"/>
            </a:xfrm>
            <a:custGeom>
              <a:avLst/>
              <a:gdLst>
                <a:gd name="T0" fmla="*/ 23 w 96"/>
                <a:gd name="T1" fmla="*/ 69 h 85"/>
                <a:gd name="T2" fmla="*/ 23 w 96"/>
                <a:gd name="T3" fmla="*/ 69 h 85"/>
                <a:gd name="T4" fmla="*/ 22 w 96"/>
                <a:gd name="T5" fmla="*/ 74 h 85"/>
                <a:gd name="T6" fmla="*/ 22 w 96"/>
                <a:gd name="T7" fmla="*/ 76 h 85"/>
                <a:gd name="T8" fmla="*/ 23 w 96"/>
                <a:gd name="T9" fmla="*/ 78 h 85"/>
                <a:gd name="T10" fmla="*/ 27 w 96"/>
                <a:gd name="T11" fmla="*/ 80 h 85"/>
                <a:gd name="T12" fmla="*/ 34 w 96"/>
                <a:gd name="T13" fmla="*/ 80 h 85"/>
                <a:gd name="T14" fmla="*/ 34 w 96"/>
                <a:gd name="T15" fmla="*/ 85 h 85"/>
                <a:gd name="T16" fmla="*/ 0 w 96"/>
                <a:gd name="T17" fmla="*/ 85 h 85"/>
                <a:gd name="T18" fmla="*/ 0 w 96"/>
                <a:gd name="T19" fmla="*/ 80 h 85"/>
                <a:gd name="T20" fmla="*/ 0 w 96"/>
                <a:gd name="T21" fmla="*/ 80 h 85"/>
                <a:gd name="T22" fmla="*/ 6 w 96"/>
                <a:gd name="T23" fmla="*/ 80 h 85"/>
                <a:gd name="T24" fmla="*/ 11 w 96"/>
                <a:gd name="T25" fmla="*/ 78 h 85"/>
                <a:gd name="T26" fmla="*/ 14 w 96"/>
                <a:gd name="T27" fmla="*/ 74 h 85"/>
                <a:gd name="T28" fmla="*/ 18 w 96"/>
                <a:gd name="T29" fmla="*/ 68 h 85"/>
                <a:gd name="T30" fmla="*/ 47 w 96"/>
                <a:gd name="T31" fmla="*/ 0 h 85"/>
                <a:gd name="T32" fmla="*/ 50 w 96"/>
                <a:gd name="T33" fmla="*/ 0 h 85"/>
                <a:gd name="T34" fmla="*/ 79 w 96"/>
                <a:gd name="T35" fmla="*/ 68 h 85"/>
                <a:gd name="T36" fmla="*/ 79 w 96"/>
                <a:gd name="T37" fmla="*/ 68 h 85"/>
                <a:gd name="T38" fmla="*/ 82 w 96"/>
                <a:gd name="T39" fmla="*/ 74 h 85"/>
                <a:gd name="T40" fmla="*/ 85 w 96"/>
                <a:gd name="T41" fmla="*/ 78 h 85"/>
                <a:gd name="T42" fmla="*/ 89 w 96"/>
                <a:gd name="T43" fmla="*/ 80 h 85"/>
                <a:gd name="T44" fmla="*/ 96 w 96"/>
                <a:gd name="T45" fmla="*/ 80 h 85"/>
                <a:gd name="T46" fmla="*/ 96 w 96"/>
                <a:gd name="T47" fmla="*/ 85 h 85"/>
                <a:gd name="T48" fmla="*/ 51 w 96"/>
                <a:gd name="T49" fmla="*/ 85 h 85"/>
                <a:gd name="T50" fmla="*/ 51 w 96"/>
                <a:gd name="T51" fmla="*/ 80 h 85"/>
                <a:gd name="T52" fmla="*/ 51 w 96"/>
                <a:gd name="T53" fmla="*/ 80 h 85"/>
                <a:gd name="T54" fmla="*/ 58 w 96"/>
                <a:gd name="T55" fmla="*/ 80 h 85"/>
                <a:gd name="T56" fmla="*/ 63 w 96"/>
                <a:gd name="T57" fmla="*/ 78 h 85"/>
                <a:gd name="T58" fmla="*/ 63 w 96"/>
                <a:gd name="T59" fmla="*/ 76 h 85"/>
                <a:gd name="T60" fmla="*/ 63 w 96"/>
                <a:gd name="T61" fmla="*/ 74 h 85"/>
                <a:gd name="T62" fmla="*/ 62 w 96"/>
                <a:gd name="T63" fmla="*/ 69 h 85"/>
                <a:gd name="T64" fmla="*/ 56 w 96"/>
                <a:gd name="T65" fmla="*/ 57 h 85"/>
                <a:gd name="T66" fmla="*/ 29 w 96"/>
                <a:gd name="T67" fmla="*/ 57 h 85"/>
                <a:gd name="T68" fmla="*/ 23 w 96"/>
                <a:gd name="T69" fmla="*/ 69 h 85"/>
                <a:gd name="T70" fmla="*/ 43 w 96"/>
                <a:gd name="T71" fmla="*/ 26 h 85"/>
                <a:gd name="T72" fmla="*/ 32 w 96"/>
                <a:gd name="T73" fmla="*/ 51 h 85"/>
                <a:gd name="T74" fmla="*/ 53 w 96"/>
                <a:gd name="T75" fmla="*/ 51 h 85"/>
                <a:gd name="T76" fmla="*/ 43 w 96"/>
                <a:gd name="T77" fmla="*/ 26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6" h="85">
                  <a:moveTo>
                    <a:pt x="23" y="69"/>
                  </a:moveTo>
                  <a:lnTo>
                    <a:pt x="23" y="69"/>
                  </a:lnTo>
                  <a:lnTo>
                    <a:pt x="22" y="74"/>
                  </a:lnTo>
                  <a:lnTo>
                    <a:pt x="22" y="76"/>
                  </a:lnTo>
                  <a:lnTo>
                    <a:pt x="23" y="78"/>
                  </a:lnTo>
                  <a:lnTo>
                    <a:pt x="27" y="80"/>
                  </a:lnTo>
                  <a:lnTo>
                    <a:pt x="34" y="80"/>
                  </a:lnTo>
                  <a:lnTo>
                    <a:pt x="34" y="85"/>
                  </a:lnTo>
                  <a:lnTo>
                    <a:pt x="0" y="85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6" y="80"/>
                  </a:lnTo>
                  <a:lnTo>
                    <a:pt x="11" y="78"/>
                  </a:lnTo>
                  <a:lnTo>
                    <a:pt x="14" y="74"/>
                  </a:lnTo>
                  <a:lnTo>
                    <a:pt x="18" y="68"/>
                  </a:lnTo>
                  <a:lnTo>
                    <a:pt x="47" y="0"/>
                  </a:lnTo>
                  <a:lnTo>
                    <a:pt x="50" y="0"/>
                  </a:lnTo>
                  <a:lnTo>
                    <a:pt x="79" y="68"/>
                  </a:lnTo>
                  <a:lnTo>
                    <a:pt x="79" y="68"/>
                  </a:lnTo>
                  <a:lnTo>
                    <a:pt x="82" y="74"/>
                  </a:lnTo>
                  <a:lnTo>
                    <a:pt x="85" y="78"/>
                  </a:lnTo>
                  <a:lnTo>
                    <a:pt x="89" y="80"/>
                  </a:lnTo>
                  <a:lnTo>
                    <a:pt x="96" y="80"/>
                  </a:lnTo>
                  <a:lnTo>
                    <a:pt x="96" y="85"/>
                  </a:lnTo>
                  <a:lnTo>
                    <a:pt x="51" y="85"/>
                  </a:lnTo>
                  <a:lnTo>
                    <a:pt x="51" y="80"/>
                  </a:lnTo>
                  <a:lnTo>
                    <a:pt x="51" y="80"/>
                  </a:lnTo>
                  <a:lnTo>
                    <a:pt x="58" y="80"/>
                  </a:lnTo>
                  <a:lnTo>
                    <a:pt x="63" y="78"/>
                  </a:lnTo>
                  <a:lnTo>
                    <a:pt x="63" y="76"/>
                  </a:lnTo>
                  <a:lnTo>
                    <a:pt x="63" y="74"/>
                  </a:lnTo>
                  <a:lnTo>
                    <a:pt x="62" y="69"/>
                  </a:lnTo>
                  <a:lnTo>
                    <a:pt x="56" y="57"/>
                  </a:lnTo>
                  <a:lnTo>
                    <a:pt x="29" y="57"/>
                  </a:lnTo>
                  <a:lnTo>
                    <a:pt x="23" y="69"/>
                  </a:lnTo>
                  <a:close/>
                  <a:moveTo>
                    <a:pt x="43" y="26"/>
                  </a:moveTo>
                  <a:lnTo>
                    <a:pt x="32" y="51"/>
                  </a:lnTo>
                  <a:lnTo>
                    <a:pt x="53" y="51"/>
                  </a:lnTo>
                  <a:lnTo>
                    <a:pt x="43" y="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6" name="Freeform 7"/>
            <p:cNvSpPr>
              <a:spLocks/>
            </p:cNvSpPr>
            <p:nvPr userDrawn="1"/>
          </p:nvSpPr>
          <p:spPr bwMode="auto">
            <a:xfrm>
              <a:off x="4402" y="2784"/>
              <a:ext cx="80" cy="83"/>
            </a:xfrm>
            <a:custGeom>
              <a:avLst/>
              <a:gdLst>
                <a:gd name="T0" fmla="*/ 0 w 80"/>
                <a:gd name="T1" fmla="*/ 5 h 83"/>
                <a:gd name="T2" fmla="*/ 0 w 80"/>
                <a:gd name="T3" fmla="*/ 0 h 83"/>
                <a:gd name="T4" fmla="*/ 44 w 80"/>
                <a:gd name="T5" fmla="*/ 0 h 83"/>
                <a:gd name="T6" fmla="*/ 44 w 80"/>
                <a:gd name="T7" fmla="*/ 5 h 83"/>
                <a:gd name="T8" fmla="*/ 44 w 80"/>
                <a:gd name="T9" fmla="*/ 5 h 83"/>
                <a:gd name="T10" fmla="*/ 37 w 80"/>
                <a:gd name="T11" fmla="*/ 5 h 83"/>
                <a:gd name="T12" fmla="*/ 35 w 80"/>
                <a:gd name="T13" fmla="*/ 6 h 83"/>
                <a:gd name="T14" fmla="*/ 33 w 80"/>
                <a:gd name="T15" fmla="*/ 7 h 83"/>
                <a:gd name="T16" fmla="*/ 32 w 80"/>
                <a:gd name="T17" fmla="*/ 12 h 83"/>
                <a:gd name="T18" fmla="*/ 31 w 80"/>
                <a:gd name="T19" fmla="*/ 20 h 83"/>
                <a:gd name="T20" fmla="*/ 31 w 80"/>
                <a:gd name="T21" fmla="*/ 61 h 83"/>
                <a:gd name="T22" fmla="*/ 31 w 80"/>
                <a:gd name="T23" fmla="*/ 61 h 83"/>
                <a:gd name="T24" fmla="*/ 32 w 80"/>
                <a:gd name="T25" fmla="*/ 69 h 83"/>
                <a:gd name="T26" fmla="*/ 33 w 80"/>
                <a:gd name="T27" fmla="*/ 73 h 83"/>
                <a:gd name="T28" fmla="*/ 35 w 80"/>
                <a:gd name="T29" fmla="*/ 74 h 83"/>
                <a:gd name="T30" fmla="*/ 37 w 80"/>
                <a:gd name="T31" fmla="*/ 76 h 83"/>
                <a:gd name="T32" fmla="*/ 44 w 80"/>
                <a:gd name="T33" fmla="*/ 76 h 83"/>
                <a:gd name="T34" fmla="*/ 59 w 80"/>
                <a:gd name="T35" fmla="*/ 76 h 83"/>
                <a:gd name="T36" fmla="*/ 59 w 80"/>
                <a:gd name="T37" fmla="*/ 76 h 83"/>
                <a:gd name="T38" fmla="*/ 67 w 80"/>
                <a:gd name="T39" fmla="*/ 76 h 83"/>
                <a:gd name="T40" fmla="*/ 71 w 80"/>
                <a:gd name="T41" fmla="*/ 73 h 83"/>
                <a:gd name="T42" fmla="*/ 73 w 80"/>
                <a:gd name="T43" fmla="*/ 70 h 83"/>
                <a:gd name="T44" fmla="*/ 76 w 80"/>
                <a:gd name="T45" fmla="*/ 65 h 83"/>
                <a:gd name="T46" fmla="*/ 76 w 80"/>
                <a:gd name="T47" fmla="*/ 63 h 83"/>
                <a:gd name="T48" fmla="*/ 80 w 80"/>
                <a:gd name="T49" fmla="*/ 63 h 83"/>
                <a:gd name="T50" fmla="*/ 79 w 80"/>
                <a:gd name="T51" fmla="*/ 83 h 83"/>
                <a:gd name="T52" fmla="*/ 0 w 80"/>
                <a:gd name="T53" fmla="*/ 83 h 83"/>
                <a:gd name="T54" fmla="*/ 0 w 80"/>
                <a:gd name="T55" fmla="*/ 78 h 83"/>
                <a:gd name="T56" fmla="*/ 0 w 80"/>
                <a:gd name="T57" fmla="*/ 78 h 83"/>
                <a:gd name="T58" fmla="*/ 7 w 80"/>
                <a:gd name="T59" fmla="*/ 78 h 83"/>
                <a:gd name="T60" fmla="*/ 10 w 80"/>
                <a:gd name="T61" fmla="*/ 77 h 83"/>
                <a:gd name="T62" fmla="*/ 12 w 80"/>
                <a:gd name="T63" fmla="*/ 76 h 83"/>
                <a:gd name="T64" fmla="*/ 13 w 80"/>
                <a:gd name="T65" fmla="*/ 71 h 83"/>
                <a:gd name="T66" fmla="*/ 14 w 80"/>
                <a:gd name="T67" fmla="*/ 63 h 83"/>
                <a:gd name="T68" fmla="*/ 14 w 80"/>
                <a:gd name="T69" fmla="*/ 20 h 83"/>
                <a:gd name="T70" fmla="*/ 14 w 80"/>
                <a:gd name="T71" fmla="*/ 20 h 83"/>
                <a:gd name="T72" fmla="*/ 13 w 80"/>
                <a:gd name="T73" fmla="*/ 12 h 83"/>
                <a:gd name="T74" fmla="*/ 12 w 80"/>
                <a:gd name="T75" fmla="*/ 7 h 83"/>
                <a:gd name="T76" fmla="*/ 10 w 80"/>
                <a:gd name="T77" fmla="*/ 6 h 83"/>
                <a:gd name="T78" fmla="*/ 7 w 80"/>
                <a:gd name="T79" fmla="*/ 5 h 83"/>
                <a:gd name="T80" fmla="*/ 0 w 80"/>
                <a:gd name="T81" fmla="*/ 5 h 83"/>
                <a:gd name="T82" fmla="*/ 0 w 80"/>
                <a:gd name="T83" fmla="*/ 5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80" h="83">
                  <a:moveTo>
                    <a:pt x="0" y="5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44" y="5"/>
                  </a:lnTo>
                  <a:lnTo>
                    <a:pt x="44" y="5"/>
                  </a:lnTo>
                  <a:lnTo>
                    <a:pt x="37" y="5"/>
                  </a:lnTo>
                  <a:lnTo>
                    <a:pt x="35" y="6"/>
                  </a:lnTo>
                  <a:lnTo>
                    <a:pt x="33" y="7"/>
                  </a:lnTo>
                  <a:lnTo>
                    <a:pt x="32" y="12"/>
                  </a:lnTo>
                  <a:lnTo>
                    <a:pt x="31" y="20"/>
                  </a:lnTo>
                  <a:lnTo>
                    <a:pt x="31" y="61"/>
                  </a:lnTo>
                  <a:lnTo>
                    <a:pt x="31" y="61"/>
                  </a:lnTo>
                  <a:lnTo>
                    <a:pt x="32" y="69"/>
                  </a:lnTo>
                  <a:lnTo>
                    <a:pt x="33" y="73"/>
                  </a:lnTo>
                  <a:lnTo>
                    <a:pt x="35" y="74"/>
                  </a:lnTo>
                  <a:lnTo>
                    <a:pt x="37" y="76"/>
                  </a:lnTo>
                  <a:lnTo>
                    <a:pt x="44" y="76"/>
                  </a:lnTo>
                  <a:lnTo>
                    <a:pt x="59" y="76"/>
                  </a:lnTo>
                  <a:lnTo>
                    <a:pt x="59" y="76"/>
                  </a:lnTo>
                  <a:lnTo>
                    <a:pt x="67" y="76"/>
                  </a:lnTo>
                  <a:lnTo>
                    <a:pt x="71" y="73"/>
                  </a:lnTo>
                  <a:lnTo>
                    <a:pt x="73" y="70"/>
                  </a:lnTo>
                  <a:lnTo>
                    <a:pt x="76" y="65"/>
                  </a:lnTo>
                  <a:lnTo>
                    <a:pt x="76" y="63"/>
                  </a:lnTo>
                  <a:lnTo>
                    <a:pt x="80" y="63"/>
                  </a:lnTo>
                  <a:lnTo>
                    <a:pt x="79" y="83"/>
                  </a:lnTo>
                  <a:lnTo>
                    <a:pt x="0" y="83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7" y="78"/>
                  </a:lnTo>
                  <a:lnTo>
                    <a:pt x="10" y="77"/>
                  </a:lnTo>
                  <a:lnTo>
                    <a:pt x="12" y="76"/>
                  </a:lnTo>
                  <a:lnTo>
                    <a:pt x="13" y="71"/>
                  </a:lnTo>
                  <a:lnTo>
                    <a:pt x="14" y="63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3" y="12"/>
                  </a:lnTo>
                  <a:lnTo>
                    <a:pt x="12" y="7"/>
                  </a:lnTo>
                  <a:lnTo>
                    <a:pt x="10" y="6"/>
                  </a:lnTo>
                  <a:lnTo>
                    <a:pt x="7" y="5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7" name="Freeform 8"/>
            <p:cNvSpPr>
              <a:spLocks/>
            </p:cNvSpPr>
            <p:nvPr userDrawn="1"/>
          </p:nvSpPr>
          <p:spPr bwMode="auto">
            <a:xfrm>
              <a:off x="4482" y="2784"/>
              <a:ext cx="86" cy="83"/>
            </a:xfrm>
            <a:custGeom>
              <a:avLst/>
              <a:gdLst>
                <a:gd name="T0" fmla="*/ 86 w 86"/>
                <a:gd name="T1" fmla="*/ 20 h 83"/>
                <a:gd name="T2" fmla="*/ 81 w 86"/>
                <a:gd name="T3" fmla="*/ 20 h 83"/>
                <a:gd name="T4" fmla="*/ 81 w 86"/>
                <a:gd name="T5" fmla="*/ 17 h 83"/>
                <a:gd name="T6" fmla="*/ 81 w 86"/>
                <a:gd name="T7" fmla="*/ 17 h 83"/>
                <a:gd name="T8" fmla="*/ 79 w 86"/>
                <a:gd name="T9" fmla="*/ 12 h 83"/>
                <a:gd name="T10" fmla="*/ 76 w 86"/>
                <a:gd name="T11" fmla="*/ 10 h 83"/>
                <a:gd name="T12" fmla="*/ 73 w 86"/>
                <a:gd name="T13" fmla="*/ 7 h 83"/>
                <a:gd name="T14" fmla="*/ 65 w 86"/>
                <a:gd name="T15" fmla="*/ 6 h 83"/>
                <a:gd name="T16" fmla="*/ 51 w 86"/>
                <a:gd name="T17" fmla="*/ 6 h 83"/>
                <a:gd name="T18" fmla="*/ 51 w 86"/>
                <a:gd name="T19" fmla="*/ 63 h 83"/>
                <a:gd name="T20" fmla="*/ 51 w 86"/>
                <a:gd name="T21" fmla="*/ 63 h 83"/>
                <a:gd name="T22" fmla="*/ 52 w 86"/>
                <a:gd name="T23" fmla="*/ 71 h 83"/>
                <a:gd name="T24" fmla="*/ 53 w 86"/>
                <a:gd name="T25" fmla="*/ 76 h 83"/>
                <a:gd name="T26" fmla="*/ 56 w 86"/>
                <a:gd name="T27" fmla="*/ 77 h 83"/>
                <a:gd name="T28" fmla="*/ 58 w 86"/>
                <a:gd name="T29" fmla="*/ 78 h 83"/>
                <a:gd name="T30" fmla="*/ 65 w 86"/>
                <a:gd name="T31" fmla="*/ 78 h 83"/>
                <a:gd name="T32" fmla="*/ 65 w 86"/>
                <a:gd name="T33" fmla="*/ 83 h 83"/>
                <a:gd name="T34" fmla="*/ 21 w 86"/>
                <a:gd name="T35" fmla="*/ 83 h 83"/>
                <a:gd name="T36" fmla="*/ 21 w 86"/>
                <a:gd name="T37" fmla="*/ 78 h 83"/>
                <a:gd name="T38" fmla="*/ 21 w 86"/>
                <a:gd name="T39" fmla="*/ 78 h 83"/>
                <a:gd name="T40" fmla="*/ 28 w 86"/>
                <a:gd name="T41" fmla="*/ 78 h 83"/>
                <a:gd name="T42" fmla="*/ 30 w 86"/>
                <a:gd name="T43" fmla="*/ 77 h 83"/>
                <a:gd name="T44" fmla="*/ 33 w 86"/>
                <a:gd name="T45" fmla="*/ 76 h 83"/>
                <a:gd name="T46" fmla="*/ 34 w 86"/>
                <a:gd name="T47" fmla="*/ 71 h 83"/>
                <a:gd name="T48" fmla="*/ 35 w 86"/>
                <a:gd name="T49" fmla="*/ 63 h 83"/>
                <a:gd name="T50" fmla="*/ 35 w 86"/>
                <a:gd name="T51" fmla="*/ 6 h 83"/>
                <a:gd name="T52" fmla="*/ 21 w 86"/>
                <a:gd name="T53" fmla="*/ 6 h 83"/>
                <a:gd name="T54" fmla="*/ 21 w 86"/>
                <a:gd name="T55" fmla="*/ 6 h 83"/>
                <a:gd name="T56" fmla="*/ 13 w 86"/>
                <a:gd name="T57" fmla="*/ 7 h 83"/>
                <a:gd name="T58" fmla="*/ 9 w 86"/>
                <a:gd name="T59" fmla="*/ 10 h 83"/>
                <a:gd name="T60" fmla="*/ 7 w 86"/>
                <a:gd name="T61" fmla="*/ 12 h 83"/>
                <a:gd name="T62" fmla="*/ 5 w 86"/>
                <a:gd name="T63" fmla="*/ 17 h 83"/>
                <a:gd name="T64" fmla="*/ 5 w 86"/>
                <a:gd name="T65" fmla="*/ 20 h 83"/>
                <a:gd name="T66" fmla="*/ 0 w 86"/>
                <a:gd name="T67" fmla="*/ 20 h 83"/>
                <a:gd name="T68" fmla="*/ 1 w 86"/>
                <a:gd name="T69" fmla="*/ 0 h 83"/>
                <a:gd name="T70" fmla="*/ 85 w 86"/>
                <a:gd name="T71" fmla="*/ 0 h 83"/>
                <a:gd name="T72" fmla="*/ 86 w 86"/>
                <a:gd name="T73" fmla="*/ 2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6" h="83">
                  <a:moveTo>
                    <a:pt x="86" y="20"/>
                  </a:moveTo>
                  <a:lnTo>
                    <a:pt x="81" y="20"/>
                  </a:lnTo>
                  <a:lnTo>
                    <a:pt x="81" y="17"/>
                  </a:lnTo>
                  <a:lnTo>
                    <a:pt x="81" y="17"/>
                  </a:lnTo>
                  <a:lnTo>
                    <a:pt x="79" y="12"/>
                  </a:lnTo>
                  <a:lnTo>
                    <a:pt x="76" y="10"/>
                  </a:lnTo>
                  <a:lnTo>
                    <a:pt x="73" y="7"/>
                  </a:lnTo>
                  <a:lnTo>
                    <a:pt x="65" y="6"/>
                  </a:lnTo>
                  <a:lnTo>
                    <a:pt x="51" y="6"/>
                  </a:lnTo>
                  <a:lnTo>
                    <a:pt x="51" y="63"/>
                  </a:lnTo>
                  <a:lnTo>
                    <a:pt x="51" y="63"/>
                  </a:lnTo>
                  <a:lnTo>
                    <a:pt x="52" y="71"/>
                  </a:lnTo>
                  <a:lnTo>
                    <a:pt x="53" y="76"/>
                  </a:lnTo>
                  <a:lnTo>
                    <a:pt x="56" y="77"/>
                  </a:lnTo>
                  <a:lnTo>
                    <a:pt x="58" y="78"/>
                  </a:lnTo>
                  <a:lnTo>
                    <a:pt x="65" y="78"/>
                  </a:lnTo>
                  <a:lnTo>
                    <a:pt x="65" y="83"/>
                  </a:lnTo>
                  <a:lnTo>
                    <a:pt x="21" y="83"/>
                  </a:lnTo>
                  <a:lnTo>
                    <a:pt x="21" y="78"/>
                  </a:lnTo>
                  <a:lnTo>
                    <a:pt x="21" y="78"/>
                  </a:lnTo>
                  <a:lnTo>
                    <a:pt x="28" y="78"/>
                  </a:lnTo>
                  <a:lnTo>
                    <a:pt x="30" y="77"/>
                  </a:lnTo>
                  <a:lnTo>
                    <a:pt x="33" y="76"/>
                  </a:lnTo>
                  <a:lnTo>
                    <a:pt x="34" y="71"/>
                  </a:lnTo>
                  <a:lnTo>
                    <a:pt x="35" y="63"/>
                  </a:lnTo>
                  <a:lnTo>
                    <a:pt x="35" y="6"/>
                  </a:lnTo>
                  <a:lnTo>
                    <a:pt x="21" y="6"/>
                  </a:lnTo>
                  <a:lnTo>
                    <a:pt x="21" y="6"/>
                  </a:lnTo>
                  <a:lnTo>
                    <a:pt x="13" y="7"/>
                  </a:lnTo>
                  <a:lnTo>
                    <a:pt x="9" y="10"/>
                  </a:lnTo>
                  <a:lnTo>
                    <a:pt x="7" y="12"/>
                  </a:lnTo>
                  <a:lnTo>
                    <a:pt x="5" y="17"/>
                  </a:lnTo>
                  <a:lnTo>
                    <a:pt x="5" y="20"/>
                  </a:lnTo>
                  <a:lnTo>
                    <a:pt x="0" y="20"/>
                  </a:lnTo>
                  <a:lnTo>
                    <a:pt x="1" y="0"/>
                  </a:lnTo>
                  <a:lnTo>
                    <a:pt x="85" y="0"/>
                  </a:lnTo>
                  <a:lnTo>
                    <a:pt x="86" y="2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8" name="Freeform 9"/>
            <p:cNvSpPr>
              <a:spLocks/>
            </p:cNvSpPr>
            <p:nvPr userDrawn="1"/>
          </p:nvSpPr>
          <p:spPr bwMode="auto">
            <a:xfrm>
              <a:off x="4584" y="2784"/>
              <a:ext cx="43" cy="83"/>
            </a:xfrm>
            <a:custGeom>
              <a:avLst/>
              <a:gdLst>
                <a:gd name="T0" fmla="*/ 0 w 43"/>
                <a:gd name="T1" fmla="*/ 83 h 83"/>
                <a:gd name="T2" fmla="*/ 0 w 43"/>
                <a:gd name="T3" fmla="*/ 78 h 83"/>
                <a:gd name="T4" fmla="*/ 0 w 43"/>
                <a:gd name="T5" fmla="*/ 78 h 83"/>
                <a:gd name="T6" fmla="*/ 7 w 43"/>
                <a:gd name="T7" fmla="*/ 78 h 83"/>
                <a:gd name="T8" fmla="*/ 9 w 43"/>
                <a:gd name="T9" fmla="*/ 77 h 83"/>
                <a:gd name="T10" fmla="*/ 10 w 43"/>
                <a:gd name="T11" fmla="*/ 76 h 83"/>
                <a:gd name="T12" fmla="*/ 13 w 43"/>
                <a:gd name="T13" fmla="*/ 71 h 83"/>
                <a:gd name="T14" fmla="*/ 13 w 43"/>
                <a:gd name="T15" fmla="*/ 63 h 83"/>
                <a:gd name="T16" fmla="*/ 13 w 43"/>
                <a:gd name="T17" fmla="*/ 20 h 83"/>
                <a:gd name="T18" fmla="*/ 13 w 43"/>
                <a:gd name="T19" fmla="*/ 20 h 83"/>
                <a:gd name="T20" fmla="*/ 13 w 43"/>
                <a:gd name="T21" fmla="*/ 12 h 83"/>
                <a:gd name="T22" fmla="*/ 10 w 43"/>
                <a:gd name="T23" fmla="*/ 7 h 83"/>
                <a:gd name="T24" fmla="*/ 9 w 43"/>
                <a:gd name="T25" fmla="*/ 6 h 83"/>
                <a:gd name="T26" fmla="*/ 7 w 43"/>
                <a:gd name="T27" fmla="*/ 5 h 83"/>
                <a:gd name="T28" fmla="*/ 0 w 43"/>
                <a:gd name="T29" fmla="*/ 5 h 83"/>
                <a:gd name="T30" fmla="*/ 0 w 43"/>
                <a:gd name="T31" fmla="*/ 0 h 83"/>
                <a:gd name="T32" fmla="*/ 43 w 43"/>
                <a:gd name="T33" fmla="*/ 0 h 83"/>
                <a:gd name="T34" fmla="*/ 43 w 43"/>
                <a:gd name="T35" fmla="*/ 5 h 83"/>
                <a:gd name="T36" fmla="*/ 43 w 43"/>
                <a:gd name="T37" fmla="*/ 5 h 83"/>
                <a:gd name="T38" fmla="*/ 36 w 43"/>
                <a:gd name="T39" fmla="*/ 5 h 83"/>
                <a:gd name="T40" fmla="*/ 33 w 43"/>
                <a:gd name="T41" fmla="*/ 6 h 83"/>
                <a:gd name="T42" fmla="*/ 32 w 43"/>
                <a:gd name="T43" fmla="*/ 7 h 83"/>
                <a:gd name="T44" fmla="*/ 30 w 43"/>
                <a:gd name="T45" fmla="*/ 12 h 83"/>
                <a:gd name="T46" fmla="*/ 30 w 43"/>
                <a:gd name="T47" fmla="*/ 20 h 83"/>
                <a:gd name="T48" fmla="*/ 30 w 43"/>
                <a:gd name="T49" fmla="*/ 63 h 83"/>
                <a:gd name="T50" fmla="*/ 30 w 43"/>
                <a:gd name="T51" fmla="*/ 63 h 83"/>
                <a:gd name="T52" fmla="*/ 30 w 43"/>
                <a:gd name="T53" fmla="*/ 71 h 83"/>
                <a:gd name="T54" fmla="*/ 32 w 43"/>
                <a:gd name="T55" fmla="*/ 76 h 83"/>
                <a:gd name="T56" fmla="*/ 33 w 43"/>
                <a:gd name="T57" fmla="*/ 77 h 83"/>
                <a:gd name="T58" fmla="*/ 36 w 43"/>
                <a:gd name="T59" fmla="*/ 78 h 83"/>
                <a:gd name="T60" fmla="*/ 43 w 43"/>
                <a:gd name="T61" fmla="*/ 78 h 83"/>
                <a:gd name="T62" fmla="*/ 43 w 43"/>
                <a:gd name="T63" fmla="*/ 83 h 83"/>
                <a:gd name="T64" fmla="*/ 0 w 43"/>
                <a:gd name="T65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" h="83">
                  <a:moveTo>
                    <a:pt x="0" y="83"/>
                  </a:moveTo>
                  <a:lnTo>
                    <a:pt x="0" y="78"/>
                  </a:lnTo>
                  <a:lnTo>
                    <a:pt x="0" y="78"/>
                  </a:lnTo>
                  <a:lnTo>
                    <a:pt x="7" y="78"/>
                  </a:lnTo>
                  <a:lnTo>
                    <a:pt x="9" y="77"/>
                  </a:lnTo>
                  <a:lnTo>
                    <a:pt x="10" y="76"/>
                  </a:lnTo>
                  <a:lnTo>
                    <a:pt x="13" y="71"/>
                  </a:lnTo>
                  <a:lnTo>
                    <a:pt x="13" y="63"/>
                  </a:lnTo>
                  <a:lnTo>
                    <a:pt x="13" y="20"/>
                  </a:lnTo>
                  <a:lnTo>
                    <a:pt x="13" y="20"/>
                  </a:lnTo>
                  <a:lnTo>
                    <a:pt x="13" y="12"/>
                  </a:lnTo>
                  <a:lnTo>
                    <a:pt x="10" y="7"/>
                  </a:lnTo>
                  <a:lnTo>
                    <a:pt x="9" y="6"/>
                  </a:lnTo>
                  <a:lnTo>
                    <a:pt x="7" y="5"/>
                  </a:lnTo>
                  <a:lnTo>
                    <a:pt x="0" y="5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5"/>
                  </a:lnTo>
                  <a:lnTo>
                    <a:pt x="43" y="5"/>
                  </a:lnTo>
                  <a:lnTo>
                    <a:pt x="36" y="5"/>
                  </a:lnTo>
                  <a:lnTo>
                    <a:pt x="33" y="6"/>
                  </a:lnTo>
                  <a:lnTo>
                    <a:pt x="32" y="7"/>
                  </a:lnTo>
                  <a:lnTo>
                    <a:pt x="30" y="12"/>
                  </a:lnTo>
                  <a:lnTo>
                    <a:pt x="30" y="20"/>
                  </a:lnTo>
                  <a:lnTo>
                    <a:pt x="30" y="63"/>
                  </a:lnTo>
                  <a:lnTo>
                    <a:pt x="30" y="63"/>
                  </a:lnTo>
                  <a:lnTo>
                    <a:pt x="30" y="71"/>
                  </a:lnTo>
                  <a:lnTo>
                    <a:pt x="32" y="76"/>
                  </a:lnTo>
                  <a:lnTo>
                    <a:pt x="33" y="77"/>
                  </a:lnTo>
                  <a:lnTo>
                    <a:pt x="36" y="78"/>
                  </a:lnTo>
                  <a:lnTo>
                    <a:pt x="43" y="78"/>
                  </a:lnTo>
                  <a:lnTo>
                    <a:pt x="4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9" name="Freeform 10"/>
            <p:cNvSpPr>
              <a:spLocks noEditPoints="1"/>
            </p:cNvSpPr>
            <p:nvPr userDrawn="1"/>
          </p:nvSpPr>
          <p:spPr bwMode="auto">
            <a:xfrm>
              <a:off x="4647" y="2782"/>
              <a:ext cx="92" cy="87"/>
            </a:xfrm>
            <a:custGeom>
              <a:avLst/>
              <a:gdLst>
                <a:gd name="T0" fmla="*/ 47 w 92"/>
                <a:gd name="T1" fmla="*/ 87 h 87"/>
                <a:gd name="T2" fmla="*/ 28 w 92"/>
                <a:gd name="T3" fmla="*/ 83 h 87"/>
                <a:gd name="T4" fmla="*/ 14 w 92"/>
                <a:gd name="T5" fmla="*/ 74 h 87"/>
                <a:gd name="T6" fmla="*/ 5 w 92"/>
                <a:gd name="T7" fmla="*/ 60 h 87"/>
                <a:gd name="T8" fmla="*/ 0 w 92"/>
                <a:gd name="T9" fmla="*/ 43 h 87"/>
                <a:gd name="T10" fmla="*/ 2 w 92"/>
                <a:gd name="T11" fmla="*/ 35 h 87"/>
                <a:gd name="T12" fmla="*/ 8 w 92"/>
                <a:gd name="T13" fmla="*/ 20 h 87"/>
                <a:gd name="T14" fmla="*/ 21 w 92"/>
                <a:gd name="T15" fmla="*/ 8 h 87"/>
                <a:gd name="T16" fmla="*/ 37 w 92"/>
                <a:gd name="T17" fmla="*/ 1 h 87"/>
                <a:gd name="T18" fmla="*/ 47 w 92"/>
                <a:gd name="T19" fmla="*/ 0 h 87"/>
                <a:gd name="T20" fmla="*/ 64 w 92"/>
                <a:gd name="T21" fmla="*/ 4 h 87"/>
                <a:gd name="T22" fmla="*/ 78 w 92"/>
                <a:gd name="T23" fmla="*/ 13 h 87"/>
                <a:gd name="T24" fmla="*/ 88 w 92"/>
                <a:gd name="T25" fmla="*/ 27 h 87"/>
                <a:gd name="T26" fmla="*/ 92 w 92"/>
                <a:gd name="T27" fmla="*/ 43 h 87"/>
                <a:gd name="T28" fmla="*/ 91 w 92"/>
                <a:gd name="T29" fmla="*/ 52 h 87"/>
                <a:gd name="T30" fmla="*/ 84 w 92"/>
                <a:gd name="T31" fmla="*/ 67 h 87"/>
                <a:gd name="T32" fmla="*/ 72 w 92"/>
                <a:gd name="T33" fmla="*/ 79 h 87"/>
                <a:gd name="T34" fmla="*/ 56 w 92"/>
                <a:gd name="T35" fmla="*/ 86 h 87"/>
                <a:gd name="T36" fmla="*/ 47 w 92"/>
                <a:gd name="T37" fmla="*/ 87 h 87"/>
                <a:gd name="T38" fmla="*/ 47 w 92"/>
                <a:gd name="T39" fmla="*/ 7 h 87"/>
                <a:gd name="T40" fmla="*/ 34 w 92"/>
                <a:gd name="T41" fmla="*/ 11 h 87"/>
                <a:gd name="T42" fmla="*/ 26 w 92"/>
                <a:gd name="T43" fmla="*/ 19 h 87"/>
                <a:gd name="T44" fmla="*/ 21 w 92"/>
                <a:gd name="T45" fmla="*/ 30 h 87"/>
                <a:gd name="T46" fmla="*/ 19 w 92"/>
                <a:gd name="T47" fmla="*/ 43 h 87"/>
                <a:gd name="T48" fmla="*/ 20 w 92"/>
                <a:gd name="T49" fmla="*/ 50 h 87"/>
                <a:gd name="T50" fmla="*/ 22 w 92"/>
                <a:gd name="T51" fmla="*/ 63 h 87"/>
                <a:gd name="T52" fmla="*/ 29 w 92"/>
                <a:gd name="T53" fmla="*/ 73 h 87"/>
                <a:gd name="T54" fmla="*/ 40 w 92"/>
                <a:gd name="T55" fmla="*/ 79 h 87"/>
                <a:gd name="T56" fmla="*/ 47 w 92"/>
                <a:gd name="T57" fmla="*/ 80 h 87"/>
                <a:gd name="T58" fmla="*/ 58 w 92"/>
                <a:gd name="T59" fmla="*/ 76 h 87"/>
                <a:gd name="T60" fmla="*/ 67 w 92"/>
                <a:gd name="T61" fmla="*/ 68 h 87"/>
                <a:gd name="T62" fmla="*/ 72 w 92"/>
                <a:gd name="T63" fmla="*/ 56 h 87"/>
                <a:gd name="T64" fmla="*/ 73 w 92"/>
                <a:gd name="T65" fmla="*/ 43 h 87"/>
                <a:gd name="T66" fmla="*/ 73 w 92"/>
                <a:gd name="T67" fmla="*/ 37 h 87"/>
                <a:gd name="T68" fmla="*/ 70 w 92"/>
                <a:gd name="T69" fmla="*/ 24 h 87"/>
                <a:gd name="T70" fmla="*/ 63 w 92"/>
                <a:gd name="T71" fmla="*/ 14 h 87"/>
                <a:gd name="T72" fmla="*/ 52 w 92"/>
                <a:gd name="T73" fmla="*/ 8 h 87"/>
                <a:gd name="T74" fmla="*/ 47 w 92"/>
                <a:gd name="T75" fmla="*/ 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92" h="87">
                  <a:moveTo>
                    <a:pt x="47" y="87"/>
                  </a:moveTo>
                  <a:lnTo>
                    <a:pt x="47" y="87"/>
                  </a:lnTo>
                  <a:lnTo>
                    <a:pt x="37" y="86"/>
                  </a:lnTo>
                  <a:lnTo>
                    <a:pt x="28" y="83"/>
                  </a:lnTo>
                  <a:lnTo>
                    <a:pt x="21" y="79"/>
                  </a:lnTo>
                  <a:lnTo>
                    <a:pt x="14" y="74"/>
                  </a:lnTo>
                  <a:lnTo>
                    <a:pt x="8" y="67"/>
                  </a:lnTo>
                  <a:lnTo>
                    <a:pt x="5" y="60"/>
                  </a:lnTo>
                  <a:lnTo>
                    <a:pt x="2" y="52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2" y="35"/>
                  </a:lnTo>
                  <a:lnTo>
                    <a:pt x="5" y="27"/>
                  </a:lnTo>
                  <a:lnTo>
                    <a:pt x="8" y="20"/>
                  </a:lnTo>
                  <a:lnTo>
                    <a:pt x="14" y="13"/>
                  </a:lnTo>
                  <a:lnTo>
                    <a:pt x="21" y="8"/>
                  </a:lnTo>
                  <a:lnTo>
                    <a:pt x="28" y="4"/>
                  </a:lnTo>
                  <a:lnTo>
                    <a:pt x="37" y="1"/>
                  </a:lnTo>
                  <a:lnTo>
                    <a:pt x="47" y="0"/>
                  </a:lnTo>
                  <a:lnTo>
                    <a:pt x="47" y="0"/>
                  </a:lnTo>
                  <a:lnTo>
                    <a:pt x="56" y="1"/>
                  </a:lnTo>
                  <a:lnTo>
                    <a:pt x="64" y="4"/>
                  </a:lnTo>
                  <a:lnTo>
                    <a:pt x="72" y="8"/>
                  </a:lnTo>
                  <a:lnTo>
                    <a:pt x="78" y="13"/>
                  </a:lnTo>
                  <a:lnTo>
                    <a:pt x="84" y="20"/>
                  </a:lnTo>
                  <a:lnTo>
                    <a:pt x="88" y="27"/>
                  </a:lnTo>
                  <a:lnTo>
                    <a:pt x="91" y="35"/>
                  </a:lnTo>
                  <a:lnTo>
                    <a:pt x="92" y="43"/>
                  </a:lnTo>
                  <a:lnTo>
                    <a:pt x="92" y="43"/>
                  </a:lnTo>
                  <a:lnTo>
                    <a:pt x="91" y="52"/>
                  </a:lnTo>
                  <a:lnTo>
                    <a:pt x="88" y="60"/>
                  </a:lnTo>
                  <a:lnTo>
                    <a:pt x="84" y="67"/>
                  </a:lnTo>
                  <a:lnTo>
                    <a:pt x="78" y="74"/>
                  </a:lnTo>
                  <a:lnTo>
                    <a:pt x="72" y="79"/>
                  </a:lnTo>
                  <a:lnTo>
                    <a:pt x="64" y="83"/>
                  </a:lnTo>
                  <a:lnTo>
                    <a:pt x="56" y="86"/>
                  </a:lnTo>
                  <a:lnTo>
                    <a:pt x="47" y="87"/>
                  </a:lnTo>
                  <a:lnTo>
                    <a:pt x="47" y="87"/>
                  </a:lnTo>
                  <a:close/>
                  <a:moveTo>
                    <a:pt x="47" y="7"/>
                  </a:moveTo>
                  <a:lnTo>
                    <a:pt x="47" y="7"/>
                  </a:lnTo>
                  <a:lnTo>
                    <a:pt x="40" y="8"/>
                  </a:lnTo>
                  <a:lnTo>
                    <a:pt x="34" y="11"/>
                  </a:lnTo>
                  <a:lnTo>
                    <a:pt x="29" y="14"/>
                  </a:lnTo>
                  <a:lnTo>
                    <a:pt x="26" y="19"/>
                  </a:lnTo>
                  <a:lnTo>
                    <a:pt x="22" y="24"/>
                  </a:lnTo>
                  <a:lnTo>
                    <a:pt x="21" y="30"/>
                  </a:lnTo>
                  <a:lnTo>
                    <a:pt x="20" y="37"/>
                  </a:lnTo>
                  <a:lnTo>
                    <a:pt x="19" y="43"/>
                  </a:lnTo>
                  <a:lnTo>
                    <a:pt x="19" y="43"/>
                  </a:lnTo>
                  <a:lnTo>
                    <a:pt x="20" y="50"/>
                  </a:lnTo>
                  <a:lnTo>
                    <a:pt x="21" y="56"/>
                  </a:lnTo>
                  <a:lnTo>
                    <a:pt x="22" y="63"/>
                  </a:lnTo>
                  <a:lnTo>
                    <a:pt x="26" y="68"/>
                  </a:lnTo>
                  <a:lnTo>
                    <a:pt x="29" y="73"/>
                  </a:lnTo>
                  <a:lnTo>
                    <a:pt x="34" y="76"/>
                  </a:lnTo>
                  <a:lnTo>
                    <a:pt x="40" y="79"/>
                  </a:lnTo>
                  <a:lnTo>
                    <a:pt x="47" y="80"/>
                  </a:lnTo>
                  <a:lnTo>
                    <a:pt x="47" y="80"/>
                  </a:lnTo>
                  <a:lnTo>
                    <a:pt x="52" y="79"/>
                  </a:lnTo>
                  <a:lnTo>
                    <a:pt x="58" y="76"/>
                  </a:lnTo>
                  <a:lnTo>
                    <a:pt x="63" y="73"/>
                  </a:lnTo>
                  <a:lnTo>
                    <a:pt x="67" y="68"/>
                  </a:lnTo>
                  <a:lnTo>
                    <a:pt x="70" y="63"/>
                  </a:lnTo>
                  <a:lnTo>
                    <a:pt x="72" y="56"/>
                  </a:lnTo>
                  <a:lnTo>
                    <a:pt x="73" y="50"/>
                  </a:lnTo>
                  <a:lnTo>
                    <a:pt x="73" y="43"/>
                  </a:lnTo>
                  <a:lnTo>
                    <a:pt x="73" y="43"/>
                  </a:lnTo>
                  <a:lnTo>
                    <a:pt x="73" y="37"/>
                  </a:lnTo>
                  <a:lnTo>
                    <a:pt x="72" y="30"/>
                  </a:lnTo>
                  <a:lnTo>
                    <a:pt x="70" y="24"/>
                  </a:lnTo>
                  <a:lnTo>
                    <a:pt x="67" y="19"/>
                  </a:lnTo>
                  <a:lnTo>
                    <a:pt x="63" y="14"/>
                  </a:lnTo>
                  <a:lnTo>
                    <a:pt x="58" y="11"/>
                  </a:lnTo>
                  <a:lnTo>
                    <a:pt x="52" y="8"/>
                  </a:lnTo>
                  <a:lnTo>
                    <a:pt x="47" y="7"/>
                  </a:lnTo>
                  <a:lnTo>
                    <a:pt x="47" y="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12" name="Freeform 11"/>
            <p:cNvSpPr>
              <a:spLocks/>
            </p:cNvSpPr>
            <p:nvPr userDrawn="1"/>
          </p:nvSpPr>
          <p:spPr bwMode="auto">
            <a:xfrm>
              <a:off x="4759" y="2784"/>
              <a:ext cx="92" cy="85"/>
            </a:xfrm>
            <a:custGeom>
              <a:avLst/>
              <a:gdLst>
                <a:gd name="T0" fmla="*/ 73 w 92"/>
                <a:gd name="T1" fmla="*/ 20 h 85"/>
                <a:gd name="T2" fmla="*/ 73 w 92"/>
                <a:gd name="T3" fmla="*/ 20 h 85"/>
                <a:gd name="T4" fmla="*/ 73 w 92"/>
                <a:gd name="T5" fmla="*/ 12 h 85"/>
                <a:gd name="T6" fmla="*/ 71 w 92"/>
                <a:gd name="T7" fmla="*/ 7 h 85"/>
                <a:gd name="T8" fmla="*/ 70 w 92"/>
                <a:gd name="T9" fmla="*/ 6 h 85"/>
                <a:gd name="T10" fmla="*/ 67 w 92"/>
                <a:gd name="T11" fmla="*/ 5 h 85"/>
                <a:gd name="T12" fmla="*/ 61 w 92"/>
                <a:gd name="T13" fmla="*/ 5 h 85"/>
                <a:gd name="T14" fmla="*/ 61 w 92"/>
                <a:gd name="T15" fmla="*/ 0 h 85"/>
                <a:gd name="T16" fmla="*/ 92 w 92"/>
                <a:gd name="T17" fmla="*/ 0 h 85"/>
                <a:gd name="T18" fmla="*/ 92 w 92"/>
                <a:gd name="T19" fmla="*/ 5 h 85"/>
                <a:gd name="T20" fmla="*/ 92 w 92"/>
                <a:gd name="T21" fmla="*/ 5 h 85"/>
                <a:gd name="T22" fmla="*/ 86 w 92"/>
                <a:gd name="T23" fmla="*/ 5 h 85"/>
                <a:gd name="T24" fmla="*/ 84 w 92"/>
                <a:gd name="T25" fmla="*/ 6 h 85"/>
                <a:gd name="T26" fmla="*/ 81 w 92"/>
                <a:gd name="T27" fmla="*/ 7 h 85"/>
                <a:gd name="T28" fmla="*/ 80 w 92"/>
                <a:gd name="T29" fmla="*/ 12 h 85"/>
                <a:gd name="T30" fmla="*/ 79 w 92"/>
                <a:gd name="T31" fmla="*/ 20 h 85"/>
                <a:gd name="T32" fmla="*/ 79 w 92"/>
                <a:gd name="T33" fmla="*/ 85 h 85"/>
                <a:gd name="T34" fmla="*/ 76 w 92"/>
                <a:gd name="T35" fmla="*/ 85 h 85"/>
                <a:gd name="T36" fmla="*/ 20 w 92"/>
                <a:gd name="T37" fmla="*/ 18 h 85"/>
                <a:gd name="T38" fmla="*/ 20 w 92"/>
                <a:gd name="T39" fmla="*/ 63 h 85"/>
                <a:gd name="T40" fmla="*/ 20 w 92"/>
                <a:gd name="T41" fmla="*/ 63 h 85"/>
                <a:gd name="T42" fmla="*/ 20 w 92"/>
                <a:gd name="T43" fmla="*/ 71 h 85"/>
                <a:gd name="T44" fmla="*/ 22 w 92"/>
                <a:gd name="T45" fmla="*/ 76 h 85"/>
                <a:gd name="T46" fmla="*/ 24 w 92"/>
                <a:gd name="T47" fmla="*/ 77 h 85"/>
                <a:gd name="T48" fmla="*/ 26 w 92"/>
                <a:gd name="T49" fmla="*/ 78 h 85"/>
                <a:gd name="T50" fmla="*/ 33 w 92"/>
                <a:gd name="T51" fmla="*/ 78 h 85"/>
                <a:gd name="T52" fmla="*/ 33 w 92"/>
                <a:gd name="T53" fmla="*/ 83 h 85"/>
                <a:gd name="T54" fmla="*/ 0 w 92"/>
                <a:gd name="T55" fmla="*/ 83 h 85"/>
                <a:gd name="T56" fmla="*/ 0 w 92"/>
                <a:gd name="T57" fmla="*/ 78 h 85"/>
                <a:gd name="T58" fmla="*/ 0 w 92"/>
                <a:gd name="T59" fmla="*/ 78 h 85"/>
                <a:gd name="T60" fmla="*/ 7 w 92"/>
                <a:gd name="T61" fmla="*/ 78 h 85"/>
                <a:gd name="T62" fmla="*/ 10 w 92"/>
                <a:gd name="T63" fmla="*/ 77 h 85"/>
                <a:gd name="T64" fmla="*/ 11 w 92"/>
                <a:gd name="T65" fmla="*/ 76 h 85"/>
                <a:gd name="T66" fmla="*/ 13 w 92"/>
                <a:gd name="T67" fmla="*/ 71 h 85"/>
                <a:gd name="T68" fmla="*/ 13 w 92"/>
                <a:gd name="T69" fmla="*/ 63 h 85"/>
                <a:gd name="T70" fmla="*/ 13 w 92"/>
                <a:gd name="T71" fmla="*/ 20 h 85"/>
                <a:gd name="T72" fmla="*/ 13 w 92"/>
                <a:gd name="T73" fmla="*/ 20 h 85"/>
                <a:gd name="T74" fmla="*/ 13 w 92"/>
                <a:gd name="T75" fmla="*/ 12 h 85"/>
                <a:gd name="T76" fmla="*/ 11 w 92"/>
                <a:gd name="T77" fmla="*/ 7 h 85"/>
                <a:gd name="T78" fmla="*/ 10 w 92"/>
                <a:gd name="T79" fmla="*/ 6 h 85"/>
                <a:gd name="T80" fmla="*/ 7 w 92"/>
                <a:gd name="T81" fmla="*/ 5 h 85"/>
                <a:gd name="T82" fmla="*/ 0 w 92"/>
                <a:gd name="T83" fmla="*/ 5 h 85"/>
                <a:gd name="T84" fmla="*/ 0 w 92"/>
                <a:gd name="T85" fmla="*/ 0 h 85"/>
                <a:gd name="T86" fmla="*/ 28 w 92"/>
                <a:gd name="T87" fmla="*/ 0 h 85"/>
                <a:gd name="T88" fmla="*/ 73 w 92"/>
                <a:gd name="T89" fmla="*/ 55 h 85"/>
                <a:gd name="T90" fmla="*/ 73 w 92"/>
                <a:gd name="T91" fmla="*/ 2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92" h="85">
                  <a:moveTo>
                    <a:pt x="73" y="20"/>
                  </a:moveTo>
                  <a:lnTo>
                    <a:pt x="73" y="20"/>
                  </a:lnTo>
                  <a:lnTo>
                    <a:pt x="73" y="12"/>
                  </a:lnTo>
                  <a:lnTo>
                    <a:pt x="71" y="7"/>
                  </a:lnTo>
                  <a:lnTo>
                    <a:pt x="70" y="6"/>
                  </a:lnTo>
                  <a:lnTo>
                    <a:pt x="67" y="5"/>
                  </a:lnTo>
                  <a:lnTo>
                    <a:pt x="61" y="5"/>
                  </a:lnTo>
                  <a:lnTo>
                    <a:pt x="61" y="0"/>
                  </a:lnTo>
                  <a:lnTo>
                    <a:pt x="92" y="0"/>
                  </a:lnTo>
                  <a:lnTo>
                    <a:pt x="92" y="5"/>
                  </a:lnTo>
                  <a:lnTo>
                    <a:pt x="92" y="5"/>
                  </a:lnTo>
                  <a:lnTo>
                    <a:pt x="86" y="5"/>
                  </a:lnTo>
                  <a:lnTo>
                    <a:pt x="84" y="6"/>
                  </a:lnTo>
                  <a:lnTo>
                    <a:pt x="81" y="7"/>
                  </a:lnTo>
                  <a:lnTo>
                    <a:pt x="80" y="12"/>
                  </a:lnTo>
                  <a:lnTo>
                    <a:pt x="79" y="20"/>
                  </a:lnTo>
                  <a:lnTo>
                    <a:pt x="79" y="85"/>
                  </a:lnTo>
                  <a:lnTo>
                    <a:pt x="76" y="85"/>
                  </a:lnTo>
                  <a:lnTo>
                    <a:pt x="20" y="18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20" y="71"/>
                  </a:lnTo>
                  <a:lnTo>
                    <a:pt x="22" y="76"/>
                  </a:lnTo>
                  <a:lnTo>
                    <a:pt x="24" y="77"/>
                  </a:lnTo>
                  <a:lnTo>
                    <a:pt x="26" y="78"/>
                  </a:lnTo>
                  <a:lnTo>
                    <a:pt x="33" y="78"/>
                  </a:lnTo>
                  <a:lnTo>
                    <a:pt x="33" y="83"/>
                  </a:lnTo>
                  <a:lnTo>
                    <a:pt x="0" y="83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7" y="78"/>
                  </a:lnTo>
                  <a:lnTo>
                    <a:pt x="10" y="77"/>
                  </a:lnTo>
                  <a:lnTo>
                    <a:pt x="11" y="76"/>
                  </a:lnTo>
                  <a:lnTo>
                    <a:pt x="13" y="71"/>
                  </a:lnTo>
                  <a:lnTo>
                    <a:pt x="13" y="63"/>
                  </a:lnTo>
                  <a:lnTo>
                    <a:pt x="13" y="20"/>
                  </a:lnTo>
                  <a:lnTo>
                    <a:pt x="13" y="20"/>
                  </a:lnTo>
                  <a:lnTo>
                    <a:pt x="13" y="12"/>
                  </a:lnTo>
                  <a:lnTo>
                    <a:pt x="11" y="7"/>
                  </a:lnTo>
                  <a:lnTo>
                    <a:pt x="10" y="6"/>
                  </a:lnTo>
                  <a:lnTo>
                    <a:pt x="7" y="5"/>
                  </a:lnTo>
                  <a:lnTo>
                    <a:pt x="0" y="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73" y="55"/>
                  </a:lnTo>
                  <a:lnTo>
                    <a:pt x="73" y="2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13" name="Freeform 12"/>
            <p:cNvSpPr>
              <a:spLocks/>
            </p:cNvSpPr>
            <p:nvPr userDrawn="1"/>
          </p:nvSpPr>
          <p:spPr bwMode="auto">
            <a:xfrm>
              <a:off x="4872" y="2784"/>
              <a:ext cx="75" cy="83"/>
            </a:xfrm>
            <a:custGeom>
              <a:avLst/>
              <a:gdLst>
                <a:gd name="T0" fmla="*/ 0 w 75"/>
                <a:gd name="T1" fmla="*/ 78 h 83"/>
                <a:gd name="T2" fmla="*/ 0 w 75"/>
                <a:gd name="T3" fmla="*/ 78 h 83"/>
                <a:gd name="T4" fmla="*/ 6 w 75"/>
                <a:gd name="T5" fmla="*/ 78 h 83"/>
                <a:gd name="T6" fmla="*/ 9 w 75"/>
                <a:gd name="T7" fmla="*/ 77 h 83"/>
                <a:gd name="T8" fmla="*/ 10 w 75"/>
                <a:gd name="T9" fmla="*/ 76 h 83"/>
                <a:gd name="T10" fmla="*/ 12 w 75"/>
                <a:gd name="T11" fmla="*/ 71 h 83"/>
                <a:gd name="T12" fmla="*/ 12 w 75"/>
                <a:gd name="T13" fmla="*/ 63 h 83"/>
                <a:gd name="T14" fmla="*/ 12 w 75"/>
                <a:gd name="T15" fmla="*/ 20 h 83"/>
                <a:gd name="T16" fmla="*/ 12 w 75"/>
                <a:gd name="T17" fmla="*/ 20 h 83"/>
                <a:gd name="T18" fmla="*/ 12 w 75"/>
                <a:gd name="T19" fmla="*/ 12 h 83"/>
                <a:gd name="T20" fmla="*/ 10 w 75"/>
                <a:gd name="T21" fmla="*/ 7 h 83"/>
                <a:gd name="T22" fmla="*/ 9 w 75"/>
                <a:gd name="T23" fmla="*/ 6 h 83"/>
                <a:gd name="T24" fmla="*/ 6 w 75"/>
                <a:gd name="T25" fmla="*/ 5 h 83"/>
                <a:gd name="T26" fmla="*/ 0 w 75"/>
                <a:gd name="T27" fmla="*/ 5 h 83"/>
                <a:gd name="T28" fmla="*/ 0 w 75"/>
                <a:gd name="T29" fmla="*/ 0 h 83"/>
                <a:gd name="T30" fmla="*/ 70 w 75"/>
                <a:gd name="T31" fmla="*/ 0 h 83"/>
                <a:gd name="T32" fmla="*/ 70 w 75"/>
                <a:gd name="T33" fmla="*/ 20 h 83"/>
                <a:gd name="T34" fmla="*/ 67 w 75"/>
                <a:gd name="T35" fmla="*/ 20 h 83"/>
                <a:gd name="T36" fmla="*/ 65 w 75"/>
                <a:gd name="T37" fmla="*/ 17 h 83"/>
                <a:gd name="T38" fmla="*/ 65 w 75"/>
                <a:gd name="T39" fmla="*/ 17 h 83"/>
                <a:gd name="T40" fmla="*/ 64 w 75"/>
                <a:gd name="T41" fmla="*/ 12 h 83"/>
                <a:gd name="T42" fmla="*/ 62 w 75"/>
                <a:gd name="T43" fmla="*/ 10 h 83"/>
                <a:gd name="T44" fmla="*/ 57 w 75"/>
                <a:gd name="T45" fmla="*/ 7 h 83"/>
                <a:gd name="T46" fmla="*/ 50 w 75"/>
                <a:gd name="T47" fmla="*/ 6 h 83"/>
                <a:gd name="T48" fmla="*/ 30 w 75"/>
                <a:gd name="T49" fmla="*/ 6 h 83"/>
                <a:gd name="T50" fmla="*/ 30 w 75"/>
                <a:gd name="T51" fmla="*/ 36 h 83"/>
                <a:gd name="T52" fmla="*/ 36 w 75"/>
                <a:gd name="T53" fmla="*/ 36 h 83"/>
                <a:gd name="T54" fmla="*/ 36 w 75"/>
                <a:gd name="T55" fmla="*/ 36 h 83"/>
                <a:gd name="T56" fmla="*/ 45 w 75"/>
                <a:gd name="T57" fmla="*/ 35 h 83"/>
                <a:gd name="T58" fmla="*/ 50 w 75"/>
                <a:gd name="T59" fmla="*/ 34 h 83"/>
                <a:gd name="T60" fmla="*/ 52 w 75"/>
                <a:gd name="T61" fmla="*/ 32 h 83"/>
                <a:gd name="T62" fmla="*/ 52 w 75"/>
                <a:gd name="T63" fmla="*/ 29 h 83"/>
                <a:gd name="T64" fmla="*/ 53 w 75"/>
                <a:gd name="T65" fmla="*/ 22 h 83"/>
                <a:gd name="T66" fmla="*/ 56 w 75"/>
                <a:gd name="T67" fmla="*/ 22 h 83"/>
                <a:gd name="T68" fmla="*/ 56 w 75"/>
                <a:gd name="T69" fmla="*/ 55 h 83"/>
                <a:gd name="T70" fmla="*/ 53 w 75"/>
                <a:gd name="T71" fmla="*/ 55 h 83"/>
                <a:gd name="T72" fmla="*/ 53 w 75"/>
                <a:gd name="T73" fmla="*/ 55 h 83"/>
                <a:gd name="T74" fmla="*/ 52 w 75"/>
                <a:gd name="T75" fmla="*/ 48 h 83"/>
                <a:gd name="T76" fmla="*/ 52 w 75"/>
                <a:gd name="T77" fmla="*/ 46 h 83"/>
                <a:gd name="T78" fmla="*/ 50 w 75"/>
                <a:gd name="T79" fmla="*/ 44 h 83"/>
                <a:gd name="T80" fmla="*/ 45 w 75"/>
                <a:gd name="T81" fmla="*/ 42 h 83"/>
                <a:gd name="T82" fmla="*/ 36 w 75"/>
                <a:gd name="T83" fmla="*/ 42 h 83"/>
                <a:gd name="T84" fmla="*/ 30 w 75"/>
                <a:gd name="T85" fmla="*/ 42 h 83"/>
                <a:gd name="T86" fmla="*/ 30 w 75"/>
                <a:gd name="T87" fmla="*/ 61 h 83"/>
                <a:gd name="T88" fmla="*/ 30 w 75"/>
                <a:gd name="T89" fmla="*/ 61 h 83"/>
                <a:gd name="T90" fmla="*/ 30 w 75"/>
                <a:gd name="T91" fmla="*/ 69 h 83"/>
                <a:gd name="T92" fmla="*/ 32 w 75"/>
                <a:gd name="T93" fmla="*/ 73 h 83"/>
                <a:gd name="T94" fmla="*/ 33 w 75"/>
                <a:gd name="T95" fmla="*/ 74 h 83"/>
                <a:gd name="T96" fmla="*/ 35 w 75"/>
                <a:gd name="T97" fmla="*/ 76 h 83"/>
                <a:gd name="T98" fmla="*/ 42 w 75"/>
                <a:gd name="T99" fmla="*/ 76 h 83"/>
                <a:gd name="T100" fmla="*/ 55 w 75"/>
                <a:gd name="T101" fmla="*/ 76 h 83"/>
                <a:gd name="T102" fmla="*/ 55 w 75"/>
                <a:gd name="T103" fmla="*/ 76 h 83"/>
                <a:gd name="T104" fmla="*/ 62 w 75"/>
                <a:gd name="T105" fmla="*/ 76 h 83"/>
                <a:gd name="T106" fmla="*/ 67 w 75"/>
                <a:gd name="T107" fmla="*/ 73 h 83"/>
                <a:gd name="T108" fmla="*/ 69 w 75"/>
                <a:gd name="T109" fmla="*/ 70 h 83"/>
                <a:gd name="T110" fmla="*/ 70 w 75"/>
                <a:gd name="T111" fmla="*/ 65 h 83"/>
                <a:gd name="T112" fmla="*/ 71 w 75"/>
                <a:gd name="T113" fmla="*/ 63 h 83"/>
                <a:gd name="T114" fmla="*/ 75 w 75"/>
                <a:gd name="T115" fmla="*/ 63 h 83"/>
                <a:gd name="T116" fmla="*/ 73 w 75"/>
                <a:gd name="T117" fmla="*/ 83 h 83"/>
                <a:gd name="T118" fmla="*/ 0 w 75"/>
                <a:gd name="T119" fmla="*/ 83 h 83"/>
                <a:gd name="T120" fmla="*/ 0 w 75"/>
                <a:gd name="T121" fmla="*/ 78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5" h="83">
                  <a:moveTo>
                    <a:pt x="0" y="78"/>
                  </a:moveTo>
                  <a:lnTo>
                    <a:pt x="0" y="78"/>
                  </a:lnTo>
                  <a:lnTo>
                    <a:pt x="6" y="78"/>
                  </a:lnTo>
                  <a:lnTo>
                    <a:pt x="9" y="77"/>
                  </a:lnTo>
                  <a:lnTo>
                    <a:pt x="10" y="76"/>
                  </a:lnTo>
                  <a:lnTo>
                    <a:pt x="12" y="71"/>
                  </a:lnTo>
                  <a:lnTo>
                    <a:pt x="12" y="63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12"/>
                  </a:lnTo>
                  <a:lnTo>
                    <a:pt x="10" y="7"/>
                  </a:lnTo>
                  <a:lnTo>
                    <a:pt x="9" y="6"/>
                  </a:lnTo>
                  <a:lnTo>
                    <a:pt x="6" y="5"/>
                  </a:lnTo>
                  <a:lnTo>
                    <a:pt x="0" y="5"/>
                  </a:lnTo>
                  <a:lnTo>
                    <a:pt x="0" y="0"/>
                  </a:lnTo>
                  <a:lnTo>
                    <a:pt x="70" y="0"/>
                  </a:lnTo>
                  <a:lnTo>
                    <a:pt x="70" y="20"/>
                  </a:lnTo>
                  <a:lnTo>
                    <a:pt x="67" y="20"/>
                  </a:lnTo>
                  <a:lnTo>
                    <a:pt x="65" y="17"/>
                  </a:lnTo>
                  <a:lnTo>
                    <a:pt x="65" y="17"/>
                  </a:lnTo>
                  <a:lnTo>
                    <a:pt x="64" y="12"/>
                  </a:lnTo>
                  <a:lnTo>
                    <a:pt x="62" y="10"/>
                  </a:lnTo>
                  <a:lnTo>
                    <a:pt x="57" y="7"/>
                  </a:lnTo>
                  <a:lnTo>
                    <a:pt x="50" y="6"/>
                  </a:lnTo>
                  <a:lnTo>
                    <a:pt x="30" y="6"/>
                  </a:lnTo>
                  <a:lnTo>
                    <a:pt x="30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45" y="35"/>
                  </a:lnTo>
                  <a:lnTo>
                    <a:pt x="50" y="34"/>
                  </a:lnTo>
                  <a:lnTo>
                    <a:pt x="52" y="32"/>
                  </a:lnTo>
                  <a:lnTo>
                    <a:pt x="52" y="29"/>
                  </a:lnTo>
                  <a:lnTo>
                    <a:pt x="53" y="22"/>
                  </a:lnTo>
                  <a:lnTo>
                    <a:pt x="56" y="22"/>
                  </a:lnTo>
                  <a:lnTo>
                    <a:pt x="56" y="55"/>
                  </a:lnTo>
                  <a:lnTo>
                    <a:pt x="53" y="55"/>
                  </a:lnTo>
                  <a:lnTo>
                    <a:pt x="53" y="55"/>
                  </a:lnTo>
                  <a:lnTo>
                    <a:pt x="52" y="48"/>
                  </a:lnTo>
                  <a:lnTo>
                    <a:pt x="52" y="46"/>
                  </a:lnTo>
                  <a:lnTo>
                    <a:pt x="50" y="44"/>
                  </a:lnTo>
                  <a:lnTo>
                    <a:pt x="45" y="42"/>
                  </a:lnTo>
                  <a:lnTo>
                    <a:pt x="36" y="42"/>
                  </a:lnTo>
                  <a:lnTo>
                    <a:pt x="30" y="42"/>
                  </a:lnTo>
                  <a:lnTo>
                    <a:pt x="30" y="61"/>
                  </a:lnTo>
                  <a:lnTo>
                    <a:pt x="30" y="61"/>
                  </a:lnTo>
                  <a:lnTo>
                    <a:pt x="30" y="69"/>
                  </a:lnTo>
                  <a:lnTo>
                    <a:pt x="32" y="73"/>
                  </a:lnTo>
                  <a:lnTo>
                    <a:pt x="33" y="74"/>
                  </a:lnTo>
                  <a:lnTo>
                    <a:pt x="35" y="76"/>
                  </a:lnTo>
                  <a:lnTo>
                    <a:pt x="42" y="76"/>
                  </a:lnTo>
                  <a:lnTo>
                    <a:pt x="55" y="76"/>
                  </a:lnTo>
                  <a:lnTo>
                    <a:pt x="55" y="76"/>
                  </a:lnTo>
                  <a:lnTo>
                    <a:pt x="62" y="76"/>
                  </a:lnTo>
                  <a:lnTo>
                    <a:pt x="67" y="73"/>
                  </a:lnTo>
                  <a:lnTo>
                    <a:pt x="69" y="70"/>
                  </a:lnTo>
                  <a:lnTo>
                    <a:pt x="70" y="65"/>
                  </a:lnTo>
                  <a:lnTo>
                    <a:pt x="71" y="63"/>
                  </a:lnTo>
                  <a:lnTo>
                    <a:pt x="75" y="63"/>
                  </a:lnTo>
                  <a:lnTo>
                    <a:pt x="73" y="83"/>
                  </a:lnTo>
                  <a:lnTo>
                    <a:pt x="0" y="83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14" name="Freeform 13"/>
            <p:cNvSpPr>
              <a:spLocks/>
            </p:cNvSpPr>
            <p:nvPr userDrawn="1"/>
          </p:nvSpPr>
          <p:spPr bwMode="auto">
            <a:xfrm>
              <a:off x="4967" y="2784"/>
              <a:ext cx="92" cy="85"/>
            </a:xfrm>
            <a:custGeom>
              <a:avLst/>
              <a:gdLst>
                <a:gd name="T0" fmla="*/ 58 w 92"/>
                <a:gd name="T1" fmla="*/ 0 h 85"/>
                <a:gd name="T2" fmla="*/ 92 w 92"/>
                <a:gd name="T3" fmla="*/ 5 h 85"/>
                <a:gd name="T4" fmla="*/ 85 w 92"/>
                <a:gd name="T5" fmla="*/ 5 h 85"/>
                <a:gd name="T6" fmla="*/ 81 w 92"/>
                <a:gd name="T7" fmla="*/ 7 h 85"/>
                <a:gd name="T8" fmla="*/ 79 w 92"/>
                <a:gd name="T9" fmla="*/ 20 h 85"/>
                <a:gd name="T10" fmla="*/ 79 w 92"/>
                <a:gd name="T11" fmla="*/ 51 h 85"/>
                <a:gd name="T12" fmla="*/ 77 w 92"/>
                <a:gd name="T13" fmla="*/ 66 h 85"/>
                <a:gd name="T14" fmla="*/ 70 w 92"/>
                <a:gd name="T15" fmla="*/ 76 h 85"/>
                <a:gd name="T16" fmla="*/ 59 w 92"/>
                <a:gd name="T17" fmla="*/ 83 h 85"/>
                <a:gd name="T18" fmla="*/ 47 w 92"/>
                <a:gd name="T19" fmla="*/ 85 h 85"/>
                <a:gd name="T20" fmla="*/ 40 w 92"/>
                <a:gd name="T21" fmla="*/ 84 h 85"/>
                <a:gd name="T22" fmla="*/ 28 w 92"/>
                <a:gd name="T23" fmla="*/ 80 h 85"/>
                <a:gd name="T24" fmla="*/ 19 w 92"/>
                <a:gd name="T25" fmla="*/ 71 h 85"/>
                <a:gd name="T26" fmla="*/ 14 w 92"/>
                <a:gd name="T27" fmla="*/ 59 h 85"/>
                <a:gd name="T28" fmla="*/ 14 w 92"/>
                <a:gd name="T29" fmla="*/ 20 h 85"/>
                <a:gd name="T30" fmla="*/ 13 w 92"/>
                <a:gd name="T31" fmla="*/ 12 h 85"/>
                <a:gd name="T32" fmla="*/ 10 w 92"/>
                <a:gd name="T33" fmla="*/ 6 h 85"/>
                <a:gd name="T34" fmla="*/ 0 w 92"/>
                <a:gd name="T35" fmla="*/ 5 h 85"/>
                <a:gd name="T36" fmla="*/ 44 w 92"/>
                <a:gd name="T37" fmla="*/ 0 h 85"/>
                <a:gd name="T38" fmla="*/ 44 w 92"/>
                <a:gd name="T39" fmla="*/ 5 h 85"/>
                <a:gd name="T40" fmla="*/ 35 w 92"/>
                <a:gd name="T41" fmla="*/ 6 h 85"/>
                <a:gd name="T42" fmla="*/ 32 w 92"/>
                <a:gd name="T43" fmla="*/ 12 h 85"/>
                <a:gd name="T44" fmla="*/ 30 w 92"/>
                <a:gd name="T45" fmla="*/ 50 h 85"/>
                <a:gd name="T46" fmla="*/ 32 w 92"/>
                <a:gd name="T47" fmla="*/ 56 h 85"/>
                <a:gd name="T48" fmla="*/ 34 w 92"/>
                <a:gd name="T49" fmla="*/ 66 h 85"/>
                <a:gd name="T50" fmla="*/ 40 w 92"/>
                <a:gd name="T51" fmla="*/ 72 h 85"/>
                <a:gd name="T52" fmla="*/ 48 w 92"/>
                <a:gd name="T53" fmla="*/ 76 h 85"/>
                <a:gd name="T54" fmla="*/ 51 w 92"/>
                <a:gd name="T55" fmla="*/ 76 h 85"/>
                <a:gd name="T56" fmla="*/ 59 w 92"/>
                <a:gd name="T57" fmla="*/ 74 h 85"/>
                <a:gd name="T58" fmla="*/ 66 w 92"/>
                <a:gd name="T59" fmla="*/ 70 h 85"/>
                <a:gd name="T60" fmla="*/ 70 w 92"/>
                <a:gd name="T61" fmla="*/ 62 h 85"/>
                <a:gd name="T62" fmla="*/ 72 w 92"/>
                <a:gd name="T63" fmla="*/ 50 h 85"/>
                <a:gd name="T64" fmla="*/ 72 w 92"/>
                <a:gd name="T65" fmla="*/ 20 h 85"/>
                <a:gd name="T66" fmla="*/ 70 w 92"/>
                <a:gd name="T67" fmla="*/ 7 h 85"/>
                <a:gd name="T68" fmla="*/ 65 w 92"/>
                <a:gd name="T69" fmla="*/ 5 h 85"/>
                <a:gd name="T70" fmla="*/ 58 w 92"/>
                <a:gd name="T71" fmla="*/ 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2" h="85">
                  <a:moveTo>
                    <a:pt x="58" y="5"/>
                  </a:moveTo>
                  <a:lnTo>
                    <a:pt x="58" y="0"/>
                  </a:lnTo>
                  <a:lnTo>
                    <a:pt x="92" y="0"/>
                  </a:lnTo>
                  <a:lnTo>
                    <a:pt x="92" y="5"/>
                  </a:lnTo>
                  <a:lnTo>
                    <a:pt x="92" y="5"/>
                  </a:lnTo>
                  <a:lnTo>
                    <a:pt x="85" y="5"/>
                  </a:lnTo>
                  <a:lnTo>
                    <a:pt x="82" y="6"/>
                  </a:lnTo>
                  <a:lnTo>
                    <a:pt x="81" y="7"/>
                  </a:lnTo>
                  <a:lnTo>
                    <a:pt x="79" y="12"/>
                  </a:lnTo>
                  <a:lnTo>
                    <a:pt x="79" y="20"/>
                  </a:lnTo>
                  <a:lnTo>
                    <a:pt x="79" y="51"/>
                  </a:lnTo>
                  <a:lnTo>
                    <a:pt x="79" y="51"/>
                  </a:lnTo>
                  <a:lnTo>
                    <a:pt x="79" y="59"/>
                  </a:lnTo>
                  <a:lnTo>
                    <a:pt x="77" y="66"/>
                  </a:lnTo>
                  <a:lnTo>
                    <a:pt x="73" y="71"/>
                  </a:lnTo>
                  <a:lnTo>
                    <a:pt x="70" y="76"/>
                  </a:lnTo>
                  <a:lnTo>
                    <a:pt x="65" y="80"/>
                  </a:lnTo>
                  <a:lnTo>
                    <a:pt x="59" y="83"/>
                  </a:lnTo>
                  <a:lnTo>
                    <a:pt x="52" y="84"/>
                  </a:lnTo>
                  <a:lnTo>
                    <a:pt x="47" y="85"/>
                  </a:lnTo>
                  <a:lnTo>
                    <a:pt x="47" y="85"/>
                  </a:lnTo>
                  <a:lnTo>
                    <a:pt x="40" y="84"/>
                  </a:lnTo>
                  <a:lnTo>
                    <a:pt x="34" y="83"/>
                  </a:lnTo>
                  <a:lnTo>
                    <a:pt x="28" y="80"/>
                  </a:lnTo>
                  <a:lnTo>
                    <a:pt x="24" y="76"/>
                  </a:lnTo>
                  <a:lnTo>
                    <a:pt x="19" y="71"/>
                  </a:lnTo>
                  <a:lnTo>
                    <a:pt x="17" y="66"/>
                  </a:lnTo>
                  <a:lnTo>
                    <a:pt x="14" y="59"/>
                  </a:lnTo>
                  <a:lnTo>
                    <a:pt x="14" y="51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3" y="12"/>
                  </a:lnTo>
                  <a:lnTo>
                    <a:pt x="12" y="7"/>
                  </a:lnTo>
                  <a:lnTo>
                    <a:pt x="10" y="6"/>
                  </a:lnTo>
                  <a:lnTo>
                    <a:pt x="7" y="5"/>
                  </a:lnTo>
                  <a:lnTo>
                    <a:pt x="0" y="5"/>
                  </a:lnTo>
                  <a:lnTo>
                    <a:pt x="0" y="0"/>
                  </a:lnTo>
                  <a:lnTo>
                    <a:pt x="44" y="0"/>
                  </a:lnTo>
                  <a:lnTo>
                    <a:pt x="44" y="5"/>
                  </a:lnTo>
                  <a:lnTo>
                    <a:pt x="44" y="5"/>
                  </a:lnTo>
                  <a:lnTo>
                    <a:pt x="37" y="5"/>
                  </a:lnTo>
                  <a:lnTo>
                    <a:pt x="35" y="6"/>
                  </a:lnTo>
                  <a:lnTo>
                    <a:pt x="33" y="7"/>
                  </a:lnTo>
                  <a:lnTo>
                    <a:pt x="32" y="12"/>
                  </a:lnTo>
                  <a:lnTo>
                    <a:pt x="30" y="20"/>
                  </a:lnTo>
                  <a:lnTo>
                    <a:pt x="30" y="50"/>
                  </a:lnTo>
                  <a:lnTo>
                    <a:pt x="30" y="50"/>
                  </a:lnTo>
                  <a:lnTo>
                    <a:pt x="32" y="56"/>
                  </a:lnTo>
                  <a:lnTo>
                    <a:pt x="33" y="62"/>
                  </a:lnTo>
                  <a:lnTo>
                    <a:pt x="34" y="66"/>
                  </a:lnTo>
                  <a:lnTo>
                    <a:pt x="37" y="70"/>
                  </a:lnTo>
                  <a:lnTo>
                    <a:pt x="40" y="72"/>
                  </a:lnTo>
                  <a:lnTo>
                    <a:pt x="43" y="74"/>
                  </a:lnTo>
                  <a:lnTo>
                    <a:pt x="48" y="76"/>
                  </a:lnTo>
                  <a:lnTo>
                    <a:pt x="51" y="76"/>
                  </a:lnTo>
                  <a:lnTo>
                    <a:pt x="51" y="76"/>
                  </a:lnTo>
                  <a:lnTo>
                    <a:pt x="56" y="76"/>
                  </a:lnTo>
                  <a:lnTo>
                    <a:pt x="59" y="74"/>
                  </a:lnTo>
                  <a:lnTo>
                    <a:pt x="63" y="72"/>
                  </a:lnTo>
                  <a:lnTo>
                    <a:pt x="66" y="70"/>
                  </a:lnTo>
                  <a:lnTo>
                    <a:pt x="69" y="66"/>
                  </a:lnTo>
                  <a:lnTo>
                    <a:pt x="70" y="62"/>
                  </a:lnTo>
                  <a:lnTo>
                    <a:pt x="71" y="56"/>
                  </a:lnTo>
                  <a:lnTo>
                    <a:pt x="72" y="5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1" y="12"/>
                  </a:lnTo>
                  <a:lnTo>
                    <a:pt x="70" y="7"/>
                  </a:lnTo>
                  <a:lnTo>
                    <a:pt x="67" y="6"/>
                  </a:lnTo>
                  <a:lnTo>
                    <a:pt x="65" y="5"/>
                  </a:lnTo>
                  <a:lnTo>
                    <a:pt x="58" y="5"/>
                  </a:lnTo>
                  <a:lnTo>
                    <a:pt x="58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15" name="Freeform 14"/>
            <p:cNvSpPr>
              <a:spLocks/>
            </p:cNvSpPr>
            <p:nvPr userDrawn="1"/>
          </p:nvSpPr>
          <p:spPr bwMode="auto">
            <a:xfrm>
              <a:off x="5064" y="2784"/>
              <a:ext cx="96" cy="85"/>
            </a:xfrm>
            <a:custGeom>
              <a:avLst/>
              <a:gdLst>
                <a:gd name="T0" fmla="*/ 79 w 96"/>
                <a:gd name="T1" fmla="*/ 17 h 85"/>
                <a:gd name="T2" fmla="*/ 50 w 96"/>
                <a:gd name="T3" fmla="*/ 85 h 85"/>
                <a:gd name="T4" fmla="*/ 47 w 96"/>
                <a:gd name="T5" fmla="*/ 85 h 85"/>
                <a:gd name="T6" fmla="*/ 18 w 96"/>
                <a:gd name="T7" fmla="*/ 17 h 85"/>
                <a:gd name="T8" fmla="*/ 18 w 96"/>
                <a:gd name="T9" fmla="*/ 17 h 85"/>
                <a:gd name="T10" fmla="*/ 14 w 96"/>
                <a:gd name="T11" fmla="*/ 11 h 85"/>
                <a:gd name="T12" fmla="*/ 12 w 96"/>
                <a:gd name="T13" fmla="*/ 7 h 85"/>
                <a:gd name="T14" fmla="*/ 7 w 96"/>
                <a:gd name="T15" fmla="*/ 5 h 85"/>
                <a:gd name="T16" fmla="*/ 0 w 96"/>
                <a:gd name="T17" fmla="*/ 5 h 85"/>
                <a:gd name="T18" fmla="*/ 0 w 96"/>
                <a:gd name="T19" fmla="*/ 0 h 85"/>
                <a:gd name="T20" fmla="*/ 46 w 96"/>
                <a:gd name="T21" fmla="*/ 0 h 85"/>
                <a:gd name="T22" fmla="*/ 46 w 96"/>
                <a:gd name="T23" fmla="*/ 5 h 85"/>
                <a:gd name="T24" fmla="*/ 46 w 96"/>
                <a:gd name="T25" fmla="*/ 5 h 85"/>
                <a:gd name="T26" fmla="*/ 39 w 96"/>
                <a:gd name="T27" fmla="*/ 5 h 85"/>
                <a:gd name="T28" fmla="*/ 35 w 96"/>
                <a:gd name="T29" fmla="*/ 7 h 85"/>
                <a:gd name="T30" fmla="*/ 34 w 96"/>
                <a:gd name="T31" fmla="*/ 9 h 85"/>
                <a:gd name="T32" fmla="*/ 34 w 96"/>
                <a:gd name="T33" fmla="*/ 10 h 85"/>
                <a:gd name="T34" fmla="*/ 35 w 96"/>
                <a:gd name="T35" fmla="*/ 15 h 85"/>
                <a:gd name="T36" fmla="*/ 55 w 96"/>
                <a:gd name="T37" fmla="*/ 59 h 85"/>
                <a:gd name="T38" fmla="*/ 73 w 96"/>
                <a:gd name="T39" fmla="*/ 15 h 85"/>
                <a:gd name="T40" fmla="*/ 73 w 96"/>
                <a:gd name="T41" fmla="*/ 15 h 85"/>
                <a:gd name="T42" fmla="*/ 74 w 96"/>
                <a:gd name="T43" fmla="*/ 10 h 85"/>
                <a:gd name="T44" fmla="*/ 74 w 96"/>
                <a:gd name="T45" fmla="*/ 9 h 85"/>
                <a:gd name="T46" fmla="*/ 73 w 96"/>
                <a:gd name="T47" fmla="*/ 7 h 85"/>
                <a:gd name="T48" fmla="*/ 70 w 96"/>
                <a:gd name="T49" fmla="*/ 5 h 85"/>
                <a:gd name="T50" fmla="*/ 63 w 96"/>
                <a:gd name="T51" fmla="*/ 5 h 85"/>
                <a:gd name="T52" fmla="*/ 63 w 96"/>
                <a:gd name="T53" fmla="*/ 0 h 85"/>
                <a:gd name="T54" fmla="*/ 96 w 96"/>
                <a:gd name="T55" fmla="*/ 0 h 85"/>
                <a:gd name="T56" fmla="*/ 96 w 96"/>
                <a:gd name="T57" fmla="*/ 5 h 85"/>
                <a:gd name="T58" fmla="*/ 96 w 96"/>
                <a:gd name="T59" fmla="*/ 5 h 85"/>
                <a:gd name="T60" fmla="*/ 91 w 96"/>
                <a:gd name="T61" fmla="*/ 5 h 85"/>
                <a:gd name="T62" fmla="*/ 86 w 96"/>
                <a:gd name="T63" fmla="*/ 7 h 85"/>
                <a:gd name="T64" fmla="*/ 82 w 96"/>
                <a:gd name="T65" fmla="*/ 11 h 85"/>
                <a:gd name="T66" fmla="*/ 79 w 96"/>
                <a:gd name="T67" fmla="*/ 17 h 85"/>
                <a:gd name="T68" fmla="*/ 79 w 96"/>
                <a:gd name="T69" fmla="*/ 17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96" h="85">
                  <a:moveTo>
                    <a:pt x="79" y="17"/>
                  </a:moveTo>
                  <a:lnTo>
                    <a:pt x="50" y="85"/>
                  </a:lnTo>
                  <a:lnTo>
                    <a:pt x="47" y="85"/>
                  </a:lnTo>
                  <a:lnTo>
                    <a:pt x="18" y="17"/>
                  </a:lnTo>
                  <a:lnTo>
                    <a:pt x="18" y="17"/>
                  </a:lnTo>
                  <a:lnTo>
                    <a:pt x="14" y="11"/>
                  </a:lnTo>
                  <a:lnTo>
                    <a:pt x="12" y="7"/>
                  </a:lnTo>
                  <a:lnTo>
                    <a:pt x="7" y="5"/>
                  </a:lnTo>
                  <a:lnTo>
                    <a:pt x="0" y="5"/>
                  </a:lnTo>
                  <a:lnTo>
                    <a:pt x="0" y="0"/>
                  </a:lnTo>
                  <a:lnTo>
                    <a:pt x="46" y="0"/>
                  </a:lnTo>
                  <a:lnTo>
                    <a:pt x="46" y="5"/>
                  </a:lnTo>
                  <a:lnTo>
                    <a:pt x="46" y="5"/>
                  </a:lnTo>
                  <a:lnTo>
                    <a:pt x="39" y="5"/>
                  </a:lnTo>
                  <a:lnTo>
                    <a:pt x="35" y="7"/>
                  </a:lnTo>
                  <a:lnTo>
                    <a:pt x="34" y="9"/>
                  </a:lnTo>
                  <a:lnTo>
                    <a:pt x="34" y="10"/>
                  </a:lnTo>
                  <a:lnTo>
                    <a:pt x="35" y="15"/>
                  </a:lnTo>
                  <a:lnTo>
                    <a:pt x="55" y="59"/>
                  </a:lnTo>
                  <a:lnTo>
                    <a:pt x="73" y="15"/>
                  </a:lnTo>
                  <a:lnTo>
                    <a:pt x="73" y="15"/>
                  </a:lnTo>
                  <a:lnTo>
                    <a:pt x="74" y="10"/>
                  </a:lnTo>
                  <a:lnTo>
                    <a:pt x="74" y="9"/>
                  </a:lnTo>
                  <a:lnTo>
                    <a:pt x="73" y="7"/>
                  </a:lnTo>
                  <a:lnTo>
                    <a:pt x="70" y="5"/>
                  </a:lnTo>
                  <a:lnTo>
                    <a:pt x="63" y="5"/>
                  </a:lnTo>
                  <a:lnTo>
                    <a:pt x="63" y="0"/>
                  </a:lnTo>
                  <a:lnTo>
                    <a:pt x="96" y="0"/>
                  </a:lnTo>
                  <a:lnTo>
                    <a:pt x="96" y="5"/>
                  </a:lnTo>
                  <a:lnTo>
                    <a:pt x="96" y="5"/>
                  </a:lnTo>
                  <a:lnTo>
                    <a:pt x="91" y="5"/>
                  </a:lnTo>
                  <a:lnTo>
                    <a:pt x="86" y="7"/>
                  </a:lnTo>
                  <a:lnTo>
                    <a:pt x="82" y="11"/>
                  </a:lnTo>
                  <a:lnTo>
                    <a:pt x="79" y="17"/>
                  </a:lnTo>
                  <a:lnTo>
                    <a:pt x="79" y="1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16" name="Freeform 15"/>
            <p:cNvSpPr>
              <a:spLocks noEditPoints="1"/>
            </p:cNvSpPr>
            <p:nvPr userDrawn="1"/>
          </p:nvSpPr>
          <p:spPr bwMode="auto">
            <a:xfrm>
              <a:off x="5168" y="2782"/>
              <a:ext cx="91" cy="87"/>
            </a:xfrm>
            <a:custGeom>
              <a:avLst/>
              <a:gdLst>
                <a:gd name="T0" fmla="*/ 45 w 91"/>
                <a:gd name="T1" fmla="*/ 87 h 87"/>
                <a:gd name="T2" fmla="*/ 28 w 91"/>
                <a:gd name="T3" fmla="*/ 83 h 87"/>
                <a:gd name="T4" fmla="*/ 14 w 91"/>
                <a:gd name="T5" fmla="*/ 74 h 87"/>
                <a:gd name="T6" fmla="*/ 4 w 91"/>
                <a:gd name="T7" fmla="*/ 60 h 87"/>
                <a:gd name="T8" fmla="*/ 0 w 91"/>
                <a:gd name="T9" fmla="*/ 43 h 87"/>
                <a:gd name="T10" fmla="*/ 2 w 91"/>
                <a:gd name="T11" fmla="*/ 35 h 87"/>
                <a:gd name="T12" fmla="*/ 9 w 91"/>
                <a:gd name="T13" fmla="*/ 20 h 87"/>
                <a:gd name="T14" fmla="*/ 20 w 91"/>
                <a:gd name="T15" fmla="*/ 8 h 87"/>
                <a:gd name="T16" fmla="*/ 36 w 91"/>
                <a:gd name="T17" fmla="*/ 1 h 87"/>
                <a:gd name="T18" fmla="*/ 45 w 91"/>
                <a:gd name="T19" fmla="*/ 0 h 87"/>
                <a:gd name="T20" fmla="*/ 64 w 91"/>
                <a:gd name="T21" fmla="*/ 4 h 87"/>
                <a:gd name="T22" fmla="*/ 78 w 91"/>
                <a:gd name="T23" fmla="*/ 13 h 87"/>
                <a:gd name="T24" fmla="*/ 87 w 91"/>
                <a:gd name="T25" fmla="*/ 27 h 87"/>
                <a:gd name="T26" fmla="*/ 91 w 91"/>
                <a:gd name="T27" fmla="*/ 43 h 87"/>
                <a:gd name="T28" fmla="*/ 91 w 91"/>
                <a:gd name="T29" fmla="*/ 52 h 87"/>
                <a:gd name="T30" fmla="*/ 84 w 91"/>
                <a:gd name="T31" fmla="*/ 67 h 87"/>
                <a:gd name="T32" fmla="*/ 71 w 91"/>
                <a:gd name="T33" fmla="*/ 79 h 87"/>
                <a:gd name="T34" fmla="*/ 55 w 91"/>
                <a:gd name="T35" fmla="*/ 86 h 87"/>
                <a:gd name="T36" fmla="*/ 45 w 91"/>
                <a:gd name="T37" fmla="*/ 87 h 87"/>
                <a:gd name="T38" fmla="*/ 45 w 91"/>
                <a:gd name="T39" fmla="*/ 7 h 87"/>
                <a:gd name="T40" fmla="*/ 34 w 91"/>
                <a:gd name="T41" fmla="*/ 11 h 87"/>
                <a:gd name="T42" fmla="*/ 25 w 91"/>
                <a:gd name="T43" fmla="*/ 19 h 87"/>
                <a:gd name="T44" fmla="*/ 20 w 91"/>
                <a:gd name="T45" fmla="*/ 30 h 87"/>
                <a:gd name="T46" fmla="*/ 19 w 91"/>
                <a:gd name="T47" fmla="*/ 43 h 87"/>
                <a:gd name="T48" fmla="*/ 19 w 91"/>
                <a:gd name="T49" fmla="*/ 50 h 87"/>
                <a:gd name="T50" fmla="*/ 22 w 91"/>
                <a:gd name="T51" fmla="*/ 63 h 87"/>
                <a:gd name="T52" fmla="*/ 29 w 91"/>
                <a:gd name="T53" fmla="*/ 73 h 87"/>
                <a:gd name="T54" fmla="*/ 40 w 91"/>
                <a:gd name="T55" fmla="*/ 79 h 87"/>
                <a:gd name="T56" fmla="*/ 45 w 91"/>
                <a:gd name="T57" fmla="*/ 80 h 87"/>
                <a:gd name="T58" fmla="*/ 58 w 91"/>
                <a:gd name="T59" fmla="*/ 76 h 87"/>
                <a:gd name="T60" fmla="*/ 66 w 91"/>
                <a:gd name="T61" fmla="*/ 68 h 87"/>
                <a:gd name="T62" fmla="*/ 71 w 91"/>
                <a:gd name="T63" fmla="*/ 56 h 87"/>
                <a:gd name="T64" fmla="*/ 73 w 91"/>
                <a:gd name="T65" fmla="*/ 43 h 87"/>
                <a:gd name="T66" fmla="*/ 72 w 91"/>
                <a:gd name="T67" fmla="*/ 37 h 87"/>
                <a:gd name="T68" fmla="*/ 70 w 91"/>
                <a:gd name="T69" fmla="*/ 24 h 87"/>
                <a:gd name="T70" fmla="*/ 63 w 91"/>
                <a:gd name="T71" fmla="*/ 14 h 87"/>
                <a:gd name="T72" fmla="*/ 52 w 91"/>
                <a:gd name="T73" fmla="*/ 8 h 87"/>
                <a:gd name="T74" fmla="*/ 45 w 91"/>
                <a:gd name="T75" fmla="*/ 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91" h="87">
                  <a:moveTo>
                    <a:pt x="45" y="87"/>
                  </a:moveTo>
                  <a:lnTo>
                    <a:pt x="45" y="87"/>
                  </a:lnTo>
                  <a:lnTo>
                    <a:pt x="36" y="86"/>
                  </a:lnTo>
                  <a:lnTo>
                    <a:pt x="28" y="83"/>
                  </a:lnTo>
                  <a:lnTo>
                    <a:pt x="20" y="79"/>
                  </a:lnTo>
                  <a:lnTo>
                    <a:pt x="14" y="74"/>
                  </a:lnTo>
                  <a:lnTo>
                    <a:pt x="9" y="67"/>
                  </a:lnTo>
                  <a:lnTo>
                    <a:pt x="4" y="60"/>
                  </a:lnTo>
                  <a:lnTo>
                    <a:pt x="2" y="52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2" y="35"/>
                  </a:lnTo>
                  <a:lnTo>
                    <a:pt x="4" y="27"/>
                  </a:lnTo>
                  <a:lnTo>
                    <a:pt x="9" y="20"/>
                  </a:lnTo>
                  <a:lnTo>
                    <a:pt x="14" y="13"/>
                  </a:lnTo>
                  <a:lnTo>
                    <a:pt x="20" y="8"/>
                  </a:lnTo>
                  <a:lnTo>
                    <a:pt x="28" y="4"/>
                  </a:lnTo>
                  <a:lnTo>
                    <a:pt x="36" y="1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55" y="1"/>
                  </a:lnTo>
                  <a:lnTo>
                    <a:pt x="64" y="4"/>
                  </a:lnTo>
                  <a:lnTo>
                    <a:pt x="71" y="8"/>
                  </a:lnTo>
                  <a:lnTo>
                    <a:pt x="78" y="13"/>
                  </a:lnTo>
                  <a:lnTo>
                    <a:pt x="84" y="20"/>
                  </a:lnTo>
                  <a:lnTo>
                    <a:pt x="87" y="27"/>
                  </a:lnTo>
                  <a:lnTo>
                    <a:pt x="91" y="35"/>
                  </a:lnTo>
                  <a:lnTo>
                    <a:pt x="91" y="43"/>
                  </a:lnTo>
                  <a:lnTo>
                    <a:pt x="91" y="43"/>
                  </a:lnTo>
                  <a:lnTo>
                    <a:pt x="91" y="52"/>
                  </a:lnTo>
                  <a:lnTo>
                    <a:pt x="87" y="60"/>
                  </a:lnTo>
                  <a:lnTo>
                    <a:pt x="84" y="67"/>
                  </a:lnTo>
                  <a:lnTo>
                    <a:pt x="78" y="74"/>
                  </a:lnTo>
                  <a:lnTo>
                    <a:pt x="71" y="79"/>
                  </a:lnTo>
                  <a:lnTo>
                    <a:pt x="64" y="83"/>
                  </a:lnTo>
                  <a:lnTo>
                    <a:pt x="55" y="86"/>
                  </a:lnTo>
                  <a:lnTo>
                    <a:pt x="45" y="87"/>
                  </a:lnTo>
                  <a:lnTo>
                    <a:pt x="45" y="87"/>
                  </a:lnTo>
                  <a:close/>
                  <a:moveTo>
                    <a:pt x="45" y="7"/>
                  </a:moveTo>
                  <a:lnTo>
                    <a:pt x="45" y="7"/>
                  </a:lnTo>
                  <a:lnTo>
                    <a:pt x="40" y="8"/>
                  </a:lnTo>
                  <a:lnTo>
                    <a:pt x="34" y="11"/>
                  </a:lnTo>
                  <a:lnTo>
                    <a:pt x="29" y="14"/>
                  </a:lnTo>
                  <a:lnTo>
                    <a:pt x="25" y="19"/>
                  </a:lnTo>
                  <a:lnTo>
                    <a:pt x="22" y="24"/>
                  </a:lnTo>
                  <a:lnTo>
                    <a:pt x="20" y="30"/>
                  </a:lnTo>
                  <a:lnTo>
                    <a:pt x="19" y="37"/>
                  </a:lnTo>
                  <a:lnTo>
                    <a:pt x="19" y="43"/>
                  </a:lnTo>
                  <a:lnTo>
                    <a:pt x="19" y="43"/>
                  </a:lnTo>
                  <a:lnTo>
                    <a:pt x="19" y="50"/>
                  </a:lnTo>
                  <a:lnTo>
                    <a:pt x="20" y="56"/>
                  </a:lnTo>
                  <a:lnTo>
                    <a:pt x="22" y="63"/>
                  </a:lnTo>
                  <a:lnTo>
                    <a:pt x="25" y="68"/>
                  </a:lnTo>
                  <a:lnTo>
                    <a:pt x="29" y="73"/>
                  </a:lnTo>
                  <a:lnTo>
                    <a:pt x="34" y="76"/>
                  </a:lnTo>
                  <a:lnTo>
                    <a:pt x="40" y="79"/>
                  </a:lnTo>
                  <a:lnTo>
                    <a:pt x="45" y="80"/>
                  </a:lnTo>
                  <a:lnTo>
                    <a:pt x="45" y="80"/>
                  </a:lnTo>
                  <a:lnTo>
                    <a:pt x="52" y="79"/>
                  </a:lnTo>
                  <a:lnTo>
                    <a:pt x="58" y="76"/>
                  </a:lnTo>
                  <a:lnTo>
                    <a:pt x="63" y="73"/>
                  </a:lnTo>
                  <a:lnTo>
                    <a:pt x="66" y="68"/>
                  </a:lnTo>
                  <a:lnTo>
                    <a:pt x="70" y="63"/>
                  </a:lnTo>
                  <a:lnTo>
                    <a:pt x="71" y="56"/>
                  </a:lnTo>
                  <a:lnTo>
                    <a:pt x="72" y="50"/>
                  </a:lnTo>
                  <a:lnTo>
                    <a:pt x="73" y="43"/>
                  </a:lnTo>
                  <a:lnTo>
                    <a:pt x="73" y="43"/>
                  </a:lnTo>
                  <a:lnTo>
                    <a:pt x="72" y="37"/>
                  </a:lnTo>
                  <a:lnTo>
                    <a:pt x="71" y="30"/>
                  </a:lnTo>
                  <a:lnTo>
                    <a:pt x="70" y="24"/>
                  </a:lnTo>
                  <a:lnTo>
                    <a:pt x="66" y="19"/>
                  </a:lnTo>
                  <a:lnTo>
                    <a:pt x="63" y="14"/>
                  </a:lnTo>
                  <a:lnTo>
                    <a:pt x="58" y="11"/>
                  </a:lnTo>
                  <a:lnTo>
                    <a:pt x="52" y="8"/>
                  </a:lnTo>
                  <a:lnTo>
                    <a:pt x="45" y="7"/>
                  </a:lnTo>
                  <a:lnTo>
                    <a:pt x="45" y="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17" name="Freeform 16"/>
            <p:cNvSpPr>
              <a:spLocks/>
            </p:cNvSpPr>
            <p:nvPr userDrawn="1"/>
          </p:nvSpPr>
          <p:spPr bwMode="auto">
            <a:xfrm>
              <a:off x="5285" y="2782"/>
              <a:ext cx="57" cy="87"/>
            </a:xfrm>
            <a:custGeom>
              <a:avLst/>
              <a:gdLst>
                <a:gd name="T0" fmla="*/ 0 w 57"/>
                <a:gd name="T1" fmla="*/ 87 h 87"/>
                <a:gd name="T2" fmla="*/ 5 w 57"/>
                <a:gd name="T3" fmla="*/ 57 h 87"/>
                <a:gd name="T4" fmla="*/ 6 w 57"/>
                <a:gd name="T5" fmla="*/ 61 h 87"/>
                <a:gd name="T6" fmla="*/ 11 w 57"/>
                <a:gd name="T7" fmla="*/ 71 h 87"/>
                <a:gd name="T8" fmla="*/ 17 w 57"/>
                <a:gd name="T9" fmla="*/ 76 h 87"/>
                <a:gd name="T10" fmla="*/ 26 w 57"/>
                <a:gd name="T11" fmla="*/ 80 h 87"/>
                <a:gd name="T12" fmla="*/ 29 w 57"/>
                <a:gd name="T13" fmla="*/ 80 h 87"/>
                <a:gd name="T14" fmla="*/ 39 w 57"/>
                <a:gd name="T15" fmla="*/ 76 h 87"/>
                <a:gd name="T16" fmla="*/ 43 w 57"/>
                <a:gd name="T17" fmla="*/ 67 h 87"/>
                <a:gd name="T18" fmla="*/ 42 w 57"/>
                <a:gd name="T19" fmla="*/ 63 h 87"/>
                <a:gd name="T20" fmla="*/ 37 w 57"/>
                <a:gd name="T21" fmla="*/ 56 h 87"/>
                <a:gd name="T22" fmla="*/ 20 w 57"/>
                <a:gd name="T23" fmla="*/ 46 h 87"/>
                <a:gd name="T24" fmla="*/ 12 w 57"/>
                <a:gd name="T25" fmla="*/ 42 h 87"/>
                <a:gd name="T26" fmla="*/ 4 w 57"/>
                <a:gd name="T27" fmla="*/ 34 h 87"/>
                <a:gd name="T28" fmla="*/ 1 w 57"/>
                <a:gd name="T29" fmla="*/ 26 h 87"/>
                <a:gd name="T30" fmla="*/ 1 w 57"/>
                <a:gd name="T31" fmla="*/ 21 h 87"/>
                <a:gd name="T32" fmla="*/ 4 w 57"/>
                <a:gd name="T33" fmla="*/ 13 h 87"/>
                <a:gd name="T34" fmla="*/ 8 w 57"/>
                <a:gd name="T35" fmla="*/ 6 h 87"/>
                <a:gd name="T36" fmla="*/ 15 w 57"/>
                <a:gd name="T37" fmla="*/ 2 h 87"/>
                <a:gd name="T38" fmla="*/ 26 w 57"/>
                <a:gd name="T39" fmla="*/ 0 h 87"/>
                <a:gd name="T40" fmla="*/ 30 w 57"/>
                <a:gd name="T41" fmla="*/ 1 h 87"/>
                <a:gd name="T42" fmla="*/ 42 w 57"/>
                <a:gd name="T43" fmla="*/ 6 h 87"/>
                <a:gd name="T44" fmla="*/ 44 w 57"/>
                <a:gd name="T45" fmla="*/ 4 h 87"/>
                <a:gd name="T46" fmla="*/ 50 w 57"/>
                <a:gd name="T47" fmla="*/ 0 h 87"/>
                <a:gd name="T48" fmla="*/ 45 w 57"/>
                <a:gd name="T49" fmla="*/ 29 h 87"/>
                <a:gd name="T50" fmla="*/ 44 w 57"/>
                <a:gd name="T51" fmla="*/ 21 h 87"/>
                <a:gd name="T52" fmla="*/ 38 w 57"/>
                <a:gd name="T53" fmla="*/ 11 h 87"/>
                <a:gd name="T54" fmla="*/ 30 w 57"/>
                <a:gd name="T55" fmla="*/ 7 h 87"/>
                <a:gd name="T56" fmla="*/ 26 w 57"/>
                <a:gd name="T57" fmla="*/ 6 h 87"/>
                <a:gd name="T58" fmla="*/ 19 w 57"/>
                <a:gd name="T59" fmla="*/ 9 h 87"/>
                <a:gd name="T60" fmla="*/ 15 w 57"/>
                <a:gd name="T61" fmla="*/ 17 h 87"/>
                <a:gd name="T62" fmla="*/ 15 w 57"/>
                <a:gd name="T63" fmla="*/ 21 h 87"/>
                <a:gd name="T64" fmla="*/ 21 w 57"/>
                <a:gd name="T65" fmla="*/ 28 h 87"/>
                <a:gd name="T66" fmla="*/ 38 w 57"/>
                <a:gd name="T67" fmla="*/ 37 h 87"/>
                <a:gd name="T68" fmla="*/ 45 w 57"/>
                <a:gd name="T69" fmla="*/ 42 h 87"/>
                <a:gd name="T70" fmla="*/ 54 w 57"/>
                <a:gd name="T71" fmla="*/ 54 h 87"/>
                <a:gd name="T72" fmla="*/ 57 w 57"/>
                <a:gd name="T73" fmla="*/ 61 h 87"/>
                <a:gd name="T74" fmla="*/ 56 w 57"/>
                <a:gd name="T75" fmla="*/ 67 h 87"/>
                <a:gd name="T76" fmla="*/ 51 w 57"/>
                <a:gd name="T77" fmla="*/ 76 h 87"/>
                <a:gd name="T78" fmla="*/ 44 w 57"/>
                <a:gd name="T79" fmla="*/ 82 h 87"/>
                <a:gd name="T80" fmla="*/ 35 w 57"/>
                <a:gd name="T81" fmla="*/ 86 h 87"/>
                <a:gd name="T82" fmla="*/ 29 w 57"/>
                <a:gd name="T83" fmla="*/ 87 h 87"/>
                <a:gd name="T84" fmla="*/ 16 w 57"/>
                <a:gd name="T85" fmla="*/ 83 h 87"/>
                <a:gd name="T86" fmla="*/ 8 w 57"/>
                <a:gd name="T87" fmla="*/ 80 h 87"/>
                <a:gd name="T88" fmla="*/ 4 w 57"/>
                <a:gd name="T8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7" h="87">
                  <a:moveTo>
                    <a:pt x="4" y="87"/>
                  </a:moveTo>
                  <a:lnTo>
                    <a:pt x="0" y="87"/>
                  </a:lnTo>
                  <a:lnTo>
                    <a:pt x="0" y="57"/>
                  </a:lnTo>
                  <a:lnTo>
                    <a:pt x="5" y="57"/>
                  </a:lnTo>
                  <a:lnTo>
                    <a:pt x="5" y="57"/>
                  </a:lnTo>
                  <a:lnTo>
                    <a:pt x="6" y="61"/>
                  </a:lnTo>
                  <a:lnTo>
                    <a:pt x="7" y="66"/>
                  </a:lnTo>
                  <a:lnTo>
                    <a:pt x="11" y="71"/>
                  </a:lnTo>
                  <a:lnTo>
                    <a:pt x="14" y="74"/>
                  </a:lnTo>
                  <a:lnTo>
                    <a:pt x="17" y="76"/>
                  </a:lnTo>
                  <a:lnTo>
                    <a:pt x="21" y="79"/>
                  </a:lnTo>
                  <a:lnTo>
                    <a:pt x="26" y="80"/>
                  </a:lnTo>
                  <a:lnTo>
                    <a:pt x="29" y="80"/>
                  </a:lnTo>
                  <a:lnTo>
                    <a:pt x="29" y="80"/>
                  </a:lnTo>
                  <a:lnTo>
                    <a:pt x="35" y="80"/>
                  </a:lnTo>
                  <a:lnTo>
                    <a:pt x="39" y="76"/>
                  </a:lnTo>
                  <a:lnTo>
                    <a:pt x="42" y="73"/>
                  </a:lnTo>
                  <a:lnTo>
                    <a:pt x="43" y="67"/>
                  </a:lnTo>
                  <a:lnTo>
                    <a:pt x="43" y="67"/>
                  </a:lnTo>
                  <a:lnTo>
                    <a:pt x="42" y="63"/>
                  </a:lnTo>
                  <a:lnTo>
                    <a:pt x="41" y="59"/>
                  </a:lnTo>
                  <a:lnTo>
                    <a:pt x="37" y="56"/>
                  </a:lnTo>
                  <a:lnTo>
                    <a:pt x="32" y="53"/>
                  </a:lnTo>
                  <a:lnTo>
                    <a:pt x="20" y="46"/>
                  </a:lnTo>
                  <a:lnTo>
                    <a:pt x="20" y="46"/>
                  </a:lnTo>
                  <a:lnTo>
                    <a:pt x="12" y="42"/>
                  </a:lnTo>
                  <a:lnTo>
                    <a:pt x="6" y="36"/>
                  </a:lnTo>
                  <a:lnTo>
                    <a:pt x="4" y="34"/>
                  </a:lnTo>
                  <a:lnTo>
                    <a:pt x="2" y="29"/>
                  </a:lnTo>
                  <a:lnTo>
                    <a:pt x="1" y="26"/>
                  </a:lnTo>
                  <a:lnTo>
                    <a:pt x="1" y="21"/>
                  </a:lnTo>
                  <a:lnTo>
                    <a:pt x="1" y="21"/>
                  </a:lnTo>
                  <a:lnTo>
                    <a:pt x="1" y="16"/>
                  </a:lnTo>
                  <a:lnTo>
                    <a:pt x="4" y="13"/>
                  </a:lnTo>
                  <a:lnTo>
                    <a:pt x="6" y="9"/>
                  </a:lnTo>
                  <a:lnTo>
                    <a:pt x="8" y="6"/>
                  </a:lnTo>
                  <a:lnTo>
                    <a:pt x="12" y="4"/>
                  </a:lnTo>
                  <a:lnTo>
                    <a:pt x="15" y="2"/>
                  </a:lnTo>
                  <a:lnTo>
                    <a:pt x="20" y="1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30" y="1"/>
                  </a:lnTo>
                  <a:lnTo>
                    <a:pt x="35" y="2"/>
                  </a:lnTo>
                  <a:lnTo>
                    <a:pt x="42" y="6"/>
                  </a:lnTo>
                  <a:lnTo>
                    <a:pt x="42" y="6"/>
                  </a:lnTo>
                  <a:lnTo>
                    <a:pt x="44" y="4"/>
                  </a:lnTo>
                  <a:lnTo>
                    <a:pt x="45" y="0"/>
                  </a:lnTo>
                  <a:lnTo>
                    <a:pt x="50" y="0"/>
                  </a:lnTo>
                  <a:lnTo>
                    <a:pt x="50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4" y="21"/>
                  </a:lnTo>
                  <a:lnTo>
                    <a:pt x="41" y="14"/>
                  </a:lnTo>
                  <a:lnTo>
                    <a:pt x="38" y="11"/>
                  </a:lnTo>
                  <a:lnTo>
                    <a:pt x="35" y="8"/>
                  </a:lnTo>
                  <a:lnTo>
                    <a:pt x="30" y="7"/>
                  </a:lnTo>
                  <a:lnTo>
                    <a:pt x="26" y="6"/>
                  </a:lnTo>
                  <a:lnTo>
                    <a:pt x="26" y="6"/>
                  </a:lnTo>
                  <a:lnTo>
                    <a:pt x="22" y="7"/>
                  </a:lnTo>
                  <a:lnTo>
                    <a:pt x="19" y="9"/>
                  </a:lnTo>
                  <a:lnTo>
                    <a:pt x="15" y="13"/>
                  </a:lnTo>
                  <a:lnTo>
                    <a:pt x="15" y="17"/>
                  </a:lnTo>
                  <a:lnTo>
                    <a:pt x="15" y="17"/>
                  </a:lnTo>
                  <a:lnTo>
                    <a:pt x="15" y="21"/>
                  </a:lnTo>
                  <a:lnTo>
                    <a:pt x="17" y="24"/>
                  </a:lnTo>
                  <a:lnTo>
                    <a:pt x="21" y="28"/>
                  </a:lnTo>
                  <a:lnTo>
                    <a:pt x="26" y="31"/>
                  </a:lnTo>
                  <a:lnTo>
                    <a:pt x="38" y="37"/>
                  </a:lnTo>
                  <a:lnTo>
                    <a:pt x="38" y="37"/>
                  </a:lnTo>
                  <a:lnTo>
                    <a:pt x="45" y="42"/>
                  </a:lnTo>
                  <a:lnTo>
                    <a:pt x="51" y="48"/>
                  </a:lnTo>
                  <a:lnTo>
                    <a:pt x="54" y="54"/>
                  </a:lnTo>
                  <a:lnTo>
                    <a:pt x="56" y="58"/>
                  </a:lnTo>
                  <a:lnTo>
                    <a:pt x="57" y="61"/>
                  </a:lnTo>
                  <a:lnTo>
                    <a:pt x="57" y="61"/>
                  </a:lnTo>
                  <a:lnTo>
                    <a:pt x="56" y="67"/>
                  </a:lnTo>
                  <a:lnTo>
                    <a:pt x="54" y="72"/>
                  </a:lnTo>
                  <a:lnTo>
                    <a:pt x="51" y="76"/>
                  </a:lnTo>
                  <a:lnTo>
                    <a:pt x="47" y="80"/>
                  </a:lnTo>
                  <a:lnTo>
                    <a:pt x="44" y="82"/>
                  </a:lnTo>
                  <a:lnTo>
                    <a:pt x="39" y="85"/>
                  </a:lnTo>
                  <a:lnTo>
                    <a:pt x="35" y="86"/>
                  </a:lnTo>
                  <a:lnTo>
                    <a:pt x="29" y="87"/>
                  </a:lnTo>
                  <a:lnTo>
                    <a:pt x="29" y="87"/>
                  </a:lnTo>
                  <a:lnTo>
                    <a:pt x="22" y="86"/>
                  </a:lnTo>
                  <a:lnTo>
                    <a:pt x="16" y="83"/>
                  </a:lnTo>
                  <a:lnTo>
                    <a:pt x="8" y="80"/>
                  </a:lnTo>
                  <a:lnTo>
                    <a:pt x="8" y="80"/>
                  </a:lnTo>
                  <a:lnTo>
                    <a:pt x="6" y="82"/>
                  </a:lnTo>
                  <a:lnTo>
                    <a:pt x="4" y="87"/>
                  </a:lnTo>
                  <a:lnTo>
                    <a:pt x="4" y="8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18" name="Freeform 17"/>
            <p:cNvSpPr>
              <a:spLocks/>
            </p:cNvSpPr>
            <p:nvPr userDrawn="1"/>
          </p:nvSpPr>
          <p:spPr bwMode="auto">
            <a:xfrm>
              <a:off x="5359" y="2784"/>
              <a:ext cx="84" cy="83"/>
            </a:xfrm>
            <a:custGeom>
              <a:avLst/>
              <a:gdLst>
                <a:gd name="T0" fmla="*/ 84 w 84"/>
                <a:gd name="T1" fmla="*/ 20 h 83"/>
                <a:gd name="T2" fmla="*/ 81 w 84"/>
                <a:gd name="T3" fmla="*/ 20 h 83"/>
                <a:gd name="T4" fmla="*/ 80 w 84"/>
                <a:gd name="T5" fmla="*/ 17 h 83"/>
                <a:gd name="T6" fmla="*/ 80 w 84"/>
                <a:gd name="T7" fmla="*/ 17 h 83"/>
                <a:gd name="T8" fmla="*/ 79 w 84"/>
                <a:gd name="T9" fmla="*/ 12 h 83"/>
                <a:gd name="T10" fmla="*/ 76 w 84"/>
                <a:gd name="T11" fmla="*/ 10 h 83"/>
                <a:gd name="T12" fmla="*/ 72 w 84"/>
                <a:gd name="T13" fmla="*/ 7 h 83"/>
                <a:gd name="T14" fmla="*/ 65 w 84"/>
                <a:gd name="T15" fmla="*/ 6 h 83"/>
                <a:gd name="T16" fmla="*/ 51 w 84"/>
                <a:gd name="T17" fmla="*/ 6 h 83"/>
                <a:gd name="T18" fmla="*/ 51 w 84"/>
                <a:gd name="T19" fmla="*/ 63 h 83"/>
                <a:gd name="T20" fmla="*/ 51 w 84"/>
                <a:gd name="T21" fmla="*/ 63 h 83"/>
                <a:gd name="T22" fmla="*/ 51 w 84"/>
                <a:gd name="T23" fmla="*/ 71 h 83"/>
                <a:gd name="T24" fmla="*/ 53 w 84"/>
                <a:gd name="T25" fmla="*/ 76 h 83"/>
                <a:gd name="T26" fmla="*/ 54 w 84"/>
                <a:gd name="T27" fmla="*/ 77 h 83"/>
                <a:gd name="T28" fmla="*/ 57 w 84"/>
                <a:gd name="T29" fmla="*/ 78 h 83"/>
                <a:gd name="T30" fmla="*/ 64 w 84"/>
                <a:gd name="T31" fmla="*/ 78 h 83"/>
                <a:gd name="T32" fmla="*/ 64 w 84"/>
                <a:gd name="T33" fmla="*/ 83 h 83"/>
                <a:gd name="T34" fmla="*/ 21 w 84"/>
                <a:gd name="T35" fmla="*/ 83 h 83"/>
                <a:gd name="T36" fmla="*/ 21 w 84"/>
                <a:gd name="T37" fmla="*/ 78 h 83"/>
                <a:gd name="T38" fmla="*/ 21 w 84"/>
                <a:gd name="T39" fmla="*/ 78 h 83"/>
                <a:gd name="T40" fmla="*/ 28 w 84"/>
                <a:gd name="T41" fmla="*/ 78 h 83"/>
                <a:gd name="T42" fmla="*/ 30 w 84"/>
                <a:gd name="T43" fmla="*/ 77 h 83"/>
                <a:gd name="T44" fmla="*/ 31 w 84"/>
                <a:gd name="T45" fmla="*/ 76 h 83"/>
                <a:gd name="T46" fmla="*/ 34 w 84"/>
                <a:gd name="T47" fmla="*/ 71 h 83"/>
                <a:gd name="T48" fmla="*/ 34 w 84"/>
                <a:gd name="T49" fmla="*/ 63 h 83"/>
                <a:gd name="T50" fmla="*/ 34 w 84"/>
                <a:gd name="T51" fmla="*/ 6 h 83"/>
                <a:gd name="T52" fmla="*/ 20 w 84"/>
                <a:gd name="T53" fmla="*/ 6 h 83"/>
                <a:gd name="T54" fmla="*/ 20 w 84"/>
                <a:gd name="T55" fmla="*/ 6 h 83"/>
                <a:gd name="T56" fmla="*/ 13 w 84"/>
                <a:gd name="T57" fmla="*/ 7 h 83"/>
                <a:gd name="T58" fmla="*/ 8 w 84"/>
                <a:gd name="T59" fmla="*/ 10 h 83"/>
                <a:gd name="T60" fmla="*/ 6 w 84"/>
                <a:gd name="T61" fmla="*/ 12 h 83"/>
                <a:gd name="T62" fmla="*/ 5 w 84"/>
                <a:gd name="T63" fmla="*/ 17 h 83"/>
                <a:gd name="T64" fmla="*/ 4 w 84"/>
                <a:gd name="T65" fmla="*/ 20 h 83"/>
                <a:gd name="T66" fmla="*/ 0 w 84"/>
                <a:gd name="T67" fmla="*/ 20 h 83"/>
                <a:gd name="T68" fmla="*/ 1 w 84"/>
                <a:gd name="T69" fmla="*/ 0 h 83"/>
                <a:gd name="T70" fmla="*/ 83 w 84"/>
                <a:gd name="T71" fmla="*/ 0 h 83"/>
                <a:gd name="T72" fmla="*/ 84 w 84"/>
                <a:gd name="T73" fmla="*/ 2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4" h="83">
                  <a:moveTo>
                    <a:pt x="84" y="20"/>
                  </a:moveTo>
                  <a:lnTo>
                    <a:pt x="81" y="20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79" y="12"/>
                  </a:lnTo>
                  <a:lnTo>
                    <a:pt x="76" y="10"/>
                  </a:lnTo>
                  <a:lnTo>
                    <a:pt x="72" y="7"/>
                  </a:lnTo>
                  <a:lnTo>
                    <a:pt x="65" y="6"/>
                  </a:lnTo>
                  <a:lnTo>
                    <a:pt x="51" y="6"/>
                  </a:lnTo>
                  <a:lnTo>
                    <a:pt x="51" y="63"/>
                  </a:lnTo>
                  <a:lnTo>
                    <a:pt x="51" y="63"/>
                  </a:lnTo>
                  <a:lnTo>
                    <a:pt x="51" y="71"/>
                  </a:lnTo>
                  <a:lnTo>
                    <a:pt x="53" y="76"/>
                  </a:lnTo>
                  <a:lnTo>
                    <a:pt x="54" y="77"/>
                  </a:lnTo>
                  <a:lnTo>
                    <a:pt x="57" y="78"/>
                  </a:lnTo>
                  <a:lnTo>
                    <a:pt x="64" y="78"/>
                  </a:lnTo>
                  <a:lnTo>
                    <a:pt x="64" y="83"/>
                  </a:lnTo>
                  <a:lnTo>
                    <a:pt x="21" y="83"/>
                  </a:lnTo>
                  <a:lnTo>
                    <a:pt x="21" y="78"/>
                  </a:lnTo>
                  <a:lnTo>
                    <a:pt x="21" y="78"/>
                  </a:lnTo>
                  <a:lnTo>
                    <a:pt x="28" y="78"/>
                  </a:lnTo>
                  <a:lnTo>
                    <a:pt x="30" y="77"/>
                  </a:lnTo>
                  <a:lnTo>
                    <a:pt x="31" y="76"/>
                  </a:lnTo>
                  <a:lnTo>
                    <a:pt x="34" y="71"/>
                  </a:lnTo>
                  <a:lnTo>
                    <a:pt x="34" y="63"/>
                  </a:lnTo>
                  <a:lnTo>
                    <a:pt x="34" y="6"/>
                  </a:lnTo>
                  <a:lnTo>
                    <a:pt x="20" y="6"/>
                  </a:lnTo>
                  <a:lnTo>
                    <a:pt x="20" y="6"/>
                  </a:lnTo>
                  <a:lnTo>
                    <a:pt x="13" y="7"/>
                  </a:lnTo>
                  <a:lnTo>
                    <a:pt x="8" y="10"/>
                  </a:lnTo>
                  <a:lnTo>
                    <a:pt x="6" y="12"/>
                  </a:lnTo>
                  <a:lnTo>
                    <a:pt x="5" y="17"/>
                  </a:lnTo>
                  <a:lnTo>
                    <a:pt x="4" y="20"/>
                  </a:lnTo>
                  <a:lnTo>
                    <a:pt x="0" y="20"/>
                  </a:lnTo>
                  <a:lnTo>
                    <a:pt x="1" y="0"/>
                  </a:lnTo>
                  <a:lnTo>
                    <a:pt x="83" y="0"/>
                  </a:lnTo>
                  <a:lnTo>
                    <a:pt x="84" y="2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19" name="Freeform 18"/>
            <p:cNvSpPr>
              <a:spLocks noEditPoints="1"/>
            </p:cNvSpPr>
            <p:nvPr userDrawn="1"/>
          </p:nvSpPr>
          <p:spPr bwMode="auto">
            <a:xfrm>
              <a:off x="5461" y="2782"/>
              <a:ext cx="91" cy="87"/>
            </a:xfrm>
            <a:custGeom>
              <a:avLst/>
              <a:gdLst>
                <a:gd name="T0" fmla="*/ 45 w 91"/>
                <a:gd name="T1" fmla="*/ 87 h 87"/>
                <a:gd name="T2" fmla="*/ 27 w 91"/>
                <a:gd name="T3" fmla="*/ 83 h 87"/>
                <a:gd name="T4" fmla="*/ 14 w 91"/>
                <a:gd name="T5" fmla="*/ 74 h 87"/>
                <a:gd name="T6" fmla="*/ 3 w 91"/>
                <a:gd name="T7" fmla="*/ 60 h 87"/>
                <a:gd name="T8" fmla="*/ 0 w 91"/>
                <a:gd name="T9" fmla="*/ 43 h 87"/>
                <a:gd name="T10" fmla="*/ 1 w 91"/>
                <a:gd name="T11" fmla="*/ 35 h 87"/>
                <a:gd name="T12" fmla="*/ 8 w 91"/>
                <a:gd name="T13" fmla="*/ 20 h 87"/>
                <a:gd name="T14" fmla="*/ 19 w 91"/>
                <a:gd name="T15" fmla="*/ 8 h 87"/>
                <a:gd name="T16" fmla="*/ 37 w 91"/>
                <a:gd name="T17" fmla="*/ 1 h 87"/>
                <a:gd name="T18" fmla="*/ 45 w 91"/>
                <a:gd name="T19" fmla="*/ 0 h 87"/>
                <a:gd name="T20" fmla="*/ 63 w 91"/>
                <a:gd name="T21" fmla="*/ 4 h 87"/>
                <a:gd name="T22" fmla="*/ 77 w 91"/>
                <a:gd name="T23" fmla="*/ 13 h 87"/>
                <a:gd name="T24" fmla="*/ 86 w 91"/>
                <a:gd name="T25" fmla="*/ 27 h 87"/>
                <a:gd name="T26" fmla="*/ 91 w 91"/>
                <a:gd name="T27" fmla="*/ 43 h 87"/>
                <a:gd name="T28" fmla="*/ 90 w 91"/>
                <a:gd name="T29" fmla="*/ 52 h 87"/>
                <a:gd name="T30" fmla="*/ 83 w 91"/>
                <a:gd name="T31" fmla="*/ 67 h 87"/>
                <a:gd name="T32" fmla="*/ 70 w 91"/>
                <a:gd name="T33" fmla="*/ 79 h 87"/>
                <a:gd name="T34" fmla="*/ 54 w 91"/>
                <a:gd name="T35" fmla="*/ 86 h 87"/>
                <a:gd name="T36" fmla="*/ 45 w 91"/>
                <a:gd name="T37" fmla="*/ 87 h 87"/>
                <a:gd name="T38" fmla="*/ 45 w 91"/>
                <a:gd name="T39" fmla="*/ 7 h 87"/>
                <a:gd name="T40" fmla="*/ 33 w 91"/>
                <a:gd name="T41" fmla="*/ 11 h 87"/>
                <a:gd name="T42" fmla="*/ 24 w 91"/>
                <a:gd name="T43" fmla="*/ 19 h 87"/>
                <a:gd name="T44" fmla="*/ 19 w 91"/>
                <a:gd name="T45" fmla="*/ 30 h 87"/>
                <a:gd name="T46" fmla="*/ 18 w 91"/>
                <a:gd name="T47" fmla="*/ 43 h 87"/>
                <a:gd name="T48" fmla="*/ 18 w 91"/>
                <a:gd name="T49" fmla="*/ 50 h 87"/>
                <a:gd name="T50" fmla="*/ 22 w 91"/>
                <a:gd name="T51" fmla="*/ 63 h 87"/>
                <a:gd name="T52" fmla="*/ 29 w 91"/>
                <a:gd name="T53" fmla="*/ 73 h 87"/>
                <a:gd name="T54" fmla="*/ 39 w 91"/>
                <a:gd name="T55" fmla="*/ 79 h 87"/>
                <a:gd name="T56" fmla="*/ 45 w 91"/>
                <a:gd name="T57" fmla="*/ 80 h 87"/>
                <a:gd name="T58" fmla="*/ 57 w 91"/>
                <a:gd name="T59" fmla="*/ 76 h 87"/>
                <a:gd name="T60" fmla="*/ 66 w 91"/>
                <a:gd name="T61" fmla="*/ 68 h 87"/>
                <a:gd name="T62" fmla="*/ 70 w 91"/>
                <a:gd name="T63" fmla="*/ 56 h 87"/>
                <a:gd name="T64" fmla="*/ 73 w 91"/>
                <a:gd name="T65" fmla="*/ 43 h 87"/>
                <a:gd name="T66" fmla="*/ 71 w 91"/>
                <a:gd name="T67" fmla="*/ 37 h 87"/>
                <a:gd name="T68" fmla="*/ 69 w 91"/>
                <a:gd name="T69" fmla="*/ 24 h 87"/>
                <a:gd name="T70" fmla="*/ 62 w 91"/>
                <a:gd name="T71" fmla="*/ 14 h 87"/>
                <a:gd name="T72" fmla="*/ 52 w 91"/>
                <a:gd name="T73" fmla="*/ 8 h 87"/>
                <a:gd name="T74" fmla="*/ 45 w 91"/>
                <a:gd name="T75" fmla="*/ 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91" h="87">
                  <a:moveTo>
                    <a:pt x="45" y="87"/>
                  </a:moveTo>
                  <a:lnTo>
                    <a:pt x="45" y="87"/>
                  </a:lnTo>
                  <a:lnTo>
                    <a:pt x="37" y="86"/>
                  </a:lnTo>
                  <a:lnTo>
                    <a:pt x="27" y="83"/>
                  </a:lnTo>
                  <a:lnTo>
                    <a:pt x="19" y="79"/>
                  </a:lnTo>
                  <a:lnTo>
                    <a:pt x="14" y="74"/>
                  </a:lnTo>
                  <a:lnTo>
                    <a:pt x="8" y="67"/>
                  </a:lnTo>
                  <a:lnTo>
                    <a:pt x="3" y="60"/>
                  </a:lnTo>
                  <a:lnTo>
                    <a:pt x="1" y="52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1" y="35"/>
                  </a:lnTo>
                  <a:lnTo>
                    <a:pt x="3" y="27"/>
                  </a:lnTo>
                  <a:lnTo>
                    <a:pt x="8" y="20"/>
                  </a:lnTo>
                  <a:lnTo>
                    <a:pt x="14" y="13"/>
                  </a:lnTo>
                  <a:lnTo>
                    <a:pt x="19" y="8"/>
                  </a:lnTo>
                  <a:lnTo>
                    <a:pt x="27" y="4"/>
                  </a:lnTo>
                  <a:lnTo>
                    <a:pt x="37" y="1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54" y="1"/>
                  </a:lnTo>
                  <a:lnTo>
                    <a:pt x="63" y="4"/>
                  </a:lnTo>
                  <a:lnTo>
                    <a:pt x="70" y="8"/>
                  </a:lnTo>
                  <a:lnTo>
                    <a:pt x="77" y="13"/>
                  </a:lnTo>
                  <a:lnTo>
                    <a:pt x="83" y="20"/>
                  </a:lnTo>
                  <a:lnTo>
                    <a:pt x="86" y="27"/>
                  </a:lnTo>
                  <a:lnTo>
                    <a:pt x="90" y="35"/>
                  </a:lnTo>
                  <a:lnTo>
                    <a:pt x="91" y="43"/>
                  </a:lnTo>
                  <a:lnTo>
                    <a:pt x="91" y="43"/>
                  </a:lnTo>
                  <a:lnTo>
                    <a:pt x="90" y="52"/>
                  </a:lnTo>
                  <a:lnTo>
                    <a:pt x="86" y="60"/>
                  </a:lnTo>
                  <a:lnTo>
                    <a:pt x="83" y="67"/>
                  </a:lnTo>
                  <a:lnTo>
                    <a:pt x="77" y="74"/>
                  </a:lnTo>
                  <a:lnTo>
                    <a:pt x="70" y="79"/>
                  </a:lnTo>
                  <a:lnTo>
                    <a:pt x="63" y="83"/>
                  </a:lnTo>
                  <a:lnTo>
                    <a:pt x="54" y="86"/>
                  </a:lnTo>
                  <a:lnTo>
                    <a:pt x="45" y="87"/>
                  </a:lnTo>
                  <a:lnTo>
                    <a:pt x="45" y="87"/>
                  </a:lnTo>
                  <a:close/>
                  <a:moveTo>
                    <a:pt x="45" y="7"/>
                  </a:moveTo>
                  <a:lnTo>
                    <a:pt x="45" y="7"/>
                  </a:lnTo>
                  <a:lnTo>
                    <a:pt x="39" y="8"/>
                  </a:lnTo>
                  <a:lnTo>
                    <a:pt x="33" y="11"/>
                  </a:lnTo>
                  <a:lnTo>
                    <a:pt x="29" y="14"/>
                  </a:lnTo>
                  <a:lnTo>
                    <a:pt x="24" y="19"/>
                  </a:lnTo>
                  <a:lnTo>
                    <a:pt x="22" y="24"/>
                  </a:lnTo>
                  <a:lnTo>
                    <a:pt x="19" y="30"/>
                  </a:lnTo>
                  <a:lnTo>
                    <a:pt x="18" y="37"/>
                  </a:lnTo>
                  <a:lnTo>
                    <a:pt x="18" y="43"/>
                  </a:lnTo>
                  <a:lnTo>
                    <a:pt x="18" y="43"/>
                  </a:lnTo>
                  <a:lnTo>
                    <a:pt x="18" y="50"/>
                  </a:lnTo>
                  <a:lnTo>
                    <a:pt x="19" y="56"/>
                  </a:lnTo>
                  <a:lnTo>
                    <a:pt x="22" y="63"/>
                  </a:lnTo>
                  <a:lnTo>
                    <a:pt x="24" y="68"/>
                  </a:lnTo>
                  <a:lnTo>
                    <a:pt x="29" y="73"/>
                  </a:lnTo>
                  <a:lnTo>
                    <a:pt x="33" y="76"/>
                  </a:lnTo>
                  <a:lnTo>
                    <a:pt x="39" y="79"/>
                  </a:lnTo>
                  <a:lnTo>
                    <a:pt x="45" y="80"/>
                  </a:lnTo>
                  <a:lnTo>
                    <a:pt x="45" y="80"/>
                  </a:lnTo>
                  <a:lnTo>
                    <a:pt x="52" y="79"/>
                  </a:lnTo>
                  <a:lnTo>
                    <a:pt x="57" y="76"/>
                  </a:lnTo>
                  <a:lnTo>
                    <a:pt x="62" y="73"/>
                  </a:lnTo>
                  <a:lnTo>
                    <a:pt x="66" y="68"/>
                  </a:lnTo>
                  <a:lnTo>
                    <a:pt x="69" y="63"/>
                  </a:lnTo>
                  <a:lnTo>
                    <a:pt x="70" y="56"/>
                  </a:lnTo>
                  <a:lnTo>
                    <a:pt x="71" y="50"/>
                  </a:lnTo>
                  <a:lnTo>
                    <a:pt x="73" y="43"/>
                  </a:lnTo>
                  <a:lnTo>
                    <a:pt x="73" y="43"/>
                  </a:lnTo>
                  <a:lnTo>
                    <a:pt x="71" y="37"/>
                  </a:lnTo>
                  <a:lnTo>
                    <a:pt x="70" y="30"/>
                  </a:lnTo>
                  <a:lnTo>
                    <a:pt x="69" y="24"/>
                  </a:lnTo>
                  <a:lnTo>
                    <a:pt x="66" y="19"/>
                  </a:lnTo>
                  <a:lnTo>
                    <a:pt x="62" y="14"/>
                  </a:lnTo>
                  <a:lnTo>
                    <a:pt x="57" y="11"/>
                  </a:lnTo>
                  <a:lnTo>
                    <a:pt x="52" y="8"/>
                  </a:lnTo>
                  <a:lnTo>
                    <a:pt x="45" y="7"/>
                  </a:lnTo>
                  <a:lnTo>
                    <a:pt x="45" y="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20" name="Freeform 19"/>
            <p:cNvSpPr>
              <a:spLocks/>
            </p:cNvSpPr>
            <p:nvPr userDrawn="1"/>
          </p:nvSpPr>
          <p:spPr bwMode="auto">
            <a:xfrm>
              <a:off x="4449" y="2939"/>
              <a:ext cx="53" cy="87"/>
            </a:xfrm>
            <a:custGeom>
              <a:avLst/>
              <a:gdLst>
                <a:gd name="T0" fmla="*/ 2 w 53"/>
                <a:gd name="T1" fmla="*/ 57 h 87"/>
                <a:gd name="T2" fmla="*/ 3 w 53"/>
                <a:gd name="T3" fmla="*/ 60 h 87"/>
                <a:gd name="T4" fmla="*/ 5 w 53"/>
                <a:gd name="T5" fmla="*/ 69 h 87"/>
                <a:gd name="T6" fmla="*/ 12 w 53"/>
                <a:gd name="T7" fmla="*/ 78 h 87"/>
                <a:gd name="T8" fmla="*/ 27 w 53"/>
                <a:gd name="T9" fmla="*/ 81 h 87"/>
                <a:gd name="T10" fmla="*/ 34 w 53"/>
                <a:gd name="T11" fmla="*/ 80 h 87"/>
                <a:gd name="T12" fmla="*/ 42 w 53"/>
                <a:gd name="T13" fmla="*/ 72 h 87"/>
                <a:gd name="T14" fmla="*/ 45 w 53"/>
                <a:gd name="T15" fmla="*/ 66 h 87"/>
                <a:gd name="T16" fmla="*/ 40 w 53"/>
                <a:gd name="T17" fmla="*/ 58 h 87"/>
                <a:gd name="T18" fmla="*/ 29 w 53"/>
                <a:gd name="T19" fmla="*/ 50 h 87"/>
                <a:gd name="T20" fmla="*/ 16 w 53"/>
                <a:gd name="T21" fmla="*/ 43 h 87"/>
                <a:gd name="T22" fmla="*/ 5 w 53"/>
                <a:gd name="T23" fmla="*/ 34 h 87"/>
                <a:gd name="T24" fmla="*/ 1 w 53"/>
                <a:gd name="T25" fmla="*/ 21 h 87"/>
                <a:gd name="T26" fmla="*/ 1 w 53"/>
                <a:gd name="T27" fmla="*/ 17 h 87"/>
                <a:gd name="T28" fmla="*/ 4 w 53"/>
                <a:gd name="T29" fmla="*/ 10 h 87"/>
                <a:gd name="T30" fmla="*/ 10 w 53"/>
                <a:gd name="T31" fmla="*/ 4 h 87"/>
                <a:gd name="T32" fmla="*/ 18 w 53"/>
                <a:gd name="T33" fmla="*/ 1 h 87"/>
                <a:gd name="T34" fmla="*/ 23 w 53"/>
                <a:gd name="T35" fmla="*/ 0 h 87"/>
                <a:gd name="T36" fmla="*/ 33 w 53"/>
                <a:gd name="T37" fmla="*/ 3 h 87"/>
                <a:gd name="T38" fmla="*/ 40 w 53"/>
                <a:gd name="T39" fmla="*/ 6 h 87"/>
                <a:gd name="T40" fmla="*/ 44 w 53"/>
                <a:gd name="T41" fmla="*/ 0 h 87"/>
                <a:gd name="T42" fmla="*/ 46 w 53"/>
                <a:gd name="T43" fmla="*/ 29 h 87"/>
                <a:gd name="T44" fmla="*/ 44 w 53"/>
                <a:gd name="T45" fmla="*/ 29 h 87"/>
                <a:gd name="T46" fmla="*/ 40 w 53"/>
                <a:gd name="T47" fmla="*/ 18 h 87"/>
                <a:gd name="T48" fmla="*/ 35 w 53"/>
                <a:gd name="T49" fmla="*/ 11 h 87"/>
                <a:gd name="T50" fmla="*/ 29 w 53"/>
                <a:gd name="T51" fmla="*/ 6 h 87"/>
                <a:gd name="T52" fmla="*/ 23 w 53"/>
                <a:gd name="T53" fmla="*/ 6 h 87"/>
                <a:gd name="T54" fmla="*/ 14 w 53"/>
                <a:gd name="T55" fmla="*/ 10 h 87"/>
                <a:gd name="T56" fmla="*/ 10 w 53"/>
                <a:gd name="T57" fmla="*/ 18 h 87"/>
                <a:gd name="T58" fmla="*/ 10 w 53"/>
                <a:gd name="T59" fmla="*/ 22 h 87"/>
                <a:gd name="T60" fmla="*/ 18 w 53"/>
                <a:gd name="T61" fmla="*/ 30 h 87"/>
                <a:gd name="T62" fmla="*/ 39 w 53"/>
                <a:gd name="T63" fmla="*/ 42 h 87"/>
                <a:gd name="T64" fmla="*/ 46 w 53"/>
                <a:gd name="T65" fmla="*/ 47 h 87"/>
                <a:gd name="T66" fmla="*/ 53 w 53"/>
                <a:gd name="T67" fmla="*/ 57 h 87"/>
                <a:gd name="T68" fmla="*/ 53 w 53"/>
                <a:gd name="T69" fmla="*/ 63 h 87"/>
                <a:gd name="T70" fmla="*/ 52 w 53"/>
                <a:gd name="T71" fmla="*/ 72 h 87"/>
                <a:gd name="T72" fmla="*/ 46 w 53"/>
                <a:gd name="T73" fmla="*/ 80 h 87"/>
                <a:gd name="T74" fmla="*/ 38 w 53"/>
                <a:gd name="T75" fmla="*/ 85 h 87"/>
                <a:gd name="T76" fmla="*/ 27 w 53"/>
                <a:gd name="T77" fmla="*/ 87 h 87"/>
                <a:gd name="T78" fmla="*/ 20 w 53"/>
                <a:gd name="T79" fmla="*/ 86 h 87"/>
                <a:gd name="T80" fmla="*/ 7 w 53"/>
                <a:gd name="T81" fmla="*/ 80 h 87"/>
                <a:gd name="T82" fmla="*/ 4 w 53"/>
                <a:gd name="T83" fmla="*/ 82 h 87"/>
                <a:gd name="T84" fmla="*/ 0 w 53"/>
                <a:gd name="T8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3" h="87">
                  <a:moveTo>
                    <a:pt x="0" y="57"/>
                  </a:moveTo>
                  <a:lnTo>
                    <a:pt x="2" y="57"/>
                  </a:lnTo>
                  <a:lnTo>
                    <a:pt x="2" y="57"/>
                  </a:lnTo>
                  <a:lnTo>
                    <a:pt x="3" y="60"/>
                  </a:lnTo>
                  <a:lnTo>
                    <a:pt x="3" y="65"/>
                  </a:lnTo>
                  <a:lnTo>
                    <a:pt x="5" y="69"/>
                  </a:lnTo>
                  <a:lnTo>
                    <a:pt x="9" y="73"/>
                  </a:lnTo>
                  <a:lnTo>
                    <a:pt x="12" y="78"/>
                  </a:lnTo>
                  <a:lnTo>
                    <a:pt x="19" y="80"/>
                  </a:lnTo>
                  <a:lnTo>
                    <a:pt x="27" y="81"/>
                  </a:lnTo>
                  <a:lnTo>
                    <a:pt x="27" y="81"/>
                  </a:lnTo>
                  <a:lnTo>
                    <a:pt x="34" y="80"/>
                  </a:lnTo>
                  <a:lnTo>
                    <a:pt x="39" y="77"/>
                  </a:lnTo>
                  <a:lnTo>
                    <a:pt x="42" y="72"/>
                  </a:lnTo>
                  <a:lnTo>
                    <a:pt x="45" y="66"/>
                  </a:lnTo>
                  <a:lnTo>
                    <a:pt x="45" y="66"/>
                  </a:lnTo>
                  <a:lnTo>
                    <a:pt x="44" y="62"/>
                  </a:lnTo>
                  <a:lnTo>
                    <a:pt x="40" y="58"/>
                  </a:lnTo>
                  <a:lnTo>
                    <a:pt x="35" y="53"/>
                  </a:lnTo>
                  <a:lnTo>
                    <a:pt x="29" y="50"/>
                  </a:lnTo>
                  <a:lnTo>
                    <a:pt x="16" y="43"/>
                  </a:lnTo>
                  <a:lnTo>
                    <a:pt x="16" y="43"/>
                  </a:lnTo>
                  <a:lnTo>
                    <a:pt x="10" y="40"/>
                  </a:lnTo>
                  <a:lnTo>
                    <a:pt x="5" y="34"/>
                  </a:lnTo>
                  <a:lnTo>
                    <a:pt x="2" y="28"/>
                  </a:lnTo>
                  <a:lnTo>
                    <a:pt x="1" y="21"/>
                  </a:lnTo>
                  <a:lnTo>
                    <a:pt x="1" y="21"/>
                  </a:lnTo>
                  <a:lnTo>
                    <a:pt x="1" y="17"/>
                  </a:lnTo>
                  <a:lnTo>
                    <a:pt x="2" y="13"/>
                  </a:lnTo>
                  <a:lnTo>
                    <a:pt x="4" y="10"/>
                  </a:lnTo>
                  <a:lnTo>
                    <a:pt x="7" y="6"/>
                  </a:lnTo>
                  <a:lnTo>
                    <a:pt x="10" y="4"/>
                  </a:lnTo>
                  <a:lnTo>
                    <a:pt x="14" y="3"/>
                  </a:lnTo>
                  <a:lnTo>
                    <a:pt x="18" y="1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9" y="1"/>
                  </a:lnTo>
                  <a:lnTo>
                    <a:pt x="33" y="3"/>
                  </a:lnTo>
                  <a:lnTo>
                    <a:pt x="40" y="6"/>
                  </a:lnTo>
                  <a:lnTo>
                    <a:pt x="40" y="6"/>
                  </a:lnTo>
                  <a:lnTo>
                    <a:pt x="42" y="4"/>
                  </a:lnTo>
                  <a:lnTo>
                    <a:pt x="44" y="0"/>
                  </a:lnTo>
                  <a:lnTo>
                    <a:pt x="46" y="0"/>
                  </a:lnTo>
                  <a:lnTo>
                    <a:pt x="46" y="29"/>
                  </a:lnTo>
                  <a:lnTo>
                    <a:pt x="44" y="29"/>
                  </a:lnTo>
                  <a:lnTo>
                    <a:pt x="44" y="29"/>
                  </a:lnTo>
                  <a:lnTo>
                    <a:pt x="42" y="21"/>
                  </a:lnTo>
                  <a:lnTo>
                    <a:pt x="40" y="18"/>
                  </a:lnTo>
                  <a:lnTo>
                    <a:pt x="39" y="14"/>
                  </a:lnTo>
                  <a:lnTo>
                    <a:pt x="35" y="11"/>
                  </a:lnTo>
                  <a:lnTo>
                    <a:pt x="32" y="8"/>
                  </a:lnTo>
                  <a:lnTo>
                    <a:pt x="29" y="6"/>
                  </a:lnTo>
                  <a:lnTo>
                    <a:pt x="23" y="6"/>
                  </a:lnTo>
                  <a:lnTo>
                    <a:pt x="23" y="6"/>
                  </a:lnTo>
                  <a:lnTo>
                    <a:pt x="17" y="7"/>
                  </a:lnTo>
                  <a:lnTo>
                    <a:pt x="14" y="10"/>
                  </a:lnTo>
                  <a:lnTo>
                    <a:pt x="10" y="13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0" y="22"/>
                  </a:lnTo>
                  <a:lnTo>
                    <a:pt x="14" y="27"/>
                  </a:lnTo>
                  <a:lnTo>
                    <a:pt x="18" y="30"/>
                  </a:lnTo>
                  <a:lnTo>
                    <a:pt x="26" y="35"/>
                  </a:lnTo>
                  <a:lnTo>
                    <a:pt x="39" y="42"/>
                  </a:lnTo>
                  <a:lnTo>
                    <a:pt x="39" y="42"/>
                  </a:lnTo>
                  <a:lnTo>
                    <a:pt x="46" y="47"/>
                  </a:lnTo>
                  <a:lnTo>
                    <a:pt x="51" y="51"/>
                  </a:lnTo>
                  <a:lnTo>
                    <a:pt x="53" y="57"/>
                  </a:lnTo>
                  <a:lnTo>
                    <a:pt x="53" y="63"/>
                  </a:lnTo>
                  <a:lnTo>
                    <a:pt x="53" y="63"/>
                  </a:lnTo>
                  <a:lnTo>
                    <a:pt x="53" y="67"/>
                  </a:lnTo>
                  <a:lnTo>
                    <a:pt x="52" y="72"/>
                  </a:lnTo>
                  <a:lnTo>
                    <a:pt x="48" y="77"/>
                  </a:lnTo>
                  <a:lnTo>
                    <a:pt x="46" y="80"/>
                  </a:lnTo>
                  <a:lnTo>
                    <a:pt x="41" y="82"/>
                  </a:lnTo>
                  <a:lnTo>
                    <a:pt x="38" y="85"/>
                  </a:lnTo>
                  <a:lnTo>
                    <a:pt x="32" y="86"/>
                  </a:lnTo>
                  <a:lnTo>
                    <a:pt x="27" y="87"/>
                  </a:lnTo>
                  <a:lnTo>
                    <a:pt x="27" y="87"/>
                  </a:lnTo>
                  <a:lnTo>
                    <a:pt x="20" y="86"/>
                  </a:lnTo>
                  <a:lnTo>
                    <a:pt x="15" y="84"/>
                  </a:lnTo>
                  <a:lnTo>
                    <a:pt x="7" y="80"/>
                  </a:lnTo>
                  <a:lnTo>
                    <a:pt x="7" y="80"/>
                  </a:lnTo>
                  <a:lnTo>
                    <a:pt x="4" y="82"/>
                  </a:lnTo>
                  <a:lnTo>
                    <a:pt x="2" y="87"/>
                  </a:lnTo>
                  <a:lnTo>
                    <a:pt x="0" y="87"/>
                  </a:lnTo>
                  <a:lnTo>
                    <a:pt x="0" y="5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21" name="Freeform 20"/>
            <p:cNvSpPr>
              <a:spLocks/>
            </p:cNvSpPr>
            <p:nvPr userDrawn="1"/>
          </p:nvSpPr>
          <p:spPr bwMode="auto">
            <a:xfrm>
              <a:off x="4519" y="2942"/>
              <a:ext cx="84" cy="82"/>
            </a:xfrm>
            <a:custGeom>
              <a:avLst/>
              <a:gdLst>
                <a:gd name="T0" fmla="*/ 23 w 84"/>
                <a:gd name="T1" fmla="*/ 78 h 82"/>
                <a:gd name="T2" fmla="*/ 23 w 84"/>
                <a:gd name="T3" fmla="*/ 78 h 82"/>
                <a:gd name="T4" fmla="*/ 30 w 84"/>
                <a:gd name="T5" fmla="*/ 78 h 82"/>
                <a:gd name="T6" fmla="*/ 33 w 84"/>
                <a:gd name="T7" fmla="*/ 77 h 82"/>
                <a:gd name="T8" fmla="*/ 35 w 84"/>
                <a:gd name="T9" fmla="*/ 76 h 82"/>
                <a:gd name="T10" fmla="*/ 36 w 84"/>
                <a:gd name="T11" fmla="*/ 71 h 82"/>
                <a:gd name="T12" fmla="*/ 37 w 84"/>
                <a:gd name="T13" fmla="*/ 63 h 82"/>
                <a:gd name="T14" fmla="*/ 37 w 84"/>
                <a:gd name="T15" fmla="*/ 5 h 82"/>
                <a:gd name="T16" fmla="*/ 19 w 84"/>
                <a:gd name="T17" fmla="*/ 5 h 82"/>
                <a:gd name="T18" fmla="*/ 19 w 84"/>
                <a:gd name="T19" fmla="*/ 5 h 82"/>
                <a:gd name="T20" fmla="*/ 12 w 84"/>
                <a:gd name="T21" fmla="*/ 5 h 82"/>
                <a:gd name="T22" fmla="*/ 7 w 84"/>
                <a:gd name="T23" fmla="*/ 8 h 82"/>
                <a:gd name="T24" fmla="*/ 5 w 84"/>
                <a:gd name="T25" fmla="*/ 11 h 82"/>
                <a:gd name="T26" fmla="*/ 4 w 84"/>
                <a:gd name="T27" fmla="*/ 16 h 82"/>
                <a:gd name="T28" fmla="*/ 2 w 84"/>
                <a:gd name="T29" fmla="*/ 18 h 82"/>
                <a:gd name="T30" fmla="*/ 0 w 84"/>
                <a:gd name="T31" fmla="*/ 18 h 82"/>
                <a:gd name="T32" fmla="*/ 1 w 84"/>
                <a:gd name="T33" fmla="*/ 0 h 82"/>
                <a:gd name="T34" fmla="*/ 83 w 84"/>
                <a:gd name="T35" fmla="*/ 0 h 82"/>
                <a:gd name="T36" fmla="*/ 84 w 84"/>
                <a:gd name="T37" fmla="*/ 18 h 82"/>
                <a:gd name="T38" fmla="*/ 81 w 84"/>
                <a:gd name="T39" fmla="*/ 18 h 82"/>
                <a:gd name="T40" fmla="*/ 81 w 84"/>
                <a:gd name="T41" fmla="*/ 16 h 82"/>
                <a:gd name="T42" fmla="*/ 81 w 84"/>
                <a:gd name="T43" fmla="*/ 16 h 82"/>
                <a:gd name="T44" fmla="*/ 80 w 84"/>
                <a:gd name="T45" fmla="*/ 11 h 82"/>
                <a:gd name="T46" fmla="*/ 76 w 84"/>
                <a:gd name="T47" fmla="*/ 8 h 82"/>
                <a:gd name="T48" fmla="*/ 73 w 84"/>
                <a:gd name="T49" fmla="*/ 5 h 82"/>
                <a:gd name="T50" fmla="*/ 65 w 84"/>
                <a:gd name="T51" fmla="*/ 5 h 82"/>
                <a:gd name="T52" fmla="*/ 48 w 84"/>
                <a:gd name="T53" fmla="*/ 5 h 82"/>
                <a:gd name="T54" fmla="*/ 48 w 84"/>
                <a:gd name="T55" fmla="*/ 63 h 82"/>
                <a:gd name="T56" fmla="*/ 48 w 84"/>
                <a:gd name="T57" fmla="*/ 63 h 82"/>
                <a:gd name="T58" fmla="*/ 48 w 84"/>
                <a:gd name="T59" fmla="*/ 71 h 82"/>
                <a:gd name="T60" fmla="*/ 50 w 84"/>
                <a:gd name="T61" fmla="*/ 76 h 82"/>
                <a:gd name="T62" fmla="*/ 51 w 84"/>
                <a:gd name="T63" fmla="*/ 77 h 82"/>
                <a:gd name="T64" fmla="*/ 53 w 84"/>
                <a:gd name="T65" fmla="*/ 78 h 82"/>
                <a:gd name="T66" fmla="*/ 60 w 84"/>
                <a:gd name="T67" fmla="*/ 78 h 82"/>
                <a:gd name="T68" fmla="*/ 60 w 84"/>
                <a:gd name="T69" fmla="*/ 82 h 82"/>
                <a:gd name="T70" fmla="*/ 23 w 84"/>
                <a:gd name="T71" fmla="*/ 82 h 82"/>
                <a:gd name="T72" fmla="*/ 23 w 84"/>
                <a:gd name="T73" fmla="*/ 78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4" h="82">
                  <a:moveTo>
                    <a:pt x="23" y="78"/>
                  </a:moveTo>
                  <a:lnTo>
                    <a:pt x="23" y="78"/>
                  </a:lnTo>
                  <a:lnTo>
                    <a:pt x="30" y="78"/>
                  </a:lnTo>
                  <a:lnTo>
                    <a:pt x="33" y="77"/>
                  </a:lnTo>
                  <a:lnTo>
                    <a:pt x="35" y="76"/>
                  </a:lnTo>
                  <a:lnTo>
                    <a:pt x="36" y="71"/>
                  </a:lnTo>
                  <a:lnTo>
                    <a:pt x="37" y="63"/>
                  </a:lnTo>
                  <a:lnTo>
                    <a:pt x="37" y="5"/>
                  </a:lnTo>
                  <a:lnTo>
                    <a:pt x="19" y="5"/>
                  </a:lnTo>
                  <a:lnTo>
                    <a:pt x="19" y="5"/>
                  </a:lnTo>
                  <a:lnTo>
                    <a:pt x="12" y="5"/>
                  </a:lnTo>
                  <a:lnTo>
                    <a:pt x="7" y="8"/>
                  </a:lnTo>
                  <a:lnTo>
                    <a:pt x="5" y="11"/>
                  </a:lnTo>
                  <a:lnTo>
                    <a:pt x="4" y="16"/>
                  </a:lnTo>
                  <a:lnTo>
                    <a:pt x="2" y="18"/>
                  </a:lnTo>
                  <a:lnTo>
                    <a:pt x="0" y="18"/>
                  </a:lnTo>
                  <a:lnTo>
                    <a:pt x="1" y="0"/>
                  </a:lnTo>
                  <a:lnTo>
                    <a:pt x="83" y="0"/>
                  </a:lnTo>
                  <a:lnTo>
                    <a:pt x="84" y="18"/>
                  </a:lnTo>
                  <a:lnTo>
                    <a:pt x="81" y="18"/>
                  </a:lnTo>
                  <a:lnTo>
                    <a:pt x="81" y="16"/>
                  </a:lnTo>
                  <a:lnTo>
                    <a:pt x="81" y="16"/>
                  </a:lnTo>
                  <a:lnTo>
                    <a:pt x="80" y="11"/>
                  </a:lnTo>
                  <a:lnTo>
                    <a:pt x="76" y="8"/>
                  </a:lnTo>
                  <a:lnTo>
                    <a:pt x="73" y="5"/>
                  </a:lnTo>
                  <a:lnTo>
                    <a:pt x="65" y="5"/>
                  </a:lnTo>
                  <a:lnTo>
                    <a:pt x="48" y="5"/>
                  </a:lnTo>
                  <a:lnTo>
                    <a:pt x="48" y="63"/>
                  </a:lnTo>
                  <a:lnTo>
                    <a:pt x="48" y="63"/>
                  </a:lnTo>
                  <a:lnTo>
                    <a:pt x="48" y="71"/>
                  </a:lnTo>
                  <a:lnTo>
                    <a:pt x="50" y="76"/>
                  </a:lnTo>
                  <a:lnTo>
                    <a:pt x="51" y="77"/>
                  </a:lnTo>
                  <a:lnTo>
                    <a:pt x="53" y="78"/>
                  </a:lnTo>
                  <a:lnTo>
                    <a:pt x="60" y="78"/>
                  </a:lnTo>
                  <a:lnTo>
                    <a:pt x="60" y="82"/>
                  </a:lnTo>
                  <a:lnTo>
                    <a:pt x="23" y="82"/>
                  </a:lnTo>
                  <a:lnTo>
                    <a:pt x="23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22" name="Freeform 21"/>
            <p:cNvSpPr>
              <a:spLocks noEditPoints="1"/>
            </p:cNvSpPr>
            <p:nvPr userDrawn="1"/>
          </p:nvSpPr>
          <p:spPr bwMode="auto">
            <a:xfrm>
              <a:off x="4601" y="2939"/>
              <a:ext cx="95" cy="85"/>
            </a:xfrm>
            <a:custGeom>
              <a:avLst/>
              <a:gdLst>
                <a:gd name="T0" fmla="*/ 0 w 95"/>
                <a:gd name="T1" fmla="*/ 81 h 85"/>
                <a:gd name="T2" fmla="*/ 0 w 95"/>
                <a:gd name="T3" fmla="*/ 81 h 85"/>
                <a:gd name="T4" fmla="*/ 7 w 95"/>
                <a:gd name="T5" fmla="*/ 81 h 85"/>
                <a:gd name="T6" fmla="*/ 12 w 95"/>
                <a:gd name="T7" fmla="*/ 79 h 85"/>
                <a:gd name="T8" fmla="*/ 14 w 95"/>
                <a:gd name="T9" fmla="*/ 75 h 85"/>
                <a:gd name="T10" fmla="*/ 18 w 95"/>
                <a:gd name="T11" fmla="*/ 70 h 85"/>
                <a:gd name="T12" fmla="*/ 46 w 95"/>
                <a:gd name="T13" fmla="*/ 0 h 85"/>
                <a:gd name="T14" fmla="*/ 49 w 95"/>
                <a:gd name="T15" fmla="*/ 0 h 85"/>
                <a:gd name="T16" fmla="*/ 79 w 95"/>
                <a:gd name="T17" fmla="*/ 70 h 85"/>
                <a:gd name="T18" fmla="*/ 79 w 95"/>
                <a:gd name="T19" fmla="*/ 70 h 85"/>
                <a:gd name="T20" fmla="*/ 81 w 95"/>
                <a:gd name="T21" fmla="*/ 75 h 85"/>
                <a:gd name="T22" fmla="*/ 85 w 95"/>
                <a:gd name="T23" fmla="*/ 79 h 85"/>
                <a:gd name="T24" fmla="*/ 88 w 95"/>
                <a:gd name="T25" fmla="*/ 81 h 85"/>
                <a:gd name="T26" fmla="*/ 95 w 95"/>
                <a:gd name="T27" fmla="*/ 81 h 85"/>
                <a:gd name="T28" fmla="*/ 95 w 95"/>
                <a:gd name="T29" fmla="*/ 85 h 85"/>
                <a:gd name="T30" fmla="*/ 57 w 95"/>
                <a:gd name="T31" fmla="*/ 85 h 85"/>
                <a:gd name="T32" fmla="*/ 57 w 95"/>
                <a:gd name="T33" fmla="*/ 81 h 85"/>
                <a:gd name="T34" fmla="*/ 57 w 95"/>
                <a:gd name="T35" fmla="*/ 81 h 85"/>
                <a:gd name="T36" fmla="*/ 64 w 95"/>
                <a:gd name="T37" fmla="*/ 81 h 85"/>
                <a:gd name="T38" fmla="*/ 68 w 95"/>
                <a:gd name="T39" fmla="*/ 79 h 85"/>
                <a:gd name="T40" fmla="*/ 68 w 95"/>
                <a:gd name="T41" fmla="*/ 78 h 85"/>
                <a:gd name="T42" fmla="*/ 70 w 95"/>
                <a:gd name="T43" fmla="*/ 75 h 85"/>
                <a:gd name="T44" fmla="*/ 68 w 95"/>
                <a:gd name="T45" fmla="*/ 71 h 85"/>
                <a:gd name="T46" fmla="*/ 61 w 95"/>
                <a:gd name="T47" fmla="*/ 56 h 85"/>
                <a:gd name="T48" fmla="*/ 28 w 95"/>
                <a:gd name="T49" fmla="*/ 56 h 85"/>
                <a:gd name="T50" fmla="*/ 22 w 95"/>
                <a:gd name="T51" fmla="*/ 71 h 85"/>
                <a:gd name="T52" fmla="*/ 22 w 95"/>
                <a:gd name="T53" fmla="*/ 71 h 85"/>
                <a:gd name="T54" fmla="*/ 21 w 95"/>
                <a:gd name="T55" fmla="*/ 75 h 85"/>
                <a:gd name="T56" fmla="*/ 21 w 95"/>
                <a:gd name="T57" fmla="*/ 78 h 85"/>
                <a:gd name="T58" fmla="*/ 22 w 95"/>
                <a:gd name="T59" fmla="*/ 79 h 85"/>
                <a:gd name="T60" fmla="*/ 26 w 95"/>
                <a:gd name="T61" fmla="*/ 81 h 85"/>
                <a:gd name="T62" fmla="*/ 33 w 95"/>
                <a:gd name="T63" fmla="*/ 81 h 85"/>
                <a:gd name="T64" fmla="*/ 33 w 95"/>
                <a:gd name="T65" fmla="*/ 85 h 85"/>
                <a:gd name="T66" fmla="*/ 0 w 95"/>
                <a:gd name="T67" fmla="*/ 85 h 85"/>
                <a:gd name="T68" fmla="*/ 0 w 95"/>
                <a:gd name="T69" fmla="*/ 81 h 85"/>
                <a:gd name="T70" fmla="*/ 59 w 95"/>
                <a:gd name="T71" fmla="*/ 51 h 85"/>
                <a:gd name="T72" fmla="*/ 45 w 95"/>
                <a:gd name="T73" fmla="*/ 19 h 85"/>
                <a:gd name="T74" fmla="*/ 30 w 95"/>
                <a:gd name="T75" fmla="*/ 51 h 85"/>
                <a:gd name="T76" fmla="*/ 59 w 95"/>
                <a:gd name="T77" fmla="*/ 51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5" h="85">
                  <a:moveTo>
                    <a:pt x="0" y="81"/>
                  </a:moveTo>
                  <a:lnTo>
                    <a:pt x="0" y="81"/>
                  </a:lnTo>
                  <a:lnTo>
                    <a:pt x="7" y="81"/>
                  </a:lnTo>
                  <a:lnTo>
                    <a:pt x="12" y="79"/>
                  </a:lnTo>
                  <a:lnTo>
                    <a:pt x="14" y="75"/>
                  </a:lnTo>
                  <a:lnTo>
                    <a:pt x="18" y="70"/>
                  </a:lnTo>
                  <a:lnTo>
                    <a:pt x="46" y="0"/>
                  </a:lnTo>
                  <a:lnTo>
                    <a:pt x="49" y="0"/>
                  </a:lnTo>
                  <a:lnTo>
                    <a:pt x="79" y="70"/>
                  </a:lnTo>
                  <a:lnTo>
                    <a:pt x="79" y="70"/>
                  </a:lnTo>
                  <a:lnTo>
                    <a:pt x="81" y="75"/>
                  </a:lnTo>
                  <a:lnTo>
                    <a:pt x="85" y="79"/>
                  </a:lnTo>
                  <a:lnTo>
                    <a:pt x="88" y="81"/>
                  </a:lnTo>
                  <a:lnTo>
                    <a:pt x="95" y="81"/>
                  </a:lnTo>
                  <a:lnTo>
                    <a:pt x="95" y="85"/>
                  </a:lnTo>
                  <a:lnTo>
                    <a:pt x="57" y="85"/>
                  </a:lnTo>
                  <a:lnTo>
                    <a:pt x="57" y="81"/>
                  </a:lnTo>
                  <a:lnTo>
                    <a:pt x="57" y="81"/>
                  </a:lnTo>
                  <a:lnTo>
                    <a:pt x="64" y="81"/>
                  </a:lnTo>
                  <a:lnTo>
                    <a:pt x="68" y="79"/>
                  </a:lnTo>
                  <a:lnTo>
                    <a:pt x="68" y="78"/>
                  </a:lnTo>
                  <a:lnTo>
                    <a:pt x="70" y="75"/>
                  </a:lnTo>
                  <a:lnTo>
                    <a:pt x="68" y="71"/>
                  </a:lnTo>
                  <a:lnTo>
                    <a:pt x="61" y="56"/>
                  </a:lnTo>
                  <a:lnTo>
                    <a:pt x="28" y="56"/>
                  </a:lnTo>
                  <a:lnTo>
                    <a:pt x="22" y="71"/>
                  </a:lnTo>
                  <a:lnTo>
                    <a:pt x="22" y="71"/>
                  </a:lnTo>
                  <a:lnTo>
                    <a:pt x="21" y="75"/>
                  </a:lnTo>
                  <a:lnTo>
                    <a:pt x="21" y="78"/>
                  </a:lnTo>
                  <a:lnTo>
                    <a:pt x="22" y="79"/>
                  </a:lnTo>
                  <a:lnTo>
                    <a:pt x="26" y="81"/>
                  </a:lnTo>
                  <a:lnTo>
                    <a:pt x="33" y="81"/>
                  </a:lnTo>
                  <a:lnTo>
                    <a:pt x="33" y="85"/>
                  </a:lnTo>
                  <a:lnTo>
                    <a:pt x="0" y="85"/>
                  </a:lnTo>
                  <a:lnTo>
                    <a:pt x="0" y="81"/>
                  </a:lnTo>
                  <a:close/>
                  <a:moveTo>
                    <a:pt x="59" y="51"/>
                  </a:moveTo>
                  <a:lnTo>
                    <a:pt x="45" y="19"/>
                  </a:lnTo>
                  <a:lnTo>
                    <a:pt x="30" y="51"/>
                  </a:lnTo>
                  <a:lnTo>
                    <a:pt x="59" y="5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23" name="Freeform 22"/>
            <p:cNvSpPr>
              <a:spLocks/>
            </p:cNvSpPr>
            <p:nvPr userDrawn="1"/>
          </p:nvSpPr>
          <p:spPr bwMode="auto">
            <a:xfrm>
              <a:off x="4695" y="2942"/>
              <a:ext cx="85" cy="82"/>
            </a:xfrm>
            <a:custGeom>
              <a:avLst/>
              <a:gdLst>
                <a:gd name="T0" fmla="*/ 24 w 85"/>
                <a:gd name="T1" fmla="*/ 78 h 82"/>
                <a:gd name="T2" fmla="*/ 24 w 85"/>
                <a:gd name="T3" fmla="*/ 78 h 82"/>
                <a:gd name="T4" fmla="*/ 31 w 85"/>
                <a:gd name="T5" fmla="*/ 78 h 82"/>
                <a:gd name="T6" fmla="*/ 33 w 85"/>
                <a:gd name="T7" fmla="*/ 77 h 82"/>
                <a:gd name="T8" fmla="*/ 34 w 85"/>
                <a:gd name="T9" fmla="*/ 76 h 82"/>
                <a:gd name="T10" fmla="*/ 37 w 85"/>
                <a:gd name="T11" fmla="*/ 71 h 82"/>
                <a:gd name="T12" fmla="*/ 37 w 85"/>
                <a:gd name="T13" fmla="*/ 63 h 82"/>
                <a:gd name="T14" fmla="*/ 37 w 85"/>
                <a:gd name="T15" fmla="*/ 5 h 82"/>
                <a:gd name="T16" fmla="*/ 19 w 85"/>
                <a:gd name="T17" fmla="*/ 5 h 82"/>
                <a:gd name="T18" fmla="*/ 19 w 85"/>
                <a:gd name="T19" fmla="*/ 5 h 82"/>
                <a:gd name="T20" fmla="*/ 12 w 85"/>
                <a:gd name="T21" fmla="*/ 5 h 82"/>
                <a:gd name="T22" fmla="*/ 8 w 85"/>
                <a:gd name="T23" fmla="*/ 8 h 82"/>
                <a:gd name="T24" fmla="*/ 6 w 85"/>
                <a:gd name="T25" fmla="*/ 11 h 82"/>
                <a:gd name="T26" fmla="*/ 3 w 85"/>
                <a:gd name="T27" fmla="*/ 16 h 82"/>
                <a:gd name="T28" fmla="*/ 3 w 85"/>
                <a:gd name="T29" fmla="*/ 18 h 82"/>
                <a:gd name="T30" fmla="*/ 0 w 85"/>
                <a:gd name="T31" fmla="*/ 18 h 82"/>
                <a:gd name="T32" fmla="*/ 1 w 85"/>
                <a:gd name="T33" fmla="*/ 0 h 82"/>
                <a:gd name="T34" fmla="*/ 84 w 85"/>
                <a:gd name="T35" fmla="*/ 0 h 82"/>
                <a:gd name="T36" fmla="*/ 85 w 85"/>
                <a:gd name="T37" fmla="*/ 18 h 82"/>
                <a:gd name="T38" fmla="*/ 82 w 85"/>
                <a:gd name="T39" fmla="*/ 18 h 82"/>
                <a:gd name="T40" fmla="*/ 82 w 85"/>
                <a:gd name="T41" fmla="*/ 16 h 82"/>
                <a:gd name="T42" fmla="*/ 82 w 85"/>
                <a:gd name="T43" fmla="*/ 16 h 82"/>
                <a:gd name="T44" fmla="*/ 79 w 85"/>
                <a:gd name="T45" fmla="*/ 11 h 82"/>
                <a:gd name="T46" fmla="*/ 77 w 85"/>
                <a:gd name="T47" fmla="*/ 8 h 82"/>
                <a:gd name="T48" fmla="*/ 73 w 85"/>
                <a:gd name="T49" fmla="*/ 5 h 82"/>
                <a:gd name="T50" fmla="*/ 66 w 85"/>
                <a:gd name="T51" fmla="*/ 5 h 82"/>
                <a:gd name="T52" fmla="*/ 48 w 85"/>
                <a:gd name="T53" fmla="*/ 5 h 82"/>
                <a:gd name="T54" fmla="*/ 48 w 85"/>
                <a:gd name="T55" fmla="*/ 63 h 82"/>
                <a:gd name="T56" fmla="*/ 48 w 85"/>
                <a:gd name="T57" fmla="*/ 63 h 82"/>
                <a:gd name="T58" fmla="*/ 48 w 85"/>
                <a:gd name="T59" fmla="*/ 71 h 82"/>
                <a:gd name="T60" fmla="*/ 51 w 85"/>
                <a:gd name="T61" fmla="*/ 76 h 82"/>
                <a:gd name="T62" fmla="*/ 52 w 85"/>
                <a:gd name="T63" fmla="*/ 77 h 82"/>
                <a:gd name="T64" fmla="*/ 54 w 85"/>
                <a:gd name="T65" fmla="*/ 78 h 82"/>
                <a:gd name="T66" fmla="*/ 61 w 85"/>
                <a:gd name="T67" fmla="*/ 78 h 82"/>
                <a:gd name="T68" fmla="*/ 61 w 85"/>
                <a:gd name="T69" fmla="*/ 82 h 82"/>
                <a:gd name="T70" fmla="*/ 24 w 85"/>
                <a:gd name="T71" fmla="*/ 82 h 82"/>
                <a:gd name="T72" fmla="*/ 24 w 85"/>
                <a:gd name="T73" fmla="*/ 78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5" h="82">
                  <a:moveTo>
                    <a:pt x="24" y="78"/>
                  </a:moveTo>
                  <a:lnTo>
                    <a:pt x="24" y="78"/>
                  </a:lnTo>
                  <a:lnTo>
                    <a:pt x="31" y="78"/>
                  </a:lnTo>
                  <a:lnTo>
                    <a:pt x="33" y="77"/>
                  </a:lnTo>
                  <a:lnTo>
                    <a:pt x="34" y="76"/>
                  </a:lnTo>
                  <a:lnTo>
                    <a:pt x="37" y="71"/>
                  </a:lnTo>
                  <a:lnTo>
                    <a:pt x="37" y="63"/>
                  </a:lnTo>
                  <a:lnTo>
                    <a:pt x="37" y="5"/>
                  </a:lnTo>
                  <a:lnTo>
                    <a:pt x="19" y="5"/>
                  </a:lnTo>
                  <a:lnTo>
                    <a:pt x="19" y="5"/>
                  </a:lnTo>
                  <a:lnTo>
                    <a:pt x="12" y="5"/>
                  </a:lnTo>
                  <a:lnTo>
                    <a:pt x="8" y="8"/>
                  </a:lnTo>
                  <a:lnTo>
                    <a:pt x="6" y="11"/>
                  </a:lnTo>
                  <a:lnTo>
                    <a:pt x="3" y="16"/>
                  </a:lnTo>
                  <a:lnTo>
                    <a:pt x="3" y="18"/>
                  </a:lnTo>
                  <a:lnTo>
                    <a:pt x="0" y="18"/>
                  </a:lnTo>
                  <a:lnTo>
                    <a:pt x="1" y="0"/>
                  </a:lnTo>
                  <a:lnTo>
                    <a:pt x="84" y="0"/>
                  </a:lnTo>
                  <a:lnTo>
                    <a:pt x="85" y="18"/>
                  </a:lnTo>
                  <a:lnTo>
                    <a:pt x="82" y="18"/>
                  </a:lnTo>
                  <a:lnTo>
                    <a:pt x="82" y="16"/>
                  </a:lnTo>
                  <a:lnTo>
                    <a:pt x="82" y="16"/>
                  </a:lnTo>
                  <a:lnTo>
                    <a:pt x="79" y="11"/>
                  </a:lnTo>
                  <a:lnTo>
                    <a:pt x="77" y="8"/>
                  </a:lnTo>
                  <a:lnTo>
                    <a:pt x="73" y="5"/>
                  </a:lnTo>
                  <a:lnTo>
                    <a:pt x="66" y="5"/>
                  </a:lnTo>
                  <a:lnTo>
                    <a:pt x="48" y="5"/>
                  </a:lnTo>
                  <a:lnTo>
                    <a:pt x="48" y="63"/>
                  </a:lnTo>
                  <a:lnTo>
                    <a:pt x="48" y="63"/>
                  </a:lnTo>
                  <a:lnTo>
                    <a:pt x="48" y="71"/>
                  </a:lnTo>
                  <a:lnTo>
                    <a:pt x="51" y="76"/>
                  </a:lnTo>
                  <a:lnTo>
                    <a:pt x="52" y="77"/>
                  </a:lnTo>
                  <a:lnTo>
                    <a:pt x="54" y="78"/>
                  </a:lnTo>
                  <a:lnTo>
                    <a:pt x="61" y="78"/>
                  </a:lnTo>
                  <a:lnTo>
                    <a:pt x="61" y="82"/>
                  </a:lnTo>
                  <a:lnTo>
                    <a:pt x="24" y="82"/>
                  </a:lnTo>
                  <a:lnTo>
                    <a:pt x="24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24" name="Freeform 23"/>
            <p:cNvSpPr>
              <a:spLocks/>
            </p:cNvSpPr>
            <p:nvPr userDrawn="1"/>
          </p:nvSpPr>
          <p:spPr bwMode="auto">
            <a:xfrm>
              <a:off x="4798" y="2939"/>
              <a:ext cx="54" cy="87"/>
            </a:xfrm>
            <a:custGeom>
              <a:avLst/>
              <a:gdLst>
                <a:gd name="T0" fmla="*/ 3 w 54"/>
                <a:gd name="T1" fmla="*/ 57 h 87"/>
                <a:gd name="T2" fmla="*/ 3 w 54"/>
                <a:gd name="T3" fmla="*/ 60 h 87"/>
                <a:gd name="T4" fmla="*/ 7 w 54"/>
                <a:gd name="T5" fmla="*/ 69 h 87"/>
                <a:gd name="T6" fmla="*/ 13 w 54"/>
                <a:gd name="T7" fmla="*/ 78 h 87"/>
                <a:gd name="T8" fmla="*/ 28 w 54"/>
                <a:gd name="T9" fmla="*/ 81 h 87"/>
                <a:gd name="T10" fmla="*/ 34 w 54"/>
                <a:gd name="T11" fmla="*/ 80 h 87"/>
                <a:gd name="T12" fmla="*/ 43 w 54"/>
                <a:gd name="T13" fmla="*/ 72 h 87"/>
                <a:gd name="T14" fmla="*/ 45 w 54"/>
                <a:gd name="T15" fmla="*/ 66 h 87"/>
                <a:gd name="T16" fmla="*/ 41 w 54"/>
                <a:gd name="T17" fmla="*/ 58 h 87"/>
                <a:gd name="T18" fmla="*/ 30 w 54"/>
                <a:gd name="T19" fmla="*/ 50 h 87"/>
                <a:gd name="T20" fmla="*/ 16 w 54"/>
                <a:gd name="T21" fmla="*/ 43 h 87"/>
                <a:gd name="T22" fmla="*/ 5 w 54"/>
                <a:gd name="T23" fmla="*/ 34 h 87"/>
                <a:gd name="T24" fmla="*/ 1 w 54"/>
                <a:gd name="T25" fmla="*/ 21 h 87"/>
                <a:gd name="T26" fmla="*/ 2 w 54"/>
                <a:gd name="T27" fmla="*/ 17 h 87"/>
                <a:gd name="T28" fmla="*/ 5 w 54"/>
                <a:gd name="T29" fmla="*/ 10 h 87"/>
                <a:gd name="T30" fmla="*/ 11 w 54"/>
                <a:gd name="T31" fmla="*/ 4 h 87"/>
                <a:gd name="T32" fmla="*/ 19 w 54"/>
                <a:gd name="T33" fmla="*/ 1 h 87"/>
                <a:gd name="T34" fmla="*/ 24 w 54"/>
                <a:gd name="T35" fmla="*/ 0 h 87"/>
                <a:gd name="T36" fmla="*/ 33 w 54"/>
                <a:gd name="T37" fmla="*/ 3 h 87"/>
                <a:gd name="T38" fmla="*/ 40 w 54"/>
                <a:gd name="T39" fmla="*/ 6 h 87"/>
                <a:gd name="T40" fmla="*/ 45 w 54"/>
                <a:gd name="T41" fmla="*/ 0 h 87"/>
                <a:gd name="T42" fmla="*/ 47 w 54"/>
                <a:gd name="T43" fmla="*/ 29 h 87"/>
                <a:gd name="T44" fmla="*/ 45 w 54"/>
                <a:gd name="T45" fmla="*/ 29 h 87"/>
                <a:gd name="T46" fmla="*/ 41 w 54"/>
                <a:gd name="T47" fmla="*/ 18 h 87"/>
                <a:gd name="T48" fmla="*/ 37 w 54"/>
                <a:gd name="T49" fmla="*/ 11 h 87"/>
                <a:gd name="T50" fmla="*/ 28 w 54"/>
                <a:gd name="T51" fmla="*/ 6 h 87"/>
                <a:gd name="T52" fmla="*/ 24 w 54"/>
                <a:gd name="T53" fmla="*/ 6 h 87"/>
                <a:gd name="T54" fmla="*/ 13 w 54"/>
                <a:gd name="T55" fmla="*/ 10 h 87"/>
                <a:gd name="T56" fmla="*/ 10 w 54"/>
                <a:gd name="T57" fmla="*/ 18 h 87"/>
                <a:gd name="T58" fmla="*/ 11 w 54"/>
                <a:gd name="T59" fmla="*/ 22 h 87"/>
                <a:gd name="T60" fmla="*/ 19 w 54"/>
                <a:gd name="T61" fmla="*/ 30 h 87"/>
                <a:gd name="T62" fmla="*/ 40 w 54"/>
                <a:gd name="T63" fmla="*/ 42 h 87"/>
                <a:gd name="T64" fmla="*/ 46 w 54"/>
                <a:gd name="T65" fmla="*/ 47 h 87"/>
                <a:gd name="T66" fmla="*/ 53 w 54"/>
                <a:gd name="T67" fmla="*/ 57 h 87"/>
                <a:gd name="T68" fmla="*/ 54 w 54"/>
                <a:gd name="T69" fmla="*/ 63 h 87"/>
                <a:gd name="T70" fmla="*/ 52 w 54"/>
                <a:gd name="T71" fmla="*/ 72 h 87"/>
                <a:gd name="T72" fmla="*/ 46 w 54"/>
                <a:gd name="T73" fmla="*/ 80 h 87"/>
                <a:gd name="T74" fmla="*/ 38 w 54"/>
                <a:gd name="T75" fmla="*/ 85 h 87"/>
                <a:gd name="T76" fmla="*/ 28 w 54"/>
                <a:gd name="T77" fmla="*/ 87 h 87"/>
                <a:gd name="T78" fmla="*/ 20 w 54"/>
                <a:gd name="T79" fmla="*/ 86 h 87"/>
                <a:gd name="T80" fmla="*/ 7 w 54"/>
                <a:gd name="T81" fmla="*/ 80 h 87"/>
                <a:gd name="T82" fmla="*/ 4 w 54"/>
                <a:gd name="T83" fmla="*/ 82 h 87"/>
                <a:gd name="T84" fmla="*/ 0 w 54"/>
                <a:gd name="T8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4" h="87">
                  <a:moveTo>
                    <a:pt x="0" y="57"/>
                  </a:moveTo>
                  <a:lnTo>
                    <a:pt x="3" y="57"/>
                  </a:lnTo>
                  <a:lnTo>
                    <a:pt x="3" y="57"/>
                  </a:lnTo>
                  <a:lnTo>
                    <a:pt x="3" y="60"/>
                  </a:lnTo>
                  <a:lnTo>
                    <a:pt x="4" y="65"/>
                  </a:lnTo>
                  <a:lnTo>
                    <a:pt x="7" y="69"/>
                  </a:lnTo>
                  <a:lnTo>
                    <a:pt x="9" y="73"/>
                  </a:lnTo>
                  <a:lnTo>
                    <a:pt x="13" y="78"/>
                  </a:lnTo>
                  <a:lnTo>
                    <a:pt x="19" y="80"/>
                  </a:lnTo>
                  <a:lnTo>
                    <a:pt x="28" y="81"/>
                  </a:lnTo>
                  <a:lnTo>
                    <a:pt x="28" y="81"/>
                  </a:lnTo>
                  <a:lnTo>
                    <a:pt x="34" y="80"/>
                  </a:lnTo>
                  <a:lnTo>
                    <a:pt x="40" y="77"/>
                  </a:lnTo>
                  <a:lnTo>
                    <a:pt x="43" y="72"/>
                  </a:lnTo>
                  <a:lnTo>
                    <a:pt x="45" y="66"/>
                  </a:lnTo>
                  <a:lnTo>
                    <a:pt x="45" y="66"/>
                  </a:lnTo>
                  <a:lnTo>
                    <a:pt x="43" y="62"/>
                  </a:lnTo>
                  <a:lnTo>
                    <a:pt x="41" y="58"/>
                  </a:lnTo>
                  <a:lnTo>
                    <a:pt x="35" y="53"/>
                  </a:lnTo>
                  <a:lnTo>
                    <a:pt x="30" y="50"/>
                  </a:lnTo>
                  <a:lnTo>
                    <a:pt x="16" y="43"/>
                  </a:lnTo>
                  <a:lnTo>
                    <a:pt x="16" y="43"/>
                  </a:lnTo>
                  <a:lnTo>
                    <a:pt x="11" y="40"/>
                  </a:lnTo>
                  <a:lnTo>
                    <a:pt x="5" y="34"/>
                  </a:lnTo>
                  <a:lnTo>
                    <a:pt x="3" y="28"/>
                  </a:lnTo>
                  <a:lnTo>
                    <a:pt x="1" y="21"/>
                  </a:lnTo>
                  <a:lnTo>
                    <a:pt x="1" y="21"/>
                  </a:lnTo>
                  <a:lnTo>
                    <a:pt x="2" y="17"/>
                  </a:lnTo>
                  <a:lnTo>
                    <a:pt x="3" y="13"/>
                  </a:lnTo>
                  <a:lnTo>
                    <a:pt x="5" y="10"/>
                  </a:lnTo>
                  <a:lnTo>
                    <a:pt x="8" y="6"/>
                  </a:lnTo>
                  <a:lnTo>
                    <a:pt x="11" y="4"/>
                  </a:lnTo>
                  <a:lnTo>
                    <a:pt x="15" y="3"/>
                  </a:lnTo>
                  <a:lnTo>
                    <a:pt x="19" y="1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30" y="1"/>
                  </a:lnTo>
                  <a:lnTo>
                    <a:pt x="33" y="3"/>
                  </a:lnTo>
                  <a:lnTo>
                    <a:pt x="40" y="6"/>
                  </a:lnTo>
                  <a:lnTo>
                    <a:pt x="40" y="6"/>
                  </a:lnTo>
                  <a:lnTo>
                    <a:pt x="42" y="4"/>
                  </a:lnTo>
                  <a:lnTo>
                    <a:pt x="45" y="0"/>
                  </a:lnTo>
                  <a:lnTo>
                    <a:pt x="47" y="0"/>
                  </a:lnTo>
                  <a:lnTo>
                    <a:pt x="47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2" y="21"/>
                  </a:lnTo>
                  <a:lnTo>
                    <a:pt x="41" y="18"/>
                  </a:lnTo>
                  <a:lnTo>
                    <a:pt x="39" y="14"/>
                  </a:lnTo>
                  <a:lnTo>
                    <a:pt x="37" y="11"/>
                  </a:lnTo>
                  <a:lnTo>
                    <a:pt x="33" y="8"/>
                  </a:lnTo>
                  <a:lnTo>
                    <a:pt x="28" y="6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18" y="7"/>
                  </a:lnTo>
                  <a:lnTo>
                    <a:pt x="13" y="10"/>
                  </a:lnTo>
                  <a:lnTo>
                    <a:pt x="11" y="13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1" y="22"/>
                  </a:lnTo>
                  <a:lnTo>
                    <a:pt x="15" y="27"/>
                  </a:lnTo>
                  <a:lnTo>
                    <a:pt x="19" y="30"/>
                  </a:lnTo>
                  <a:lnTo>
                    <a:pt x="27" y="35"/>
                  </a:lnTo>
                  <a:lnTo>
                    <a:pt x="40" y="42"/>
                  </a:lnTo>
                  <a:lnTo>
                    <a:pt x="40" y="42"/>
                  </a:lnTo>
                  <a:lnTo>
                    <a:pt x="46" y="47"/>
                  </a:lnTo>
                  <a:lnTo>
                    <a:pt x="50" y="51"/>
                  </a:lnTo>
                  <a:lnTo>
                    <a:pt x="53" y="57"/>
                  </a:lnTo>
                  <a:lnTo>
                    <a:pt x="54" y="63"/>
                  </a:lnTo>
                  <a:lnTo>
                    <a:pt x="54" y="63"/>
                  </a:lnTo>
                  <a:lnTo>
                    <a:pt x="54" y="67"/>
                  </a:lnTo>
                  <a:lnTo>
                    <a:pt x="52" y="72"/>
                  </a:lnTo>
                  <a:lnTo>
                    <a:pt x="49" y="77"/>
                  </a:lnTo>
                  <a:lnTo>
                    <a:pt x="46" y="80"/>
                  </a:lnTo>
                  <a:lnTo>
                    <a:pt x="42" y="82"/>
                  </a:lnTo>
                  <a:lnTo>
                    <a:pt x="38" y="85"/>
                  </a:lnTo>
                  <a:lnTo>
                    <a:pt x="33" y="86"/>
                  </a:lnTo>
                  <a:lnTo>
                    <a:pt x="28" y="87"/>
                  </a:lnTo>
                  <a:lnTo>
                    <a:pt x="28" y="87"/>
                  </a:lnTo>
                  <a:lnTo>
                    <a:pt x="20" y="86"/>
                  </a:lnTo>
                  <a:lnTo>
                    <a:pt x="15" y="84"/>
                  </a:lnTo>
                  <a:lnTo>
                    <a:pt x="7" y="80"/>
                  </a:lnTo>
                  <a:lnTo>
                    <a:pt x="7" y="80"/>
                  </a:lnTo>
                  <a:lnTo>
                    <a:pt x="4" y="82"/>
                  </a:lnTo>
                  <a:lnTo>
                    <a:pt x="3" y="87"/>
                  </a:lnTo>
                  <a:lnTo>
                    <a:pt x="0" y="87"/>
                  </a:lnTo>
                  <a:lnTo>
                    <a:pt x="0" y="5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25" name="Freeform 24"/>
            <p:cNvSpPr>
              <a:spLocks noEditPoints="1"/>
            </p:cNvSpPr>
            <p:nvPr userDrawn="1"/>
          </p:nvSpPr>
          <p:spPr bwMode="auto">
            <a:xfrm>
              <a:off x="4875" y="2942"/>
              <a:ext cx="79" cy="82"/>
            </a:xfrm>
            <a:custGeom>
              <a:avLst/>
              <a:gdLst>
                <a:gd name="T0" fmla="*/ 0 w 79"/>
                <a:gd name="T1" fmla="*/ 78 h 82"/>
                <a:gd name="T2" fmla="*/ 9 w 79"/>
                <a:gd name="T3" fmla="*/ 77 h 82"/>
                <a:gd name="T4" fmla="*/ 13 w 79"/>
                <a:gd name="T5" fmla="*/ 71 h 82"/>
                <a:gd name="T6" fmla="*/ 13 w 79"/>
                <a:gd name="T7" fmla="*/ 18 h 82"/>
                <a:gd name="T8" fmla="*/ 13 w 79"/>
                <a:gd name="T9" fmla="*/ 10 h 82"/>
                <a:gd name="T10" fmla="*/ 9 w 79"/>
                <a:gd name="T11" fmla="*/ 4 h 82"/>
                <a:gd name="T12" fmla="*/ 0 w 79"/>
                <a:gd name="T13" fmla="*/ 3 h 82"/>
                <a:gd name="T14" fmla="*/ 36 w 79"/>
                <a:gd name="T15" fmla="*/ 0 h 82"/>
                <a:gd name="T16" fmla="*/ 43 w 79"/>
                <a:gd name="T17" fmla="*/ 1 h 82"/>
                <a:gd name="T18" fmla="*/ 53 w 79"/>
                <a:gd name="T19" fmla="*/ 4 h 82"/>
                <a:gd name="T20" fmla="*/ 60 w 79"/>
                <a:gd name="T21" fmla="*/ 10 h 82"/>
                <a:gd name="T22" fmla="*/ 65 w 79"/>
                <a:gd name="T23" fmla="*/ 18 h 82"/>
                <a:gd name="T24" fmla="*/ 65 w 79"/>
                <a:gd name="T25" fmla="*/ 23 h 82"/>
                <a:gd name="T26" fmla="*/ 64 w 79"/>
                <a:gd name="T27" fmla="*/ 31 h 82"/>
                <a:gd name="T28" fmla="*/ 59 w 79"/>
                <a:gd name="T29" fmla="*/ 38 h 82"/>
                <a:gd name="T30" fmla="*/ 51 w 79"/>
                <a:gd name="T31" fmla="*/ 44 h 82"/>
                <a:gd name="T32" fmla="*/ 40 w 79"/>
                <a:gd name="T33" fmla="*/ 46 h 82"/>
                <a:gd name="T34" fmla="*/ 54 w 79"/>
                <a:gd name="T35" fmla="*/ 61 h 82"/>
                <a:gd name="T36" fmla="*/ 67 w 79"/>
                <a:gd name="T37" fmla="*/ 74 h 82"/>
                <a:gd name="T38" fmla="*/ 79 w 79"/>
                <a:gd name="T39" fmla="*/ 78 h 82"/>
                <a:gd name="T40" fmla="*/ 57 w 79"/>
                <a:gd name="T41" fmla="*/ 82 h 82"/>
                <a:gd name="T42" fmla="*/ 23 w 79"/>
                <a:gd name="T43" fmla="*/ 46 h 82"/>
                <a:gd name="T44" fmla="*/ 23 w 79"/>
                <a:gd name="T45" fmla="*/ 63 h 82"/>
                <a:gd name="T46" fmla="*/ 25 w 79"/>
                <a:gd name="T47" fmla="*/ 76 h 82"/>
                <a:gd name="T48" fmla="*/ 30 w 79"/>
                <a:gd name="T49" fmla="*/ 78 h 82"/>
                <a:gd name="T50" fmla="*/ 36 w 79"/>
                <a:gd name="T51" fmla="*/ 82 h 82"/>
                <a:gd name="T52" fmla="*/ 0 w 79"/>
                <a:gd name="T53" fmla="*/ 78 h 82"/>
                <a:gd name="T54" fmla="*/ 36 w 79"/>
                <a:gd name="T55" fmla="*/ 41 h 82"/>
                <a:gd name="T56" fmla="*/ 43 w 79"/>
                <a:gd name="T57" fmla="*/ 39 h 82"/>
                <a:gd name="T58" fmla="*/ 49 w 79"/>
                <a:gd name="T59" fmla="*/ 35 h 82"/>
                <a:gd name="T60" fmla="*/ 53 w 79"/>
                <a:gd name="T61" fmla="*/ 23 h 82"/>
                <a:gd name="T62" fmla="*/ 52 w 79"/>
                <a:gd name="T63" fmla="*/ 16 h 82"/>
                <a:gd name="T64" fmla="*/ 46 w 79"/>
                <a:gd name="T65" fmla="*/ 8 h 82"/>
                <a:gd name="T66" fmla="*/ 39 w 79"/>
                <a:gd name="T67" fmla="*/ 5 h 82"/>
                <a:gd name="T68" fmla="*/ 23 w 79"/>
                <a:gd name="T69" fmla="*/ 5 h 82"/>
                <a:gd name="T70" fmla="*/ 36 w 79"/>
                <a:gd name="T71" fmla="*/ 41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9" h="82">
                  <a:moveTo>
                    <a:pt x="0" y="78"/>
                  </a:moveTo>
                  <a:lnTo>
                    <a:pt x="0" y="78"/>
                  </a:lnTo>
                  <a:lnTo>
                    <a:pt x="7" y="78"/>
                  </a:lnTo>
                  <a:lnTo>
                    <a:pt x="9" y="77"/>
                  </a:lnTo>
                  <a:lnTo>
                    <a:pt x="10" y="76"/>
                  </a:lnTo>
                  <a:lnTo>
                    <a:pt x="13" y="71"/>
                  </a:lnTo>
                  <a:lnTo>
                    <a:pt x="13" y="63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3" y="10"/>
                  </a:lnTo>
                  <a:lnTo>
                    <a:pt x="10" y="5"/>
                  </a:lnTo>
                  <a:lnTo>
                    <a:pt x="9" y="4"/>
                  </a:lnTo>
                  <a:lnTo>
                    <a:pt x="7" y="3"/>
                  </a:lnTo>
                  <a:lnTo>
                    <a:pt x="0" y="3"/>
                  </a:lnTo>
                  <a:lnTo>
                    <a:pt x="0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3" y="1"/>
                  </a:lnTo>
                  <a:lnTo>
                    <a:pt x="49" y="2"/>
                  </a:lnTo>
                  <a:lnTo>
                    <a:pt x="53" y="4"/>
                  </a:lnTo>
                  <a:lnTo>
                    <a:pt x="58" y="7"/>
                  </a:lnTo>
                  <a:lnTo>
                    <a:pt x="60" y="10"/>
                  </a:lnTo>
                  <a:lnTo>
                    <a:pt x="62" y="14"/>
                  </a:lnTo>
                  <a:lnTo>
                    <a:pt x="65" y="18"/>
                  </a:lnTo>
                  <a:lnTo>
                    <a:pt x="65" y="23"/>
                  </a:lnTo>
                  <a:lnTo>
                    <a:pt x="65" y="23"/>
                  </a:lnTo>
                  <a:lnTo>
                    <a:pt x="65" y="27"/>
                  </a:lnTo>
                  <a:lnTo>
                    <a:pt x="64" y="31"/>
                  </a:lnTo>
                  <a:lnTo>
                    <a:pt x="61" y="34"/>
                  </a:lnTo>
                  <a:lnTo>
                    <a:pt x="59" y="38"/>
                  </a:lnTo>
                  <a:lnTo>
                    <a:pt x="55" y="41"/>
                  </a:lnTo>
                  <a:lnTo>
                    <a:pt x="51" y="44"/>
                  </a:lnTo>
                  <a:lnTo>
                    <a:pt x="46" y="45"/>
                  </a:lnTo>
                  <a:lnTo>
                    <a:pt x="40" y="46"/>
                  </a:lnTo>
                  <a:lnTo>
                    <a:pt x="54" y="61"/>
                  </a:lnTo>
                  <a:lnTo>
                    <a:pt x="54" y="61"/>
                  </a:lnTo>
                  <a:lnTo>
                    <a:pt x="60" y="68"/>
                  </a:lnTo>
                  <a:lnTo>
                    <a:pt x="67" y="74"/>
                  </a:lnTo>
                  <a:lnTo>
                    <a:pt x="73" y="77"/>
                  </a:lnTo>
                  <a:lnTo>
                    <a:pt x="79" y="78"/>
                  </a:lnTo>
                  <a:lnTo>
                    <a:pt x="79" y="82"/>
                  </a:lnTo>
                  <a:lnTo>
                    <a:pt x="57" y="82"/>
                  </a:lnTo>
                  <a:lnTo>
                    <a:pt x="30" y="46"/>
                  </a:lnTo>
                  <a:lnTo>
                    <a:pt x="23" y="46"/>
                  </a:lnTo>
                  <a:lnTo>
                    <a:pt x="23" y="63"/>
                  </a:lnTo>
                  <a:lnTo>
                    <a:pt x="23" y="63"/>
                  </a:lnTo>
                  <a:lnTo>
                    <a:pt x="24" y="71"/>
                  </a:lnTo>
                  <a:lnTo>
                    <a:pt x="25" y="76"/>
                  </a:lnTo>
                  <a:lnTo>
                    <a:pt x="28" y="77"/>
                  </a:lnTo>
                  <a:lnTo>
                    <a:pt x="30" y="78"/>
                  </a:lnTo>
                  <a:lnTo>
                    <a:pt x="36" y="78"/>
                  </a:lnTo>
                  <a:lnTo>
                    <a:pt x="36" y="82"/>
                  </a:lnTo>
                  <a:lnTo>
                    <a:pt x="0" y="82"/>
                  </a:lnTo>
                  <a:lnTo>
                    <a:pt x="0" y="78"/>
                  </a:lnTo>
                  <a:close/>
                  <a:moveTo>
                    <a:pt x="36" y="41"/>
                  </a:moveTo>
                  <a:lnTo>
                    <a:pt x="36" y="41"/>
                  </a:lnTo>
                  <a:lnTo>
                    <a:pt x="39" y="40"/>
                  </a:lnTo>
                  <a:lnTo>
                    <a:pt x="43" y="39"/>
                  </a:lnTo>
                  <a:lnTo>
                    <a:pt x="46" y="38"/>
                  </a:lnTo>
                  <a:lnTo>
                    <a:pt x="49" y="35"/>
                  </a:lnTo>
                  <a:lnTo>
                    <a:pt x="52" y="30"/>
                  </a:lnTo>
                  <a:lnTo>
                    <a:pt x="53" y="23"/>
                  </a:lnTo>
                  <a:lnTo>
                    <a:pt x="53" y="23"/>
                  </a:lnTo>
                  <a:lnTo>
                    <a:pt x="52" y="16"/>
                  </a:lnTo>
                  <a:lnTo>
                    <a:pt x="49" y="10"/>
                  </a:lnTo>
                  <a:lnTo>
                    <a:pt x="46" y="8"/>
                  </a:lnTo>
                  <a:lnTo>
                    <a:pt x="43" y="7"/>
                  </a:lnTo>
                  <a:lnTo>
                    <a:pt x="39" y="5"/>
                  </a:lnTo>
                  <a:lnTo>
                    <a:pt x="36" y="5"/>
                  </a:lnTo>
                  <a:lnTo>
                    <a:pt x="23" y="5"/>
                  </a:lnTo>
                  <a:lnTo>
                    <a:pt x="23" y="41"/>
                  </a:lnTo>
                  <a:lnTo>
                    <a:pt x="36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26" name="Freeform 25"/>
            <p:cNvSpPr>
              <a:spLocks noEditPoints="1"/>
            </p:cNvSpPr>
            <p:nvPr userDrawn="1"/>
          </p:nvSpPr>
          <p:spPr bwMode="auto">
            <a:xfrm>
              <a:off x="4958" y="2909"/>
              <a:ext cx="95" cy="115"/>
            </a:xfrm>
            <a:custGeom>
              <a:avLst/>
              <a:gdLst>
                <a:gd name="T0" fmla="*/ 0 w 95"/>
                <a:gd name="T1" fmla="*/ 111 h 115"/>
                <a:gd name="T2" fmla="*/ 12 w 95"/>
                <a:gd name="T3" fmla="*/ 109 h 115"/>
                <a:gd name="T4" fmla="*/ 18 w 95"/>
                <a:gd name="T5" fmla="*/ 100 h 115"/>
                <a:gd name="T6" fmla="*/ 49 w 95"/>
                <a:gd name="T7" fmla="*/ 30 h 115"/>
                <a:gd name="T8" fmla="*/ 79 w 95"/>
                <a:gd name="T9" fmla="*/ 100 h 115"/>
                <a:gd name="T10" fmla="*/ 85 w 95"/>
                <a:gd name="T11" fmla="*/ 109 h 115"/>
                <a:gd name="T12" fmla="*/ 95 w 95"/>
                <a:gd name="T13" fmla="*/ 111 h 115"/>
                <a:gd name="T14" fmla="*/ 57 w 95"/>
                <a:gd name="T15" fmla="*/ 115 h 115"/>
                <a:gd name="T16" fmla="*/ 57 w 95"/>
                <a:gd name="T17" fmla="*/ 111 h 115"/>
                <a:gd name="T18" fmla="*/ 68 w 95"/>
                <a:gd name="T19" fmla="*/ 109 h 115"/>
                <a:gd name="T20" fmla="*/ 69 w 95"/>
                <a:gd name="T21" fmla="*/ 105 h 115"/>
                <a:gd name="T22" fmla="*/ 61 w 95"/>
                <a:gd name="T23" fmla="*/ 86 h 115"/>
                <a:gd name="T24" fmla="*/ 22 w 95"/>
                <a:gd name="T25" fmla="*/ 101 h 115"/>
                <a:gd name="T26" fmla="*/ 21 w 95"/>
                <a:gd name="T27" fmla="*/ 105 h 115"/>
                <a:gd name="T28" fmla="*/ 22 w 95"/>
                <a:gd name="T29" fmla="*/ 109 h 115"/>
                <a:gd name="T30" fmla="*/ 33 w 95"/>
                <a:gd name="T31" fmla="*/ 111 h 115"/>
                <a:gd name="T32" fmla="*/ 0 w 95"/>
                <a:gd name="T33" fmla="*/ 115 h 115"/>
                <a:gd name="T34" fmla="*/ 59 w 95"/>
                <a:gd name="T35" fmla="*/ 81 h 115"/>
                <a:gd name="T36" fmla="*/ 30 w 95"/>
                <a:gd name="T37" fmla="*/ 81 h 115"/>
                <a:gd name="T38" fmla="*/ 36 w 95"/>
                <a:gd name="T39" fmla="*/ 12 h 115"/>
                <a:gd name="T40" fmla="*/ 37 w 95"/>
                <a:gd name="T41" fmla="*/ 7 h 115"/>
                <a:gd name="T42" fmla="*/ 43 w 95"/>
                <a:gd name="T43" fmla="*/ 1 h 115"/>
                <a:gd name="T44" fmla="*/ 48 w 95"/>
                <a:gd name="T45" fmla="*/ 0 h 115"/>
                <a:gd name="T46" fmla="*/ 56 w 95"/>
                <a:gd name="T47" fmla="*/ 4 h 115"/>
                <a:gd name="T48" fmla="*/ 59 w 95"/>
                <a:gd name="T49" fmla="*/ 12 h 115"/>
                <a:gd name="T50" fmla="*/ 58 w 95"/>
                <a:gd name="T51" fmla="*/ 15 h 115"/>
                <a:gd name="T52" fmla="*/ 52 w 95"/>
                <a:gd name="T53" fmla="*/ 22 h 115"/>
                <a:gd name="T54" fmla="*/ 48 w 95"/>
                <a:gd name="T55" fmla="*/ 22 h 115"/>
                <a:gd name="T56" fmla="*/ 39 w 95"/>
                <a:gd name="T57" fmla="*/ 20 h 115"/>
                <a:gd name="T58" fmla="*/ 36 w 95"/>
                <a:gd name="T59" fmla="*/ 12 h 115"/>
                <a:gd name="T60" fmla="*/ 53 w 95"/>
                <a:gd name="T61" fmla="*/ 12 h 115"/>
                <a:gd name="T62" fmla="*/ 53 w 95"/>
                <a:gd name="T63" fmla="*/ 10 h 115"/>
                <a:gd name="T64" fmla="*/ 50 w 95"/>
                <a:gd name="T65" fmla="*/ 6 h 115"/>
                <a:gd name="T66" fmla="*/ 48 w 95"/>
                <a:gd name="T67" fmla="*/ 5 h 115"/>
                <a:gd name="T68" fmla="*/ 43 w 95"/>
                <a:gd name="T69" fmla="*/ 7 h 115"/>
                <a:gd name="T70" fmla="*/ 41 w 95"/>
                <a:gd name="T71" fmla="*/ 12 h 115"/>
                <a:gd name="T72" fmla="*/ 42 w 95"/>
                <a:gd name="T73" fmla="*/ 14 h 115"/>
                <a:gd name="T74" fmla="*/ 45 w 95"/>
                <a:gd name="T75" fmla="*/ 18 h 115"/>
                <a:gd name="T76" fmla="*/ 48 w 95"/>
                <a:gd name="T77" fmla="*/ 18 h 115"/>
                <a:gd name="T78" fmla="*/ 52 w 95"/>
                <a:gd name="T79" fmla="*/ 15 h 115"/>
                <a:gd name="T80" fmla="*/ 53 w 95"/>
                <a:gd name="T81" fmla="*/ 12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95" h="115">
                  <a:moveTo>
                    <a:pt x="0" y="111"/>
                  </a:moveTo>
                  <a:lnTo>
                    <a:pt x="0" y="111"/>
                  </a:lnTo>
                  <a:lnTo>
                    <a:pt x="7" y="111"/>
                  </a:lnTo>
                  <a:lnTo>
                    <a:pt x="12" y="109"/>
                  </a:lnTo>
                  <a:lnTo>
                    <a:pt x="14" y="105"/>
                  </a:lnTo>
                  <a:lnTo>
                    <a:pt x="18" y="100"/>
                  </a:lnTo>
                  <a:lnTo>
                    <a:pt x="46" y="30"/>
                  </a:lnTo>
                  <a:lnTo>
                    <a:pt x="49" y="30"/>
                  </a:lnTo>
                  <a:lnTo>
                    <a:pt x="79" y="100"/>
                  </a:lnTo>
                  <a:lnTo>
                    <a:pt x="79" y="100"/>
                  </a:lnTo>
                  <a:lnTo>
                    <a:pt x="81" y="105"/>
                  </a:lnTo>
                  <a:lnTo>
                    <a:pt x="85" y="109"/>
                  </a:lnTo>
                  <a:lnTo>
                    <a:pt x="88" y="111"/>
                  </a:lnTo>
                  <a:lnTo>
                    <a:pt x="95" y="111"/>
                  </a:lnTo>
                  <a:lnTo>
                    <a:pt x="95" y="115"/>
                  </a:lnTo>
                  <a:lnTo>
                    <a:pt x="57" y="115"/>
                  </a:lnTo>
                  <a:lnTo>
                    <a:pt x="57" y="111"/>
                  </a:lnTo>
                  <a:lnTo>
                    <a:pt x="57" y="111"/>
                  </a:lnTo>
                  <a:lnTo>
                    <a:pt x="64" y="111"/>
                  </a:lnTo>
                  <a:lnTo>
                    <a:pt x="68" y="109"/>
                  </a:lnTo>
                  <a:lnTo>
                    <a:pt x="68" y="108"/>
                  </a:lnTo>
                  <a:lnTo>
                    <a:pt x="69" y="105"/>
                  </a:lnTo>
                  <a:lnTo>
                    <a:pt x="68" y="101"/>
                  </a:lnTo>
                  <a:lnTo>
                    <a:pt x="61" y="86"/>
                  </a:lnTo>
                  <a:lnTo>
                    <a:pt x="28" y="86"/>
                  </a:lnTo>
                  <a:lnTo>
                    <a:pt x="22" y="101"/>
                  </a:lnTo>
                  <a:lnTo>
                    <a:pt x="22" y="101"/>
                  </a:lnTo>
                  <a:lnTo>
                    <a:pt x="21" y="105"/>
                  </a:lnTo>
                  <a:lnTo>
                    <a:pt x="21" y="108"/>
                  </a:lnTo>
                  <a:lnTo>
                    <a:pt x="22" y="109"/>
                  </a:lnTo>
                  <a:lnTo>
                    <a:pt x="26" y="111"/>
                  </a:lnTo>
                  <a:lnTo>
                    <a:pt x="33" y="111"/>
                  </a:lnTo>
                  <a:lnTo>
                    <a:pt x="33" y="115"/>
                  </a:lnTo>
                  <a:lnTo>
                    <a:pt x="0" y="115"/>
                  </a:lnTo>
                  <a:lnTo>
                    <a:pt x="0" y="111"/>
                  </a:lnTo>
                  <a:close/>
                  <a:moveTo>
                    <a:pt x="59" y="81"/>
                  </a:moveTo>
                  <a:lnTo>
                    <a:pt x="45" y="49"/>
                  </a:lnTo>
                  <a:lnTo>
                    <a:pt x="30" y="81"/>
                  </a:lnTo>
                  <a:lnTo>
                    <a:pt x="59" y="81"/>
                  </a:lnTo>
                  <a:close/>
                  <a:moveTo>
                    <a:pt x="36" y="12"/>
                  </a:moveTo>
                  <a:lnTo>
                    <a:pt x="36" y="12"/>
                  </a:lnTo>
                  <a:lnTo>
                    <a:pt x="37" y="7"/>
                  </a:lnTo>
                  <a:lnTo>
                    <a:pt x="39" y="4"/>
                  </a:lnTo>
                  <a:lnTo>
                    <a:pt x="43" y="1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2" y="1"/>
                  </a:lnTo>
                  <a:lnTo>
                    <a:pt x="56" y="4"/>
                  </a:lnTo>
                  <a:lnTo>
                    <a:pt x="58" y="7"/>
                  </a:lnTo>
                  <a:lnTo>
                    <a:pt x="59" y="12"/>
                  </a:lnTo>
                  <a:lnTo>
                    <a:pt x="59" y="12"/>
                  </a:lnTo>
                  <a:lnTo>
                    <a:pt x="58" y="15"/>
                  </a:lnTo>
                  <a:lnTo>
                    <a:pt x="56" y="20"/>
                  </a:lnTo>
                  <a:lnTo>
                    <a:pt x="52" y="22"/>
                  </a:lnTo>
                  <a:lnTo>
                    <a:pt x="48" y="22"/>
                  </a:lnTo>
                  <a:lnTo>
                    <a:pt x="48" y="22"/>
                  </a:lnTo>
                  <a:lnTo>
                    <a:pt x="43" y="22"/>
                  </a:lnTo>
                  <a:lnTo>
                    <a:pt x="39" y="20"/>
                  </a:lnTo>
                  <a:lnTo>
                    <a:pt x="37" y="15"/>
                  </a:lnTo>
                  <a:lnTo>
                    <a:pt x="36" y="12"/>
                  </a:lnTo>
                  <a:lnTo>
                    <a:pt x="36" y="12"/>
                  </a:lnTo>
                  <a:close/>
                  <a:moveTo>
                    <a:pt x="53" y="12"/>
                  </a:moveTo>
                  <a:lnTo>
                    <a:pt x="53" y="12"/>
                  </a:lnTo>
                  <a:lnTo>
                    <a:pt x="53" y="10"/>
                  </a:lnTo>
                  <a:lnTo>
                    <a:pt x="52" y="7"/>
                  </a:lnTo>
                  <a:lnTo>
                    <a:pt x="50" y="6"/>
                  </a:lnTo>
                  <a:lnTo>
                    <a:pt x="48" y="5"/>
                  </a:lnTo>
                  <a:lnTo>
                    <a:pt x="48" y="5"/>
                  </a:lnTo>
                  <a:lnTo>
                    <a:pt x="45" y="6"/>
                  </a:lnTo>
                  <a:lnTo>
                    <a:pt x="43" y="7"/>
                  </a:lnTo>
                  <a:lnTo>
                    <a:pt x="42" y="10"/>
                  </a:lnTo>
                  <a:lnTo>
                    <a:pt x="41" y="12"/>
                  </a:lnTo>
                  <a:lnTo>
                    <a:pt x="41" y="12"/>
                  </a:lnTo>
                  <a:lnTo>
                    <a:pt x="42" y="14"/>
                  </a:lnTo>
                  <a:lnTo>
                    <a:pt x="43" y="15"/>
                  </a:lnTo>
                  <a:lnTo>
                    <a:pt x="45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50" y="18"/>
                  </a:lnTo>
                  <a:lnTo>
                    <a:pt x="52" y="15"/>
                  </a:lnTo>
                  <a:lnTo>
                    <a:pt x="53" y="14"/>
                  </a:lnTo>
                  <a:lnTo>
                    <a:pt x="53" y="12"/>
                  </a:lnTo>
                  <a:lnTo>
                    <a:pt x="53" y="1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27" name="Freeform 26"/>
            <p:cNvSpPr>
              <a:spLocks noEditPoints="1"/>
            </p:cNvSpPr>
            <p:nvPr userDrawn="1"/>
          </p:nvSpPr>
          <p:spPr bwMode="auto">
            <a:xfrm>
              <a:off x="5063" y="2942"/>
              <a:ext cx="82" cy="82"/>
            </a:xfrm>
            <a:custGeom>
              <a:avLst/>
              <a:gdLst>
                <a:gd name="T0" fmla="*/ 0 w 82"/>
                <a:gd name="T1" fmla="*/ 78 h 82"/>
                <a:gd name="T2" fmla="*/ 10 w 82"/>
                <a:gd name="T3" fmla="*/ 77 h 82"/>
                <a:gd name="T4" fmla="*/ 13 w 82"/>
                <a:gd name="T5" fmla="*/ 71 h 82"/>
                <a:gd name="T6" fmla="*/ 13 w 82"/>
                <a:gd name="T7" fmla="*/ 18 h 82"/>
                <a:gd name="T8" fmla="*/ 13 w 82"/>
                <a:gd name="T9" fmla="*/ 10 h 82"/>
                <a:gd name="T10" fmla="*/ 10 w 82"/>
                <a:gd name="T11" fmla="*/ 4 h 82"/>
                <a:gd name="T12" fmla="*/ 0 w 82"/>
                <a:gd name="T13" fmla="*/ 3 h 82"/>
                <a:gd name="T14" fmla="*/ 37 w 82"/>
                <a:gd name="T15" fmla="*/ 0 h 82"/>
                <a:gd name="T16" fmla="*/ 48 w 82"/>
                <a:gd name="T17" fmla="*/ 1 h 82"/>
                <a:gd name="T18" fmla="*/ 65 w 82"/>
                <a:gd name="T19" fmla="*/ 7 h 82"/>
                <a:gd name="T20" fmla="*/ 77 w 82"/>
                <a:gd name="T21" fmla="*/ 18 h 82"/>
                <a:gd name="T22" fmla="*/ 81 w 82"/>
                <a:gd name="T23" fmla="*/ 32 h 82"/>
                <a:gd name="T24" fmla="*/ 82 w 82"/>
                <a:gd name="T25" fmla="*/ 40 h 82"/>
                <a:gd name="T26" fmla="*/ 80 w 82"/>
                <a:gd name="T27" fmla="*/ 56 h 82"/>
                <a:gd name="T28" fmla="*/ 71 w 82"/>
                <a:gd name="T29" fmla="*/ 69 h 82"/>
                <a:gd name="T30" fmla="*/ 57 w 82"/>
                <a:gd name="T31" fmla="*/ 78 h 82"/>
                <a:gd name="T32" fmla="*/ 37 w 82"/>
                <a:gd name="T33" fmla="*/ 82 h 82"/>
                <a:gd name="T34" fmla="*/ 0 w 82"/>
                <a:gd name="T35" fmla="*/ 78 h 82"/>
                <a:gd name="T36" fmla="*/ 37 w 82"/>
                <a:gd name="T37" fmla="*/ 76 h 82"/>
                <a:gd name="T38" fmla="*/ 53 w 82"/>
                <a:gd name="T39" fmla="*/ 72 h 82"/>
                <a:gd name="T40" fmla="*/ 63 w 82"/>
                <a:gd name="T41" fmla="*/ 64 h 82"/>
                <a:gd name="T42" fmla="*/ 67 w 82"/>
                <a:gd name="T43" fmla="*/ 53 h 82"/>
                <a:gd name="T44" fmla="*/ 70 w 82"/>
                <a:gd name="T45" fmla="*/ 40 h 82"/>
                <a:gd name="T46" fmla="*/ 68 w 82"/>
                <a:gd name="T47" fmla="*/ 34 h 82"/>
                <a:gd name="T48" fmla="*/ 66 w 82"/>
                <a:gd name="T49" fmla="*/ 23 h 82"/>
                <a:gd name="T50" fmla="*/ 59 w 82"/>
                <a:gd name="T51" fmla="*/ 12 h 82"/>
                <a:gd name="T52" fmla="*/ 45 w 82"/>
                <a:gd name="T53" fmla="*/ 5 h 82"/>
                <a:gd name="T54" fmla="*/ 23 w 82"/>
                <a:gd name="T55" fmla="*/ 5 h 82"/>
                <a:gd name="T56" fmla="*/ 23 w 82"/>
                <a:gd name="T57" fmla="*/ 61 h 82"/>
                <a:gd name="T58" fmla="*/ 26 w 82"/>
                <a:gd name="T59" fmla="*/ 74 h 82"/>
                <a:gd name="T60" fmla="*/ 29 w 82"/>
                <a:gd name="T61" fmla="*/ 76 h 82"/>
                <a:gd name="T62" fmla="*/ 37 w 82"/>
                <a:gd name="T63" fmla="*/ 76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82" h="82">
                  <a:moveTo>
                    <a:pt x="0" y="78"/>
                  </a:moveTo>
                  <a:lnTo>
                    <a:pt x="0" y="78"/>
                  </a:lnTo>
                  <a:lnTo>
                    <a:pt x="7" y="78"/>
                  </a:lnTo>
                  <a:lnTo>
                    <a:pt x="10" y="77"/>
                  </a:lnTo>
                  <a:lnTo>
                    <a:pt x="11" y="76"/>
                  </a:lnTo>
                  <a:lnTo>
                    <a:pt x="13" y="71"/>
                  </a:lnTo>
                  <a:lnTo>
                    <a:pt x="13" y="63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3" y="10"/>
                  </a:lnTo>
                  <a:lnTo>
                    <a:pt x="11" y="5"/>
                  </a:lnTo>
                  <a:lnTo>
                    <a:pt x="10" y="4"/>
                  </a:lnTo>
                  <a:lnTo>
                    <a:pt x="7" y="3"/>
                  </a:lnTo>
                  <a:lnTo>
                    <a:pt x="0" y="3"/>
                  </a:lnTo>
                  <a:lnTo>
                    <a:pt x="0" y="0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48" y="1"/>
                  </a:lnTo>
                  <a:lnTo>
                    <a:pt x="57" y="3"/>
                  </a:lnTo>
                  <a:lnTo>
                    <a:pt x="65" y="7"/>
                  </a:lnTo>
                  <a:lnTo>
                    <a:pt x="71" y="12"/>
                  </a:lnTo>
                  <a:lnTo>
                    <a:pt x="77" y="18"/>
                  </a:lnTo>
                  <a:lnTo>
                    <a:pt x="80" y="25"/>
                  </a:lnTo>
                  <a:lnTo>
                    <a:pt x="81" y="32"/>
                  </a:lnTo>
                  <a:lnTo>
                    <a:pt x="82" y="40"/>
                  </a:lnTo>
                  <a:lnTo>
                    <a:pt x="82" y="40"/>
                  </a:lnTo>
                  <a:lnTo>
                    <a:pt x="81" y="49"/>
                  </a:lnTo>
                  <a:lnTo>
                    <a:pt x="80" y="56"/>
                  </a:lnTo>
                  <a:lnTo>
                    <a:pt x="77" y="63"/>
                  </a:lnTo>
                  <a:lnTo>
                    <a:pt x="71" y="69"/>
                  </a:lnTo>
                  <a:lnTo>
                    <a:pt x="65" y="75"/>
                  </a:lnTo>
                  <a:lnTo>
                    <a:pt x="57" y="78"/>
                  </a:lnTo>
                  <a:lnTo>
                    <a:pt x="48" y="81"/>
                  </a:lnTo>
                  <a:lnTo>
                    <a:pt x="37" y="82"/>
                  </a:lnTo>
                  <a:lnTo>
                    <a:pt x="0" y="82"/>
                  </a:lnTo>
                  <a:lnTo>
                    <a:pt x="0" y="78"/>
                  </a:lnTo>
                  <a:close/>
                  <a:moveTo>
                    <a:pt x="37" y="76"/>
                  </a:moveTo>
                  <a:lnTo>
                    <a:pt x="37" y="76"/>
                  </a:lnTo>
                  <a:lnTo>
                    <a:pt x="45" y="76"/>
                  </a:lnTo>
                  <a:lnTo>
                    <a:pt x="53" y="72"/>
                  </a:lnTo>
                  <a:lnTo>
                    <a:pt x="59" y="69"/>
                  </a:lnTo>
                  <a:lnTo>
                    <a:pt x="63" y="64"/>
                  </a:lnTo>
                  <a:lnTo>
                    <a:pt x="66" y="59"/>
                  </a:lnTo>
                  <a:lnTo>
                    <a:pt x="67" y="53"/>
                  </a:lnTo>
                  <a:lnTo>
                    <a:pt x="68" y="47"/>
                  </a:lnTo>
                  <a:lnTo>
                    <a:pt x="70" y="40"/>
                  </a:lnTo>
                  <a:lnTo>
                    <a:pt x="70" y="40"/>
                  </a:lnTo>
                  <a:lnTo>
                    <a:pt x="68" y="34"/>
                  </a:lnTo>
                  <a:lnTo>
                    <a:pt x="67" y="29"/>
                  </a:lnTo>
                  <a:lnTo>
                    <a:pt x="66" y="23"/>
                  </a:lnTo>
                  <a:lnTo>
                    <a:pt x="63" y="17"/>
                  </a:lnTo>
                  <a:lnTo>
                    <a:pt x="59" y="12"/>
                  </a:lnTo>
                  <a:lnTo>
                    <a:pt x="53" y="8"/>
                  </a:lnTo>
                  <a:lnTo>
                    <a:pt x="45" y="5"/>
                  </a:lnTo>
                  <a:lnTo>
                    <a:pt x="37" y="5"/>
                  </a:lnTo>
                  <a:lnTo>
                    <a:pt x="23" y="5"/>
                  </a:lnTo>
                  <a:lnTo>
                    <a:pt x="23" y="61"/>
                  </a:lnTo>
                  <a:lnTo>
                    <a:pt x="23" y="61"/>
                  </a:lnTo>
                  <a:lnTo>
                    <a:pt x="25" y="69"/>
                  </a:lnTo>
                  <a:lnTo>
                    <a:pt x="26" y="74"/>
                  </a:lnTo>
                  <a:lnTo>
                    <a:pt x="28" y="75"/>
                  </a:lnTo>
                  <a:lnTo>
                    <a:pt x="29" y="76"/>
                  </a:lnTo>
                  <a:lnTo>
                    <a:pt x="36" y="76"/>
                  </a:lnTo>
                  <a:lnTo>
                    <a:pt x="37" y="7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28" name="Freeform 27"/>
            <p:cNvSpPr>
              <a:spLocks/>
            </p:cNvSpPr>
            <p:nvPr userDrawn="1"/>
          </p:nvSpPr>
          <p:spPr bwMode="auto">
            <a:xfrm>
              <a:off x="5166" y="2942"/>
              <a:ext cx="68" cy="82"/>
            </a:xfrm>
            <a:custGeom>
              <a:avLst/>
              <a:gdLst>
                <a:gd name="T0" fmla="*/ 0 w 68"/>
                <a:gd name="T1" fmla="*/ 78 h 82"/>
                <a:gd name="T2" fmla="*/ 0 w 68"/>
                <a:gd name="T3" fmla="*/ 78 h 82"/>
                <a:gd name="T4" fmla="*/ 7 w 68"/>
                <a:gd name="T5" fmla="*/ 78 h 82"/>
                <a:gd name="T6" fmla="*/ 9 w 68"/>
                <a:gd name="T7" fmla="*/ 77 h 82"/>
                <a:gd name="T8" fmla="*/ 12 w 68"/>
                <a:gd name="T9" fmla="*/ 76 h 82"/>
                <a:gd name="T10" fmla="*/ 13 w 68"/>
                <a:gd name="T11" fmla="*/ 71 h 82"/>
                <a:gd name="T12" fmla="*/ 14 w 68"/>
                <a:gd name="T13" fmla="*/ 63 h 82"/>
                <a:gd name="T14" fmla="*/ 14 w 68"/>
                <a:gd name="T15" fmla="*/ 18 h 82"/>
                <a:gd name="T16" fmla="*/ 14 w 68"/>
                <a:gd name="T17" fmla="*/ 18 h 82"/>
                <a:gd name="T18" fmla="*/ 13 w 68"/>
                <a:gd name="T19" fmla="*/ 10 h 82"/>
                <a:gd name="T20" fmla="*/ 12 w 68"/>
                <a:gd name="T21" fmla="*/ 5 h 82"/>
                <a:gd name="T22" fmla="*/ 9 w 68"/>
                <a:gd name="T23" fmla="*/ 4 h 82"/>
                <a:gd name="T24" fmla="*/ 7 w 68"/>
                <a:gd name="T25" fmla="*/ 3 h 82"/>
                <a:gd name="T26" fmla="*/ 0 w 68"/>
                <a:gd name="T27" fmla="*/ 3 h 82"/>
                <a:gd name="T28" fmla="*/ 0 w 68"/>
                <a:gd name="T29" fmla="*/ 0 h 82"/>
                <a:gd name="T30" fmla="*/ 63 w 68"/>
                <a:gd name="T31" fmla="*/ 0 h 82"/>
                <a:gd name="T32" fmla="*/ 64 w 68"/>
                <a:gd name="T33" fmla="*/ 18 h 82"/>
                <a:gd name="T34" fmla="*/ 61 w 68"/>
                <a:gd name="T35" fmla="*/ 18 h 82"/>
                <a:gd name="T36" fmla="*/ 60 w 68"/>
                <a:gd name="T37" fmla="*/ 15 h 82"/>
                <a:gd name="T38" fmla="*/ 60 w 68"/>
                <a:gd name="T39" fmla="*/ 15 h 82"/>
                <a:gd name="T40" fmla="*/ 59 w 68"/>
                <a:gd name="T41" fmla="*/ 10 h 82"/>
                <a:gd name="T42" fmla="*/ 57 w 68"/>
                <a:gd name="T43" fmla="*/ 8 h 82"/>
                <a:gd name="T44" fmla="*/ 52 w 68"/>
                <a:gd name="T45" fmla="*/ 5 h 82"/>
                <a:gd name="T46" fmla="*/ 44 w 68"/>
                <a:gd name="T47" fmla="*/ 5 h 82"/>
                <a:gd name="T48" fmla="*/ 24 w 68"/>
                <a:gd name="T49" fmla="*/ 5 h 82"/>
                <a:gd name="T50" fmla="*/ 24 w 68"/>
                <a:gd name="T51" fmla="*/ 35 h 82"/>
                <a:gd name="T52" fmla="*/ 31 w 68"/>
                <a:gd name="T53" fmla="*/ 35 h 82"/>
                <a:gd name="T54" fmla="*/ 31 w 68"/>
                <a:gd name="T55" fmla="*/ 35 h 82"/>
                <a:gd name="T56" fmla="*/ 39 w 68"/>
                <a:gd name="T57" fmla="*/ 35 h 82"/>
                <a:gd name="T58" fmla="*/ 44 w 68"/>
                <a:gd name="T59" fmla="*/ 33 h 82"/>
                <a:gd name="T60" fmla="*/ 45 w 68"/>
                <a:gd name="T61" fmla="*/ 32 h 82"/>
                <a:gd name="T62" fmla="*/ 46 w 68"/>
                <a:gd name="T63" fmla="*/ 30 h 82"/>
                <a:gd name="T64" fmla="*/ 46 w 68"/>
                <a:gd name="T65" fmla="*/ 23 h 82"/>
                <a:gd name="T66" fmla="*/ 50 w 68"/>
                <a:gd name="T67" fmla="*/ 23 h 82"/>
                <a:gd name="T68" fmla="*/ 50 w 68"/>
                <a:gd name="T69" fmla="*/ 54 h 82"/>
                <a:gd name="T70" fmla="*/ 46 w 68"/>
                <a:gd name="T71" fmla="*/ 54 h 82"/>
                <a:gd name="T72" fmla="*/ 46 w 68"/>
                <a:gd name="T73" fmla="*/ 54 h 82"/>
                <a:gd name="T74" fmla="*/ 46 w 68"/>
                <a:gd name="T75" fmla="*/ 47 h 82"/>
                <a:gd name="T76" fmla="*/ 45 w 68"/>
                <a:gd name="T77" fmla="*/ 45 h 82"/>
                <a:gd name="T78" fmla="*/ 44 w 68"/>
                <a:gd name="T79" fmla="*/ 44 h 82"/>
                <a:gd name="T80" fmla="*/ 39 w 68"/>
                <a:gd name="T81" fmla="*/ 41 h 82"/>
                <a:gd name="T82" fmla="*/ 31 w 68"/>
                <a:gd name="T83" fmla="*/ 41 h 82"/>
                <a:gd name="T84" fmla="*/ 24 w 68"/>
                <a:gd name="T85" fmla="*/ 41 h 82"/>
                <a:gd name="T86" fmla="*/ 24 w 68"/>
                <a:gd name="T87" fmla="*/ 61 h 82"/>
                <a:gd name="T88" fmla="*/ 24 w 68"/>
                <a:gd name="T89" fmla="*/ 61 h 82"/>
                <a:gd name="T90" fmla="*/ 24 w 68"/>
                <a:gd name="T91" fmla="*/ 69 h 82"/>
                <a:gd name="T92" fmla="*/ 27 w 68"/>
                <a:gd name="T93" fmla="*/ 74 h 82"/>
                <a:gd name="T94" fmla="*/ 28 w 68"/>
                <a:gd name="T95" fmla="*/ 75 h 82"/>
                <a:gd name="T96" fmla="*/ 30 w 68"/>
                <a:gd name="T97" fmla="*/ 76 h 82"/>
                <a:gd name="T98" fmla="*/ 37 w 68"/>
                <a:gd name="T99" fmla="*/ 76 h 82"/>
                <a:gd name="T100" fmla="*/ 49 w 68"/>
                <a:gd name="T101" fmla="*/ 76 h 82"/>
                <a:gd name="T102" fmla="*/ 49 w 68"/>
                <a:gd name="T103" fmla="*/ 76 h 82"/>
                <a:gd name="T104" fmla="*/ 57 w 68"/>
                <a:gd name="T105" fmla="*/ 76 h 82"/>
                <a:gd name="T106" fmla="*/ 60 w 68"/>
                <a:gd name="T107" fmla="*/ 74 h 82"/>
                <a:gd name="T108" fmla="*/ 64 w 68"/>
                <a:gd name="T109" fmla="*/ 70 h 82"/>
                <a:gd name="T110" fmla="*/ 65 w 68"/>
                <a:gd name="T111" fmla="*/ 66 h 82"/>
                <a:gd name="T112" fmla="*/ 65 w 68"/>
                <a:gd name="T113" fmla="*/ 63 h 82"/>
                <a:gd name="T114" fmla="*/ 68 w 68"/>
                <a:gd name="T115" fmla="*/ 63 h 82"/>
                <a:gd name="T116" fmla="*/ 67 w 68"/>
                <a:gd name="T117" fmla="*/ 82 h 82"/>
                <a:gd name="T118" fmla="*/ 0 w 68"/>
                <a:gd name="T119" fmla="*/ 82 h 82"/>
                <a:gd name="T120" fmla="*/ 0 w 68"/>
                <a:gd name="T121" fmla="*/ 78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68" h="82">
                  <a:moveTo>
                    <a:pt x="0" y="78"/>
                  </a:moveTo>
                  <a:lnTo>
                    <a:pt x="0" y="78"/>
                  </a:lnTo>
                  <a:lnTo>
                    <a:pt x="7" y="78"/>
                  </a:lnTo>
                  <a:lnTo>
                    <a:pt x="9" y="77"/>
                  </a:lnTo>
                  <a:lnTo>
                    <a:pt x="12" y="76"/>
                  </a:lnTo>
                  <a:lnTo>
                    <a:pt x="13" y="71"/>
                  </a:lnTo>
                  <a:lnTo>
                    <a:pt x="14" y="63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3" y="10"/>
                  </a:lnTo>
                  <a:lnTo>
                    <a:pt x="12" y="5"/>
                  </a:lnTo>
                  <a:lnTo>
                    <a:pt x="9" y="4"/>
                  </a:lnTo>
                  <a:lnTo>
                    <a:pt x="7" y="3"/>
                  </a:lnTo>
                  <a:lnTo>
                    <a:pt x="0" y="3"/>
                  </a:lnTo>
                  <a:lnTo>
                    <a:pt x="0" y="0"/>
                  </a:lnTo>
                  <a:lnTo>
                    <a:pt x="63" y="0"/>
                  </a:lnTo>
                  <a:lnTo>
                    <a:pt x="64" y="18"/>
                  </a:lnTo>
                  <a:lnTo>
                    <a:pt x="61" y="18"/>
                  </a:lnTo>
                  <a:lnTo>
                    <a:pt x="60" y="15"/>
                  </a:lnTo>
                  <a:lnTo>
                    <a:pt x="60" y="15"/>
                  </a:lnTo>
                  <a:lnTo>
                    <a:pt x="59" y="10"/>
                  </a:lnTo>
                  <a:lnTo>
                    <a:pt x="57" y="8"/>
                  </a:lnTo>
                  <a:lnTo>
                    <a:pt x="52" y="5"/>
                  </a:lnTo>
                  <a:lnTo>
                    <a:pt x="44" y="5"/>
                  </a:lnTo>
                  <a:lnTo>
                    <a:pt x="24" y="5"/>
                  </a:lnTo>
                  <a:lnTo>
                    <a:pt x="24" y="35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9" y="35"/>
                  </a:lnTo>
                  <a:lnTo>
                    <a:pt x="44" y="33"/>
                  </a:lnTo>
                  <a:lnTo>
                    <a:pt x="45" y="32"/>
                  </a:lnTo>
                  <a:lnTo>
                    <a:pt x="46" y="30"/>
                  </a:lnTo>
                  <a:lnTo>
                    <a:pt x="46" y="23"/>
                  </a:lnTo>
                  <a:lnTo>
                    <a:pt x="50" y="23"/>
                  </a:lnTo>
                  <a:lnTo>
                    <a:pt x="50" y="54"/>
                  </a:lnTo>
                  <a:lnTo>
                    <a:pt x="46" y="54"/>
                  </a:lnTo>
                  <a:lnTo>
                    <a:pt x="46" y="54"/>
                  </a:lnTo>
                  <a:lnTo>
                    <a:pt x="46" y="47"/>
                  </a:lnTo>
                  <a:lnTo>
                    <a:pt x="45" y="45"/>
                  </a:lnTo>
                  <a:lnTo>
                    <a:pt x="44" y="44"/>
                  </a:lnTo>
                  <a:lnTo>
                    <a:pt x="39" y="41"/>
                  </a:lnTo>
                  <a:lnTo>
                    <a:pt x="31" y="41"/>
                  </a:lnTo>
                  <a:lnTo>
                    <a:pt x="24" y="41"/>
                  </a:lnTo>
                  <a:lnTo>
                    <a:pt x="24" y="61"/>
                  </a:lnTo>
                  <a:lnTo>
                    <a:pt x="24" y="61"/>
                  </a:lnTo>
                  <a:lnTo>
                    <a:pt x="24" y="69"/>
                  </a:lnTo>
                  <a:lnTo>
                    <a:pt x="27" y="74"/>
                  </a:lnTo>
                  <a:lnTo>
                    <a:pt x="28" y="75"/>
                  </a:lnTo>
                  <a:lnTo>
                    <a:pt x="30" y="76"/>
                  </a:lnTo>
                  <a:lnTo>
                    <a:pt x="37" y="76"/>
                  </a:lnTo>
                  <a:lnTo>
                    <a:pt x="49" y="76"/>
                  </a:lnTo>
                  <a:lnTo>
                    <a:pt x="49" y="76"/>
                  </a:lnTo>
                  <a:lnTo>
                    <a:pt x="57" y="76"/>
                  </a:lnTo>
                  <a:lnTo>
                    <a:pt x="60" y="74"/>
                  </a:lnTo>
                  <a:lnTo>
                    <a:pt x="64" y="70"/>
                  </a:lnTo>
                  <a:lnTo>
                    <a:pt x="65" y="66"/>
                  </a:lnTo>
                  <a:lnTo>
                    <a:pt x="65" y="63"/>
                  </a:lnTo>
                  <a:lnTo>
                    <a:pt x="68" y="63"/>
                  </a:lnTo>
                  <a:lnTo>
                    <a:pt x="67" y="82"/>
                  </a:lnTo>
                  <a:lnTo>
                    <a:pt x="0" y="82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29" name="Freeform 28"/>
            <p:cNvSpPr>
              <a:spLocks/>
            </p:cNvSpPr>
            <p:nvPr userDrawn="1"/>
          </p:nvSpPr>
          <p:spPr bwMode="auto">
            <a:xfrm>
              <a:off x="5252" y="2942"/>
              <a:ext cx="84" cy="82"/>
            </a:xfrm>
            <a:custGeom>
              <a:avLst/>
              <a:gdLst>
                <a:gd name="T0" fmla="*/ 24 w 84"/>
                <a:gd name="T1" fmla="*/ 78 h 82"/>
                <a:gd name="T2" fmla="*/ 24 w 84"/>
                <a:gd name="T3" fmla="*/ 78 h 82"/>
                <a:gd name="T4" fmla="*/ 31 w 84"/>
                <a:gd name="T5" fmla="*/ 78 h 82"/>
                <a:gd name="T6" fmla="*/ 33 w 84"/>
                <a:gd name="T7" fmla="*/ 77 h 82"/>
                <a:gd name="T8" fmla="*/ 34 w 84"/>
                <a:gd name="T9" fmla="*/ 76 h 82"/>
                <a:gd name="T10" fmla="*/ 37 w 84"/>
                <a:gd name="T11" fmla="*/ 71 h 82"/>
                <a:gd name="T12" fmla="*/ 37 w 84"/>
                <a:gd name="T13" fmla="*/ 63 h 82"/>
                <a:gd name="T14" fmla="*/ 37 w 84"/>
                <a:gd name="T15" fmla="*/ 5 h 82"/>
                <a:gd name="T16" fmla="*/ 19 w 84"/>
                <a:gd name="T17" fmla="*/ 5 h 82"/>
                <a:gd name="T18" fmla="*/ 19 w 84"/>
                <a:gd name="T19" fmla="*/ 5 h 82"/>
                <a:gd name="T20" fmla="*/ 11 w 84"/>
                <a:gd name="T21" fmla="*/ 5 h 82"/>
                <a:gd name="T22" fmla="*/ 8 w 84"/>
                <a:gd name="T23" fmla="*/ 8 h 82"/>
                <a:gd name="T24" fmla="*/ 5 w 84"/>
                <a:gd name="T25" fmla="*/ 11 h 82"/>
                <a:gd name="T26" fmla="*/ 3 w 84"/>
                <a:gd name="T27" fmla="*/ 16 h 82"/>
                <a:gd name="T28" fmla="*/ 3 w 84"/>
                <a:gd name="T29" fmla="*/ 18 h 82"/>
                <a:gd name="T30" fmla="*/ 0 w 84"/>
                <a:gd name="T31" fmla="*/ 18 h 82"/>
                <a:gd name="T32" fmla="*/ 1 w 84"/>
                <a:gd name="T33" fmla="*/ 0 h 82"/>
                <a:gd name="T34" fmla="*/ 83 w 84"/>
                <a:gd name="T35" fmla="*/ 0 h 82"/>
                <a:gd name="T36" fmla="*/ 84 w 84"/>
                <a:gd name="T37" fmla="*/ 18 h 82"/>
                <a:gd name="T38" fmla="*/ 82 w 84"/>
                <a:gd name="T39" fmla="*/ 18 h 82"/>
                <a:gd name="T40" fmla="*/ 80 w 84"/>
                <a:gd name="T41" fmla="*/ 16 h 82"/>
                <a:gd name="T42" fmla="*/ 80 w 84"/>
                <a:gd name="T43" fmla="*/ 16 h 82"/>
                <a:gd name="T44" fmla="*/ 79 w 84"/>
                <a:gd name="T45" fmla="*/ 11 h 82"/>
                <a:gd name="T46" fmla="*/ 77 w 84"/>
                <a:gd name="T47" fmla="*/ 8 h 82"/>
                <a:gd name="T48" fmla="*/ 72 w 84"/>
                <a:gd name="T49" fmla="*/ 5 h 82"/>
                <a:gd name="T50" fmla="*/ 65 w 84"/>
                <a:gd name="T51" fmla="*/ 5 h 82"/>
                <a:gd name="T52" fmla="*/ 48 w 84"/>
                <a:gd name="T53" fmla="*/ 5 h 82"/>
                <a:gd name="T54" fmla="*/ 48 w 84"/>
                <a:gd name="T55" fmla="*/ 63 h 82"/>
                <a:gd name="T56" fmla="*/ 48 w 84"/>
                <a:gd name="T57" fmla="*/ 63 h 82"/>
                <a:gd name="T58" fmla="*/ 48 w 84"/>
                <a:gd name="T59" fmla="*/ 71 h 82"/>
                <a:gd name="T60" fmla="*/ 49 w 84"/>
                <a:gd name="T61" fmla="*/ 76 h 82"/>
                <a:gd name="T62" fmla="*/ 52 w 84"/>
                <a:gd name="T63" fmla="*/ 77 h 82"/>
                <a:gd name="T64" fmla="*/ 54 w 84"/>
                <a:gd name="T65" fmla="*/ 78 h 82"/>
                <a:gd name="T66" fmla="*/ 61 w 84"/>
                <a:gd name="T67" fmla="*/ 78 h 82"/>
                <a:gd name="T68" fmla="*/ 61 w 84"/>
                <a:gd name="T69" fmla="*/ 82 h 82"/>
                <a:gd name="T70" fmla="*/ 24 w 84"/>
                <a:gd name="T71" fmla="*/ 82 h 82"/>
                <a:gd name="T72" fmla="*/ 24 w 84"/>
                <a:gd name="T73" fmla="*/ 78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4" h="82">
                  <a:moveTo>
                    <a:pt x="24" y="78"/>
                  </a:moveTo>
                  <a:lnTo>
                    <a:pt x="24" y="78"/>
                  </a:lnTo>
                  <a:lnTo>
                    <a:pt x="31" y="78"/>
                  </a:lnTo>
                  <a:lnTo>
                    <a:pt x="33" y="77"/>
                  </a:lnTo>
                  <a:lnTo>
                    <a:pt x="34" y="76"/>
                  </a:lnTo>
                  <a:lnTo>
                    <a:pt x="37" y="71"/>
                  </a:lnTo>
                  <a:lnTo>
                    <a:pt x="37" y="63"/>
                  </a:lnTo>
                  <a:lnTo>
                    <a:pt x="37" y="5"/>
                  </a:lnTo>
                  <a:lnTo>
                    <a:pt x="19" y="5"/>
                  </a:lnTo>
                  <a:lnTo>
                    <a:pt x="19" y="5"/>
                  </a:lnTo>
                  <a:lnTo>
                    <a:pt x="11" y="5"/>
                  </a:lnTo>
                  <a:lnTo>
                    <a:pt x="8" y="8"/>
                  </a:lnTo>
                  <a:lnTo>
                    <a:pt x="5" y="11"/>
                  </a:lnTo>
                  <a:lnTo>
                    <a:pt x="3" y="16"/>
                  </a:lnTo>
                  <a:lnTo>
                    <a:pt x="3" y="18"/>
                  </a:lnTo>
                  <a:lnTo>
                    <a:pt x="0" y="18"/>
                  </a:lnTo>
                  <a:lnTo>
                    <a:pt x="1" y="0"/>
                  </a:lnTo>
                  <a:lnTo>
                    <a:pt x="83" y="0"/>
                  </a:lnTo>
                  <a:lnTo>
                    <a:pt x="84" y="18"/>
                  </a:lnTo>
                  <a:lnTo>
                    <a:pt x="82" y="18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79" y="11"/>
                  </a:lnTo>
                  <a:lnTo>
                    <a:pt x="77" y="8"/>
                  </a:lnTo>
                  <a:lnTo>
                    <a:pt x="72" y="5"/>
                  </a:lnTo>
                  <a:lnTo>
                    <a:pt x="65" y="5"/>
                  </a:lnTo>
                  <a:lnTo>
                    <a:pt x="48" y="5"/>
                  </a:lnTo>
                  <a:lnTo>
                    <a:pt x="48" y="63"/>
                  </a:lnTo>
                  <a:lnTo>
                    <a:pt x="48" y="63"/>
                  </a:lnTo>
                  <a:lnTo>
                    <a:pt x="48" y="71"/>
                  </a:lnTo>
                  <a:lnTo>
                    <a:pt x="49" y="76"/>
                  </a:lnTo>
                  <a:lnTo>
                    <a:pt x="52" y="77"/>
                  </a:lnTo>
                  <a:lnTo>
                    <a:pt x="54" y="78"/>
                  </a:lnTo>
                  <a:lnTo>
                    <a:pt x="61" y="78"/>
                  </a:lnTo>
                  <a:lnTo>
                    <a:pt x="61" y="82"/>
                  </a:lnTo>
                  <a:lnTo>
                    <a:pt x="24" y="82"/>
                  </a:lnTo>
                  <a:lnTo>
                    <a:pt x="24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30" name="Freeform 29"/>
            <p:cNvSpPr>
              <a:spLocks noEditPoints="1"/>
            </p:cNvSpPr>
            <p:nvPr userDrawn="1"/>
          </p:nvSpPr>
          <p:spPr bwMode="auto">
            <a:xfrm>
              <a:off x="4681" y="2128"/>
              <a:ext cx="390" cy="534"/>
            </a:xfrm>
            <a:custGeom>
              <a:avLst/>
              <a:gdLst>
                <a:gd name="T0" fmla="*/ 305 w 390"/>
                <a:gd name="T1" fmla="*/ 500 h 534"/>
                <a:gd name="T2" fmla="*/ 117 w 390"/>
                <a:gd name="T3" fmla="*/ 476 h 534"/>
                <a:gd name="T4" fmla="*/ 201 w 390"/>
                <a:gd name="T5" fmla="*/ 316 h 534"/>
                <a:gd name="T6" fmla="*/ 181 w 390"/>
                <a:gd name="T7" fmla="*/ 352 h 534"/>
                <a:gd name="T8" fmla="*/ 74 w 390"/>
                <a:gd name="T9" fmla="*/ 377 h 534"/>
                <a:gd name="T10" fmla="*/ 68 w 390"/>
                <a:gd name="T11" fmla="*/ 394 h 534"/>
                <a:gd name="T12" fmla="*/ 105 w 390"/>
                <a:gd name="T13" fmla="*/ 415 h 534"/>
                <a:gd name="T14" fmla="*/ 88 w 390"/>
                <a:gd name="T15" fmla="*/ 440 h 534"/>
                <a:gd name="T16" fmla="*/ 128 w 390"/>
                <a:gd name="T17" fmla="*/ 444 h 534"/>
                <a:gd name="T18" fmla="*/ 170 w 390"/>
                <a:gd name="T19" fmla="*/ 402 h 534"/>
                <a:gd name="T20" fmla="*/ 231 w 390"/>
                <a:gd name="T21" fmla="*/ 388 h 534"/>
                <a:gd name="T22" fmla="*/ 25 w 390"/>
                <a:gd name="T23" fmla="*/ 467 h 534"/>
                <a:gd name="T24" fmla="*/ 84 w 390"/>
                <a:gd name="T25" fmla="*/ 515 h 534"/>
                <a:gd name="T26" fmla="*/ 113 w 390"/>
                <a:gd name="T27" fmla="*/ 488 h 534"/>
                <a:gd name="T28" fmla="*/ 112 w 390"/>
                <a:gd name="T29" fmla="*/ 453 h 534"/>
                <a:gd name="T30" fmla="*/ 31 w 390"/>
                <a:gd name="T31" fmla="*/ 448 h 534"/>
                <a:gd name="T32" fmla="*/ 87 w 390"/>
                <a:gd name="T33" fmla="*/ 67 h 534"/>
                <a:gd name="T34" fmla="*/ 54 w 390"/>
                <a:gd name="T35" fmla="*/ 43 h 534"/>
                <a:gd name="T36" fmla="*/ 72 w 390"/>
                <a:gd name="T37" fmla="*/ 75 h 534"/>
                <a:gd name="T38" fmla="*/ 97 w 390"/>
                <a:gd name="T39" fmla="*/ 45 h 534"/>
                <a:gd name="T40" fmla="*/ 59 w 390"/>
                <a:gd name="T41" fmla="*/ 104 h 534"/>
                <a:gd name="T42" fmla="*/ 110 w 390"/>
                <a:gd name="T43" fmla="*/ 210 h 534"/>
                <a:gd name="T44" fmla="*/ 103 w 390"/>
                <a:gd name="T45" fmla="*/ 69 h 534"/>
                <a:gd name="T46" fmla="*/ 132 w 390"/>
                <a:gd name="T47" fmla="*/ 51 h 534"/>
                <a:gd name="T48" fmla="*/ 267 w 390"/>
                <a:gd name="T49" fmla="*/ 39 h 534"/>
                <a:gd name="T50" fmla="*/ 234 w 390"/>
                <a:gd name="T51" fmla="*/ 44 h 534"/>
                <a:gd name="T52" fmla="*/ 219 w 390"/>
                <a:gd name="T53" fmla="*/ 24 h 534"/>
                <a:gd name="T54" fmla="*/ 189 w 390"/>
                <a:gd name="T55" fmla="*/ 27 h 534"/>
                <a:gd name="T56" fmla="*/ 223 w 390"/>
                <a:gd name="T57" fmla="*/ 52 h 534"/>
                <a:gd name="T58" fmla="*/ 292 w 390"/>
                <a:gd name="T59" fmla="*/ 135 h 534"/>
                <a:gd name="T60" fmla="*/ 342 w 390"/>
                <a:gd name="T61" fmla="*/ 104 h 534"/>
                <a:gd name="T62" fmla="*/ 165 w 390"/>
                <a:gd name="T63" fmla="*/ 84 h 534"/>
                <a:gd name="T64" fmla="*/ 349 w 390"/>
                <a:gd name="T65" fmla="*/ 180 h 534"/>
                <a:gd name="T66" fmla="*/ 292 w 390"/>
                <a:gd name="T67" fmla="*/ 101 h 534"/>
                <a:gd name="T68" fmla="*/ 295 w 390"/>
                <a:gd name="T69" fmla="*/ 242 h 534"/>
                <a:gd name="T70" fmla="*/ 321 w 390"/>
                <a:gd name="T71" fmla="*/ 185 h 534"/>
                <a:gd name="T72" fmla="*/ 327 w 390"/>
                <a:gd name="T73" fmla="*/ 270 h 534"/>
                <a:gd name="T74" fmla="*/ 239 w 390"/>
                <a:gd name="T75" fmla="*/ 169 h 534"/>
                <a:gd name="T76" fmla="*/ 261 w 390"/>
                <a:gd name="T77" fmla="*/ 131 h 534"/>
                <a:gd name="T78" fmla="*/ 221 w 390"/>
                <a:gd name="T79" fmla="*/ 58 h 534"/>
                <a:gd name="T80" fmla="*/ 142 w 390"/>
                <a:gd name="T81" fmla="*/ 110 h 534"/>
                <a:gd name="T82" fmla="*/ 182 w 390"/>
                <a:gd name="T83" fmla="*/ 118 h 534"/>
                <a:gd name="T84" fmla="*/ 127 w 390"/>
                <a:gd name="T85" fmla="*/ 135 h 534"/>
                <a:gd name="T86" fmla="*/ 157 w 390"/>
                <a:gd name="T87" fmla="*/ 133 h 534"/>
                <a:gd name="T88" fmla="*/ 164 w 390"/>
                <a:gd name="T89" fmla="*/ 180 h 534"/>
                <a:gd name="T90" fmla="*/ 14 w 390"/>
                <a:gd name="T91" fmla="*/ 217 h 534"/>
                <a:gd name="T92" fmla="*/ 13 w 390"/>
                <a:gd name="T93" fmla="*/ 231 h 534"/>
                <a:gd name="T94" fmla="*/ 43 w 390"/>
                <a:gd name="T95" fmla="*/ 251 h 534"/>
                <a:gd name="T96" fmla="*/ 50 w 390"/>
                <a:gd name="T97" fmla="*/ 267 h 534"/>
                <a:gd name="T98" fmla="*/ 81 w 390"/>
                <a:gd name="T99" fmla="*/ 269 h 534"/>
                <a:gd name="T100" fmla="*/ 160 w 390"/>
                <a:gd name="T101" fmla="*/ 247 h 534"/>
                <a:gd name="T102" fmla="*/ 283 w 390"/>
                <a:gd name="T103" fmla="*/ 311 h 534"/>
                <a:gd name="T104" fmla="*/ 298 w 390"/>
                <a:gd name="T105" fmla="*/ 396 h 534"/>
                <a:gd name="T106" fmla="*/ 312 w 390"/>
                <a:gd name="T107" fmla="*/ 440 h 534"/>
                <a:gd name="T108" fmla="*/ 326 w 390"/>
                <a:gd name="T109" fmla="*/ 463 h 534"/>
                <a:gd name="T110" fmla="*/ 304 w 390"/>
                <a:gd name="T111" fmla="*/ 489 h 534"/>
                <a:gd name="T112" fmla="*/ 329 w 390"/>
                <a:gd name="T113" fmla="*/ 504 h 534"/>
                <a:gd name="T114" fmla="*/ 363 w 390"/>
                <a:gd name="T115" fmla="*/ 475 h 534"/>
                <a:gd name="T116" fmla="*/ 367 w 390"/>
                <a:gd name="T117" fmla="*/ 435 h 534"/>
                <a:gd name="T118" fmla="*/ 379 w 390"/>
                <a:gd name="T119" fmla="*/ 377 h 534"/>
                <a:gd name="T120" fmla="*/ 346 w 390"/>
                <a:gd name="T121" fmla="*/ 343 h 534"/>
                <a:gd name="T122" fmla="*/ 366 w 390"/>
                <a:gd name="T123" fmla="*/ 275 h 5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90" h="534">
                  <a:moveTo>
                    <a:pt x="106" y="498"/>
                  </a:moveTo>
                  <a:lnTo>
                    <a:pt x="106" y="498"/>
                  </a:lnTo>
                  <a:lnTo>
                    <a:pt x="120" y="507"/>
                  </a:lnTo>
                  <a:lnTo>
                    <a:pt x="132" y="514"/>
                  </a:lnTo>
                  <a:lnTo>
                    <a:pt x="132" y="514"/>
                  </a:lnTo>
                  <a:lnTo>
                    <a:pt x="151" y="521"/>
                  </a:lnTo>
                  <a:lnTo>
                    <a:pt x="163" y="526"/>
                  </a:lnTo>
                  <a:lnTo>
                    <a:pt x="178" y="529"/>
                  </a:lnTo>
                  <a:lnTo>
                    <a:pt x="193" y="532"/>
                  </a:lnTo>
                  <a:lnTo>
                    <a:pt x="210" y="534"/>
                  </a:lnTo>
                  <a:lnTo>
                    <a:pt x="230" y="534"/>
                  </a:lnTo>
                  <a:lnTo>
                    <a:pt x="249" y="533"/>
                  </a:lnTo>
                  <a:lnTo>
                    <a:pt x="249" y="533"/>
                  </a:lnTo>
                  <a:lnTo>
                    <a:pt x="268" y="530"/>
                  </a:lnTo>
                  <a:lnTo>
                    <a:pt x="284" y="527"/>
                  </a:lnTo>
                  <a:lnTo>
                    <a:pt x="297" y="524"/>
                  </a:lnTo>
                  <a:lnTo>
                    <a:pt x="308" y="520"/>
                  </a:lnTo>
                  <a:lnTo>
                    <a:pt x="322" y="512"/>
                  </a:lnTo>
                  <a:lnTo>
                    <a:pt x="327" y="510"/>
                  </a:lnTo>
                  <a:lnTo>
                    <a:pt x="327" y="510"/>
                  </a:lnTo>
                  <a:lnTo>
                    <a:pt x="321" y="507"/>
                  </a:lnTo>
                  <a:lnTo>
                    <a:pt x="315" y="504"/>
                  </a:lnTo>
                  <a:lnTo>
                    <a:pt x="305" y="496"/>
                  </a:lnTo>
                  <a:lnTo>
                    <a:pt x="305" y="496"/>
                  </a:lnTo>
                  <a:lnTo>
                    <a:pt x="305" y="500"/>
                  </a:lnTo>
                  <a:lnTo>
                    <a:pt x="305" y="500"/>
                  </a:lnTo>
                  <a:lnTo>
                    <a:pt x="304" y="509"/>
                  </a:lnTo>
                  <a:lnTo>
                    <a:pt x="304" y="509"/>
                  </a:lnTo>
                  <a:lnTo>
                    <a:pt x="299" y="507"/>
                  </a:lnTo>
                  <a:lnTo>
                    <a:pt x="299" y="507"/>
                  </a:lnTo>
                  <a:lnTo>
                    <a:pt x="296" y="505"/>
                  </a:lnTo>
                  <a:lnTo>
                    <a:pt x="292" y="502"/>
                  </a:lnTo>
                  <a:lnTo>
                    <a:pt x="290" y="497"/>
                  </a:lnTo>
                  <a:lnTo>
                    <a:pt x="289" y="491"/>
                  </a:lnTo>
                  <a:lnTo>
                    <a:pt x="289" y="491"/>
                  </a:lnTo>
                  <a:lnTo>
                    <a:pt x="288" y="490"/>
                  </a:lnTo>
                  <a:lnTo>
                    <a:pt x="288" y="490"/>
                  </a:lnTo>
                  <a:lnTo>
                    <a:pt x="278" y="493"/>
                  </a:lnTo>
                  <a:lnTo>
                    <a:pt x="266" y="497"/>
                  </a:lnTo>
                  <a:lnTo>
                    <a:pt x="252" y="500"/>
                  </a:lnTo>
                  <a:lnTo>
                    <a:pt x="236" y="502"/>
                  </a:lnTo>
                  <a:lnTo>
                    <a:pt x="236" y="502"/>
                  </a:lnTo>
                  <a:lnTo>
                    <a:pt x="208" y="500"/>
                  </a:lnTo>
                  <a:lnTo>
                    <a:pt x="194" y="499"/>
                  </a:lnTo>
                  <a:lnTo>
                    <a:pt x="180" y="497"/>
                  </a:lnTo>
                  <a:lnTo>
                    <a:pt x="167" y="495"/>
                  </a:lnTo>
                  <a:lnTo>
                    <a:pt x="154" y="490"/>
                  </a:lnTo>
                  <a:lnTo>
                    <a:pt x="140" y="485"/>
                  </a:lnTo>
                  <a:lnTo>
                    <a:pt x="126" y="481"/>
                  </a:lnTo>
                  <a:lnTo>
                    <a:pt x="126" y="481"/>
                  </a:lnTo>
                  <a:lnTo>
                    <a:pt x="117" y="476"/>
                  </a:lnTo>
                  <a:lnTo>
                    <a:pt x="117" y="476"/>
                  </a:lnTo>
                  <a:lnTo>
                    <a:pt x="115" y="477"/>
                  </a:lnTo>
                  <a:lnTo>
                    <a:pt x="115" y="480"/>
                  </a:lnTo>
                  <a:lnTo>
                    <a:pt x="118" y="485"/>
                  </a:lnTo>
                  <a:lnTo>
                    <a:pt x="122" y="492"/>
                  </a:lnTo>
                  <a:lnTo>
                    <a:pt x="122" y="492"/>
                  </a:lnTo>
                  <a:lnTo>
                    <a:pt x="117" y="491"/>
                  </a:lnTo>
                  <a:lnTo>
                    <a:pt x="112" y="493"/>
                  </a:lnTo>
                  <a:lnTo>
                    <a:pt x="112" y="493"/>
                  </a:lnTo>
                  <a:lnTo>
                    <a:pt x="108" y="496"/>
                  </a:lnTo>
                  <a:lnTo>
                    <a:pt x="106" y="498"/>
                  </a:lnTo>
                  <a:close/>
                  <a:moveTo>
                    <a:pt x="274" y="310"/>
                  </a:moveTo>
                  <a:lnTo>
                    <a:pt x="274" y="310"/>
                  </a:lnTo>
                  <a:lnTo>
                    <a:pt x="269" y="305"/>
                  </a:lnTo>
                  <a:lnTo>
                    <a:pt x="263" y="303"/>
                  </a:lnTo>
                  <a:lnTo>
                    <a:pt x="253" y="298"/>
                  </a:lnTo>
                  <a:lnTo>
                    <a:pt x="253" y="298"/>
                  </a:lnTo>
                  <a:lnTo>
                    <a:pt x="256" y="295"/>
                  </a:lnTo>
                  <a:lnTo>
                    <a:pt x="259" y="292"/>
                  </a:lnTo>
                  <a:lnTo>
                    <a:pt x="260" y="291"/>
                  </a:lnTo>
                  <a:lnTo>
                    <a:pt x="260" y="291"/>
                  </a:lnTo>
                  <a:lnTo>
                    <a:pt x="255" y="290"/>
                  </a:lnTo>
                  <a:lnTo>
                    <a:pt x="254" y="290"/>
                  </a:lnTo>
                  <a:lnTo>
                    <a:pt x="254" y="290"/>
                  </a:lnTo>
                  <a:lnTo>
                    <a:pt x="234" y="298"/>
                  </a:lnTo>
                  <a:lnTo>
                    <a:pt x="216" y="306"/>
                  </a:lnTo>
                  <a:lnTo>
                    <a:pt x="201" y="316"/>
                  </a:lnTo>
                  <a:lnTo>
                    <a:pt x="188" y="324"/>
                  </a:lnTo>
                  <a:lnTo>
                    <a:pt x="188" y="324"/>
                  </a:lnTo>
                  <a:lnTo>
                    <a:pt x="188" y="324"/>
                  </a:lnTo>
                  <a:lnTo>
                    <a:pt x="188" y="324"/>
                  </a:lnTo>
                  <a:lnTo>
                    <a:pt x="185" y="326"/>
                  </a:lnTo>
                  <a:lnTo>
                    <a:pt x="180" y="326"/>
                  </a:lnTo>
                  <a:lnTo>
                    <a:pt x="173" y="325"/>
                  </a:lnTo>
                  <a:lnTo>
                    <a:pt x="169" y="324"/>
                  </a:lnTo>
                  <a:lnTo>
                    <a:pt x="166" y="322"/>
                  </a:lnTo>
                  <a:lnTo>
                    <a:pt x="165" y="333"/>
                  </a:lnTo>
                  <a:lnTo>
                    <a:pt x="165" y="333"/>
                  </a:lnTo>
                  <a:lnTo>
                    <a:pt x="171" y="335"/>
                  </a:lnTo>
                  <a:lnTo>
                    <a:pt x="176" y="337"/>
                  </a:lnTo>
                  <a:lnTo>
                    <a:pt x="176" y="337"/>
                  </a:lnTo>
                  <a:lnTo>
                    <a:pt x="170" y="339"/>
                  </a:lnTo>
                  <a:lnTo>
                    <a:pt x="166" y="340"/>
                  </a:lnTo>
                  <a:lnTo>
                    <a:pt x="164" y="342"/>
                  </a:lnTo>
                  <a:lnTo>
                    <a:pt x="167" y="351"/>
                  </a:lnTo>
                  <a:lnTo>
                    <a:pt x="167" y="351"/>
                  </a:lnTo>
                  <a:lnTo>
                    <a:pt x="171" y="349"/>
                  </a:lnTo>
                  <a:lnTo>
                    <a:pt x="176" y="348"/>
                  </a:lnTo>
                  <a:lnTo>
                    <a:pt x="181" y="347"/>
                  </a:lnTo>
                  <a:lnTo>
                    <a:pt x="181" y="347"/>
                  </a:lnTo>
                  <a:lnTo>
                    <a:pt x="181" y="348"/>
                  </a:lnTo>
                  <a:lnTo>
                    <a:pt x="181" y="348"/>
                  </a:lnTo>
                  <a:lnTo>
                    <a:pt x="181" y="352"/>
                  </a:lnTo>
                  <a:lnTo>
                    <a:pt x="179" y="357"/>
                  </a:lnTo>
                  <a:lnTo>
                    <a:pt x="177" y="363"/>
                  </a:lnTo>
                  <a:lnTo>
                    <a:pt x="172" y="368"/>
                  </a:lnTo>
                  <a:lnTo>
                    <a:pt x="160" y="377"/>
                  </a:lnTo>
                  <a:lnTo>
                    <a:pt x="155" y="380"/>
                  </a:lnTo>
                  <a:lnTo>
                    <a:pt x="149" y="383"/>
                  </a:lnTo>
                  <a:lnTo>
                    <a:pt x="149" y="383"/>
                  </a:lnTo>
                  <a:lnTo>
                    <a:pt x="137" y="386"/>
                  </a:lnTo>
                  <a:lnTo>
                    <a:pt x="128" y="388"/>
                  </a:lnTo>
                  <a:lnTo>
                    <a:pt x="121" y="388"/>
                  </a:lnTo>
                  <a:lnTo>
                    <a:pt x="117" y="387"/>
                  </a:lnTo>
                  <a:lnTo>
                    <a:pt x="117" y="387"/>
                  </a:lnTo>
                  <a:lnTo>
                    <a:pt x="111" y="381"/>
                  </a:lnTo>
                  <a:lnTo>
                    <a:pt x="107" y="377"/>
                  </a:lnTo>
                  <a:lnTo>
                    <a:pt x="104" y="372"/>
                  </a:lnTo>
                  <a:lnTo>
                    <a:pt x="103" y="370"/>
                  </a:lnTo>
                  <a:lnTo>
                    <a:pt x="100" y="370"/>
                  </a:lnTo>
                  <a:lnTo>
                    <a:pt x="100" y="370"/>
                  </a:lnTo>
                  <a:lnTo>
                    <a:pt x="98" y="370"/>
                  </a:lnTo>
                  <a:lnTo>
                    <a:pt x="96" y="371"/>
                  </a:lnTo>
                  <a:lnTo>
                    <a:pt x="96" y="371"/>
                  </a:lnTo>
                  <a:lnTo>
                    <a:pt x="89" y="370"/>
                  </a:lnTo>
                  <a:lnTo>
                    <a:pt x="83" y="371"/>
                  </a:lnTo>
                  <a:lnTo>
                    <a:pt x="77" y="373"/>
                  </a:lnTo>
                  <a:lnTo>
                    <a:pt x="75" y="374"/>
                  </a:lnTo>
                  <a:lnTo>
                    <a:pt x="74" y="377"/>
                  </a:lnTo>
                  <a:lnTo>
                    <a:pt x="74" y="377"/>
                  </a:lnTo>
                  <a:lnTo>
                    <a:pt x="83" y="377"/>
                  </a:lnTo>
                  <a:lnTo>
                    <a:pt x="88" y="378"/>
                  </a:lnTo>
                  <a:lnTo>
                    <a:pt x="88" y="379"/>
                  </a:lnTo>
                  <a:lnTo>
                    <a:pt x="85" y="380"/>
                  </a:lnTo>
                  <a:lnTo>
                    <a:pt x="85" y="380"/>
                  </a:lnTo>
                  <a:lnTo>
                    <a:pt x="84" y="383"/>
                  </a:lnTo>
                  <a:lnTo>
                    <a:pt x="84" y="385"/>
                  </a:lnTo>
                  <a:lnTo>
                    <a:pt x="87" y="387"/>
                  </a:lnTo>
                  <a:lnTo>
                    <a:pt x="90" y="389"/>
                  </a:lnTo>
                  <a:lnTo>
                    <a:pt x="104" y="398"/>
                  </a:lnTo>
                  <a:lnTo>
                    <a:pt x="104" y="398"/>
                  </a:lnTo>
                  <a:lnTo>
                    <a:pt x="105" y="398"/>
                  </a:lnTo>
                  <a:lnTo>
                    <a:pt x="105" y="399"/>
                  </a:lnTo>
                  <a:lnTo>
                    <a:pt x="104" y="399"/>
                  </a:lnTo>
                  <a:lnTo>
                    <a:pt x="104" y="399"/>
                  </a:lnTo>
                  <a:lnTo>
                    <a:pt x="99" y="399"/>
                  </a:lnTo>
                  <a:lnTo>
                    <a:pt x="93" y="396"/>
                  </a:lnTo>
                  <a:lnTo>
                    <a:pt x="82" y="392"/>
                  </a:lnTo>
                  <a:lnTo>
                    <a:pt x="82" y="392"/>
                  </a:lnTo>
                  <a:lnTo>
                    <a:pt x="78" y="392"/>
                  </a:lnTo>
                  <a:lnTo>
                    <a:pt x="76" y="392"/>
                  </a:lnTo>
                  <a:lnTo>
                    <a:pt x="75" y="394"/>
                  </a:lnTo>
                  <a:lnTo>
                    <a:pt x="75" y="394"/>
                  </a:lnTo>
                  <a:lnTo>
                    <a:pt x="72" y="394"/>
                  </a:lnTo>
                  <a:lnTo>
                    <a:pt x="68" y="394"/>
                  </a:lnTo>
                  <a:lnTo>
                    <a:pt x="65" y="396"/>
                  </a:lnTo>
                  <a:lnTo>
                    <a:pt x="61" y="399"/>
                  </a:lnTo>
                  <a:lnTo>
                    <a:pt x="59" y="401"/>
                  </a:lnTo>
                  <a:lnTo>
                    <a:pt x="58" y="405"/>
                  </a:lnTo>
                  <a:lnTo>
                    <a:pt x="57" y="408"/>
                  </a:lnTo>
                  <a:lnTo>
                    <a:pt x="59" y="413"/>
                  </a:lnTo>
                  <a:lnTo>
                    <a:pt x="59" y="413"/>
                  </a:lnTo>
                  <a:lnTo>
                    <a:pt x="62" y="408"/>
                  </a:lnTo>
                  <a:lnTo>
                    <a:pt x="66" y="405"/>
                  </a:lnTo>
                  <a:lnTo>
                    <a:pt x="68" y="405"/>
                  </a:lnTo>
                  <a:lnTo>
                    <a:pt x="70" y="405"/>
                  </a:lnTo>
                  <a:lnTo>
                    <a:pt x="70" y="405"/>
                  </a:lnTo>
                  <a:lnTo>
                    <a:pt x="70" y="406"/>
                  </a:lnTo>
                  <a:lnTo>
                    <a:pt x="70" y="409"/>
                  </a:lnTo>
                  <a:lnTo>
                    <a:pt x="70" y="411"/>
                  </a:lnTo>
                  <a:lnTo>
                    <a:pt x="72" y="414"/>
                  </a:lnTo>
                  <a:lnTo>
                    <a:pt x="73" y="415"/>
                  </a:lnTo>
                  <a:lnTo>
                    <a:pt x="73" y="415"/>
                  </a:lnTo>
                  <a:lnTo>
                    <a:pt x="76" y="416"/>
                  </a:lnTo>
                  <a:lnTo>
                    <a:pt x="80" y="416"/>
                  </a:lnTo>
                  <a:lnTo>
                    <a:pt x="90" y="415"/>
                  </a:lnTo>
                  <a:lnTo>
                    <a:pt x="99" y="414"/>
                  </a:lnTo>
                  <a:lnTo>
                    <a:pt x="103" y="414"/>
                  </a:lnTo>
                  <a:lnTo>
                    <a:pt x="105" y="414"/>
                  </a:lnTo>
                  <a:lnTo>
                    <a:pt x="105" y="414"/>
                  </a:lnTo>
                  <a:lnTo>
                    <a:pt x="105" y="415"/>
                  </a:lnTo>
                  <a:lnTo>
                    <a:pt x="103" y="416"/>
                  </a:lnTo>
                  <a:lnTo>
                    <a:pt x="95" y="417"/>
                  </a:lnTo>
                  <a:lnTo>
                    <a:pt x="85" y="418"/>
                  </a:lnTo>
                  <a:lnTo>
                    <a:pt x="82" y="421"/>
                  </a:lnTo>
                  <a:lnTo>
                    <a:pt x="80" y="422"/>
                  </a:lnTo>
                  <a:lnTo>
                    <a:pt x="80" y="422"/>
                  </a:lnTo>
                  <a:lnTo>
                    <a:pt x="81" y="425"/>
                  </a:lnTo>
                  <a:lnTo>
                    <a:pt x="81" y="425"/>
                  </a:lnTo>
                  <a:lnTo>
                    <a:pt x="80" y="426"/>
                  </a:lnTo>
                  <a:lnTo>
                    <a:pt x="78" y="429"/>
                  </a:lnTo>
                  <a:lnTo>
                    <a:pt x="76" y="433"/>
                  </a:lnTo>
                  <a:lnTo>
                    <a:pt x="75" y="438"/>
                  </a:lnTo>
                  <a:lnTo>
                    <a:pt x="75" y="438"/>
                  </a:lnTo>
                  <a:lnTo>
                    <a:pt x="75" y="440"/>
                  </a:lnTo>
                  <a:lnTo>
                    <a:pt x="76" y="444"/>
                  </a:lnTo>
                  <a:lnTo>
                    <a:pt x="78" y="447"/>
                  </a:lnTo>
                  <a:lnTo>
                    <a:pt x="83" y="451"/>
                  </a:lnTo>
                  <a:lnTo>
                    <a:pt x="83" y="451"/>
                  </a:lnTo>
                  <a:lnTo>
                    <a:pt x="83" y="450"/>
                  </a:lnTo>
                  <a:lnTo>
                    <a:pt x="83" y="445"/>
                  </a:lnTo>
                  <a:lnTo>
                    <a:pt x="83" y="441"/>
                  </a:lnTo>
                  <a:lnTo>
                    <a:pt x="83" y="440"/>
                  </a:lnTo>
                  <a:lnTo>
                    <a:pt x="84" y="439"/>
                  </a:lnTo>
                  <a:lnTo>
                    <a:pt x="84" y="439"/>
                  </a:lnTo>
                  <a:lnTo>
                    <a:pt x="85" y="439"/>
                  </a:lnTo>
                  <a:lnTo>
                    <a:pt x="88" y="440"/>
                  </a:lnTo>
                  <a:lnTo>
                    <a:pt x="89" y="443"/>
                  </a:lnTo>
                  <a:lnTo>
                    <a:pt x="91" y="444"/>
                  </a:lnTo>
                  <a:lnTo>
                    <a:pt x="91" y="444"/>
                  </a:lnTo>
                  <a:lnTo>
                    <a:pt x="95" y="443"/>
                  </a:lnTo>
                  <a:lnTo>
                    <a:pt x="97" y="441"/>
                  </a:lnTo>
                  <a:lnTo>
                    <a:pt x="102" y="437"/>
                  </a:lnTo>
                  <a:lnTo>
                    <a:pt x="107" y="431"/>
                  </a:lnTo>
                  <a:lnTo>
                    <a:pt x="111" y="428"/>
                  </a:lnTo>
                  <a:lnTo>
                    <a:pt x="115" y="425"/>
                  </a:lnTo>
                  <a:lnTo>
                    <a:pt x="115" y="425"/>
                  </a:lnTo>
                  <a:lnTo>
                    <a:pt x="121" y="423"/>
                  </a:lnTo>
                  <a:lnTo>
                    <a:pt x="125" y="422"/>
                  </a:lnTo>
                  <a:lnTo>
                    <a:pt x="126" y="423"/>
                  </a:lnTo>
                  <a:lnTo>
                    <a:pt x="126" y="424"/>
                  </a:lnTo>
                  <a:lnTo>
                    <a:pt x="125" y="428"/>
                  </a:lnTo>
                  <a:lnTo>
                    <a:pt x="125" y="430"/>
                  </a:lnTo>
                  <a:lnTo>
                    <a:pt x="127" y="431"/>
                  </a:lnTo>
                  <a:lnTo>
                    <a:pt x="127" y="431"/>
                  </a:lnTo>
                  <a:lnTo>
                    <a:pt x="130" y="432"/>
                  </a:lnTo>
                  <a:lnTo>
                    <a:pt x="132" y="433"/>
                  </a:lnTo>
                  <a:lnTo>
                    <a:pt x="132" y="436"/>
                  </a:lnTo>
                  <a:lnTo>
                    <a:pt x="130" y="438"/>
                  </a:lnTo>
                  <a:lnTo>
                    <a:pt x="127" y="441"/>
                  </a:lnTo>
                  <a:lnTo>
                    <a:pt x="125" y="444"/>
                  </a:lnTo>
                  <a:lnTo>
                    <a:pt x="125" y="444"/>
                  </a:lnTo>
                  <a:lnTo>
                    <a:pt x="128" y="444"/>
                  </a:lnTo>
                  <a:lnTo>
                    <a:pt x="134" y="443"/>
                  </a:lnTo>
                  <a:lnTo>
                    <a:pt x="139" y="438"/>
                  </a:lnTo>
                  <a:lnTo>
                    <a:pt x="141" y="436"/>
                  </a:lnTo>
                  <a:lnTo>
                    <a:pt x="142" y="432"/>
                  </a:lnTo>
                  <a:lnTo>
                    <a:pt x="142" y="432"/>
                  </a:lnTo>
                  <a:lnTo>
                    <a:pt x="143" y="430"/>
                  </a:lnTo>
                  <a:lnTo>
                    <a:pt x="144" y="430"/>
                  </a:lnTo>
                  <a:lnTo>
                    <a:pt x="145" y="429"/>
                  </a:lnTo>
                  <a:lnTo>
                    <a:pt x="147" y="428"/>
                  </a:lnTo>
                  <a:lnTo>
                    <a:pt x="147" y="428"/>
                  </a:lnTo>
                  <a:lnTo>
                    <a:pt x="148" y="426"/>
                  </a:lnTo>
                  <a:lnTo>
                    <a:pt x="148" y="424"/>
                  </a:lnTo>
                  <a:lnTo>
                    <a:pt x="148" y="422"/>
                  </a:lnTo>
                  <a:lnTo>
                    <a:pt x="149" y="420"/>
                  </a:lnTo>
                  <a:lnTo>
                    <a:pt x="149" y="420"/>
                  </a:lnTo>
                  <a:lnTo>
                    <a:pt x="150" y="417"/>
                  </a:lnTo>
                  <a:lnTo>
                    <a:pt x="152" y="416"/>
                  </a:lnTo>
                  <a:lnTo>
                    <a:pt x="157" y="415"/>
                  </a:lnTo>
                  <a:lnTo>
                    <a:pt x="160" y="414"/>
                  </a:lnTo>
                  <a:lnTo>
                    <a:pt x="162" y="413"/>
                  </a:lnTo>
                  <a:lnTo>
                    <a:pt x="163" y="411"/>
                  </a:lnTo>
                  <a:lnTo>
                    <a:pt x="163" y="411"/>
                  </a:lnTo>
                  <a:lnTo>
                    <a:pt x="163" y="408"/>
                  </a:lnTo>
                  <a:lnTo>
                    <a:pt x="165" y="405"/>
                  </a:lnTo>
                  <a:lnTo>
                    <a:pt x="167" y="403"/>
                  </a:lnTo>
                  <a:lnTo>
                    <a:pt x="170" y="402"/>
                  </a:lnTo>
                  <a:lnTo>
                    <a:pt x="170" y="402"/>
                  </a:lnTo>
                  <a:lnTo>
                    <a:pt x="171" y="403"/>
                  </a:lnTo>
                  <a:lnTo>
                    <a:pt x="173" y="407"/>
                  </a:lnTo>
                  <a:lnTo>
                    <a:pt x="177" y="410"/>
                  </a:lnTo>
                  <a:lnTo>
                    <a:pt x="180" y="413"/>
                  </a:lnTo>
                  <a:lnTo>
                    <a:pt x="184" y="415"/>
                  </a:lnTo>
                  <a:lnTo>
                    <a:pt x="184" y="415"/>
                  </a:lnTo>
                  <a:lnTo>
                    <a:pt x="197" y="408"/>
                  </a:lnTo>
                  <a:lnTo>
                    <a:pt x="197" y="408"/>
                  </a:lnTo>
                  <a:lnTo>
                    <a:pt x="202" y="406"/>
                  </a:lnTo>
                  <a:lnTo>
                    <a:pt x="206" y="403"/>
                  </a:lnTo>
                  <a:lnTo>
                    <a:pt x="206" y="403"/>
                  </a:lnTo>
                  <a:lnTo>
                    <a:pt x="203" y="400"/>
                  </a:lnTo>
                  <a:lnTo>
                    <a:pt x="201" y="398"/>
                  </a:lnTo>
                  <a:lnTo>
                    <a:pt x="199" y="394"/>
                  </a:lnTo>
                  <a:lnTo>
                    <a:pt x="199" y="394"/>
                  </a:lnTo>
                  <a:lnTo>
                    <a:pt x="197" y="391"/>
                  </a:lnTo>
                  <a:lnTo>
                    <a:pt x="199" y="388"/>
                  </a:lnTo>
                  <a:lnTo>
                    <a:pt x="199" y="388"/>
                  </a:lnTo>
                  <a:lnTo>
                    <a:pt x="202" y="393"/>
                  </a:lnTo>
                  <a:lnTo>
                    <a:pt x="207" y="396"/>
                  </a:lnTo>
                  <a:lnTo>
                    <a:pt x="211" y="400"/>
                  </a:lnTo>
                  <a:lnTo>
                    <a:pt x="211" y="400"/>
                  </a:lnTo>
                  <a:lnTo>
                    <a:pt x="229" y="389"/>
                  </a:lnTo>
                  <a:lnTo>
                    <a:pt x="229" y="389"/>
                  </a:lnTo>
                  <a:lnTo>
                    <a:pt x="231" y="388"/>
                  </a:lnTo>
                  <a:lnTo>
                    <a:pt x="231" y="388"/>
                  </a:lnTo>
                  <a:lnTo>
                    <a:pt x="231" y="388"/>
                  </a:lnTo>
                  <a:lnTo>
                    <a:pt x="231" y="388"/>
                  </a:lnTo>
                  <a:lnTo>
                    <a:pt x="230" y="385"/>
                  </a:lnTo>
                  <a:lnTo>
                    <a:pt x="225" y="381"/>
                  </a:lnTo>
                  <a:lnTo>
                    <a:pt x="222" y="377"/>
                  </a:lnTo>
                  <a:lnTo>
                    <a:pt x="222" y="374"/>
                  </a:lnTo>
                  <a:lnTo>
                    <a:pt x="224" y="373"/>
                  </a:lnTo>
                  <a:lnTo>
                    <a:pt x="224" y="373"/>
                  </a:lnTo>
                  <a:lnTo>
                    <a:pt x="225" y="372"/>
                  </a:lnTo>
                  <a:lnTo>
                    <a:pt x="225" y="370"/>
                  </a:lnTo>
                  <a:lnTo>
                    <a:pt x="222" y="363"/>
                  </a:lnTo>
                  <a:lnTo>
                    <a:pt x="221" y="357"/>
                  </a:lnTo>
                  <a:lnTo>
                    <a:pt x="221" y="354"/>
                  </a:lnTo>
                  <a:lnTo>
                    <a:pt x="222" y="352"/>
                  </a:lnTo>
                  <a:lnTo>
                    <a:pt x="222" y="352"/>
                  </a:lnTo>
                  <a:lnTo>
                    <a:pt x="254" y="336"/>
                  </a:lnTo>
                  <a:lnTo>
                    <a:pt x="282" y="322"/>
                  </a:lnTo>
                  <a:lnTo>
                    <a:pt x="282" y="322"/>
                  </a:lnTo>
                  <a:lnTo>
                    <a:pt x="281" y="319"/>
                  </a:lnTo>
                  <a:lnTo>
                    <a:pt x="278" y="314"/>
                  </a:lnTo>
                  <a:lnTo>
                    <a:pt x="274" y="310"/>
                  </a:lnTo>
                  <a:close/>
                  <a:moveTo>
                    <a:pt x="25" y="461"/>
                  </a:moveTo>
                  <a:lnTo>
                    <a:pt x="25" y="461"/>
                  </a:lnTo>
                  <a:lnTo>
                    <a:pt x="25" y="465"/>
                  </a:lnTo>
                  <a:lnTo>
                    <a:pt x="25" y="467"/>
                  </a:lnTo>
                  <a:lnTo>
                    <a:pt x="28" y="470"/>
                  </a:lnTo>
                  <a:lnTo>
                    <a:pt x="28" y="470"/>
                  </a:lnTo>
                  <a:lnTo>
                    <a:pt x="32" y="472"/>
                  </a:lnTo>
                  <a:lnTo>
                    <a:pt x="35" y="473"/>
                  </a:lnTo>
                  <a:lnTo>
                    <a:pt x="36" y="472"/>
                  </a:lnTo>
                  <a:lnTo>
                    <a:pt x="36" y="472"/>
                  </a:lnTo>
                  <a:lnTo>
                    <a:pt x="37" y="469"/>
                  </a:lnTo>
                  <a:lnTo>
                    <a:pt x="38" y="467"/>
                  </a:lnTo>
                  <a:lnTo>
                    <a:pt x="38" y="465"/>
                  </a:lnTo>
                  <a:lnTo>
                    <a:pt x="38" y="462"/>
                  </a:lnTo>
                  <a:lnTo>
                    <a:pt x="38" y="462"/>
                  </a:lnTo>
                  <a:lnTo>
                    <a:pt x="39" y="461"/>
                  </a:lnTo>
                  <a:lnTo>
                    <a:pt x="40" y="461"/>
                  </a:lnTo>
                  <a:lnTo>
                    <a:pt x="40" y="461"/>
                  </a:lnTo>
                  <a:lnTo>
                    <a:pt x="43" y="460"/>
                  </a:lnTo>
                  <a:lnTo>
                    <a:pt x="43" y="460"/>
                  </a:lnTo>
                  <a:lnTo>
                    <a:pt x="55" y="466"/>
                  </a:lnTo>
                  <a:lnTo>
                    <a:pt x="68" y="473"/>
                  </a:lnTo>
                  <a:lnTo>
                    <a:pt x="92" y="489"/>
                  </a:lnTo>
                  <a:lnTo>
                    <a:pt x="92" y="489"/>
                  </a:lnTo>
                  <a:lnTo>
                    <a:pt x="95" y="491"/>
                  </a:lnTo>
                  <a:lnTo>
                    <a:pt x="95" y="491"/>
                  </a:lnTo>
                  <a:lnTo>
                    <a:pt x="92" y="498"/>
                  </a:lnTo>
                  <a:lnTo>
                    <a:pt x="92" y="498"/>
                  </a:lnTo>
                  <a:lnTo>
                    <a:pt x="87" y="510"/>
                  </a:lnTo>
                  <a:lnTo>
                    <a:pt x="84" y="515"/>
                  </a:lnTo>
                  <a:lnTo>
                    <a:pt x="84" y="520"/>
                  </a:lnTo>
                  <a:lnTo>
                    <a:pt x="84" y="520"/>
                  </a:lnTo>
                  <a:lnTo>
                    <a:pt x="84" y="522"/>
                  </a:lnTo>
                  <a:lnTo>
                    <a:pt x="87" y="525"/>
                  </a:lnTo>
                  <a:lnTo>
                    <a:pt x="89" y="526"/>
                  </a:lnTo>
                  <a:lnTo>
                    <a:pt x="91" y="526"/>
                  </a:lnTo>
                  <a:lnTo>
                    <a:pt x="91" y="526"/>
                  </a:lnTo>
                  <a:lnTo>
                    <a:pt x="95" y="526"/>
                  </a:lnTo>
                  <a:lnTo>
                    <a:pt x="97" y="525"/>
                  </a:lnTo>
                  <a:lnTo>
                    <a:pt x="98" y="522"/>
                  </a:lnTo>
                  <a:lnTo>
                    <a:pt x="99" y="520"/>
                  </a:lnTo>
                  <a:lnTo>
                    <a:pt x="99" y="520"/>
                  </a:lnTo>
                  <a:lnTo>
                    <a:pt x="99" y="518"/>
                  </a:lnTo>
                  <a:lnTo>
                    <a:pt x="99" y="517"/>
                  </a:lnTo>
                  <a:lnTo>
                    <a:pt x="97" y="513"/>
                  </a:lnTo>
                  <a:lnTo>
                    <a:pt x="95" y="512"/>
                  </a:lnTo>
                  <a:lnTo>
                    <a:pt x="95" y="512"/>
                  </a:lnTo>
                  <a:lnTo>
                    <a:pt x="95" y="512"/>
                  </a:lnTo>
                  <a:lnTo>
                    <a:pt x="97" y="504"/>
                  </a:lnTo>
                  <a:lnTo>
                    <a:pt x="97" y="504"/>
                  </a:lnTo>
                  <a:lnTo>
                    <a:pt x="100" y="498"/>
                  </a:lnTo>
                  <a:lnTo>
                    <a:pt x="103" y="493"/>
                  </a:lnTo>
                  <a:lnTo>
                    <a:pt x="105" y="491"/>
                  </a:lnTo>
                  <a:lnTo>
                    <a:pt x="107" y="489"/>
                  </a:lnTo>
                  <a:lnTo>
                    <a:pt x="112" y="488"/>
                  </a:lnTo>
                  <a:lnTo>
                    <a:pt x="113" y="488"/>
                  </a:lnTo>
                  <a:lnTo>
                    <a:pt x="113" y="488"/>
                  </a:lnTo>
                  <a:lnTo>
                    <a:pt x="112" y="485"/>
                  </a:lnTo>
                  <a:lnTo>
                    <a:pt x="111" y="482"/>
                  </a:lnTo>
                  <a:lnTo>
                    <a:pt x="110" y="478"/>
                  </a:lnTo>
                  <a:lnTo>
                    <a:pt x="111" y="475"/>
                  </a:lnTo>
                  <a:lnTo>
                    <a:pt x="112" y="470"/>
                  </a:lnTo>
                  <a:lnTo>
                    <a:pt x="114" y="466"/>
                  </a:lnTo>
                  <a:lnTo>
                    <a:pt x="114" y="466"/>
                  </a:lnTo>
                  <a:lnTo>
                    <a:pt x="119" y="454"/>
                  </a:lnTo>
                  <a:lnTo>
                    <a:pt x="121" y="446"/>
                  </a:lnTo>
                  <a:lnTo>
                    <a:pt x="121" y="446"/>
                  </a:lnTo>
                  <a:lnTo>
                    <a:pt x="121" y="443"/>
                  </a:lnTo>
                  <a:lnTo>
                    <a:pt x="119" y="440"/>
                  </a:lnTo>
                  <a:lnTo>
                    <a:pt x="117" y="438"/>
                  </a:lnTo>
                  <a:lnTo>
                    <a:pt x="114" y="437"/>
                  </a:lnTo>
                  <a:lnTo>
                    <a:pt x="114" y="437"/>
                  </a:lnTo>
                  <a:lnTo>
                    <a:pt x="111" y="438"/>
                  </a:lnTo>
                  <a:lnTo>
                    <a:pt x="108" y="439"/>
                  </a:lnTo>
                  <a:lnTo>
                    <a:pt x="106" y="441"/>
                  </a:lnTo>
                  <a:lnTo>
                    <a:pt x="105" y="444"/>
                  </a:lnTo>
                  <a:lnTo>
                    <a:pt x="105" y="444"/>
                  </a:lnTo>
                  <a:lnTo>
                    <a:pt x="105" y="447"/>
                  </a:lnTo>
                  <a:lnTo>
                    <a:pt x="106" y="450"/>
                  </a:lnTo>
                  <a:lnTo>
                    <a:pt x="108" y="452"/>
                  </a:lnTo>
                  <a:lnTo>
                    <a:pt x="111" y="453"/>
                  </a:lnTo>
                  <a:lnTo>
                    <a:pt x="112" y="453"/>
                  </a:lnTo>
                  <a:lnTo>
                    <a:pt x="112" y="453"/>
                  </a:lnTo>
                  <a:lnTo>
                    <a:pt x="108" y="463"/>
                  </a:lnTo>
                  <a:lnTo>
                    <a:pt x="104" y="469"/>
                  </a:lnTo>
                  <a:lnTo>
                    <a:pt x="104" y="469"/>
                  </a:lnTo>
                  <a:lnTo>
                    <a:pt x="99" y="467"/>
                  </a:lnTo>
                  <a:lnTo>
                    <a:pt x="99" y="467"/>
                  </a:lnTo>
                  <a:lnTo>
                    <a:pt x="75" y="454"/>
                  </a:lnTo>
                  <a:lnTo>
                    <a:pt x="63" y="450"/>
                  </a:lnTo>
                  <a:lnTo>
                    <a:pt x="50" y="446"/>
                  </a:lnTo>
                  <a:lnTo>
                    <a:pt x="50" y="446"/>
                  </a:lnTo>
                  <a:lnTo>
                    <a:pt x="51" y="443"/>
                  </a:lnTo>
                  <a:lnTo>
                    <a:pt x="51" y="443"/>
                  </a:lnTo>
                  <a:lnTo>
                    <a:pt x="54" y="437"/>
                  </a:lnTo>
                  <a:lnTo>
                    <a:pt x="55" y="435"/>
                  </a:lnTo>
                  <a:lnTo>
                    <a:pt x="55" y="435"/>
                  </a:lnTo>
                  <a:lnTo>
                    <a:pt x="54" y="436"/>
                  </a:lnTo>
                  <a:lnTo>
                    <a:pt x="50" y="438"/>
                  </a:lnTo>
                  <a:lnTo>
                    <a:pt x="50" y="438"/>
                  </a:lnTo>
                  <a:lnTo>
                    <a:pt x="44" y="440"/>
                  </a:lnTo>
                  <a:lnTo>
                    <a:pt x="39" y="441"/>
                  </a:lnTo>
                  <a:lnTo>
                    <a:pt x="39" y="441"/>
                  </a:lnTo>
                  <a:lnTo>
                    <a:pt x="37" y="441"/>
                  </a:lnTo>
                  <a:lnTo>
                    <a:pt x="35" y="441"/>
                  </a:lnTo>
                  <a:lnTo>
                    <a:pt x="35" y="441"/>
                  </a:lnTo>
                  <a:lnTo>
                    <a:pt x="32" y="443"/>
                  </a:lnTo>
                  <a:lnTo>
                    <a:pt x="31" y="448"/>
                  </a:lnTo>
                  <a:lnTo>
                    <a:pt x="31" y="448"/>
                  </a:lnTo>
                  <a:lnTo>
                    <a:pt x="28" y="455"/>
                  </a:lnTo>
                  <a:lnTo>
                    <a:pt x="28" y="455"/>
                  </a:lnTo>
                  <a:lnTo>
                    <a:pt x="26" y="459"/>
                  </a:lnTo>
                  <a:lnTo>
                    <a:pt x="25" y="461"/>
                  </a:lnTo>
                  <a:close/>
                  <a:moveTo>
                    <a:pt x="30" y="76"/>
                  </a:moveTo>
                  <a:lnTo>
                    <a:pt x="30" y="76"/>
                  </a:lnTo>
                  <a:lnTo>
                    <a:pt x="40" y="75"/>
                  </a:lnTo>
                  <a:lnTo>
                    <a:pt x="45" y="74"/>
                  </a:lnTo>
                  <a:lnTo>
                    <a:pt x="45" y="51"/>
                  </a:lnTo>
                  <a:lnTo>
                    <a:pt x="45" y="51"/>
                  </a:lnTo>
                  <a:lnTo>
                    <a:pt x="33" y="49"/>
                  </a:lnTo>
                  <a:lnTo>
                    <a:pt x="33" y="49"/>
                  </a:lnTo>
                  <a:lnTo>
                    <a:pt x="30" y="49"/>
                  </a:lnTo>
                  <a:lnTo>
                    <a:pt x="26" y="50"/>
                  </a:lnTo>
                  <a:lnTo>
                    <a:pt x="25" y="51"/>
                  </a:lnTo>
                  <a:lnTo>
                    <a:pt x="23" y="53"/>
                  </a:lnTo>
                  <a:lnTo>
                    <a:pt x="22" y="57"/>
                  </a:lnTo>
                  <a:lnTo>
                    <a:pt x="22" y="59"/>
                  </a:lnTo>
                  <a:lnTo>
                    <a:pt x="23" y="66"/>
                  </a:lnTo>
                  <a:lnTo>
                    <a:pt x="23" y="66"/>
                  </a:lnTo>
                  <a:lnTo>
                    <a:pt x="24" y="70"/>
                  </a:lnTo>
                  <a:lnTo>
                    <a:pt x="26" y="74"/>
                  </a:lnTo>
                  <a:lnTo>
                    <a:pt x="28" y="75"/>
                  </a:lnTo>
                  <a:lnTo>
                    <a:pt x="30" y="76"/>
                  </a:lnTo>
                  <a:close/>
                  <a:moveTo>
                    <a:pt x="87" y="67"/>
                  </a:moveTo>
                  <a:lnTo>
                    <a:pt x="87" y="67"/>
                  </a:lnTo>
                  <a:lnTo>
                    <a:pt x="87" y="60"/>
                  </a:lnTo>
                  <a:lnTo>
                    <a:pt x="87" y="60"/>
                  </a:lnTo>
                  <a:lnTo>
                    <a:pt x="87" y="47"/>
                  </a:lnTo>
                  <a:lnTo>
                    <a:pt x="87" y="47"/>
                  </a:lnTo>
                  <a:lnTo>
                    <a:pt x="87" y="45"/>
                  </a:lnTo>
                  <a:lnTo>
                    <a:pt x="85" y="44"/>
                  </a:lnTo>
                  <a:lnTo>
                    <a:pt x="84" y="43"/>
                  </a:lnTo>
                  <a:lnTo>
                    <a:pt x="84" y="43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78" y="47"/>
                  </a:lnTo>
                  <a:lnTo>
                    <a:pt x="76" y="43"/>
                  </a:lnTo>
                  <a:lnTo>
                    <a:pt x="76" y="43"/>
                  </a:lnTo>
                  <a:lnTo>
                    <a:pt x="70" y="43"/>
                  </a:lnTo>
                  <a:lnTo>
                    <a:pt x="70" y="43"/>
                  </a:lnTo>
                  <a:lnTo>
                    <a:pt x="69" y="47"/>
                  </a:lnTo>
                  <a:lnTo>
                    <a:pt x="67" y="43"/>
                  </a:lnTo>
                  <a:lnTo>
                    <a:pt x="67" y="43"/>
                  </a:lnTo>
                  <a:lnTo>
                    <a:pt x="61" y="43"/>
                  </a:lnTo>
                  <a:lnTo>
                    <a:pt x="61" y="43"/>
                  </a:lnTo>
                  <a:lnTo>
                    <a:pt x="59" y="47"/>
                  </a:lnTo>
                  <a:lnTo>
                    <a:pt x="58" y="43"/>
                  </a:lnTo>
                  <a:lnTo>
                    <a:pt x="58" y="43"/>
                  </a:lnTo>
                  <a:lnTo>
                    <a:pt x="54" y="43"/>
                  </a:lnTo>
                  <a:lnTo>
                    <a:pt x="54" y="43"/>
                  </a:lnTo>
                  <a:lnTo>
                    <a:pt x="53" y="44"/>
                  </a:lnTo>
                  <a:lnTo>
                    <a:pt x="52" y="45"/>
                  </a:lnTo>
                  <a:lnTo>
                    <a:pt x="51" y="47"/>
                  </a:lnTo>
                  <a:lnTo>
                    <a:pt x="51" y="47"/>
                  </a:lnTo>
                  <a:lnTo>
                    <a:pt x="51" y="60"/>
                  </a:lnTo>
                  <a:lnTo>
                    <a:pt x="51" y="60"/>
                  </a:lnTo>
                  <a:lnTo>
                    <a:pt x="52" y="74"/>
                  </a:lnTo>
                  <a:lnTo>
                    <a:pt x="52" y="74"/>
                  </a:lnTo>
                  <a:lnTo>
                    <a:pt x="54" y="74"/>
                  </a:lnTo>
                  <a:lnTo>
                    <a:pt x="57" y="73"/>
                  </a:lnTo>
                  <a:lnTo>
                    <a:pt x="57" y="73"/>
                  </a:lnTo>
                  <a:lnTo>
                    <a:pt x="59" y="69"/>
                  </a:lnTo>
                  <a:lnTo>
                    <a:pt x="59" y="68"/>
                  </a:lnTo>
                  <a:lnTo>
                    <a:pt x="59" y="68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2" y="76"/>
                  </a:lnTo>
                  <a:lnTo>
                    <a:pt x="63" y="75"/>
                  </a:lnTo>
                  <a:lnTo>
                    <a:pt x="66" y="74"/>
                  </a:lnTo>
                  <a:lnTo>
                    <a:pt x="66" y="74"/>
                  </a:lnTo>
                  <a:lnTo>
                    <a:pt x="68" y="70"/>
                  </a:lnTo>
                  <a:lnTo>
                    <a:pt x="69" y="68"/>
                  </a:lnTo>
                  <a:lnTo>
                    <a:pt x="69" y="68"/>
                  </a:lnTo>
                  <a:lnTo>
                    <a:pt x="69" y="76"/>
                  </a:lnTo>
                  <a:lnTo>
                    <a:pt x="69" y="76"/>
                  </a:lnTo>
                  <a:lnTo>
                    <a:pt x="72" y="75"/>
                  </a:lnTo>
                  <a:lnTo>
                    <a:pt x="75" y="74"/>
                  </a:lnTo>
                  <a:lnTo>
                    <a:pt x="75" y="74"/>
                  </a:lnTo>
                  <a:lnTo>
                    <a:pt x="77" y="70"/>
                  </a:lnTo>
                  <a:lnTo>
                    <a:pt x="78" y="68"/>
                  </a:lnTo>
                  <a:lnTo>
                    <a:pt x="78" y="68"/>
                  </a:lnTo>
                  <a:lnTo>
                    <a:pt x="78" y="74"/>
                  </a:lnTo>
                  <a:lnTo>
                    <a:pt x="78" y="74"/>
                  </a:lnTo>
                  <a:lnTo>
                    <a:pt x="81" y="73"/>
                  </a:lnTo>
                  <a:lnTo>
                    <a:pt x="81" y="73"/>
                  </a:lnTo>
                  <a:lnTo>
                    <a:pt x="83" y="72"/>
                  </a:lnTo>
                  <a:lnTo>
                    <a:pt x="83" y="72"/>
                  </a:lnTo>
                  <a:lnTo>
                    <a:pt x="85" y="70"/>
                  </a:lnTo>
                  <a:lnTo>
                    <a:pt x="87" y="67"/>
                  </a:lnTo>
                  <a:close/>
                  <a:moveTo>
                    <a:pt x="99" y="80"/>
                  </a:moveTo>
                  <a:lnTo>
                    <a:pt x="99" y="72"/>
                  </a:lnTo>
                  <a:lnTo>
                    <a:pt x="99" y="72"/>
                  </a:lnTo>
                  <a:lnTo>
                    <a:pt x="98" y="70"/>
                  </a:lnTo>
                  <a:lnTo>
                    <a:pt x="97" y="67"/>
                  </a:lnTo>
                  <a:lnTo>
                    <a:pt x="96" y="62"/>
                  </a:lnTo>
                  <a:lnTo>
                    <a:pt x="96" y="62"/>
                  </a:lnTo>
                  <a:lnTo>
                    <a:pt x="97" y="60"/>
                  </a:lnTo>
                  <a:lnTo>
                    <a:pt x="98" y="57"/>
                  </a:lnTo>
                  <a:lnTo>
                    <a:pt x="99" y="54"/>
                  </a:lnTo>
                  <a:lnTo>
                    <a:pt x="99" y="47"/>
                  </a:lnTo>
                  <a:lnTo>
                    <a:pt x="99" y="47"/>
                  </a:lnTo>
                  <a:lnTo>
                    <a:pt x="97" y="45"/>
                  </a:lnTo>
                  <a:lnTo>
                    <a:pt x="95" y="44"/>
                  </a:lnTo>
                  <a:lnTo>
                    <a:pt x="92" y="44"/>
                  </a:lnTo>
                  <a:lnTo>
                    <a:pt x="92" y="69"/>
                  </a:lnTo>
                  <a:lnTo>
                    <a:pt x="92" y="69"/>
                  </a:lnTo>
                  <a:lnTo>
                    <a:pt x="91" y="73"/>
                  </a:lnTo>
                  <a:lnTo>
                    <a:pt x="89" y="76"/>
                  </a:lnTo>
                  <a:lnTo>
                    <a:pt x="84" y="79"/>
                  </a:lnTo>
                  <a:lnTo>
                    <a:pt x="81" y="80"/>
                  </a:lnTo>
                  <a:lnTo>
                    <a:pt x="81" y="80"/>
                  </a:lnTo>
                  <a:lnTo>
                    <a:pt x="72" y="81"/>
                  </a:lnTo>
                  <a:lnTo>
                    <a:pt x="63" y="82"/>
                  </a:lnTo>
                  <a:lnTo>
                    <a:pt x="55" y="82"/>
                  </a:lnTo>
                  <a:lnTo>
                    <a:pt x="55" y="82"/>
                  </a:lnTo>
                  <a:lnTo>
                    <a:pt x="57" y="88"/>
                  </a:lnTo>
                  <a:lnTo>
                    <a:pt x="57" y="88"/>
                  </a:lnTo>
                  <a:lnTo>
                    <a:pt x="59" y="91"/>
                  </a:lnTo>
                  <a:lnTo>
                    <a:pt x="60" y="92"/>
                  </a:lnTo>
                  <a:lnTo>
                    <a:pt x="91" y="92"/>
                  </a:lnTo>
                  <a:lnTo>
                    <a:pt x="99" y="80"/>
                  </a:lnTo>
                  <a:close/>
                  <a:moveTo>
                    <a:pt x="60" y="110"/>
                  </a:moveTo>
                  <a:lnTo>
                    <a:pt x="91" y="110"/>
                  </a:lnTo>
                  <a:lnTo>
                    <a:pt x="91" y="110"/>
                  </a:lnTo>
                  <a:lnTo>
                    <a:pt x="93" y="104"/>
                  </a:lnTo>
                  <a:lnTo>
                    <a:pt x="91" y="98"/>
                  </a:lnTo>
                  <a:lnTo>
                    <a:pt x="60" y="98"/>
                  </a:lnTo>
                  <a:lnTo>
                    <a:pt x="59" y="104"/>
                  </a:lnTo>
                  <a:lnTo>
                    <a:pt x="60" y="110"/>
                  </a:lnTo>
                  <a:close/>
                  <a:moveTo>
                    <a:pt x="91" y="116"/>
                  </a:moveTo>
                  <a:lnTo>
                    <a:pt x="61" y="116"/>
                  </a:lnTo>
                  <a:lnTo>
                    <a:pt x="61" y="155"/>
                  </a:lnTo>
                  <a:lnTo>
                    <a:pt x="87" y="156"/>
                  </a:lnTo>
                  <a:lnTo>
                    <a:pt x="96" y="149"/>
                  </a:lnTo>
                  <a:lnTo>
                    <a:pt x="91" y="116"/>
                  </a:lnTo>
                  <a:close/>
                  <a:moveTo>
                    <a:pt x="105" y="165"/>
                  </a:moveTo>
                  <a:lnTo>
                    <a:pt x="105" y="165"/>
                  </a:lnTo>
                  <a:lnTo>
                    <a:pt x="99" y="161"/>
                  </a:lnTo>
                  <a:lnTo>
                    <a:pt x="99" y="161"/>
                  </a:lnTo>
                  <a:lnTo>
                    <a:pt x="99" y="155"/>
                  </a:lnTo>
                  <a:lnTo>
                    <a:pt x="89" y="162"/>
                  </a:lnTo>
                  <a:lnTo>
                    <a:pt x="60" y="162"/>
                  </a:lnTo>
                  <a:lnTo>
                    <a:pt x="60" y="162"/>
                  </a:lnTo>
                  <a:lnTo>
                    <a:pt x="59" y="172"/>
                  </a:lnTo>
                  <a:lnTo>
                    <a:pt x="59" y="184"/>
                  </a:lnTo>
                  <a:lnTo>
                    <a:pt x="59" y="184"/>
                  </a:lnTo>
                  <a:lnTo>
                    <a:pt x="67" y="190"/>
                  </a:lnTo>
                  <a:lnTo>
                    <a:pt x="75" y="195"/>
                  </a:lnTo>
                  <a:lnTo>
                    <a:pt x="95" y="171"/>
                  </a:lnTo>
                  <a:lnTo>
                    <a:pt x="105" y="165"/>
                  </a:lnTo>
                  <a:close/>
                  <a:moveTo>
                    <a:pt x="98" y="175"/>
                  </a:moveTo>
                  <a:lnTo>
                    <a:pt x="81" y="198"/>
                  </a:lnTo>
                  <a:lnTo>
                    <a:pt x="110" y="210"/>
                  </a:lnTo>
                  <a:lnTo>
                    <a:pt x="110" y="210"/>
                  </a:lnTo>
                  <a:lnTo>
                    <a:pt x="124" y="202"/>
                  </a:lnTo>
                  <a:lnTo>
                    <a:pt x="136" y="194"/>
                  </a:lnTo>
                  <a:lnTo>
                    <a:pt x="150" y="185"/>
                  </a:lnTo>
                  <a:lnTo>
                    <a:pt x="108" y="170"/>
                  </a:lnTo>
                  <a:lnTo>
                    <a:pt x="98" y="175"/>
                  </a:lnTo>
                  <a:close/>
                  <a:moveTo>
                    <a:pt x="114" y="55"/>
                  </a:moveTo>
                  <a:lnTo>
                    <a:pt x="114" y="55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7" y="29"/>
                  </a:lnTo>
                  <a:lnTo>
                    <a:pt x="117" y="29"/>
                  </a:lnTo>
                  <a:lnTo>
                    <a:pt x="117" y="27"/>
                  </a:lnTo>
                  <a:lnTo>
                    <a:pt x="115" y="24"/>
                  </a:lnTo>
                  <a:lnTo>
                    <a:pt x="102" y="24"/>
                  </a:lnTo>
                  <a:lnTo>
                    <a:pt x="102" y="24"/>
                  </a:lnTo>
                  <a:lnTo>
                    <a:pt x="102" y="28"/>
                  </a:lnTo>
                  <a:lnTo>
                    <a:pt x="102" y="28"/>
                  </a:lnTo>
                  <a:lnTo>
                    <a:pt x="103" y="30"/>
                  </a:lnTo>
                  <a:lnTo>
                    <a:pt x="104" y="31"/>
                  </a:lnTo>
                  <a:lnTo>
                    <a:pt x="104" y="55"/>
                  </a:lnTo>
                  <a:lnTo>
                    <a:pt x="104" y="55"/>
                  </a:lnTo>
                  <a:lnTo>
                    <a:pt x="103" y="57"/>
                  </a:lnTo>
                  <a:lnTo>
                    <a:pt x="102" y="62"/>
                  </a:lnTo>
                  <a:lnTo>
                    <a:pt x="102" y="62"/>
                  </a:lnTo>
                  <a:lnTo>
                    <a:pt x="102" y="66"/>
                  </a:lnTo>
                  <a:lnTo>
                    <a:pt x="103" y="69"/>
                  </a:lnTo>
                  <a:lnTo>
                    <a:pt x="104" y="72"/>
                  </a:lnTo>
                  <a:lnTo>
                    <a:pt x="104" y="91"/>
                  </a:lnTo>
                  <a:lnTo>
                    <a:pt x="104" y="91"/>
                  </a:lnTo>
                  <a:lnTo>
                    <a:pt x="103" y="92"/>
                  </a:lnTo>
                  <a:lnTo>
                    <a:pt x="103" y="95"/>
                  </a:lnTo>
                  <a:lnTo>
                    <a:pt x="103" y="95"/>
                  </a:lnTo>
                  <a:lnTo>
                    <a:pt x="103" y="98"/>
                  </a:lnTo>
                  <a:lnTo>
                    <a:pt x="117" y="98"/>
                  </a:lnTo>
                  <a:lnTo>
                    <a:pt x="117" y="98"/>
                  </a:lnTo>
                  <a:lnTo>
                    <a:pt x="117" y="94"/>
                  </a:lnTo>
                  <a:lnTo>
                    <a:pt x="117" y="94"/>
                  </a:lnTo>
                  <a:lnTo>
                    <a:pt x="114" y="91"/>
                  </a:lnTo>
                  <a:lnTo>
                    <a:pt x="114" y="72"/>
                  </a:lnTo>
                  <a:lnTo>
                    <a:pt x="114" y="72"/>
                  </a:lnTo>
                  <a:lnTo>
                    <a:pt x="117" y="68"/>
                  </a:lnTo>
                  <a:lnTo>
                    <a:pt x="118" y="66"/>
                  </a:lnTo>
                  <a:lnTo>
                    <a:pt x="118" y="64"/>
                  </a:lnTo>
                  <a:lnTo>
                    <a:pt x="118" y="64"/>
                  </a:lnTo>
                  <a:lnTo>
                    <a:pt x="117" y="58"/>
                  </a:lnTo>
                  <a:lnTo>
                    <a:pt x="114" y="55"/>
                  </a:lnTo>
                  <a:close/>
                  <a:moveTo>
                    <a:pt x="144" y="75"/>
                  </a:moveTo>
                  <a:lnTo>
                    <a:pt x="167" y="52"/>
                  </a:lnTo>
                  <a:lnTo>
                    <a:pt x="167" y="52"/>
                  </a:lnTo>
                  <a:lnTo>
                    <a:pt x="135" y="52"/>
                  </a:lnTo>
                  <a:lnTo>
                    <a:pt x="135" y="52"/>
                  </a:lnTo>
                  <a:lnTo>
                    <a:pt x="132" y="51"/>
                  </a:lnTo>
                  <a:lnTo>
                    <a:pt x="127" y="49"/>
                  </a:lnTo>
                  <a:lnTo>
                    <a:pt x="124" y="46"/>
                  </a:lnTo>
                  <a:lnTo>
                    <a:pt x="121" y="46"/>
                  </a:lnTo>
                  <a:lnTo>
                    <a:pt x="121" y="46"/>
                  </a:lnTo>
                  <a:lnTo>
                    <a:pt x="119" y="53"/>
                  </a:lnTo>
                  <a:lnTo>
                    <a:pt x="119" y="53"/>
                  </a:lnTo>
                  <a:lnTo>
                    <a:pt x="121" y="57"/>
                  </a:lnTo>
                  <a:lnTo>
                    <a:pt x="122" y="59"/>
                  </a:lnTo>
                  <a:lnTo>
                    <a:pt x="122" y="64"/>
                  </a:lnTo>
                  <a:lnTo>
                    <a:pt x="122" y="64"/>
                  </a:lnTo>
                  <a:lnTo>
                    <a:pt x="122" y="67"/>
                  </a:lnTo>
                  <a:lnTo>
                    <a:pt x="121" y="70"/>
                  </a:lnTo>
                  <a:lnTo>
                    <a:pt x="119" y="73"/>
                  </a:lnTo>
                  <a:lnTo>
                    <a:pt x="119" y="73"/>
                  </a:lnTo>
                  <a:lnTo>
                    <a:pt x="122" y="81"/>
                  </a:lnTo>
                  <a:lnTo>
                    <a:pt x="122" y="81"/>
                  </a:lnTo>
                  <a:lnTo>
                    <a:pt x="127" y="79"/>
                  </a:lnTo>
                  <a:lnTo>
                    <a:pt x="135" y="75"/>
                  </a:lnTo>
                  <a:lnTo>
                    <a:pt x="135" y="75"/>
                  </a:lnTo>
                  <a:lnTo>
                    <a:pt x="144" y="75"/>
                  </a:lnTo>
                  <a:close/>
                  <a:moveTo>
                    <a:pt x="245" y="75"/>
                  </a:moveTo>
                  <a:lnTo>
                    <a:pt x="274" y="38"/>
                  </a:lnTo>
                  <a:lnTo>
                    <a:pt x="274" y="38"/>
                  </a:lnTo>
                  <a:lnTo>
                    <a:pt x="271" y="37"/>
                  </a:lnTo>
                  <a:lnTo>
                    <a:pt x="269" y="38"/>
                  </a:lnTo>
                  <a:lnTo>
                    <a:pt x="267" y="39"/>
                  </a:lnTo>
                  <a:lnTo>
                    <a:pt x="267" y="39"/>
                  </a:lnTo>
                  <a:lnTo>
                    <a:pt x="264" y="40"/>
                  </a:lnTo>
                  <a:lnTo>
                    <a:pt x="263" y="44"/>
                  </a:lnTo>
                  <a:lnTo>
                    <a:pt x="262" y="47"/>
                  </a:lnTo>
                  <a:lnTo>
                    <a:pt x="262" y="47"/>
                  </a:lnTo>
                  <a:lnTo>
                    <a:pt x="261" y="45"/>
                  </a:lnTo>
                  <a:lnTo>
                    <a:pt x="259" y="44"/>
                  </a:lnTo>
                  <a:lnTo>
                    <a:pt x="255" y="44"/>
                  </a:lnTo>
                  <a:lnTo>
                    <a:pt x="252" y="44"/>
                  </a:lnTo>
                  <a:lnTo>
                    <a:pt x="251" y="45"/>
                  </a:lnTo>
                  <a:lnTo>
                    <a:pt x="251" y="45"/>
                  </a:lnTo>
                  <a:lnTo>
                    <a:pt x="253" y="51"/>
                  </a:lnTo>
                  <a:lnTo>
                    <a:pt x="253" y="54"/>
                  </a:lnTo>
                  <a:lnTo>
                    <a:pt x="251" y="57"/>
                  </a:lnTo>
                  <a:lnTo>
                    <a:pt x="247" y="57"/>
                  </a:lnTo>
                  <a:lnTo>
                    <a:pt x="247" y="57"/>
                  </a:lnTo>
                  <a:lnTo>
                    <a:pt x="245" y="55"/>
                  </a:lnTo>
                  <a:lnTo>
                    <a:pt x="244" y="53"/>
                  </a:lnTo>
                  <a:lnTo>
                    <a:pt x="244" y="50"/>
                  </a:lnTo>
                  <a:lnTo>
                    <a:pt x="244" y="50"/>
                  </a:lnTo>
                  <a:lnTo>
                    <a:pt x="240" y="52"/>
                  </a:lnTo>
                  <a:lnTo>
                    <a:pt x="237" y="52"/>
                  </a:lnTo>
                  <a:lnTo>
                    <a:pt x="234" y="50"/>
                  </a:lnTo>
                  <a:lnTo>
                    <a:pt x="234" y="50"/>
                  </a:lnTo>
                  <a:lnTo>
                    <a:pt x="233" y="47"/>
                  </a:lnTo>
                  <a:lnTo>
                    <a:pt x="234" y="44"/>
                  </a:lnTo>
                  <a:lnTo>
                    <a:pt x="238" y="43"/>
                  </a:lnTo>
                  <a:lnTo>
                    <a:pt x="244" y="42"/>
                  </a:lnTo>
                  <a:lnTo>
                    <a:pt x="244" y="42"/>
                  </a:lnTo>
                  <a:lnTo>
                    <a:pt x="244" y="38"/>
                  </a:lnTo>
                  <a:lnTo>
                    <a:pt x="243" y="36"/>
                  </a:lnTo>
                  <a:lnTo>
                    <a:pt x="240" y="34"/>
                  </a:lnTo>
                  <a:lnTo>
                    <a:pt x="240" y="34"/>
                  </a:lnTo>
                  <a:lnTo>
                    <a:pt x="237" y="32"/>
                  </a:lnTo>
                  <a:lnTo>
                    <a:pt x="233" y="32"/>
                  </a:lnTo>
                  <a:lnTo>
                    <a:pt x="231" y="34"/>
                  </a:lnTo>
                  <a:lnTo>
                    <a:pt x="231" y="34"/>
                  </a:lnTo>
                  <a:lnTo>
                    <a:pt x="232" y="32"/>
                  </a:lnTo>
                  <a:lnTo>
                    <a:pt x="234" y="30"/>
                  </a:lnTo>
                  <a:lnTo>
                    <a:pt x="236" y="28"/>
                  </a:lnTo>
                  <a:lnTo>
                    <a:pt x="236" y="28"/>
                  </a:lnTo>
                  <a:lnTo>
                    <a:pt x="234" y="22"/>
                  </a:lnTo>
                  <a:lnTo>
                    <a:pt x="233" y="20"/>
                  </a:lnTo>
                  <a:lnTo>
                    <a:pt x="232" y="16"/>
                  </a:lnTo>
                  <a:lnTo>
                    <a:pt x="231" y="16"/>
                  </a:lnTo>
                  <a:lnTo>
                    <a:pt x="231" y="16"/>
                  </a:lnTo>
                  <a:lnTo>
                    <a:pt x="231" y="16"/>
                  </a:lnTo>
                  <a:lnTo>
                    <a:pt x="227" y="17"/>
                  </a:lnTo>
                  <a:lnTo>
                    <a:pt x="225" y="18"/>
                  </a:lnTo>
                  <a:lnTo>
                    <a:pt x="221" y="21"/>
                  </a:lnTo>
                  <a:lnTo>
                    <a:pt x="221" y="21"/>
                  </a:lnTo>
                  <a:lnTo>
                    <a:pt x="219" y="24"/>
                  </a:lnTo>
                  <a:lnTo>
                    <a:pt x="219" y="27"/>
                  </a:lnTo>
                  <a:lnTo>
                    <a:pt x="219" y="29"/>
                  </a:lnTo>
                  <a:lnTo>
                    <a:pt x="219" y="29"/>
                  </a:lnTo>
                  <a:lnTo>
                    <a:pt x="218" y="25"/>
                  </a:lnTo>
                  <a:lnTo>
                    <a:pt x="216" y="23"/>
                  </a:lnTo>
                  <a:lnTo>
                    <a:pt x="214" y="22"/>
                  </a:lnTo>
                  <a:lnTo>
                    <a:pt x="214" y="22"/>
                  </a:lnTo>
                  <a:lnTo>
                    <a:pt x="210" y="22"/>
                  </a:lnTo>
                  <a:lnTo>
                    <a:pt x="207" y="23"/>
                  </a:lnTo>
                  <a:lnTo>
                    <a:pt x="204" y="24"/>
                  </a:lnTo>
                  <a:lnTo>
                    <a:pt x="204" y="24"/>
                  </a:lnTo>
                  <a:lnTo>
                    <a:pt x="208" y="29"/>
                  </a:lnTo>
                  <a:lnTo>
                    <a:pt x="209" y="34"/>
                  </a:lnTo>
                  <a:lnTo>
                    <a:pt x="208" y="36"/>
                  </a:lnTo>
                  <a:lnTo>
                    <a:pt x="206" y="37"/>
                  </a:lnTo>
                  <a:lnTo>
                    <a:pt x="206" y="37"/>
                  </a:lnTo>
                  <a:lnTo>
                    <a:pt x="202" y="36"/>
                  </a:lnTo>
                  <a:lnTo>
                    <a:pt x="200" y="34"/>
                  </a:lnTo>
                  <a:lnTo>
                    <a:pt x="199" y="30"/>
                  </a:lnTo>
                  <a:lnTo>
                    <a:pt x="199" y="30"/>
                  </a:lnTo>
                  <a:lnTo>
                    <a:pt x="196" y="32"/>
                  </a:lnTo>
                  <a:lnTo>
                    <a:pt x="194" y="34"/>
                  </a:lnTo>
                  <a:lnTo>
                    <a:pt x="191" y="32"/>
                  </a:lnTo>
                  <a:lnTo>
                    <a:pt x="191" y="32"/>
                  </a:lnTo>
                  <a:lnTo>
                    <a:pt x="189" y="30"/>
                  </a:lnTo>
                  <a:lnTo>
                    <a:pt x="189" y="27"/>
                  </a:lnTo>
                  <a:lnTo>
                    <a:pt x="192" y="24"/>
                  </a:lnTo>
                  <a:lnTo>
                    <a:pt x="197" y="22"/>
                  </a:lnTo>
                  <a:lnTo>
                    <a:pt x="197" y="22"/>
                  </a:lnTo>
                  <a:lnTo>
                    <a:pt x="197" y="21"/>
                  </a:lnTo>
                  <a:lnTo>
                    <a:pt x="195" y="17"/>
                  </a:lnTo>
                  <a:lnTo>
                    <a:pt x="193" y="15"/>
                  </a:lnTo>
                  <a:lnTo>
                    <a:pt x="191" y="14"/>
                  </a:lnTo>
                  <a:lnTo>
                    <a:pt x="188" y="15"/>
                  </a:lnTo>
                  <a:lnTo>
                    <a:pt x="188" y="15"/>
                  </a:lnTo>
                  <a:lnTo>
                    <a:pt x="191" y="12"/>
                  </a:lnTo>
                  <a:lnTo>
                    <a:pt x="192" y="9"/>
                  </a:lnTo>
                  <a:lnTo>
                    <a:pt x="192" y="6"/>
                  </a:lnTo>
                  <a:lnTo>
                    <a:pt x="192" y="6"/>
                  </a:lnTo>
                  <a:lnTo>
                    <a:pt x="191" y="3"/>
                  </a:lnTo>
                  <a:lnTo>
                    <a:pt x="188" y="1"/>
                  </a:lnTo>
                  <a:lnTo>
                    <a:pt x="187" y="0"/>
                  </a:lnTo>
                  <a:lnTo>
                    <a:pt x="179" y="46"/>
                  </a:lnTo>
                  <a:lnTo>
                    <a:pt x="200" y="55"/>
                  </a:lnTo>
                  <a:lnTo>
                    <a:pt x="200" y="55"/>
                  </a:lnTo>
                  <a:lnTo>
                    <a:pt x="207" y="52"/>
                  </a:lnTo>
                  <a:lnTo>
                    <a:pt x="207" y="52"/>
                  </a:lnTo>
                  <a:lnTo>
                    <a:pt x="211" y="50"/>
                  </a:lnTo>
                  <a:lnTo>
                    <a:pt x="216" y="50"/>
                  </a:lnTo>
                  <a:lnTo>
                    <a:pt x="219" y="51"/>
                  </a:lnTo>
                  <a:lnTo>
                    <a:pt x="223" y="52"/>
                  </a:lnTo>
                  <a:lnTo>
                    <a:pt x="223" y="52"/>
                  </a:lnTo>
                  <a:lnTo>
                    <a:pt x="227" y="54"/>
                  </a:lnTo>
                  <a:lnTo>
                    <a:pt x="230" y="57"/>
                  </a:lnTo>
                  <a:lnTo>
                    <a:pt x="231" y="60"/>
                  </a:lnTo>
                  <a:lnTo>
                    <a:pt x="232" y="62"/>
                  </a:lnTo>
                  <a:lnTo>
                    <a:pt x="232" y="62"/>
                  </a:lnTo>
                  <a:lnTo>
                    <a:pt x="231" y="66"/>
                  </a:lnTo>
                  <a:lnTo>
                    <a:pt x="230" y="69"/>
                  </a:lnTo>
                  <a:lnTo>
                    <a:pt x="245" y="75"/>
                  </a:lnTo>
                  <a:close/>
                  <a:moveTo>
                    <a:pt x="352" y="69"/>
                  </a:moveTo>
                  <a:lnTo>
                    <a:pt x="371" y="61"/>
                  </a:lnTo>
                  <a:lnTo>
                    <a:pt x="352" y="53"/>
                  </a:lnTo>
                  <a:lnTo>
                    <a:pt x="352" y="53"/>
                  </a:lnTo>
                  <a:lnTo>
                    <a:pt x="320" y="53"/>
                  </a:lnTo>
                  <a:lnTo>
                    <a:pt x="271" y="52"/>
                  </a:lnTo>
                  <a:lnTo>
                    <a:pt x="255" y="72"/>
                  </a:lnTo>
                  <a:lnTo>
                    <a:pt x="255" y="72"/>
                  </a:lnTo>
                  <a:lnTo>
                    <a:pt x="352" y="69"/>
                  </a:lnTo>
                  <a:close/>
                  <a:moveTo>
                    <a:pt x="328" y="169"/>
                  </a:moveTo>
                  <a:lnTo>
                    <a:pt x="328" y="169"/>
                  </a:lnTo>
                  <a:lnTo>
                    <a:pt x="318" y="163"/>
                  </a:lnTo>
                  <a:lnTo>
                    <a:pt x="308" y="158"/>
                  </a:lnTo>
                  <a:lnTo>
                    <a:pt x="301" y="153"/>
                  </a:lnTo>
                  <a:lnTo>
                    <a:pt x="296" y="146"/>
                  </a:lnTo>
                  <a:lnTo>
                    <a:pt x="296" y="146"/>
                  </a:lnTo>
                  <a:lnTo>
                    <a:pt x="293" y="141"/>
                  </a:lnTo>
                  <a:lnTo>
                    <a:pt x="292" y="135"/>
                  </a:lnTo>
                  <a:lnTo>
                    <a:pt x="292" y="131"/>
                  </a:lnTo>
                  <a:lnTo>
                    <a:pt x="293" y="125"/>
                  </a:lnTo>
                  <a:lnTo>
                    <a:pt x="295" y="119"/>
                  </a:lnTo>
                  <a:lnTo>
                    <a:pt x="298" y="114"/>
                  </a:lnTo>
                  <a:lnTo>
                    <a:pt x="301" y="110"/>
                  </a:lnTo>
                  <a:lnTo>
                    <a:pt x="307" y="106"/>
                  </a:lnTo>
                  <a:lnTo>
                    <a:pt x="307" y="106"/>
                  </a:lnTo>
                  <a:lnTo>
                    <a:pt x="308" y="109"/>
                  </a:lnTo>
                  <a:lnTo>
                    <a:pt x="310" y="111"/>
                  </a:lnTo>
                  <a:lnTo>
                    <a:pt x="310" y="113"/>
                  </a:lnTo>
                  <a:lnTo>
                    <a:pt x="310" y="113"/>
                  </a:lnTo>
                  <a:lnTo>
                    <a:pt x="326" y="112"/>
                  </a:lnTo>
                  <a:lnTo>
                    <a:pt x="326" y="112"/>
                  </a:lnTo>
                  <a:lnTo>
                    <a:pt x="326" y="107"/>
                  </a:lnTo>
                  <a:lnTo>
                    <a:pt x="325" y="104"/>
                  </a:lnTo>
                  <a:lnTo>
                    <a:pt x="323" y="102"/>
                  </a:lnTo>
                  <a:lnTo>
                    <a:pt x="323" y="102"/>
                  </a:lnTo>
                  <a:lnTo>
                    <a:pt x="328" y="105"/>
                  </a:lnTo>
                  <a:lnTo>
                    <a:pt x="330" y="109"/>
                  </a:lnTo>
                  <a:lnTo>
                    <a:pt x="331" y="112"/>
                  </a:lnTo>
                  <a:lnTo>
                    <a:pt x="331" y="112"/>
                  </a:lnTo>
                  <a:lnTo>
                    <a:pt x="345" y="113"/>
                  </a:lnTo>
                  <a:lnTo>
                    <a:pt x="345" y="113"/>
                  </a:lnTo>
                  <a:lnTo>
                    <a:pt x="344" y="109"/>
                  </a:lnTo>
                  <a:lnTo>
                    <a:pt x="342" y="104"/>
                  </a:lnTo>
                  <a:lnTo>
                    <a:pt x="342" y="104"/>
                  </a:lnTo>
                  <a:lnTo>
                    <a:pt x="348" y="107"/>
                  </a:lnTo>
                  <a:lnTo>
                    <a:pt x="351" y="110"/>
                  </a:lnTo>
                  <a:lnTo>
                    <a:pt x="355" y="114"/>
                  </a:lnTo>
                  <a:lnTo>
                    <a:pt x="357" y="118"/>
                  </a:lnTo>
                  <a:lnTo>
                    <a:pt x="360" y="126"/>
                  </a:lnTo>
                  <a:lnTo>
                    <a:pt x="360" y="133"/>
                  </a:lnTo>
                  <a:lnTo>
                    <a:pt x="360" y="133"/>
                  </a:lnTo>
                  <a:lnTo>
                    <a:pt x="360" y="141"/>
                  </a:lnTo>
                  <a:lnTo>
                    <a:pt x="357" y="148"/>
                  </a:lnTo>
                  <a:lnTo>
                    <a:pt x="352" y="154"/>
                  </a:lnTo>
                  <a:lnTo>
                    <a:pt x="346" y="158"/>
                  </a:lnTo>
                  <a:lnTo>
                    <a:pt x="346" y="158"/>
                  </a:lnTo>
                  <a:lnTo>
                    <a:pt x="336" y="164"/>
                  </a:lnTo>
                  <a:lnTo>
                    <a:pt x="328" y="169"/>
                  </a:lnTo>
                  <a:close/>
                  <a:moveTo>
                    <a:pt x="313" y="267"/>
                  </a:moveTo>
                  <a:lnTo>
                    <a:pt x="313" y="267"/>
                  </a:lnTo>
                  <a:lnTo>
                    <a:pt x="312" y="266"/>
                  </a:lnTo>
                  <a:lnTo>
                    <a:pt x="312" y="266"/>
                  </a:lnTo>
                  <a:lnTo>
                    <a:pt x="312" y="266"/>
                  </a:lnTo>
                  <a:lnTo>
                    <a:pt x="312" y="266"/>
                  </a:lnTo>
                  <a:lnTo>
                    <a:pt x="313" y="267"/>
                  </a:lnTo>
                  <a:close/>
                  <a:moveTo>
                    <a:pt x="178" y="83"/>
                  </a:moveTo>
                  <a:lnTo>
                    <a:pt x="178" y="83"/>
                  </a:lnTo>
                  <a:lnTo>
                    <a:pt x="176" y="83"/>
                  </a:lnTo>
                  <a:lnTo>
                    <a:pt x="172" y="84"/>
                  </a:lnTo>
                  <a:lnTo>
                    <a:pt x="165" y="84"/>
                  </a:lnTo>
                  <a:lnTo>
                    <a:pt x="165" y="84"/>
                  </a:lnTo>
                  <a:lnTo>
                    <a:pt x="165" y="82"/>
                  </a:lnTo>
                  <a:lnTo>
                    <a:pt x="165" y="77"/>
                  </a:lnTo>
                  <a:lnTo>
                    <a:pt x="165" y="77"/>
                  </a:lnTo>
                  <a:lnTo>
                    <a:pt x="167" y="77"/>
                  </a:lnTo>
                  <a:lnTo>
                    <a:pt x="171" y="79"/>
                  </a:lnTo>
                  <a:lnTo>
                    <a:pt x="176" y="80"/>
                  </a:lnTo>
                  <a:lnTo>
                    <a:pt x="178" y="83"/>
                  </a:lnTo>
                  <a:close/>
                  <a:moveTo>
                    <a:pt x="380" y="229"/>
                  </a:moveTo>
                  <a:lnTo>
                    <a:pt x="380" y="229"/>
                  </a:lnTo>
                  <a:lnTo>
                    <a:pt x="387" y="230"/>
                  </a:lnTo>
                  <a:lnTo>
                    <a:pt x="390" y="229"/>
                  </a:lnTo>
                  <a:lnTo>
                    <a:pt x="390" y="229"/>
                  </a:lnTo>
                  <a:lnTo>
                    <a:pt x="390" y="222"/>
                  </a:lnTo>
                  <a:lnTo>
                    <a:pt x="388" y="211"/>
                  </a:lnTo>
                  <a:lnTo>
                    <a:pt x="388" y="211"/>
                  </a:lnTo>
                  <a:lnTo>
                    <a:pt x="386" y="211"/>
                  </a:lnTo>
                  <a:lnTo>
                    <a:pt x="381" y="211"/>
                  </a:lnTo>
                  <a:lnTo>
                    <a:pt x="378" y="210"/>
                  </a:lnTo>
                  <a:lnTo>
                    <a:pt x="374" y="207"/>
                  </a:lnTo>
                  <a:lnTo>
                    <a:pt x="374" y="207"/>
                  </a:lnTo>
                  <a:lnTo>
                    <a:pt x="371" y="202"/>
                  </a:lnTo>
                  <a:lnTo>
                    <a:pt x="371" y="202"/>
                  </a:lnTo>
                  <a:lnTo>
                    <a:pt x="364" y="193"/>
                  </a:lnTo>
                  <a:lnTo>
                    <a:pt x="357" y="186"/>
                  </a:lnTo>
                  <a:lnTo>
                    <a:pt x="349" y="180"/>
                  </a:lnTo>
                  <a:lnTo>
                    <a:pt x="341" y="176"/>
                  </a:lnTo>
                  <a:lnTo>
                    <a:pt x="341" y="176"/>
                  </a:lnTo>
                  <a:lnTo>
                    <a:pt x="353" y="169"/>
                  </a:lnTo>
                  <a:lnTo>
                    <a:pt x="362" y="162"/>
                  </a:lnTo>
                  <a:lnTo>
                    <a:pt x="366" y="156"/>
                  </a:lnTo>
                  <a:lnTo>
                    <a:pt x="370" y="151"/>
                  </a:lnTo>
                  <a:lnTo>
                    <a:pt x="370" y="151"/>
                  </a:lnTo>
                  <a:lnTo>
                    <a:pt x="372" y="147"/>
                  </a:lnTo>
                  <a:lnTo>
                    <a:pt x="373" y="140"/>
                  </a:lnTo>
                  <a:lnTo>
                    <a:pt x="374" y="133"/>
                  </a:lnTo>
                  <a:lnTo>
                    <a:pt x="374" y="125"/>
                  </a:lnTo>
                  <a:lnTo>
                    <a:pt x="372" y="117"/>
                  </a:lnTo>
                  <a:lnTo>
                    <a:pt x="368" y="109"/>
                  </a:lnTo>
                  <a:lnTo>
                    <a:pt x="362" y="102"/>
                  </a:lnTo>
                  <a:lnTo>
                    <a:pt x="358" y="98"/>
                  </a:lnTo>
                  <a:lnTo>
                    <a:pt x="353" y="95"/>
                  </a:lnTo>
                  <a:lnTo>
                    <a:pt x="353" y="95"/>
                  </a:lnTo>
                  <a:lnTo>
                    <a:pt x="345" y="91"/>
                  </a:lnTo>
                  <a:lnTo>
                    <a:pt x="338" y="89"/>
                  </a:lnTo>
                  <a:lnTo>
                    <a:pt x="330" y="88"/>
                  </a:lnTo>
                  <a:lnTo>
                    <a:pt x="325" y="88"/>
                  </a:lnTo>
                  <a:lnTo>
                    <a:pt x="312" y="90"/>
                  </a:lnTo>
                  <a:lnTo>
                    <a:pt x="304" y="92"/>
                  </a:lnTo>
                  <a:lnTo>
                    <a:pt x="304" y="92"/>
                  </a:lnTo>
                  <a:lnTo>
                    <a:pt x="298" y="96"/>
                  </a:lnTo>
                  <a:lnTo>
                    <a:pt x="292" y="101"/>
                  </a:lnTo>
                  <a:lnTo>
                    <a:pt x="288" y="105"/>
                  </a:lnTo>
                  <a:lnTo>
                    <a:pt x="284" y="111"/>
                  </a:lnTo>
                  <a:lnTo>
                    <a:pt x="281" y="118"/>
                  </a:lnTo>
                  <a:lnTo>
                    <a:pt x="279" y="125"/>
                  </a:lnTo>
                  <a:lnTo>
                    <a:pt x="278" y="132"/>
                  </a:lnTo>
                  <a:lnTo>
                    <a:pt x="279" y="141"/>
                  </a:lnTo>
                  <a:lnTo>
                    <a:pt x="279" y="141"/>
                  </a:lnTo>
                  <a:lnTo>
                    <a:pt x="281" y="147"/>
                  </a:lnTo>
                  <a:lnTo>
                    <a:pt x="284" y="153"/>
                  </a:lnTo>
                  <a:lnTo>
                    <a:pt x="288" y="158"/>
                  </a:lnTo>
                  <a:lnTo>
                    <a:pt x="291" y="162"/>
                  </a:lnTo>
                  <a:lnTo>
                    <a:pt x="300" y="169"/>
                  </a:lnTo>
                  <a:lnTo>
                    <a:pt x="312" y="176"/>
                  </a:lnTo>
                  <a:lnTo>
                    <a:pt x="312" y="176"/>
                  </a:lnTo>
                  <a:lnTo>
                    <a:pt x="304" y="180"/>
                  </a:lnTo>
                  <a:lnTo>
                    <a:pt x="297" y="187"/>
                  </a:lnTo>
                  <a:lnTo>
                    <a:pt x="295" y="191"/>
                  </a:lnTo>
                  <a:lnTo>
                    <a:pt x="292" y="195"/>
                  </a:lnTo>
                  <a:lnTo>
                    <a:pt x="291" y="200"/>
                  </a:lnTo>
                  <a:lnTo>
                    <a:pt x="291" y="206"/>
                  </a:lnTo>
                  <a:lnTo>
                    <a:pt x="291" y="206"/>
                  </a:lnTo>
                  <a:lnTo>
                    <a:pt x="292" y="213"/>
                  </a:lnTo>
                  <a:lnTo>
                    <a:pt x="295" y="221"/>
                  </a:lnTo>
                  <a:lnTo>
                    <a:pt x="296" y="230"/>
                  </a:lnTo>
                  <a:lnTo>
                    <a:pt x="295" y="236"/>
                  </a:lnTo>
                  <a:lnTo>
                    <a:pt x="295" y="242"/>
                  </a:lnTo>
                  <a:lnTo>
                    <a:pt x="295" y="242"/>
                  </a:lnTo>
                  <a:lnTo>
                    <a:pt x="296" y="242"/>
                  </a:lnTo>
                  <a:lnTo>
                    <a:pt x="299" y="240"/>
                  </a:lnTo>
                  <a:lnTo>
                    <a:pt x="306" y="236"/>
                  </a:lnTo>
                  <a:lnTo>
                    <a:pt x="306" y="236"/>
                  </a:lnTo>
                  <a:lnTo>
                    <a:pt x="308" y="229"/>
                  </a:lnTo>
                  <a:lnTo>
                    <a:pt x="308" y="222"/>
                  </a:lnTo>
                  <a:lnTo>
                    <a:pt x="308" y="214"/>
                  </a:lnTo>
                  <a:lnTo>
                    <a:pt x="308" y="214"/>
                  </a:lnTo>
                  <a:lnTo>
                    <a:pt x="311" y="217"/>
                  </a:lnTo>
                  <a:lnTo>
                    <a:pt x="312" y="223"/>
                  </a:lnTo>
                  <a:lnTo>
                    <a:pt x="312" y="228"/>
                  </a:lnTo>
                  <a:lnTo>
                    <a:pt x="312" y="232"/>
                  </a:lnTo>
                  <a:lnTo>
                    <a:pt x="312" y="232"/>
                  </a:lnTo>
                  <a:lnTo>
                    <a:pt x="315" y="230"/>
                  </a:lnTo>
                  <a:lnTo>
                    <a:pt x="319" y="228"/>
                  </a:lnTo>
                  <a:lnTo>
                    <a:pt x="320" y="225"/>
                  </a:lnTo>
                  <a:lnTo>
                    <a:pt x="320" y="225"/>
                  </a:lnTo>
                  <a:lnTo>
                    <a:pt x="322" y="217"/>
                  </a:lnTo>
                  <a:lnTo>
                    <a:pt x="321" y="209"/>
                  </a:lnTo>
                  <a:lnTo>
                    <a:pt x="320" y="203"/>
                  </a:lnTo>
                  <a:lnTo>
                    <a:pt x="318" y="199"/>
                  </a:lnTo>
                  <a:lnTo>
                    <a:pt x="318" y="199"/>
                  </a:lnTo>
                  <a:lnTo>
                    <a:pt x="318" y="194"/>
                  </a:lnTo>
                  <a:lnTo>
                    <a:pt x="319" y="190"/>
                  </a:lnTo>
                  <a:lnTo>
                    <a:pt x="321" y="185"/>
                  </a:lnTo>
                  <a:lnTo>
                    <a:pt x="326" y="183"/>
                  </a:lnTo>
                  <a:lnTo>
                    <a:pt x="326" y="183"/>
                  </a:lnTo>
                  <a:lnTo>
                    <a:pt x="337" y="188"/>
                  </a:lnTo>
                  <a:lnTo>
                    <a:pt x="337" y="188"/>
                  </a:lnTo>
                  <a:lnTo>
                    <a:pt x="341" y="192"/>
                  </a:lnTo>
                  <a:lnTo>
                    <a:pt x="348" y="198"/>
                  </a:lnTo>
                  <a:lnTo>
                    <a:pt x="356" y="206"/>
                  </a:lnTo>
                  <a:lnTo>
                    <a:pt x="359" y="210"/>
                  </a:lnTo>
                  <a:lnTo>
                    <a:pt x="362" y="216"/>
                  </a:lnTo>
                  <a:lnTo>
                    <a:pt x="362" y="216"/>
                  </a:lnTo>
                  <a:lnTo>
                    <a:pt x="364" y="223"/>
                  </a:lnTo>
                  <a:lnTo>
                    <a:pt x="365" y="230"/>
                  </a:lnTo>
                  <a:lnTo>
                    <a:pt x="366" y="236"/>
                  </a:lnTo>
                  <a:lnTo>
                    <a:pt x="366" y="242"/>
                  </a:lnTo>
                  <a:lnTo>
                    <a:pt x="364" y="250"/>
                  </a:lnTo>
                  <a:lnTo>
                    <a:pt x="362" y="254"/>
                  </a:lnTo>
                  <a:lnTo>
                    <a:pt x="362" y="254"/>
                  </a:lnTo>
                  <a:lnTo>
                    <a:pt x="357" y="260"/>
                  </a:lnTo>
                  <a:lnTo>
                    <a:pt x="351" y="266"/>
                  </a:lnTo>
                  <a:lnTo>
                    <a:pt x="345" y="269"/>
                  </a:lnTo>
                  <a:lnTo>
                    <a:pt x="337" y="270"/>
                  </a:lnTo>
                  <a:lnTo>
                    <a:pt x="337" y="270"/>
                  </a:lnTo>
                  <a:lnTo>
                    <a:pt x="336" y="270"/>
                  </a:lnTo>
                  <a:lnTo>
                    <a:pt x="336" y="270"/>
                  </a:lnTo>
                  <a:lnTo>
                    <a:pt x="327" y="270"/>
                  </a:lnTo>
                  <a:lnTo>
                    <a:pt x="327" y="270"/>
                  </a:lnTo>
                  <a:lnTo>
                    <a:pt x="319" y="268"/>
                  </a:lnTo>
                  <a:lnTo>
                    <a:pt x="319" y="268"/>
                  </a:lnTo>
                  <a:lnTo>
                    <a:pt x="312" y="266"/>
                  </a:lnTo>
                  <a:lnTo>
                    <a:pt x="312" y="266"/>
                  </a:lnTo>
                  <a:lnTo>
                    <a:pt x="305" y="262"/>
                  </a:lnTo>
                  <a:lnTo>
                    <a:pt x="295" y="255"/>
                  </a:lnTo>
                  <a:lnTo>
                    <a:pt x="283" y="247"/>
                  </a:lnTo>
                  <a:lnTo>
                    <a:pt x="271" y="236"/>
                  </a:lnTo>
                  <a:lnTo>
                    <a:pt x="271" y="236"/>
                  </a:lnTo>
                  <a:lnTo>
                    <a:pt x="255" y="217"/>
                  </a:lnTo>
                  <a:lnTo>
                    <a:pt x="245" y="205"/>
                  </a:lnTo>
                  <a:lnTo>
                    <a:pt x="245" y="205"/>
                  </a:lnTo>
                  <a:lnTo>
                    <a:pt x="251" y="207"/>
                  </a:lnTo>
                  <a:lnTo>
                    <a:pt x="256" y="207"/>
                  </a:lnTo>
                  <a:lnTo>
                    <a:pt x="262" y="207"/>
                  </a:lnTo>
                  <a:lnTo>
                    <a:pt x="262" y="207"/>
                  </a:lnTo>
                  <a:lnTo>
                    <a:pt x="262" y="196"/>
                  </a:lnTo>
                  <a:lnTo>
                    <a:pt x="263" y="186"/>
                  </a:lnTo>
                  <a:lnTo>
                    <a:pt x="263" y="186"/>
                  </a:lnTo>
                  <a:lnTo>
                    <a:pt x="263" y="177"/>
                  </a:lnTo>
                  <a:lnTo>
                    <a:pt x="263" y="177"/>
                  </a:lnTo>
                  <a:lnTo>
                    <a:pt x="260" y="177"/>
                  </a:lnTo>
                  <a:lnTo>
                    <a:pt x="252" y="175"/>
                  </a:lnTo>
                  <a:lnTo>
                    <a:pt x="247" y="173"/>
                  </a:lnTo>
                  <a:lnTo>
                    <a:pt x="243" y="171"/>
                  </a:lnTo>
                  <a:lnTo>
                    <a:pt x="239" y="169"/>
                  </a:lnTo>
                  <a:lnTo>
                    <a:pt x="237" y="165"/>
                  </a:lnTo>
                  <a:lnTo>
                    <a:pt x="237" y="165"/>
                  </a:lnTo>
                  <a:lnTo>
                    <a:pt x="240" y="166"/>
                  </a:lnTo>
                  <a:lnTo>
                    <a:pt x="244" y="168"/>
                  </a:lnTo>
                  <a:lnTo>
                    <a:pt x="249" y="169"/>
                  </a:lnTo>
                  <a:lnTo>
                    <a:pt x="249" y="169"/>
                  </a:lnTo>
                  <a:lnTo>
                    <a:pt x="259" y="168"/>
                  </a:lnTo>
                  <a:lnTo>
                    <a:pt x="263" y="168"/>
                  </a:lnTo>
                  <a:lnTo>
                    <a:pt x="263" y="168"/>
                  </a:lnTo>
                  <a:lnTo>
                    <a:pt x="264" y="157"/>
                  </a:lnTo>
                  <a:lnTo>
                    <a:pt x="266" y="148"/>
                  </a:lnTo>
                  <a:lnTo>
                    <a:pt x="266" y="148"/>
                  </a:lnTo>
                  <a:lnTo>
                    <a:pt x="266" y="139"/>
                  </a:lnTo>
                  <a:lnTo>
                    <a:pt x="266" y="139"/>
                  </a:lnTo>
                  <a:lnTo>
                    <a:pt x="259" y="139"/>
                  </a:lnTo>
                  <a:lnTo>
                    <a:pt x="249" y="138"/>
                  </a:lnTo>
                  <a:lnTo>
                    <a:pt x="249" y="138"/>
                  </a:lnTo>
                  <a:lnTo>
                    <a:pt x="243" y="134"/>
                  </a:lnTo>
                  <a:lnTo>
                    <a:pt x="239" y="132"/>
                  </a:lnTo>
                  <a:lnTo>
                    <a:pt x="237" y="128"/>
                  </a:lnTo>
                  <a:lnTo>
                    <a:pt x="237" y="128"/>
                  </a:lnTo>
                  <a:lnTo>
                    <a:pt x="240" y="129"/>
                  </a:lnTo>
                  <a:lnTo>
                    <a:pt x="248" y="132"/>
                  </a:lnTo>
                  <a:lnTo>
                    <a:pt x="248" y="132"/>
                  </a:lnTo>
                  <a:lnTo>
                    <a:pt x="255" y="132"/>
                  </a:lnTo>
                  <a:lnTo>
                    <a:pt x="261" y="131"/>
                  </a:lnTo>
                  <a:lnTo>
                    <a:pt x="264" y="131"/>
                  </a:lnTo>
                  <a:lnTo>
                    <a:pt x="267" y="129"/>
                  </a:lnTo>
                  <a:lnTo>
                    <a:pt x="267" y="129"/>
                  </a:lnTo>
                  <a:lnTo>
                    <a:pt x="267" y="111"/>
                  </a:lnTo>
                  <a:lnTo>
                    <a:pt x="267" y="111"/>
                  </a:lnTo>
                  <a:lnTo>
                    <a:pt x="267" y="106"/>
                  </a:lnTo>
                  <a:lnTo>
                    <a:pt x="267" y="101"/>
                  </a:lnTo>
                  <a:lnTo>
                    <a:pt x="267" y="101"/>
                  </a:lnTo>
                  <a:lnTo>
                    <a:pt x="263" y="101"/>
                  </a:lnTo>
                  <a:lnTo>
                    <a:pt x="258" y="99"/>
                  </a:lnTo>
                  <a:lnTo>
                    <a:pt x="249" y="96"/>
                  </a:lnTo>
                  <a:lnTo>
                    <a:pt x="245" y="94"/>
                  </a:lnTo>
                  <a:lnTo>
                    <a:pt x="241" y="90"/>
                  </a:lnTo>
                  <a:lnTo>
                    <a:pt x="241" y="90"/>
                  </a:lnTo>
                  <a:lnTo>
                    <a:pt x="240" y="88"/>
                  </a:lnTo>
                  <a:lnTo>
                    <a:pt x="239" y="86"/>
                  </a:lnTo>
                  <a:lnTo>
                    <a:pt x="241" y="81"/>
                  </a:lnTo>
                  <a:lnTo>
                    <a:pt x="241" y="81"/>
                  </a:lnTo>
                  <a:lnTo>
                    <a:pt x="221" y="72"/>
                  </a:lnTo>
                  <a:lnTo>
                    <a:pt x="221" y="72"/>
                  </a:lnTo>
                  <a:lnTo>
                    <a:pt x="223" y="69"/>
                  </a:lnTo>
                  <a:lnTo>
                    <a:pt x="224" y="66"/>
                  </a:lnTo>
                  <a:lnTo>
                    <a:pt x="225" y="64"/>
                  </a:lnTo>
                  <a:lnTo>
                    <a:pt x="225" y="64"/>
                  </a:lnTo>
                  <a:lnTo>
                    <a:pt x="224" y="60"/>
                  </a:lnTo>
                  <a:lnTo>
                    <a:pt x="221" y="58"/>
                  </a:lnTo>
                  <a:lnTo>
                    <a:pt x="216" y="57"/>
                  </a:lnTo>
                  <a:lnTo>
                    <a:pt x="211" y="57"/>
                  </a:lnTo>
                  <a:lnTo>
                    <a:pt x="211" y="57"/>
                  </a:lnTo>
                  <a:lnTo>
                    <a:pt x="208" y="58"/>
                  </a:lnTo>
                  <a:lnTo>
                    <a:pt x="204" y="60"/>
                  </a:lnTo>
                  <a:lnTo>
                    <a:pt x="202" y="64"/>
                  </a:lnTo>
                  <a:lnTo>
                    <a:pt x="176" y="52"/>
                  </a:lnTo>
                  <a:lnTo>
                    <a:pt x="155" y="73"/>
                  </a:lnTo>
                  <a:lnTo>
                    <a:pt x="155" y="73"/>
                  </a:lnTo>
                  <a:lnTo>
                    <a:pt x="155" y="74"/>
                  </a:lnTo>
                  <a:lnTo>
                    <a:pt x="154" y="76"/>
                  </a:lnTo>
                  <a:lnTo>
                    <a:pt x="154" y="79"/>
                  </a:lnTo>
                  <a:lnTo>
                    <a:pt x="154" y="79"/>
                  </a:lnTo>
                  <a:lnTo>
                    <a:pt x="154" y="80"/>
                  </a:lnTo>
                  <a:lnTo>
                    <a:pt x="154" y="81"/>
                  </a:lnTo>
                  <a:lnTo>
                    <a:pt x="154" y="81"/>
                  </a:lnTo>
                  <a:lnTo>
                    <a:pt x="148" y="88"/>
                  </a:lnTo>
                  <a:lnTo>
                    <a:pt x="148" y="88"/>
                  </a:lnTo>
                  <a:lnTo>
                    <a:pt x="143" y="94"/>
                  </a:lnTo>
                  <a:lnTo>
                    <a:pt x="143" y="94"/>
                  </a:lnTo>
                  <a:lnTo>
                    <a:pt x="141" y="98"/>
                  </a:lnTo>
                  <a:lnTo>
                    <a:pt x="140" y="102"/>
                  </a:lnTo>
                  <a:lnTo>
                    <a:pt x="140" y="102"/>
                  </a:lnTo>
                  <a:lnTo>
                    <a:pt x="140" y="103"/>
                  </a:lnTo>
                  <a:lnTo>
                    <a:pt x="140" y="105"/>
                  </a:lnTo>
                  <a:lnTo>
                    <a:pt x="142" y="110"/>
                  </a:lnTo>
                  <a:lnTo>
                    <a:pt x="147" y="114"/>
                  </a:lnTo>
                  <a:lnTo>
                    <a:pt x="148" y="116"/>
                  </a:lnTo>
                  <a:lnTo>
                    <a:pt x="148" y="116"/>
                  </a:lnTo>
                  <a:lnTo>
                    <a:pt x="149" y="114"/>
                  </a:lnTo>
                  <a:lnTo>
                    <a:pt x="149" y="114"/>
                  </a:lnTo>
                  <a:lnTo>
                    <a:pt x="149" y="114"/>
                  </a:lnTo>
                  <a:lnTo>
                    <a:pt x="154" y="118"/>
                  </a:lnTo>
                  <a:lnTo>
                    <a:pt x="154" y="118"/>
                  </a:lnTo>
                  <a:lnTo>
                    <a:pt x="155" y="116"/>
                  </a:lnTo>
                  <a:lnTo>
                    <a:pt x="156" y="112"/>
                  </a:lnTo>
                  <a:lnTo>
                    <a:pt x="156" y="112"/>
                  </a:lnTo>
                  <a:lnTo>
                    <a:pt x="160" y="107"/>
                  </a:lnTo>
                  <a:lnTo>
                    <a:pt x="164" y="104"/>
                  </a:lnTo>
                  <a:lnTo>
                    <a:pt x="164" y="104"/>
                  </a:lnTo>
                  <a:lnTo>
                    <a:pt x="169" y="102"/>
                  </a:lnTo>
                  <a:lnTo>
                    <a:pt x="174" y="102"/>
                  </a:lnTo>
                  <a:lnTo>
                    <a:pt x="174" y="102"/>
                  </a:lnTo>
                  <a:lnTo>
                    <a:pt x="178" y="102"/>
                  </a:lnTo>
                  <a:lnTo>
                    <a:pt x="181" y="104"/>
                  </a:lnTo>
                  <a:lnTo>
                    <a:pt x="181" y="104"/>
                  </a:lnTo>
                  <a:lnTo>
                    <a:pt x="184" y="107"/>
                  </a:lnTo>
                  <a:lnTo>
                    <a:pt x="185" y="112"/>
                  </a:lnTo>
                  <a:lnTo>
                    <a:pt x="186" y="117"/>
                  </a:lnTo>
                  <a:lnTo>
                    <a:pt x="185" y="120"/>
                  </a:lnTo>
                  <a:lnTo>
                    <a:pt x="185" y="120"/>
                  </a:lnTo>
                  <a:lnTo>
                    <a:pt x="182" y="118"/>
                  </a:lnTo>
                  <a:lnTo>
                    <a:pt x="182" y="118"/>
                  </a:lnTo>
                  <a:lnTo>
                    <a:pt x="179" y="117"/>
                  </a:lnTo>
                  <a:lnTo>
                    <a:pt x="174" y="116"/>
                  </a:lnTo>
                  <a:lnTo>
                    <a:pt x="167" y="116"/>
                  </a:lnTo>
                  <a:lnTo>
                    <a:pt x="159" y="117"/>
                  </a:lnTo>
                  <a:lnTo>
                    <a:pt x="159" y="117"/>
                  </a:lnTo>
                  <a:lnTo>
                    <a:pt x="152" y="120"/>
                  </a:lnTo>
                  <a:lnTo>
                    <a:pt x="139" y="125"/>
                  </a:lnTo>
                  <a:lnTo>
                    <a:pt x="139" y="125"/>
                  </a:lnTo>
                  <a:lnTo>
                    <a:pt x="134" y="126"/>
                  </a:lnTo>
                  <a:lnTo>
                    <a:pt x="132" y="126"/>
                  </a:lnTo>
                  <a:lnTo>
                    <a:pt x="129" y="124"/>
                  </a:lnTo>
                  <a:lnTo>
                    <a:pt x="127" y="121"/>
                  </a:lnTo>
                  <a:lnTo>
                    <a:pt x="127" y="121"/>
                  </a:lnTo>
                  <a:lnTo>
                    <a:pt x="127" y="118"/>
                  </a:lnTo>
                  <a:lnTo>
                    <a:pt x="128" y="116"/>
                  </a:lnTo>
                  <a:lnTo>
                    <a:pt x="128" y="113"/>
                  </a:lnTo>
                  <a:lnTo>
                    <a:pt x="128" y="113"/>
                  </a:lnTo>
                  <a:lnTo>
                    <a:pt x="125" y="116"/>
                  </a:lnTo>
                  <a:lnTo>
                    <a:pt x="122" y="118"/>
                  </a:lnTo>
                  <a:lnTo>
                    <a:pt x="120" y="121"/>
                  </a:lnTo>
                  <a:lnTo>
                    <a:pt x="120" y="121"/>
                  </a:lnTo>
                  <a:lnTo>
                    <a:pt x="119" y="126"/>
                  </a:lnTo>
                  <a:lnTo>
                    <a:pt x="120" y="131"/>
                  </a:lnTo>
                  <a:lnTo>
                    <a:pt x="122" y="133"/>
                  </a:lnTo>
                  <a:lnTo>
                    <a:pt x="127" y="135"/>
                  </a:lnTo>
                  <a:lnTo>
                    <a:pt x="127" y="135"/>
                  </a:lnTo>
                  <a:lnTo>
                    <a:pt x="132" y="135"/>
                  </a:lnTo>
                  <a:lnTo>
                    <a:pt x="137" y="134"/>
                  </a:lnTo>
                  <a:lnTo>
                    <a:pt x="148" y="129"/>
                  </a:lnTo>
                  <a:lnTo>
                    <a:pt x="148" y="129"/>
                  </a:lnTo>
                  <a:lnTo>
                    <a:pt x="158" y="124"/>
                  </a:lnTo>
                  <a:lnTo>
                    <a:pt x="158" y="124"/>
                  </a:lnTo>
                  <a:lnTo>
                    <a:pt x="163" y="123"/>
                  </a:lnTo>
                  <a:lnTo>
                    <a:pt x="166" y="121"/>
                  </a:lnTo>
                  <a:lnTo>
                    <a:pt x="170" y="123"/>
                  </a:lnTo>
                  <a:lnTo>
                    <a:pt x="174" y="124"/>
                  </a:lnTo>
                  <a:lnTo>
                    <a:pt x="174" y="124"/>
                  </a:lnTo>
                  <a:lnTo>
                    <a:pt x="180" y="127"/>
                  </a:lnTo>
                  <a:lnTo>
                    <a:pt x="182" y="128"/>
                  </a:lnTo>
                  <a:lnTo>
                    <a:pt x="182" y="128"/>
                  </a:lnTo>
                  <a:lnTo>
                    <a:pt x="180" y="132"/>
                  </a:lnTo>
                  <a:lnTo>
                    <a:pt x="177" y="134"/>
                  </a:lnTo>
                  <a:lnTo>
                    <a:pt x="172" y="134"/>
                  </a:lnTo>
                  <a:lnTo>
                    <a:pt x="172" y="134"/>
                  </a:lnTo>
                  <a:lnTo>
                    <a:pt x="167" y="134"/>
                  </a:lnTo>
                  <a:lnTo>
                    <a:pt x="164" y="133"/>
                  </a:lnTo>
                  <a:lnTo>
                    <a:pt x="162" y="131"/>
                  </a:lnTo>
                  <a:lnTo>
                    <a:pt x="159" y="128"/>
                  </a:lnTo>
                  <a:lnTo>
                    <a:pt x="159" y="128"/>
                  </a:lnTo>
                  <a:lnTo>
                    <a:pt x="157" y="133"/>
                  </a:lnTo>
                  <a:lnTo>
                    <a:pt x="157" y="133"/>
                  </a:lnTo>
                  <a:lnTo>
                    <a:pt x="157" y="135"/>
                  </a:lnTo>
                  <a:lnTo>
                    <a:pt x="157" y="138"/>
                  </a:lnTo>
                  <a:lnTo>
                    <a:pt x="157" y="139"/>
                  </a:lnTo>
                  <a:lnTo>
                    <a:pt x="157" y="141"/>
                  </a:lnTo>
                  <a:lnTo>
                    <a:pt x="157" y="141"/>
                  </a:lnTo>
                  <a:lnTo>
                    <a:pt x="156" y="142"/>
                  </a:lnTo>
                  <a:lnTo>
                    <a:pt x="154" y="144"/>
                  </a:lnTo>
                  <a:lnTo>
                    <a:pt x="149" y="148"/>
                  </a:lnTo>
                  <a:lnTo>
                    <a:pt x="149" y="148"/>
                  </a:lnTo>
                  <a:lnTo>
                    <a:pt x="143" y="151"/>
                  </a:lnTo>
                  <a:lnTo>
                    <a:pt x="137" y="153"/>
                  </a:lnTo>
                  <a:lnTo>
                    <a:pt x="137" y="153"/>
                  </a:lnTo>
                  <a:lnTo>
                    <a:pt x="142" y="163"/>
                  </a:lnTo>
                  <a:lnTo>
                    <a:pt x="142" y="163"/>
                  </a:lnTo>
                  <a:lnTo>
                    <a:pt x="147" y="170"/>
                  </a:lnTo>
                  <a:lnTo>
                    <a:pt x="149" y="175"/>
                  </a:lnTo>
                  <a:lnTo>
                    <a:pt x="151" y="178"/>
                  </a:lnTo>
                  <a:lnTo>
                    <a:pt x="151" y="178"/>
                  </a:lnTo>
                  <a:lnTo>
                    <a:pt x="156" y="177"/>
                  </a:lnTo>
                  <a:lnTo>
                    <a:pt x="164" y="173"/>
                  </a:lnTo>
                  <a:lnTo>
                    <a:pt x="164" y="173"/>
                  </a:lnTo>
                  <a:lnTo>
                    <a:pt x="170" y="169"/>
                  </a:lnTo>
                  <a:lnTo>
                    <a:pt x="173" y="164"/>
                  </a:lnTo>
                  <a:lnTo>
                    <a:pt x="173" y="164"/>
                  </a:lnTo>
                  <a:lnTo>
                    <a:pt x="169" y="175"/>
                  </a:lnTo>
                  <a:lnTo>
                    <a:pt x="164" y="180"/>
                  </a:lnTo>
                  <a:lnTo>
                    <a:pt x="160" y="185"/>
                  </a:lnTo>
                  <a:lnTo>
                    <a:pt x="157" y="188"/>
                  </a:lnTo>
                  <a:lnTo>
                    <a:pt x="157" y="188"/>
                  </a:lnTo>
                  <a:lnTo>
                    <a:pt x="141" y="199"/>
                  </a:lnTo>
                  <a:lnTo>
                    <a:pt x="120" y="210"/>
                  </a:lnTo>
                  <a:lnTo>
                    <a:pt x="108" y="217"/>
                  </a:lnTo>
                  <a:lnTo>
                    <a:pt x="96" y="222"/>
                  </a:lnTo>
                  <a:lnTo>
                    <a:pt x="84" y="227"/>
                  </a:lnTo>
                  <a:lnTo>
                    <a:pt x="72" y="229"/>
                  </a:lnTo>
                  <a:lnTo>
                    <a:pt x="72" y="229"/>
                  </a:lnTo>
                  <a:lnTo>
                    <a:pt x="68" y="228"/>
                  </a:lnTo>
                  <a:lnTo>
                    <a:pt x="63" y="227"/>
                  </a:lnTo>
                  <a:lnTo>
                    <a:pt x="54" y="221"/>
                  </a:lnTo>
                  <a:lnTo>
                    <a:pt x="47" y="215"/>
                  </a:lnTo>
                  <a:lnTo>
                    <a:pt x="41" y="209"/>
                  </a:lnTo>
                  <a:lnTo>
                    <a:pt x="41" y="209"/>
                  </a:lnTo>
                  <a:lnTo>
                    <a:pt x="40" y="209"/>
                  </a:lnTo>
                  <a:lnTo>
                    <a:pt x="39" y="208"/>
                  </a:lnTo>
                  <a:lnTo>
                    <a:pt x="36" y="209"/>
                  </a:lnTo>
                  <a:lnTo>
                    <a:pt x="32" y="211"/>
                  </a:lnTo>
                  <a:lnTo>
                    <a:pt x="32" y="211"/>
                  </a:lnTo>
                  <a:lnTo>
                    <a:pt x="30" y="211"/>
                  </a:lnTo>
                  <a:lnTo>
                    <a:pt x="25" y="211"/>
                  </a:lnTo>
                  <a:lnTo>
                    <a:pt x="20" y="213"/>
                  </a:lnTo>
                  <a:lnTo>
                    <a:pt x="16" y="215"/>
                  </a:lnTo>
                  <a:lnTo>
                    <a:pt x="14" y="217"/>
                  </a:lnTo>
                  <a:lnTo>
                    <a:pt x="14" y="217"/>
                  </a:lnTo>
                  <a:lnTo>
                    <a:pt x="15" y="218"/>
                  </a:lnTo>
                  <a:lnTo>
                    <a:pt x="17" y="218"/>
                  </a:lnTo>
                  <a:lnTo>
                    <a:pt x="22" y="217"/>
                  </a:lnTo>
                  <a:lnTo>
                    <a:pt x="25" y="218"/>
                  </a:lnTo>
                  <a:lnTo>
                    <a:pt x="25" y="218"/>
                  </a:lnTo>
                  <a:lnTo>
                    <a:pt x="26" y="220"/>
                  </a:lnTo>
                  <a:lnTo>
                    <a:pt x="26" y="221"/>
                  </a:lnTo>
                  <a:lnTo>
                    <a:pt x="25" y="222"/>
                  </a:lnTo>
                  <a:lnTo>
                    <a:pt x="24" y="224"/>
                  </a:lnTo>
                  <a:lnTo>
                    <a:pt x="24" y="224"/>
                  </a:lnTo>
                  <a:lnTo>
                    <a:pt x="25" y="225"/>
                  </a:lnTo>
                  <a:lnTo>
                    <a:pt x="26" y="228"/>
                  </a:lnTo>
                  <a:lnTo>
                    <a:pt x="32" y="230"/>
                  </a:lnTo>
                  <a:lnTo>
                    <a:pt x="45" y="235"/>
                  </a:lnTo>
                  <a:lnTo>
                    <a:pt x="45" y="235"/>
                  </a:lnTo>
                  <a:lnTo>
                    <a:pt x="46" y="236"/>
                  </a:lnTo>
                  <a:lnTo>
                    <a:pt x="45" y="237"/>
                  </a:lnTo>
                  <a:lnTo>
                    <a:pt x="45" y="237"/>
                  </a:lnTo>
                  <a:lnTo>
                    <a:pt x="38" y="236"/>
                  </a:lnTo>
                  <a:lnTo>
                    <a:pt x="32" y="233"/>
                  </a:lnTo>
                  <a:lnTo>
                    <a:pt x="24" y="230"/>
                  </a:lnTo>
                  <a:lnTo>
                    <a:pt x="24" y="230"/>
                  </a:lnTo>
                  <a:lnTo>
                    <a:pt x="18" y="229"/>
                  </a:lnTo>
                  <a:lnTo>
                    <a:pt x="15" y="229"/>
                  </a:lnTo>
                  <a:lnTo>
                    <a:pt x="13" y="231"/>
                  </a:lnTo>
                  <a:lnTo>
                    <a:pt x="11" y="233"/>
                  </a:lnTo>
                  <a:lnTo>
                    <a:pt x="11" y="233"/>
                  </a:lnTo>
                  <a:lnTo>
                    <a:pt x="11" y="235"/>
                  </a:lnTo>
                  <a:lnTo>
                    <a:pt x="10" y="235"/>
                  </a:lnTo>
                  <a:lnTo>
                    <a:pt x="6" y="237"/>
                  </a:lnTo>
                  <a:lnTo>
                    <a:pt x="5" y="238"/>
                  </a:lnTo>
                  <a:lnTo>
                    <a:pt x="2" y="242"/>
                  </a:lnTo>
                  <a:lnTo>
                    <a:pt x="1" y="245"/>
                  </a:lnTo>
                  <a:lnTo>
                    <a:pt x="0" y="251"/>
                  </a:lnTo>
                  <a:lnTo>
                    <a:pt x="0" y="251"/>
                  </a:lnTo>
                  <a:lnTo>
                    <a:pt x="1" y="250"/>
                  </a:lnTo>
                  <a:lnTo>
                    <a:pt x="5" y="246"/>
                  </a:lnTo>
                  <a:lnTo>
                    <a:pt x="9" y="244"/>
                  </a:lnTo>
                  <a:lnTo>
                    <a:pt x="10" y="243"/>
                  </a:lnTo>
                  <a:lnTo>
                    <a:pt x="11" y="244"/>
                  </a:lnTo>
                  <a:lnTo>
                    <a:pt x="11" y="244"/>
                  </a:lnTo>
                  <a:lnTo>
                    <a:pt x="13" y="248"/>
                  </a:lnTo>
                  <a:lnTo>
                    <a:pt x="16" y="251"/>
                  </a:lnTo>
                  <a:lnTo>
                    <a:pt x="21" y="251"/>
                  </a:lnTo>
                  <a:lnTo>
                    <a:pt x="26" y="251"/>
                  </a:lnTo>
                  <a:lnTo>
                    <a:pt x="37" y="250"/>
                  </a:lnTo>
                  <a:lnTo>
                    <a:pt x="40" y="250"/>
                  </a:lnTo>
                  <a:lnTo>
                    <a:pt x="44" y="250"/>
                  </a:lnTo>
                  <a:lnTo>
                    <a:pt x="44" y="250"/>
                  </a:lnTo>
                  <a:lnTo>
                    <a:pt x="44" y="251"/>
                  </a:lnTo>
                  <a:lnTo>
                    <a:pt x="43" y="251"/>
                  </a:lnTo>
                  <a:lnTo>
                    <a:pt x="40" y="252"/>
                  </a:lnTo>
                  <a:lnTo>
                    <a:pt x="32" y="253"/>
                  </a:lnTo>
                  <a:lnTo>
                    <a:pt x="28" y="254"/>
                  </a:lnTo>
                  <a:lnTo>
                    <a:pt x="24" y="257"/>
                  </a:lnTo>
                  <a:lnTo>
                    <a:pt x="22" y="258"/>
                  </a:lnTo>
                  <a:lnTo>
                    <a:pt x="22" y="260"/>
                  </a:lnTo>
                  <a:lnTo>
                    <a:pt x="22" y="261"/>
                  </a:lnTo>
                  <a:lnTo>
                    <a:pt x="22" y="261"/>
                  </a:lnTo>
                  <a:lnTo>
                    <a:pt x="21" y="264"/>
                  </a:lnTo>
                  <a:lnTo>
                    <a:pt x="17" y="268"/>
                  </a:lnTo>
                  <a:lnTo>
                    <a:pt x="16" y="270"/>
                  </a:lnTo>
                  <a:lnTo>
                    <a:pt x="16" y="274"/>
                  </a:lnTo>
                  <a:lnTo>
                    <a:pt x="17" y="277"/>
                  </a:lnTo>
                  <a:lnTo>
                    <a:pt x="21" y="282"/>
                  </a:lnTo>
                  <a:lnTo>
                    <a:pt x="21" y="282"/>
                  </a:lnTo>
                  <a:lnTo>
                    <a:pt x="22" y="275"/>
                  </a:lnTo>
                  <a:lnTo>
                    <a:pt x="24" y="272"/>
                  </a:lnTo>
                  <a:lnTo>
                    <a:pt x="26" y="270"/>
                  </a:lnTo>
                  <a:lnTo>
                    <a:pt x="29" y="270"/>
                  </a:lnTo>
                  <a:lnTo>
                    <a:pt x="29" y="270"/>
                  </a:lnTo>
                  <a:lnTo>
                    <a:pt x="32" y="270"/>
                  </a:lnTo>
                  <a:lnTo>
                    <a:pt x="36" y="273"/>
                  </a:lnTo>
                  <a:lnTo>
                    <a:pt x="40" y="273"/>
                  </a:lnTo>
                  <a:lnTo>
                    <a:pt x="45" y="270"/>
                  </a:lnTo>
                  <a:lnTo>
                    <a:pt x="45" y="270"/>
                  </a:lnTo>
                  <a:lnTo>
                    <a:pt x="50" y="267"/>
                  </a:lnTo>
                  <a:lnTo>
                    <a:pt x="53" y="265"/>
                  </a:lnTo>
                  <a:lnTo>
                    <a:pt x="59" y="262"/>
                  </a:lnTo>
                  <a:lnTo>
                    <a:pt x="59" y="262"/>
                  </a:lnTo>
                  <a:lnTo>
                    <a:pt x="60" y="265"/>
                  </a:lnTo>
                  <a:lnTo>
                    <a:pt x="61" y="268"/>
                  </a:lnTo>
                  <a:lnTo>
                    <a:pt x="61" y="268"/>
                  </a:lnTo>
                  <a:lnTo>
                    <a:pt x="63" y="269"/>
                  </a:lnTo>
                  <a:lnTo>
                    <a:pt x="65" y="270"/>
                  </a:lnTo>
                  <a:lnTo>
                    <a:pt x="65" y="270"/>
                  </a:lnTo>
                  <a:lnTo>
                    <a:pt x="65" y="270"/>
                  </a:lnTo>
                  <a:lnTo>
                    <a:pt x="65" y="274"/>
                  </a:lnTo>
                  <a:lnTo>
                    <a:pt x="62" y="277"/>
                  </a:lnTo>
                  <a:lnTo>
                    <a:pt x="60" y="280"/>
                  </a:lnTo>
                  <a:lnTo>
                    <a:pt x="60" y="280"/>
                  </a:lnTo>
                  <a:lnTo>
                    <a:pt x="61" y="280"/>
                  </a:lnTo>
                  <a:lnTo>
                    <a:pt x="63" y="280"/>
                  </a:lnTo>
                  <a:lnTo>
                    <a:pt x="68" y="279"/>
                  </a:lnTo>
                  <a:lnTo>
                    <a:pt x="70" y="276"/>
                  </a:lnTo>
                  <a:lnTo>
                    <a:pt x="72" y="273"/>
                  </a:lnTo>
                  <a:lnTo>
                    <a:pt x="72" y="273"/>
                  </a:lnTo>
                  <a:lnTo>
                    <a:pt x="73" y="272"/>
                  </a:lnTo>
                  <a:lnTo>
                    <a:pt x="75" y="272"/>
                  </a:lnTo>
                  <a:lnTo>
                    <a:pt x="77" y="272"/>
                  </a:lnTo>
                  <a:lnTo>
                    <a:pt x="77" y="272"/>
                  </a:lnTo>
                  <a:lnTo>
                    <a:pt x="80" y="270"/>
                  </a:lnTo>
                  <a:lnTo>
                    <a:pt x="81" y="269"/>
                  </a:lnTo>
                  <a:lnTo>
                    <a:pt x="82" y="266"/>
                  </a:lnTo>
                  <a:lnTo>
                    <a:pt x="81" y="262"/>
                  </a:lnTo>
                  <a:lnTo>
                    <a:pt x="81" y="261"/>
                  </a:lnTo>
                  <a:lnTo>
                    <a:pt x="82" y="259"/>
                  </a:lnTo>
                  <a:lnTo>
                    <a:pt x="82" y="259"/>
                  </a:lnTo>
                  <a:lnTo>
                    <a:pt x="88" y="255"/>
                  </a:lnTo>
                  <a:lnTo>
                    <a:pt x="92" y="252"/>
                  </a:lnTo>
                  <a:lnTo>
                    <a:pt x="103" y="247"/>
                  </a:lnTo>
                  <a:lnTo>
                    <a:pt x="103" y="247"/>
                  </a:lnTo>
                  <a:lnTo>
                    <a:pt x="102" y="252"/>
                  </a:lnTo>
                  <a:lnTo>
                    <a:pt x="102" y="257"/>
                  </a:lnTo>
                  <a:lnTo>
                    <a:pt x="103" y="262"/>
                  </a:lnTo>
                  <a:lnTo>
                    <a:pt x="128" y="255"/>
                  </a:lnTo>
                  <a:lnTo>
                    <a:pt x="128" y="255"/>
                  </a:lnTo>
                  <a:lnTo>
                    <a:pt x="128" y="250"/>
                  </a:lnTo>
                  <a:lnTo>
                    <a:pt x="129" y="245"/>
                  </a:lnTo>
                  <a:lnTo>
                    <a:pt x="132" y="239"/>
                  </a:lnTo>
                  <a:lnTo>
                    <a:pt x="135" y="233"/>
                  </a:lnTo>
                  <a:lnTo>
                    <a:pt x="135" y="233"/>
                  </a:lnTo>
                  <a:lnTo>
                    <a:pt x="135" y="236"/>
                  </a:lnTo>
                  <a:lnTo>
                    <a:pt x="135" y="242"/>
                  </a:lnTo>
                  <a:lnTo>
                    <a:pt x="134" y="248"/>
                  </a:lnTo>
                  <a:lnTo>
                    <a:pt x="135" y="252"/>
                  </a:lnTo>
                  <a:lnTo>
                    <a:pt x="136" y="253"/>
                  </a:lnTo>
                  <a:lnTo>
                    <a:pt x="160" y="247"/>
                  </a:lnTo>
                  <a:lnTo>
                    <a:pt x="160" y="247"/>
                  </a:lnTo>
                  <a:lnTo>
                    <a:pt x="160" y="244"/>
                  </a:lnTo>
                  <a:lnTo>
                    <a:pt x="160" y="239"/>
                  </a:lnTo>
                  <a:lnTo>
                    <a:pt x="162" y="231"/>
                  </a:lnTo>
                  <a:lnTo>
                    <a:pt x="162" y="231"/>
                  </a:lnTo>
                  <a:lnTo>
                    <a:pt x="165" y="240"/>
                  </a:lnTo>
                  <a:lnTo>
                    <a:pt x="169" y="248"/>
                  </a:lnTo>
                  <a:lnTo>
                    <a:pt x="174" y="255"/>
                  </a:lnTo>
                  <a:lnTo>
                    <a:pt x="178" y="258"/>
                  </a:lnTo>
                  <a:lnTo>
                    <a:pt x="182" y="260"/>
                  </a:lnTo>
                  <a:lnTo>
                    <a:pt x="182" y="260"/>
                  </a:lnTo>
                  <a:lnTo>
                    <a:pt x="196" y="266"/>
                  </a:lnTo>
                  <a:lnTo>
                    <a:pt x="210" y="270"/>
                  </a:lnTo>
                  <a:lnTo>
                    <a:pt x="246" y="281"/>
                  </a:lnTo>
                  <a:lnTo>
                    <a:pt x="246" y="281"/>
                  </a:lnTo>
                  <a:lnTo>
                    <a:pt x="258" y="284"/>
                  </a:lnTo>
                  <a:lnTo>
                    <a:pt x="266" y="288"/>
                  </a:lnTo>
                  <a:lnTo>
                    <a:pt x="266" y="288"/>
                  </a:lnTo>
                  <a:lnTo>
                    <a:pt x="267" y="289"/>
                  </a:lnTo>
                  <a:lnTo>
                    <a:pt x="267" y="290"/>
                  </a:lnTo>
                  <a:lnTo>
                    <a:pt x="266" y="294"/>
                  </a:lnTo>
                  <a:lnTo>
                    <a:pt x="262" y="296"/>
                  </a:lnTo>
                  <a:lnTo>
                    <a:pt x="262" y="296"/>
                  </a:lnTo>
                  <a:lnTo>
                    <a:pt x="268" y="299"/>
                  </a:lnTo>
                  <a:lnTo>
                    <a:pt x="277" y="305"/>
                  </a:lnTo>
                  <a:lnTo>
                    <a:pt x="277" y="305"/>
                  </a:lnTo>
                  <a:lnTo>
                    <a:pt x="283" y="311"/>
                  </a:lnTo>
                  <a:lnTo>
                    <a:pt x="286" y="318"/>
                  </a:lnTo>
                  <a:lnTo>
                    <a:pt x="290" y="327"/>
                  </a:lnTo>
                  <a:lnTo>
                    <a:pt x="292" y="336"/>
                  </a:lnTo>
                  <a:lnTo>
                    <a:pt x="292" y="336"/>
                  </a:lnTo>
                  <a:lnTo>
                    <a:pt x="293" y="344"/>
                  </a:lnTo>
                  <a:lnTo>
                    <a:pt x="295" y="352"/>
                  </a:lnTo>
                  <a:lnTo>
                    <a:pt x="295" y="359"/>
                  </a:lnTo>
                  <a:lnTo>
                    <a:pt x="293" y="363"/>
                  </a:lnTo>
                  <a:lnTo>
                    <a:pt x="292" y="364"/>
                  </a:lnTo>
                  <a:lnTo>
                    <a:pt x="292" y="364"/>
                  </a:lnTo>
                  <a:lnTo>
                    <a:pt x="291" y="366"/>
                  </a:lnTo>
                  <a:lnTo>
                    <a:pt x="289" y="368"/>
                  </a:lnTo>
                  <a:lnTo>
                    <a:pt x="284" y="369"/>
                  </a:lnTo>
                  <a:lnTo>
                    <a:pt x="277" y="371"/>
                  </a:lnTo>
                  <a:lnTo>
                    <a:pt x="279" y="380"/>
                  </a:lnTo>
                  <a:lnTo>
                    <a:pt x="279" y="380"/>
                  </a:lnTo>
                  <a:lnTo>
                    <a:pt x="285" y="380"/>
                  </a:lnTo>
                  <a:lnTo>
                    <a:pt x="290" y="379"/>
                  </a:lnTo>
                  <a:lnTo>
                    <a:pt x="295" y="378"/>
                  </a:lnTo>
                  <a:lnTo>
                    <a:pt x="295" y="378"/>
                  </a:lnTo>
                  <a:lnTo>
                    <a:pt x="292" y="379"/>
                  </a:lnTo>
                  <a:lnTo>
                    <a:pt x="292" y="379"/>
                  </a:lnTo>
                  <a:lnTo>
                    <a:pt x="290" y="385"/>
                  </a:lnTo>
                  <a:lnTo>
                    <a:pt x="289" y="389"/>
                  </a:lnTo>
                  <a:lnTo>
                    <a:pt x="298" y="396"/>
                  </a:lnTo>
                  <a:lnTo>
                    <a:pt x="298" y="396"/>
                  </a:lnTo>
                  <a:lnTo>
                    <a:pt x="303" y="385"/>
                  </a:lnTo>
                  <a:lnTo>
                    <a:pt x="305" y="381"/>
                  </a:lnTo>
                  <a:lnTo>
                    <a:pt x="307" y="379"/>
                  </a:lnTo>
                  <a:lnTo>
                    <a:pt x="307" y="379"/>
                  </a:lnTo>
                  <a:lnTo>
                    <a:pt x="310" y="379"/>
                  </a:lnTo>
                  <a:lnTo>
                    <a:pt x="313" y="380"/>
                  </a:lnTo>
                  <a:lnTo>
                    <a:pt x="318" y="383"/>
                  </a:lnTo>
                  <a:lnTo>
                    <a:pt x="323" y="385"/>
                  </a:lnTo>
                  <a:lnTo>
                    <a:pt x="328" y="389"/>
                  </a:lnTo>
                  <a:lnTo>
                    <a:pt x="333" y="395"/>
                  </a:lnTo>
                  <a:lnTo>
                    <a:pt x="337" y="401"/>
                  </a:lnTo>
                  <a:lnTo>
                    <a:pt x="341" y="408"/>
                  </a:lnTo>
                  <a:lnTo>
                    <a:pt x="341" y="408"/>
                  </a:lnTo>
                  <a:lnTo>
                    <a:pt x="343" y="414"/>
                  </a:lnTo>
                  <a:lnTo>
                    <a:pt x="343" y="420"/>
                  </a:lnTo>
                  <a:lnTo>
                    <a:pt x="343" y="425"/>
                  </a:lnTo>
                  <a:lnTo>
                    <a:pt x="343" y="432"/>
                  </a:lnTo>
                  <a:lnTo>
                    <a:pt x="342" y="438"/>
                  </a:lnTo>
                  <a:lnTo>
                    <a:pt x="340" y="443"/>
                  </a:lnTo>
                  <a:lnTo>
                    <a:pt x="336" y="446"/>
                  </a:lnTo>
                  <a:lnTo>
                    <a:pt x="331" y="448"/>
                  </a:lnTo>
                  <a:lnTo>
                    <a:pt x="331" y="448"/>
                  </a:lnTo>
                  <a:lnTo>
                    <a:pt x="329" y="448"/>
                  </a:lnTo>
                  <a:lnTo>
                    <a:pt x="326" y="447"/>
                  </a:lnTo>
                  <a:lnTo>
                    <a:pt x="319" y="444"/>
                  </a:lnTo>
                  <a:lnTo>
                    <a:pt x="312" y="440"/>
                  </a:lnTo>
                  <a:lnTo>
                    <a:pt x="308" y="440"/>
                  </a:lnTo>
                  <a:lnTo>
                    <a:pt x="307" y="443"/>
                  </a:lnTo>
                  <a:lnTo>
                    <a:pt x="307" y="443"/>
                  </a:lnTo>
                  <a:lnTo>
                    <a:pt x="305" y="444"/>
                  </a:lnTo>
                  <a:lnTo>
                    <a:pt x="303" y="446"/>
                  </a:lnTo>
                  <a:lnTo>
                    <a:pt x="296" y="450"/>
                  </a:lnTo>
                  <a:lnTo>
                    <a:pt x="293" y="452"/>
                  </a:lnTo>
                  <a:lnTo>
                    <a:pt x="292" y="455"/>
                  </a:lnTo>
                  <a:lnTo>
                    <a:pt x="291" y="460"/>
                  </a:lnTo>
                  <a:lnTo>
                    <a:pt x="292" y="466"/>
                  </a:lnTo>
                  <a:lnTo>
                    <a:pt x="292" y="466"/>
                  </a:lnTo>
                  <a:lnTo>
                    <a:pt x="298" y="460"/>
                  </a:lnTo>
                  <a:lnTo>
                    <a:pt x="300" y="458"/>
                  </a:lnTo>
                  <a:lnTo>
                    <a:pt x="303" y="458"/>
                  </a:lnTo>
                  <a:lnTo>
                    <a:pt x="303" y="458"/>
                  </a:lnTo>
                  <a:lnTo>
                    <a:pt x="304" y="459"/>
                  </a:lnTo>
                  <a:lnTo>
                    <a:pt x="305" y="460"/>
                  </a:lnTo>
                  <a:lnTo>
                    <a:pt x="306" y="462"/>
                  </a:lnTo>
                  <a:lnTo>
                    <a:pt x="306" y="462"/>
                  </a:lnTo>
                  <a:lnTo>
                    <a:pt x="308" y="463"/>
                  </a:lnTo>
                  <a:lnTo>
                    <a:pt x="311" y="463"/>
                  </a:lnTo>
                  <a:lnTo>
                    <a:pt x="316" y="463"/>
                  </a:lnTo>
                  <a:lnTo>
                    <a:pt x="323" y="462"/>
                  </a:lnTo>
                  <a:lnTo>
                    <a:pt x="326" y="462"/>
                  </a:lnTo>
                  <a:lnTo>
                    <a:pt x="326" y="463"/>
                  </a:lnTo>
                  <a:lnTo>
                    <a:pt x="326" y="463"/>
                  </a:lnTo>
                  <a:lnTo>
                    <a:pt x="326" y="465"/>
                  </a:lnTo>
                  <a:lnTo>
                    <a:pt x="325" y="465"/>
                  </a:lnTo>
                  <a:lnTo>
                    <a:pt x="322" y="465"/>
                  </a:lnTo>
                  <a:lnTo>
                    <a:pt x="322" y="465"/>
                  </a:lnTo>
                  <a:lnTo>
                    <a:pt x="310" y="467"/>
                  </a:lnTo>
                  <a:lnTo>
                    <a:pt x="305" y="469"/>
                  </a:lnTo>
                  <a:lnTo>
                    <a:pt x="303" y="472"/>
                  </a:lnTo>
                  <a:lnTo>
                    <a:pt x="303" y="472"/>
                  </a:lnTo>
                  <a:lnTo>
                    <a:pt x="303" y="473"/>
                  </a:lnTo>
                  <a:lnTo>
                    <a:pt x="301" y="475"/>
                  </a:lnTo>
                  <a:lnTo>
                    <a:pt x="301" y="475"/>
                  </a:lnTo>
                  <a:lnTo>
                    <a:pt x="300" y="478"/>
                  </a:lnTo>
                  <a:lnTo>
                    <a:pt x="297" y="481"/>
                  </a:lnTo>
                  <a:lnTo>
                    <a:pt x="295" y="484"/>
                  </a:lnTo>
                  <a:lnTo>
                    <a:pt x="293" y="488"/>
                  </a:lnTo>
                  <a:lnTo>
                    <a:pt x="293" y="491"/>
                  </a:lnTo>
                  <a:lnTo>
                    <a:pt x="293" y="491"/>
                  </a:lnTo>
                  <a:lnTo>
                    <a:pt x="295" y="496"/>
                  </a:lnTo>
                  <a:lnTo>
                    <a:pt x="297" y="498"/>
                  </a:lnTo>
                  <a:lnTo>
                    <a:pt x="299" y="502"/>
                  </a:lnTo>
                  <a:lnTo>
                    <a:pt x="299" y="502"/>
                  </a:lnTo>
                  <a:lnTo>
                    <a:pt x="300" y="499"/>
                  </a:lnTo>
                  <a:lnTo>
                    <a:pt x="300" y="496"/>
                  </a:lnTo>
                  <a:lnTo>
                    <a:pt x="301" y="491"/>
                  </a:lnTo>
                  <a:lnTo>
                    <a:pt x="303" y="489"/>
                  </a:lnTo>
                  <a:lnTo>
                    <a:pt x="304" y="489"/>
                  </a:lnTo>
                  <a:lnTo>
                    <a:pt x="304" y="489"/>
                  </a:lnTo>
                  <a:lnTo>
                    <a:pt x="306" y="489"/>
                  </a:lnTo>
                  <a:lnTo>
                    <a:pt x="307" y="490"/>
                  </a:lnTo>
                  <a:lnTo>
                    <a:pt x="310" y="492"/>
                  </a:lnTo>
                  <a:lnTo>
                    <a:pt x="312" y="492"/>
                  </a:lnTo>
                  <a:lnTo>
                    <a:pt x="312" y="492"/>
                  </a:lnTo>
                  <a:lnTo>
                    <a:pt x="314" y="492"/>
                  </a:lnTo>
                  <a:lnTo>
                    <a:pt x="318" y="490"/>
                  </a:lnTo>
                  <a:lnTo>
                    <a:pt x="323" y="483"/>
                  </a:lnTo>
                  <a:lnTo>
                    <a:pt x="330" y="477"/>
                  </a:lnTo>
                  <a:lnTo>
                    <a:pt x="334" y="475"/>
                  </a:lnTo>
                  <a:lnTo>
                    <a:pt x="336" y="475"/>
                  </a:lnTo>
                  <a:lnTo>
                    <a:pt x="336" y="475"/>
                  </a:lnTo>
                  <a:lnTo>
                    <a:pt x="336" y="476"/>
                  </a:lnTo>
                  <a:lnTo>
                    <a:pt x="335" y="477"/>
                  </a:lnTo>
                  <a:lnTo>
                    <a:pt x="331" y="481"/>
                  </a:lnTo>
                  <a:lnTo>
                    <a:pt x="327" y="485"/>
                  </a:lnTo>
                  <a:lnTo>
                    <a:pt x="325" y="488"/>
                  </a:lnTo>
                  <a:lnTo>
                    <a:pt x="323" y="491"/>
                  </a:lnTo>
                  <a:lnTo>
                    <a:pt x="323" y="491"/>
                  </a:lnTo>
                  <a:lnTo>
                    <a:pt x="323" y="495"/>
                  </a:lnTo>
                  <a:lnTo>
                    <a:pt x="326" y="497"/>
                  </a:lnTo>
                  <a:lnTo>
                    <a:pt x="328" y="499"/>
                  </a:lnTo>
                  <a:lnTo>
                    <a:pt x="329" y="502"/>
                  </a:lnTo>
                  <a:lnTo>
                    <a:pt x="329" y="502"/>
                  </a:lnTo>
                  <a:lnTo>
                    <a:pt x="329" y="504"/>
                  </a:lnTo>
                  <a:lnTo>
                    <a:pt x="331" y="507"/>
                  </a:lnTo>
                  <a:lnTo>
                    <a:pt x="335" y="510"/>
                  </a:lnTo>
                  <a:lnTo>
                    <a:pt x="338" y="511"/>
                  </a:lnTo>
                  <a:lnTo>
                    <a:pt x="344" y="513"/>
                  </a:lnTo>
                  <a:lnTo>
                    <a:pt x="348" y="513"/>
                  </a:lnTo>
                  <a:lnTo>
                    <a:pt x="348" y="513"/>
                  </a:lnTo>
                  <a:lnTo>
                    <a:pt x="346" y="511"/>
                  </a:lnTo>
                  <a:lnTo>
                    <a:pt x="343" y="507"/>
                  </a:lnTo>
                  <a:lnTo>
                    <a:pt x="341" y="503"/>
                  </a:lnTo>
                  <a:lnTo>
                    <a:pt x="340" y="502"/>
                  </a:lnTo>
                  <a:lnTo>
                    <a:pt x="341" y="499"/>
                  </a:lnTo>
                  <a:lnTo>
                    <a:pt x="341" y="499"/>
                  </a:lnTo>
                  <a:lnTo>
                    <a:pt x="342" y="498"/>
                  </a:lnTo>
                  <a:lnTo>
                    <a:pt x="343" y="499"/>
                  </a:lnTo>
                  <a:lnTo>
                    <a:pt x="345" y="499"/>
                  </a:lnTo>
                  <a:lnTo>
                    <a:pt x="349" y="498"/>
                  </a:lnTo>
                  <a:lnTo>
                    <a:pt x="349" y="498"/>
                  </a:lnTo>
                  <a:lnTo>
                    <a:pt x="349" y="496"/>
                  </a:lnTo>
                  <a:lnTo>
                    <a:pt x="348" y="489"/>
                  </a:lnTo>
                  <a:lnTo>
                    <a:pt x="349" y="485"/>
                  </a:lnTo>
                  <a:lnTo>
                    <a:pt x="350" y="481"/>
                  </a:lnTo>
                  <a:lnTo>
                    <a:pt x="353" y="476"/>
                  </a:lnTo>
                  <a:lnTo>
                    <a:pt x="358" y="470"/>
                  </a:lnTo>
                  <a:lnTo>
                    <a:pt x="358" y="470"/>
                  </a:lnTo>
                  <a:lnTo>
                    <a:pt x="360" y="474"/>
                  </a:lnTo>
                  <a:lnTo>
                    <a:pt x="363" y="475"/>
                  </a:lnTo>
                  <a:lnTo>
                    <a:pt x="366" y="476"/>
                  </a:lnTo>
                  <a:lnTo>
                    <a:pt x="366" y="476"/>
                  </a:lnTo>
                  <a:lnTo>
                    <a:pt x="368" y="477"/>
                  </a:lnTo>
                  <a:lnTo>
                    <a:pt x="368" y="478"/>
                  </a:lnTo>
                  <a:lnTo>
                    <a:pt x="370" y="483"/>
                  </a:lnTo>
                  <a:lnTo>
                    <a:pt x="368" y="489"/>
                  </a:lnTo>
                  <a:lnTo>
                    <a:pt x="368" y="489"/>
                  </a:lnTo>
                  <a:lnTo>
                    <a:pt x="371" y="488"/>
                  </a:lnTo>
                  <a:lnTo>
                    <a:pt x="373" y="484"/>
                  </a:lnTo>
                  <a:lnTo>
                    <a:pt x="374" y="478"/>
                  </a:lnTo>
                  <a:lnTo>
                    <a:pt x="375" y="472"/>
                  </a:lnTo>
                  <a:lnTo>
                    <a:pt x="375" y="472"/>
                  </a:lnTo>
                  <a:lnTo>
                    <a:pt x="377" y="470"/>
                  </a:lnTo>
                  <a:lnTo>
                    <a:pt x="380" y="466"/>
                  </a:lnTo>
                  <a:lnTo>
                    <a:pt x="380" y="466"/>
                  </a:lnTo>
                  <a:lnTo>
                    <a:pt x="380" y="463"/>
                  </a:lnTo>
                  <a:lnTo>
                    <a:pt x="379" y="462"/>
                  </a:lnTo>
                  <a:lnTo>
                    <a:pt x="377" y="459"/>
                  </a:lnTo>
                  <a:lnTo>
                    <a:pt x="374" y="457"/>
                  </a:lnTo>
                  <a:lnTo>
                    <a:pt x="373" y="453"/>
                  </a:lnTo>
                  <a:lnTo>
                    <a:pt x="372" y="447"/>
                  </a:lnTo>
                  <a:lnTo>
                    <a:pt x="372" y="440"/>
                  </a:lnTo>
                  <a:lnTo>
                    <a:pt x="372" y="440"/>
                  </a:lnTo>
                  <a:lnTo>
                    <a:pt x="372" y="438"/>
                  </a:lnTo>
                  <a:lnTo>
                    <a:pt x="371" y="437"/>
                  </a:lnTo>
                  <a:lnTo>
                    <a:pt x="367" y="435"/>
                  </a:lnTo>
                  <a:lnTo>
                    <a:pt x="367" y="435"/>
                  </a:lnTo>
                  <a:lnTo>
                    <a:pt x="366" y="431"/>
                  </a:lnTo>
                  <a:lnTo>
                    <a:pt x="366" y="430"/>
                  </a:lnTo>
                  <a:lnTo>
                    <a:pt x="366" y="430"/>
                  </a:lnTo>
                  <a:lnTo>
                    <a:pt x="366" y="430"/>
                  </a:lnTo>
                  <a:lnTo>
                    <a:pt x="371" y="431"/>
                  </a:lnTo>
                  <a:lnTo>
                    <a:pt x="375" y="431"/>
                  </a:lnTo>
                  <a:lnTo>
                    <a:pt x="380" y="430"/>
                  </a:lnTo>
                  <a:lnTo>
                    <a:pt x="380" y="430"/>
                  </a:lnTo>
                  <a:lnTo>
                    <a:pt x="381" y="416"/>
                  </a:lnTo>
                  <a:lnTo>
                    <a:pt x="381" y="409"/>
                  </a:lnTo>
                  <a:lnTo>
                    <a:pt x="381" y="406"/>
                  </a:lnTo>
                  <a:lnTo>
                    <a:pt x="381" y="406"/>
                  </a:lnTo>
                  <a:lnTo>
                    <a:pt x="375" y="406"/>
                  </a:lnTo>
                  <a:lnTo>
                    <a:pt x="372" y="405"/>
                  </a:lnTo>
                  <a:lnTo>
                    <a:pt x="368" y="403"/>
                  </a:lnTo>
                  <a:lnTo>
                    <a:pt x="366" y="401"/>
                  </a:lnTo>
                  <a:lnTo>
                    <a:pt x="366" y="401"/>
                  </a:lnTo>
                  <a:lnTo>
                    <a:pt x="371" y="401"/>
                  </a:lnTo>
                  <a:lnTo>
                    <a:pt x="374" y="401"/>
                  </a:lnTo>
                  <a:lnTo>
                    <a:pt x="378" y="401"/>
                  </a:lnTo>
                  <a:lnTo>
                    <a:pt x="381" y="399"/>
                  </a:lnTo>
                  <a:lnTo>
                    <a:pt x="381" y="399"/>
                  </a:lnTo>
                  <a:lnTo>
                    <a:pt x="380" y="387"/>
                  </a:lnTo>
                  <a:lnTo>
                    <a:pt x="380" y="379"/>
                  </a:lnTo>
                  <a:lnTo>
                    <a:pt x="379" y="377"/>
                  </a:lnTo>
                  <a:lnTo>
                    <a:pt x="379" y="376"/>
                  </a:lnTo>
                  <a:lnTo>
                    <a:pt x="379" y="376"/>
                  </a:lnTo>
                  <a:lnTo>
                    <a:pt x="374" y="377"/>
                  </a:lnTo>
                  <a:lnTo>
                    <a:pt x="371" y="377"/>
                  </a:lnTo>
                  <a:lnTo>
                    <a:pt x="366" y="376"/>
                  </a:lnTo>
                  <a:lnTo>
                    <a:pt x="363" y="374"/>
                  </a:lnTo>
                  <a:lnTo>
                    <a:pt x="363" y="374"/>
                  </a:lnTo>
                  <a:lnTo>
                    <a:pt x="362" y="373"/>
                  </a:lnTo>
                  <a:lnTo>
                    <a:pt x="362" y="371"/>
                  </a:lnTo>
                  <a:lnTo>
                    <a:pt x="360" y="368"/>
                  </a:lnTo>
                  <a:lnTo>
                    <a:pt x="360" y="365"/>
                  </a:lnTo>
                  <a:lnTo>
                    <a:pt x="359" y="364"/>
                  </a:lnTo>
                  <a:lnTo>
                    <a:pt x="358" y="363"/>
                  </a:lnTo>
                  <a:lnTo>
                    <a:pt x="358" y="363"/>
                  </a:lnTo>
                  <a:lnTo>
                    <a:pt x="351" y="361"/>
                  </a:lnTo>
                  <a:lnTo>
                    <a:pt x="345" y="357"/>
                  </a:lnTo>
                  <a:lnTo>
                    <a:pt x="341" y="354"/>
                  </a:lnTo>
                  <a:lnTo>
                    <a:pt x="338" y="351"/>
                  </a:lnTo>
                  <a:lnTo>
                    <a:pt x="338" y="351"/>
                  </a:lnTo>
                  <a:lnTo>
                    <a:pt x="336" y="348"/>
                  </a:lnTo>
                  <a:lnTo>
                    <a:pt x="335" y="344"/>
                  </a:lnTo>
                  <a:lnTo>
                    <a:pt x="335" y="342"/>
                  </a:lnTo>
                  <a:lnTo>
                    <a:pt x="335" y="342"/>
                  </a:lnTo>
                  <a:lnTo>
                    <a:pt x="341" y="344"/>
                  </a:lnTo>
                  <a:lnTo>
                    <a:pt x="344" y="344"/>
                  </a:lnTo>
                  <a:lnTo>
                    <a:pt x="346" y="343"/>
                  </a:lnTo>
                  <a:lnTo>
                    <a:pt x="349" y="325"/>
                  </a:lnTo>
                  <a:lnTo>
                    <a:pt x="349" y="325"/>
                  </a:lnTo>
                  <a:lnTo>
                    <a:pt x="346" y="325"/>
                  </a:lnTo>
                  <a:lnTo>
                    <a:pt x="342" y="324"/>
                  </a:lnTo>
                  <a:lnTo>
                    <a:pt x="342" y="324"/>
                  </a:lnTo>
                  <a:lnTo>
                    <a:pt x="340" y="321"/>
                  </a:lnTo>
                  <a:lnTo>
                    <a:pt x="337" y="319"/>
                  </a:lnTo>
                  <a:lnTo>
                    <a:pt x="335" y="317"/>
                  </a:lnTo>
                  <a:lnTo>
                    <a:pt x="335" y="317"/>
                  </a:lnTo>
                  <a:lnTo>
                    <a:pt x="337" y="318"/>
                  </a:lnTo>
                  <a:lnTo>
                    <a:pt x="342" y="319"/>
                  </a:lnTo>
                  <a:lnTo>
                    <a:pt x="342" y="319"/>
                  </a:lnTo>
                  <a:lnTo>
                    <a:pt x="348" y="319"/>
                  </a:lnTo>
                  <a:lnTo>
                    <a:pt x="349" y="318"/>
                  </a:lnTo>
                  <a:lnTo>
                    <a:pt x="352" y="297"/>
                  </a:lnTo>
                  <a:lnTo>
                    <a:pt x="352" y="297"/>
                  </a:lnTo>
                  <a:lnTo>
                    <a:pt x="348" y="297"/>
                  </a:lnTo>
                  <a:lnTo>
                    <a:pt x="345" y="296"/>
                  </a:lnTo>
                  <a:lnTo>
                    <a:pt x="342" y="295"/>
                  </a:lnTo>
                  <a:lnTo>
                    <a:pt x="341" y="291"/>
                  </a:lnTo>
                  <a:lnTo>
                    <a:pt x="341" y="290"/>
                  </a:lnTo>
                  <a:lnTo>
                    <a:pt x="341" y="290"/>
                  </a:lnTo>
                  <a:lnTo>
                    <a:pt x="348" y="288"/>
                  </a:lnTo>
                  <a:lnTo>
                    <a:pt x="355" y="284"/>
                  </a:lnTo>
                  <a:lnTo>
                    <a:pt x="360" y="280"/>
                  </a:lnTo>
                  <a:lnTo>
                    <a:pt x="366" y="275"/>
                  </a:lnTo>
                  <a:lnTo>
                    <a:pt x="371" y="269"/>
                  </a:lnTo>
                  <a:lnTo>
                    <a:pt x="374" y="262"/>
                  </a:lnTo>
                  <a:lnTo>
                    <a:pt x="377" y="257"/>
                  </a:lnTo>
                  <a:lnTo>
                    <a:pt x="379" y="250"/>
                  </a:lnTo>
                  <a:lnTo>
                    <a:pt x="379" y="250"/>
                  </a:lnTo>
                  <a:lnTo>
                    <a:pt x="383" y="252"/>
                  </a:lnTo>
                  <a:lnTo>
                    <a:pt x="387" y="252"/>
                  </a:lnTo>
                  <a:lnTo>
                    <a:pt x="390" y="252"/>
                  </a:lnTo>
                  <a:lnTo>
                    <a:pt x="390" y="252"/>
                  </a:lnTo>
                  <a:lnTo>
                    <a:pt x="390" y="244"/>
                  </a:lnTo>
                  <a:lnTo>
                    <a:pt x="390" y="235"/>
                  </a:lnTo>
                  <a:lnTo>
                    <a:pt x="390" y="235"/>
                  </a:lnTo>
                  <a:lnTo>
                    <a:pt x="386" y="233"/>
                  </a:lnTo>
                  <a:lnTo>
                    <a:pt x="382" y="232"/>
                  </a:lnTo>
                  <a:lnTo>
                    <a:pt x="380" y="2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31" name="Freeform 30"/>
            <p:cNvSpPr>
              <a:spLocks/>
            </p:cNvSpPr>
            <p:nvPr userDrawn="1"/>
          </p:nvSpPr>
          <p:spPr bwMode="auto">
            <a:xfrm>
              <a:off x="4787" y="2604"/>
              <a:ext cx="221" cy="58"/>
            </a:xfrm>
            <a:custGeom>
              <a:avLst/>
              <a:gdLst>
                <a:gd name="T0" fmla="*/ 0 w 221"/>
                <a:gd name="T1" fmla="*/ 22 h 58"/>
                <a:gd name="T2" fmla="*/ 0 w 221"/>
                <a:gd name="T3" fmla="*/ 22 h 58"/>
                <a:gd name="T4" fmla="*/ 14 w 221"/>
                <a:gd name="T5" fmla="*/ 31 h 58"/>
                <a:gd name="T6" fmla="*/ 26 w 221"/>
                <a:gd name="T7" fmla="*/ 38 h 58"/>
                <a:gd name="T8" fmla="*/ 26 w 221"/>
                <a:gd name="T9" fmla="*/ 38 h 58"/>
                <a:gd name="T10" fmla="*/ 45 w 221"/>
                <a:gd name="T11" fmla="*/ 45 h 58"/>
                <a:gd name="T12" fmla="*/ 57 w 221"/>
                <a:gd name="T13" fmla="*/ 50 h 58"/>
                <a:gd name="T14" fmla="*/ 72 w 221"/>
                <a:gd name="T15" fmla="*/ 53 h 58"/>
                <a:gd name="T16" fmla="*/ 87 w 221"/>
                <a:gd name="T17" fmla="*/ 56 h 58"/>
                <a:gd name="T18" fmla="*/ 104 w 221"/>
                <a:gd name="T19" fmla="*/ 58 h 58"/>
                <a:gd name="T20" fmla="*/ 124 w 221"/>
                <a:gd name="T21" fmla="*/ 58 h 58"/>
                <a:gd name="T22" fmla="*/ 143 w 221"/>
                <a:gd name="T23" fmla="*/ 57 h 58"/>
                <a:gd name="T24" fmla="*/ 143 w 221"/>
                <a:gd name="T25" fmla="*/ 57 h 58"/>
                <a:gd name="T26" fmla="*/ 162 w 221"/>
                <a:gd name="T27" fmla="*/ 54 h 58"/>
                <a:gd name="T28" fmla="*/ 178 w 221"/>
                <a:gd name="T29" fmla="*/ 51 h 58"/>
                <a:gd name="T30" fmla="*/ 191 w 221"/>
                <a:gd name="T31" fmla="*/ 48 h 58"/>
                <a:gd name="T32" fmla="*/ 202 w 221"/>
                <a:gd name="T33" fmla="*/ 44 h 58"/>
                <a:gd name="T34" fmla="*/ 216 w 221"/>
                <a:gd name="T35" fmla="*/ 36 h 58"/>
                <a:gd name="T36" fmla="*/ 221 w 221"/>
                <a:gd name="T37" fmla="*/ 34 h 58"/>
                <a:gd name="T38" fmla="*/ 221 w 221"/>
                <a:gd name="T39" fmla="*/ 34 h 58"/>
                <a:gd name="T40" fmla="*/ 215 w 221"/>
                <a:gd name="T41" fmla="*/ 31 h 58"/>
                <a:gd name="T42" fmla="*/ 209 w 221"/>
                <a:gd name="T43" fmla="*/ 28 h 58"/>
                <a:gd name="T44" fmla="*/ 199 w 221"/>
                <a:gd name="T45" fmla="*/ 20 h 58"/>
                <a:gd name="T46" fmla="*/ 199 w 221"/>
                <a:gd name="T47" fmla="*/ 20 h 58"/>
                <a:gd name="T48" fmla="*/ 199 w 221"/>
                <a:gd name="T49" fmla="*/ 24 h 58"/>
                <a:gd name="T50" fmla="*/ 199 w 221"/>
                <a:gd name="T51" fmla="*/ 24 h 58"/>
                <a:gd name="T52" fmla="*/ 198 w 221"/>
                <a:gd name="T53" fmla="*/ 33 h 58"/>
                <a:gd name="T54" fmla="*/ 198 w 221"/>
                <a:gd name="T55" fmla="*/ 33 h 58"/>
                <a:gd name="T56" fmla="*/ 193 w 221"/>
                <a:gd name="T57" fmla="*/ 31 h 58"/>
                <a:gd name="T58" fmla="*/ 193 w 221"/>
                <a:gd name="T59" fmla="*/ 31 h 58"/>
                <a:gd name="T60" fmla="*/ 190 w 221"/>
                <a:gd name="T61" fmla="*/ 29 h 58"/>
                <a:gd name="T62" fmla="*/ 186 w 221"/>
                <a:gd name="T63" fmla="*/ 26 h 58"/>
                <a:gd name="T64" fmla="*/ 184 w 221"/>
                <a:gd name="T65" fmla="*/ 21 h 58"/>
                <a:gd name="T66" fmla="*/ 183 w 221"/>
                <a:gd name="T67" fmla="*/ 15 h 58"/>
                <a:gd name="T68" fmla="*/ 183 w 221"/>
                <a:gd name="T69" fmla="*/ 15 h 58"/>
                <a:gd name="T70" fmla="*/ 182 w 221"/>
                <a:gd name="T71" fmla="*/ 14 h 58"/>
                <a:gd name="T72" fmla="*/ 182 w 221"/>
                <a:gd name="T73" fmla="*/ 14 h 58"/>
                <a:gd name="T74" fmla="*/ 172 w 221"/>
                <a:gd name="T75" fmla="*/ 17 h 58"/>
                <a:gd name="T76" fmla="*/ 160 w 221"/>
                <a:gd name="T77" fmla="*/ 21 h 58"/>
                <a:gd name="T78" fmla="*/ 146 w 221"/>
                <a:gd name="T79" fmla="*/ 24 h 58"/>
                <a:gd name="T80" fmla="*/ 130 w 221"/>
                <a:gd name="T81" fmla="*/ 26 h 58"/>
                <a:gd name="T82" fmla="*/ 130 w 221"/>
                <a:gd name="T83" fmla="*/ 26 h 58"/>
                <a:gd name="T84" fmla="*/ 102 w 221"/>
                <a:gd name="T85" fmla="*/ 24 h 58"/>
                <a:gd name="T86" fmla="*/ 88 w 221"/>
                <a:gd name="T87" fmla="*/ 23 h 58"/>
                <a:gd name="T88" fmla="*/ 74 w 221"/>
                <a:gd name="T89" fmla="*/ 21 h 58"/>
                <a:gd name="T90" fmla="*/ 61 w 221"/>
                <a:gd name="T91" fmla="*/ 19 h 58"/>
                <a:gd name="T92" fmla="*/ 48 w 221"/>
                <a:gd name="T93" fmla="*/ 14 h 58"/>
                <a:gd name="T94" fmla="*/ 34 w 221"/>
                <a:gd name="T95" fmla="*/ 9 h 58"/>
                <a:gd name="T96" fmla="*/ 20 w 221"/>
                <a:gd name="T97" fmla="*/ 5 h 58"/>
                <a:gd name="T98" fmla="*/ 20 w 221"/>
                <a:gd name="T99" fmla="*/ 5 h 58"/>
                <a:gd name="T100" fmla="*/ 11 w 221"/>
                <a:gd name="T101" fmla="*/ 0 h 58"/>
                <a:gd name="T102" fmla="*/ 11 w 221"/>
                <a:gd name="T103" fmla="*/ 0 h 58"/>
                <a:gd name="T104" fmla="*/ 9 w 221"/>
                <a:gd name="T105" fmla="*/ 1 h 58"/>
                <a:gd name="T106" fmla="*/ 9 w 221"/>
                <a:gd name="T107" fmla="*/ 4 h 58"/>
                <a:gd name="T108" fmla="*/ 12 w 221"/>
                <a:gd name="T109" fmla="*/ 9 h 58"/>
                <a:gd name="T110" fmla="*/ 16 w 221"/>
                <a:gd name="T111" fmla="*/ 16 h 58"/>
                <a:gd name="T112" fmla="*/ 16 w 221"/>
                <a:gd name="T113" fmla="*/ 16 h 58"/>
                <a:gd name="T114" fmla="*/ 11 w 221"/>
                <a:gd name="T115" fmla="*/ 15 h 58"/>
                <a:gd name="T116" fmla="*/ 6 w 221"/>
                <a:gd name="T117" fmla="*/ 17 h 58"/>
                <a:gd name="T118" fmla="*/ 6 w 221"/>
                <a:gd name="T119" fmla="*/ 17 h 58"/>
                <a:gd name="T120" fmla="*/ 2 w 221"/>
                <a:gd name="T121" fmla="*/ 20 h 58"/>
                <a:gd name="T122" fmla="*/ 0 w 221"/>
                <a:gd name="T123" fmla="*/ 22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21" h="58">
                  <a:moveTo>
                    <a:pt x="0" y="22"/>
                  </a:moveTo>
                  <a:lnTo>
                    <a:pt x="0" y="22"/>
                  </a:lnTo>
                  <a:lnTo>
                    <a:pt x="14" y="31"/>
                  </a:lnTo>
                  <a:lnTo>
                    <a:pt x="26" y="38"/>
                  </a:lnTo>
                  <a:lnTo>
                    <a:pt x="26" y="38"/>
                  </a:lnTo>
                  <a:lnTo>
                    <a:pt x="45" y="45"/>
                  </a:lnTo>
                  <a:lnTo>
                    <a:pt x="57" y="50"/>
                  </a:lnTo>
                  <a:lnTo>
                    <a:pt x="72" y="53"/>
                  </a:lnTo>
                  <a:lnTo>
                    <a:pt x="87" y="56"/>
                  </a:lnTo>
                  <a:lnTo>
                    <a:pt x="104" y="58"/>
                  </a:lnTo>
                  <a:lnTo>
                    <a:pt x="124" y="58"/>
                  </a:lnTo>
                  <a:lnTo>
                    <a:pt x="143" y="57"/>
                  </a:lnTo>
                  <a:lnTo>
                    <a:pt x="143" y="57"/>
                  </a:lnTo>
                  <a:lnTo>
                    <a:pt x="162" y="54"/>
                  </a:lnTo>
                  <a:lnTo>
                    <a:pt x="178" y="51"/>
                  </a:lnTo>
                  <a:lnTo>
                    <a:pt x="191" y="48"/>
                  </a:lnTo>
                  <a:lnTo>
                    <a:pt x="202" y="44"/>
                  </a:lnTo>
                  <a:lnTo>
                    <a:pt x="216" y="36"/>
                  </a:lnTo>
                  <a:lnTo>
                    <a:pt x="221" y="34"/>
                  </a:lnTo>
                  <a:lnTo>
                    <a:pt x="221" y="34"/>
                  </a:lnTo>
                  <a:lnTo>
                    <a:pt x="215" y="31"/>
                  </a:lnTo>
                  <a:lnTo>
                    <a:pt x="209" y="28"/>
                  </a:lnTo>
                  <a:lnTo>
                    <a:pt x="199" y="20"/>
                  </a:lnTo>
                  <a:lnTo>
                    <a:pt x="199" y="20"/>
                  </a:lnTo>
                  <a:lnTo>
                    <a:pt x="199" y="24"/>
                  </a:lnTo>
                  <a:lnTo>
                    <a:pt x="199" y="24"/>
                  </a:lnTo>
                  <a:lnTo>
                    <a:pt x="198" y="33"/>
                  </a:lnTo>
                  <a:lnTo>
                    <a:pt x="198" y="33"/>
                  </a:lnTo>
                  <a:lnTo>
                    <a:pt x="193" y="31"/>
                  </a:lnTo>
                  <a:lnTo>
                    <a:pt x="193" y="31"/>
                  </a:lnTo>
                  <a:lnTo>
                    <a:pt x="190" y="29"/>
                  </a:lnTo>
                  <a:lnTo>
                    <a:pt x="186" y="26"/>
                  </a:lnTo>
                  <a:lnTo>
                    <a:pt x="184" y="21"/>
                  </a:lnTo>
                  <a:lnTo>
                    <a:pt x="183" y="15"/>
                  </a:lnTo>
                  <a:lnTo>
                    <a:pt x="183" y="15"/>
                  </a:lnTo>
                  <a:lnTo>
                    <a:pt x="182" y="14"/>
                  </a:lnTo>
                  <a:lnTo>
                    <a:pt x="182" y="14"/>
                  </a:lnTo>
                  <a:lnTo>
                    <a:pt x="172" y="17"/>
                  </a:lnTo>
                  <a:lnTo>
                    <a:pt x="160" y="21"/>
                  </a:lnTo>
                  <a:lnTo>
                    <a:pt x="146" y="24"/>
                  </a:lnTo>
                  <a:lnTo>
                    <a:pt x="130" y="26"/>
                  </a:lnTo>
                  <a:lnTo>
                    <a:pt x="130" y="26"/>
                  </a:lnTo>
                  <a:lnTo>
                    <a:pt x="102" y="24"/>
                  </a:lnTo>
                  <a:lnTo>
                    <a:pt x="88" y="23"/>
                  </a:lnTo>
                  <a:lnTo>
                    <a:pt x="74" y="21"/>
                  </a:lnTo>
                  <a:lnTo>
                    <a:pt x="61" y="19"/>
                  </a:lnTo>
                  <a:lnTo>
                    <a:pt x="48" y="14"/>
                  </a:lnTo>
                  <a:lnTo>
                    <a:pt x="34" y="9"/>
                  </a:lnTo>
                  <a:lnTo>
                    <a:pt x="20" y="5"/>
                  </a:lnTo>
                  <a:lnTo>
                    <a:pt x="20" y="5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9" y="1"/>
                  </a:lnTo>
                  <a:lnTo>
                    <a:pt x="9" y="4"/>
                  </a:lnTo>
                  <a:lnTo>
                    <a:pt x="12" y="9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1" y="15"/>
                  </a:lnTo>
                  <a:lnTo>
                    <a:pt x="6" y="17"/>
                  </a:lnTo>
                  <a:lnTo>
                    <a:pt x="6" y="17"/>
                  </a:lnTo>
                  <a:lnTo>
                    <a:pt x="2" y="20"/>
                  </a:lnTo>
                  <a:lnTo>
                    <a:pt x="0" y="2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34" name="Freeform 31"/>
            <p:cNvSpPr>
              <a:spLocks/>
            </p:cNvSpPr>
            <p:nvPr userDrawn="1"/>
          </p:nvSpPr>
          <p:spPr bwMode="auto">
            <a:xfrm>
              <a:off x="4738" y="2418"/>
              <a:ext cx="225" cy="161"/>
            </a:xfrm>
            <a:custGeom>
              <a:avLst/>
              <a:gdLst>
                <a:gd name="T0" fmla="*/ 206 w 225"/>
                <a:gd name="T1" fmla="*/ 13 h 161"/>
                <a:gd name="T2" fmla="*/ 202 w 225"/>
                <a:gd name="T3" fmla="*/ 2 h 161"/>
                <a:gd name="T4" fmla="*/ 197 w 225"/>
                <a:gd name="T5" fmla="*/ 0 h 161"/>
                <a:gd name="T6" fmla="*/ 144 w 225"/>
                <a:gd name="T7" fmla="*/ 26 h 161"/>
                <a:gd name="T8" fmla="*/ 131 w 225"/>
                <a:gd name="T9" fmla="*/ 34 h 161"/>
                <a:gd name="T10" fmla="*/ 112 w 225"/>
                <a:gd name="T11" fmla="*/ 34 h 161"/>
                <a:gd name="T12" fmla="*/ 114 w 225"/>
                <a:gd name="T13" fmla="*/ 45 h 161"/>
                <a:gd name="T14" fmla="*/ 109 w 225"/>
                <a:gd name="T15" fmla="*/ 50 h 161"/>
                <a:gd name="T16" fmla="*/ 114 w 225"/>
                <a:gd name="T17" fmla="*/ 59 h 161"/>
                <a:gd name="T18" fmla="*/ 124 w 225"/>
                <a:gd name="T19" fmla="*/ 58 h 161"/>
                <a:gd name="T20" fmla="*/ 120 w 225"/>
                <a:gd name="T21" fmla="*/ 73 h 161"/>
                <a:gd name="T22" fmla="*/ 92 w 225"/>
                <a:gd name="T23" fmla="*/ 93 h 161"/>
                <a:gd name="T24" fmla="*/ 64 w 225"/>
                <a:gd name="T25" fmla="*/ 98 h 161"/>
                <a:gd name="T26" fmla="*/ 50 w 225"/>
                <a:gd name="T27" fmla="*/ 87 h 161"/>
                <a:gd name="T28" fmla="*/ 43 w 225"/>
                <a:gd name="T29" fmla="*/ 80 h 161"/>
                <a:gd name="T30" fmla="*/ 32 w 225"/>
                <a:gd name="T31" fmla="*/ 80 h 161"/>
                <a:gd name="T32" fmla="*/ 17 w 225"/>
                <a:gd name="T33" fmla="*/ 87 h 161"/>
                <a:gd name="T34" fmla="*/ 31 w 225"/>
                <a:gd name="T35" fmla="*/ 89 h 161"/>
                <a:gd name="T36" fmla="*/ 27 w 225"/>
                <a:gd name="T37" fmla="*/ 95 h 161"/>
                <a:gd name="T38" fmla="*/ 47 w 225"/>
                <a:gd name="T39" fmla="*/ 108 h 161"/>
                <a:gd name="T40" fmla="*/ 47 w 225"/>
                <a:gd name="T41" fmla="*/ 109 h 161"/>
                <a:gd name="T42" fmla="*/ 25 w 225"/>
                <a:gd name="T43" fmla="*/ 102 h 161"/>
                <a:gd name="T44" fmla="*/ 18 w 225"/>
                <a:gd name="T45" fmla="*/ 104 h 161"/>
                <a:gd name="T46" fmla="*/ 4 w 225"/>
                <a:gd name="T47" fmla="*/ 109 h 161"/>
                <a:gd name="T48" fmla="*/ 2 w 225"/>
                <a:gd name="T49" fmla="*/ 123 h 161"/>
                <a:gd name="T50" fmla="*/ 11 w 225"/>
                <a:gd name="T51" fmla="*/ 115 h 161"/>
                <a:gd name="T52" fmla="*/ 13 w 225"/>
                <a:gd name="T53" fmla="*/ 119 h 161"/>
                <a:gd name="T54" fmla="*/ 16 w 225"/>
                <a:gd name="T55" fmla="*/ 125 h 161"/>
                <a:gd name="T56" fmla="*/ 42 w 225"/>
                <a:gd name="T57" fmla="*/ 124 h 161"/>
                <a:gd name="T58" fmla="*/ 48 w 225"/>
                <a:gd name="T59" fmla="*/ 125 h 161"/>
                <a:gd name="T60" fmla="*/ 25 w 225"/>
                <a:gd name="T61" fmla="*/ 131 h 161"/>
                <a:gd name="T62" fmla="*/ 24 w 225"/>
                <a:gd name="T63" fmla="*/ 135 h 161"/>
                <a:gd name="T64" fmla="*/ 18 w 225"/>
                <a:gd name="T65" fmla="*/ 148 h 161"/>
                <a:gd name="T66" fmla="*/ 21 w 225"/>
                <a:gd name="T67" fmla="*/ 157 h 161"/>
                <a:gd name="T68" fmla="*/ 26 w 225"/>
                <a:gd name="T69" fmla="*/ 155 h 161"/>
                <a:gd name="T70" fmla="*/ 27 w 225"/>
                <a:gd name="T71" fmla="*/ 149 h 161"/>
                <a:gd name="T72" fmla="*/ 34 w 225"/>
                <a:gd name="T73" fmla="*/ 154 h 161"/>
                <a:gd name="T74" fmla="*/ 45 w 225"/>
                <a:gd name="T75" fmla="*/ 147 h 161"/>
                <a:gd name="T76" fmla="*/ 58 w 225"/>
                <a:gd name="T77" fmla="*/ 135 h 161"/>
                <a:gd name="T78" fmla="*/ 69 w 225"/>
                <a:gd name="T79" fmla="*/ 134 h 161"/>
                <a:gd name="T80" fmla="*/ 70 w 225"/>
                <a:gd name="T81" fmla="*/ 141 h 161"/>
                <a:gd name="T82" fmla="*/ 73 w 225"/>
                <a:gd name="T83" fmla="*/ 148 h 161"/>
                <a:gd name="T84" fmla="*/ 71 w 225"/>
                <a:gd name="T85" fmla="*/ 154 h 161"/>
                <a:gd name="T86" fmla="*/ 85 w 225"/>
                <a:gd name="T87" fmla="*/ 142 h 161"/>
                <a:gd name="T88" fmla="*/ 88 w 225"/>
                <a:gd name="T89" fmla="*/ 139 h 161"/>
                <a:gd name="T90" fmla="*/ 91 w 225"/>
                <a:gd name="T91" fmla="*/ 134 h 161"/>
                <a:gd name="T92" fmla="*/ 93 w 225"/>
                <a:gd name="T93" fmla="*/ 127 h 161"/>
                <a:gd name="T94" fmla="*/ 105 w 225"/>
                <a:gd name="T95" fmla="*/ 123 h 161"/>
                <a:gd name="T96" fmla="*/ 108 w 225"/>
                <a:gd name="T97" fmla="*/ 115 h 161"/>
                <a:gd name="T98" fmla="*/ 114 w 225"/>
                <a:gd name="T99" fmla="*/ 113 h 161"/>
                <a:gd name="T100" fmla="*/ 127 w 225"/>
                <a:gd name="T101" fmla="*/ 125 h 161"/>
                <a:gd name="T102" fmla="*/ 145 w 225"/>
                <a:gd name="T103" fmla="*/ 116 h 161"/>
                <a:gd name="T104" fmla="*/ 144 w 225"/>
                <a:gd name="T105" fmla="*/ 108 h 161"/>
                <a:gd name="T106" fmla="*/ 142 w 225"/>
                <a:gd name="T107" fmla="*/ 98 h 161"/>
                <a:gd name="T108" fmla="*/ 154 w 225"/>
                <a:gd name="T109" fmla="*/ 110 h 161"/>
                <a:gd name="T110" fmla="*/ 174 w 225"/>
                <a:gd name="T111" fmla="*/ 98 h 161"/>
                <a:gd name="T112" fmla="*/ 173 w 225"/>
                <a:gd name="T113" fmla="*/ 95 h 161"/>
                <a:gd name="T114" fmla="*/ 167 w 225"/>
                <a:gd name="T115" fmla="*/ 83 h 161"/>
                <a:gd name="T116" fmla="*/ 165 w 225"/>
                <a:gd name="T117" fmla="*/ 73 h 161"/>
                <a:gd name="T118" fmla="*/ 165 w 225"/>
                <a:gd name="T119" fmla="*/ 62 h 161"/>
                <a:gd name="T120" fmla="*/ 224 w 225"/>
                <a:gd name="T121" fmla="*/ 29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25" h="161">
                  <a:moveTo>
                    <a:pt x="217" y="20"/>
                  </a:moveTo>
                  <a:lnTo>
                    <a:pt x="217" y="20"/>
                  </a:lnTo>
                  <a:lnTo>
                    <a:pt x="212" y="15"/>
                  </a:lnTo>
                  <a:lnTo>
                    <a:pt x="206" y="13"/>
                  </a:lnTo>
                  <a:lnTo>
                    <a:pt x="196" y="8"/>
                  </a:lnTo>
                  <a:lnTo>
                    <a:pt x="196" y="8"/>
                  </a:lnTo>
                  <a:lnTo>
                    <a:pt x="199" y="5"/>
                  </a:lnTo>
                  <a:lnTo>
                    <a:pt x="202" y="2"/>
                  </a:lnTo>
                  <a:lnTo>
                    <a:pt x="203" y="1"/>
                  </a:lnTo>
                  <a:lnTo>
                    <a:pt x="203" y="1"/>
                  </a:lnTo>
                  <a:lnTo>
                    <a:pt x="198" y="0"/>
                  </a:lnTo>
                  <a:lnTo>
                    <a:pt x="197" y="0"/>
                  </a:lnTo>
                  <a:lnTo>
                    <a:pt x="197" y="0"/>
                  </a:lnTo>
                  <a:lnTo>
                    <a:pt x="177" y="8"/>
                  </a:lnTo>
                  <a:lnTo>
                    <a:pt x="159" y="16"/>
                  </a:lnTo>
                  <a:lnTo>
                    <a:pt x="144" y="26"/>
                  </a:lnTo>
                  <a:lnTo>
                    <a:pt x="131" y="34"/>
                  </a:lnTo>
                  <a:lnTo>
                    <a:pt x="131" y="34"/>
                  </a:lnTo>
                  <a:lnTo>
                    <a:pt x="131" y="34"/>
                  </a:lnTo>
                  <a:lnTo>
                    <a:pt x="131" y="34"/>
                  </a:lnTo>
                  <a:lnTo>
                    <a:pt x="128" y="36"/>
                  </a:lnTo>
                  <a:lnTo>
                    <a:pt x="123" y="36"/>
                  </a:lnTo>
                  <a:lnTo>
                    <a:pt x="116" y="35"/>
                  </a:lnTo>
                  <a:lnTo>
                    <a:pt x="112" y="34"/>
                  </a:lnTo>
                  <a:lnTo>
                    <a:pt x="109" y="32"/>
                  </a:lnTo>
                  <a:lnTo>
                    <a:pt x="108" y="43"/>
                  </a:lnTo>
                  <a:lnTo>
                    <a:pt x="108" y="43"/>
                  </a:lnTo>
                  <a:lnTo>
                    <a:pt x="114" y="45"/>
                  </a:lnTo>
                  <a:lnTo>
                    <a:pt x="119" y="47"/>
                  </a:lnTo>
                  <a:lnTo>
                    <a:pt x="119" y="47"/>
                  </a:lnTo>
                  <a:lnTo>
                    <a:pt x="113" y="49"/>
                  </a:lnTo>
                  <a:lnTo>
                    <a:pt x="109" y="50"/>
                  </a:lnTo>
                  <a:lnTo>
                    <a:pt x="107" y="52"/>
                  </a:lnTo>
                  <a:lnTo>
                    <a:pt x="110" y="61"/>
                  </a:lnTo>
                  <a:lnTo>
                    <a:pt x="110" y="61"/>
                  </a:lnTo>
                  <a:lnTo>
                    <a:pt x="114" y="59"/>
                  </a:lnTo>
                  <a:lnTo>
                    <a:pt x="119" y="58"/>
                  </a:lnTo>
                  <a:lnTo>
                    <a:pt x="124" y="57"/>
                  </a:lnTo>
                  <a:lnTo>
                    <a:pt x="124" y="57"/>
                  </a:lnTo>
                  <a:lnTo>
                    <a:pt x="124" y="58"/>
                  </a:lnTo>
                  <a:lnTo>
                    <a:pt x="124" y="58"/>
                  </a:lnTo>
                  <a:lnTo>
                    <a:pt x="124" y="62"/>
                  </a:lnTo>
                  <a:lnTo>
                    <a:pt x="122" y="67"/>
                  </a:lnTo>
                  <a:lnTo>
                    <a:pt x="120" y="73"/>
                  </a:lnTo>
                  <a:lnTo>
                    <a:pt x="115" y="78"/>
                  </a:lnTo>
                  <a:lnTo>
                    <a:pt x="103" y="87"/>
                  </a:lnTo>
                  <a:lnTo>
                    <a:pt x="98" y="90"/>
                  </a:lnTo>
                  <a:lnTo>
                    <a:pt x="92" y="93"/>
                  </a:lnTo>
                  <a:lnTo>
                    <a:pt x="92" y="93"/>
                  </a:lnTo>
                  <a:lnTo>
                    <a:pt x="80" y="96"/>
                  </a:lnTo>
                  <a:lnTo>
                    <a:pt x="71" y="98"/>
                  </a:lnTo>
                  <a:lnTo>
                    <a:pt x="64" y="98"/>
                  </a:lnTo>
                  <a:lnTo>
                    <a:pt x="60" y="97"/>
                  </a:lnTo>
                  <a:lnTo>
                    <a:pt x="60" y="97"/>
                  </a:lnTo>
                  <a:lnTo>
                    <a:pt x="54" y="91"/>
                  </a:lnTo>
                  <a:lnTo>
                    <a:pt x="50" y="87"/>
                  </a:lnTo>
                  <a:lnTo>
                    <a:pt x="47" y="82"/>
                  </a:lnTo>
                  <a:lnTo>
                    <a:pt x="46" y="80"/>
                  </a:lnTo>
                  <a:lnTo>
                    <a:pt x="43" y="80"/>
                  </a:lnTo>
                  <a:lnTo>
                    <a:pt x="43" y="80"/>
                  </a:lnTo>
                  <a:lnTo>
                    <a:pt x="41" y="80"/>
                  </a:lnTo>
                  <a:lnTo>
                    <a:pt x="39" y="81"/>
                  </a:lnTo>
                  <a:lnTo>
                    <a:pt x="39" y="81"/>
                  </a:lnTo>
                  <a:lnTo>
                    <a:pt x="32" y="80"/>
                  </a:lnTo>
                  <a:lnTo>
                    <a:pt x="26" y="81"/>
                  </a:lnTo>
                  <a:lnTo>
                    <a:pt x="20" y="83"/>
                  </a:lnTo>
                  <a:lnTo>
                    <a:pt x="18" y="84"/>
                  </a:lnTo>
                  <a:lnTo>
                    <a:pt x="17" y="87"/>
                  </a:lnTo>
                  <a:lnTo>
                    <a:pt x="17" y="87"/>
                  </a:lnTo>
                  <a:lnTo>
                    <a:pt x="26" y="87"/>
                  </a:lnTo>
                  <a:lnTo>
                    <a:pt x="31" y="88"/>
                  </a:lnTo>
                  <a:lnTo>
                    <a:pt x="31" y="89"/>
                  </a:lnTo>
                  <a:lnTo>
                    <a:pt x="28" y="90"/>
                  </a:lnTo>
                  <a:lnTo>
                    <a:pt x="28" y="90"/>
                  </a:lnTo>
                  <a:lnTo>
                    <a:pt x="27" y="93"/>
                  </a:lnTo>
                  <a:lnTo>
                    <a:pt x="27" y="95"/>
                  </a:lnTo>
                  <a:lnTo>
                    <a:pt x="30" y="97"/>
                  </a:lnTo>
                  <a:lnTo>
                    <a:pt x="33" y="99"/>
                  </a:lnTo>
                  <a:lnTo>
                    <a:pt x="47" y="108"/>
                  </a:lnTo>
                  <a:lnTo>
                    <a:pt x="47" y="108"/>
                  </a:lnTo>
                  <a:lnTo>
                    <a:pt x="48" y="108"/>
                  </a:lnTo>
                  <a:lnTo>
                    <a:pt x="48" y="109"/>
                  </a:lnTo>
                  <a:lnTo>
                    <a:pt x="47" y="109"/>
                  </a:lnTo>
                  <a:lnTo>
                    <a:pt x="47" y="109"/>
                  </a:lnTo>
                  <a:lnTo>
                    <a:pt x="42" y="109"/>
                  </a:lnTo>
                  <a:lnTo>
                    <a:pt x="36" y="106"/>
                  </a:lnTo>
                  <a:lnTo>
                    <a:pt x="25" y="102"/>
                  </a:lnTo>
                  <a:lnTo>
                    <a:pt x="25" y="102"/>
                  </a:lnTo>
                  <a:lnTo>
                    <a:pt x="21" y="102"/>
                  </a:lnTo>
                  <a:lnTo>
                    <a:pt x="19" y="102"/>
                  </a:lnTo>
                  <a:lnTo>
                    <a:pt x="18" y="104"/>
                  </a:lnTo>
                  <a:lnTo>
                    <a:pt x="18" y="104"/>
                  </a:lnTo>
                  <a:lnTo>
                    <a:pt x="15" y="104"/>
                  </a:lnTo>
                  <a:lnTo>
                    <a:pt x="11" y="104"/>
                  </a:lnTo>
                  <a:lnTo>
                    <a:pt x="8" y="106"/>
                  </a:lnTo>
                  <a:lnTo>
                    <a:pt x="4" y="109"/>
                  </a:lnTo>
                  <a:lnTo>
                    <a:pt x="2" y="111"/>
                  </a:lnTo>
                  <a:lnTo>
                    <a:pt x="1" y="115"/>
                  </a:lnTo>
                  <a:lnTo>
                    <a:pt x="0" y="118"/>
                  </a:lnTo>
                  <a:lnTo>
                    <a:pt x="2" y="123"/>
                  </a:lnTo>
                  <a:lnTo>
                    <a:pt x="2" y="123"/>
                  </a:lnTo>
                  <a:lnTo>
                    <a:pt x="5" y="118"/>
                  </a:lnTo>
                  <a:lnTo>
                    <a:pt x="9" y="115"/>
                  </a:lnTo>
                  <a:lnTo>
                    <a:pt x="11" y="115"/>
                  </a:lnTo>
                  <a:lnTo>
                    <a:pt x="13" y="115"/>
                  </a:lnTo>
                  <a:lnTo>
                    <a:pt x="13" y="115"/>
                  </a:lnTo>
                  <a:lnTo>
                    <a:pt x="13" y="116"/>
                  </a:lnTo>
                  <a:lnTo>
                    <a:pt x="13" y="119"/>
                  </a:lnTo>
                  <a:lnTo>
                    <a:pt x="13" y="121"/>
                  </a:lnTo>
                  <a:lnTo>
                    <a:pt x="15" y="124"/>
                  </a:lnTo>
                  <a:lnTo>
                    <a:pt x="16" y="125"/>
                  </a:lnTo>
                  <a:lnTo>
                    <a:pt x="16" y="125"/>
                  </a:lnTo>
                  <a:lnTo>
                    <a:pt x="19" y="126"/>
                  </a:lnTo>
                  <a:lnTo>
                    <a:pt x="23" y="126"/>
                  </a:lnTo>
                  <a:lnTo>
                    <a:pt x="33" y="125"/>
                  </a:lnTo>
                  <a:lnTo>
                    <a:pt x="42" y="124"/>
                  </a:lnTo>
                  <a:lnTo>
                    <a:pt x="46" y="124"/>
                  </a:lnTo>
                  <a:lnTo>
                    <a:pt x="48" y="124"/>
                  </a:lnTo>
                  <a:lnTo>
                    <a:pt x="48" y="124"/>
                  </a:lnTo>
                  <a:lnTo>
                    <a:pt x="48" y="125"/>
                  </a:lnTo>
                  <a:lnTo>
                    <a:pt x="46" y="126"/>
                  </a:lnTo>
                  <a:lnTo>
                    <a:pt x="38" y="127"/>
                  </a:lnTo>
                  <a:lnTo>
                    <a:pt x="28" y="128"/>
                  </a:lnTo>
                  <a:lnTo>
                    <a:pt x="25" y="131"/>
                  </a:lnTo>
                  <a:lnTo>
                    <a:pt x="23" y="132"/>
                  </a:lnTo>
                  <a:lnTo>
                    <a:pt x="23" y="132"/>
                  </a:lnTo>
                  <a:lnTo>
                    <a:pt x="24" y="135"/>
                  </a:lnTo>
                  <a:lnTo>
                    <a:pt x="24" y="135"/>
                  </a:lnTo>
                  <a:lnTo>
                    <a:pt x="23" y="136"/>
                  </a:lnTo>
                  <a:lnTo>
                    <a:pt x="21" y="139"/>
                  </a:lnTo>
                  <a:lnTo>
                    <a:pt x="19" y="143"/>
                  </a:lnTo>
                  <a:lnTo>
                    <a:pt x="18" y="148"/>
                  </a:lnTo>
                  <a:lnTo>
                    <a:pt x="18" y="148"/>
                  </a:lnTo>
                  <a:lnTo>
                    <a:pt x="18" y="150"/>
                  </a:lnTo>
                  <a:lnTo>
                    <a:pt x="19" y="154"/>
                  </a:lnTo>
                  <a:lnTo>
                    <a:pt x="21" y="157"/>
                  </a:lnTo>
                  <a:lnTo>
                    <a:pt x="26" y="161"/>
                  </a:lnTo>
                  <a:lnTo>
                    <a:pt x="26" y="161"/>
                  </a:lnTo>
                  <a:lnTo>
                    <a:pt x="26" y="160"/>
                  </a:lnTo>
                  <a:lnTo>
                    <a:pt x="26" y="155"/>
                  </a:lnTo>
                  <a:lnTo>
                    <a:pt x="26" y="151"/>
                  </a:lnTo>
                  <a:lnTo>
                    <a:pt x="26" y="150"/>
                  </a:lnTo>
                  <a:lnTo>
                    <a:pt x="27" y="149"/>
                  </a:lnTo>
                  <a:lnTo>
                    <a:pt x="27" y="149"/>
                  </a:lnTo>
                  <a:lnTo>
                    <a:pt x="28" y="149"/>
                  </a:lnTo>
                  <a:lnTo>
                    <a:pt x="31" y="150"/>
                  </a:lnTo>
                  <a:lnTo>
                    <a:pt x="32" y="153"/>
                  </a:lnTo>
                  <a:lnTo>
                    <a:pt x="34" y="154"/>
                  </a:lnTo>
                  <a:lnTo>
                    <a:pt x="34" y="154"/>
                  </a:lnTo>
                  <a:lnTo>
                    <a:pt x="38" y="153"/>
                  </a:lnTo>
                  <a:lnTo>
                    <a:pt x="40" y="151"/>
                  </a:lnTo>
                  <a:lnTo>
                    <a:pt x="45" y="147"/>
                  </a:lnTo>
                  <a:lnTo>
                    <a:pt x="50" y="141"/>
                  </a:lnTo>
                  <a:lnTo>
                    <a:pt x="54" y="138"/>
                  </a:lnTo>
                  <a:lnTo>
                    <a:pt x="58" y="135"/>
                  </a:lnTo>
                  <a:lnTo>
                    <a:pt x="58" y="135"/>
                  </a:lnTo>
                  <a:lnTo>
                    <a:pt x="64" y="133"/>
                  </a:lnTo>
                  <a:lnTo>
                    <a:pt x="68" y="132"/>
                  </a:lnTo>
                  <a:lnTo>
                    <a:pt x="69" y="133"/>
                  </a:lnTo>
                  <a:lnTo>
                    <a:pt x="69" y="134"/>
                  </a:lnTo>
                  <a:lnTo>
                    <a:pt x="68" y="138"/>
                  </a:lnTo>
                  <a:lnTo>
                    <a:pt x="68" y="140"/>
                  </a:lnTo>
                  <a:lnTo>
                    <a:pt x="70" y="141"/>
                  </a:lnTo>
                  <a:lnTo>
                    <a:pt x="70" y="141"/>
                  </a:lnTo>
                  <a:lnTo>
                    <a:pt x="73" y="142"/>
                  </a:lnTo>
                  <a:lnTo>
                    <a:pt x="75" y="143"/>
                  </a:lnTo>
                  <a:lnTo>
                    <a:pt x="75" y="146"/>
                  </a:lnTo>
                  <a:lnTo>
                    <a:pt x="73" y="148"/>
                  </a:lnTo>
                  <a:lnTo>
                    <a:pt x="70" y="151"/>
                  </a:lnTo>
                  <a:lnTo>
                    <a:pt x="68" y="154"/>
                  </a:lnTo>
                  <a:lnTo>
                    <a:pt x="68" y="154"/>
                  </a:lnTo>
                  <a:lnTo>
                    <a:pt x="71" y="154"/>
                  </a:lnTo>
                  <a:lnTo>
                    <a:pt x="77" y="153"/>
                  </a:lnTo>
                  <a:lnTo>
                    <a:pt x="82" y="148"/>
                  </a:lnTo>
                  <a:lnTo>
                    <a:pt x="84" y="146"/>
                  </a:lnTo>
                  <a:lnTo>
                    <a:pt x="85" y="142"/>
                  </a:lnTo>
                  <a:lnTo>
                    <a:pt x="85" y="142"/>
                  </a:lnTo>
                  <a:lnTo>
                    <a:pt x="86" y="140"/>
                  </a:lnTo>
                  <a:lnTo>
                    <a:pt x="87" y="140"/>
                  </a:lnTo>
                  <a:lnTo>
                    <a:pt x="88" y="139"/>
                  </a:lnTo>
                  <a:lnTo>
                    <a:pt x="90" y="138"/>
                  </a:lnTo>
                  <a:lnTo>
                    <a:pt x="90" y="138"/>
                  </a:lnTo>
                  <a:lnTo>
                    <a:pt x="91" y="136"/>
                  </a:lnTo>
                  <a:lnTo>
                    <a:pt x="91" y="134"/>
                  </a:lnTo>
                  <a:lnTo>
                    <a:pt x="91" y="132"/>
                  </a:lnTo>
                  <a:lnTo>
                    <a:pt x="92" y="130"/>
                  </a:lnTo>
                  <a:lnTo>
                    <a:pt x="92" y="130"/>
                  </a:lnTo>
                  <a:lnTo>
                    <a:pt x="93" y="127"/>
                  </a:lnTo>
                  <a:lnTo>
                    <a:pt x="95" y="126"/>
                  </a:lnTo>
                  <a:lnTo>
                    <a:pt x="100" y="125"/>
                  </a:lnTo>
                  <a:lnTo>
                    <a:pt x="103" y="124"/>
                  </a:lnTo>
                  <a:lnTo>
                    <a:pt x="105" y="123"/>
                  </a:lnTo>
                  <a:lnTo>
                    <a:pt x="106" y="121"/>
                  </a:lnTo>
                  <a:lnTo>
                    <a:pt x="106" y="121"/>
                  </a:lnTo>
                  <a:lnTo>
                    <a:pt x="106" y="118"/>
                  </a:lnTo>
                  <a:lnTo>
                    <a:pt x="108" y="115"/>
                  </a:lnTo>
                  <a:lnTo>
                    <a:pt x="110" y="113"/>
                  </a:lnTo>
                  <a:lnTo>
                    <a:pt x="113" y="112"/>
                  </a:lnTo>
                  <a:lnTo>
                    <a:pt x="113" y="112"/>
                  </a:lnTo>
                  <a:lnTo>
                    <a:pt x="114" y="113"/>
                  </a:lnTo>
                  <a:lnTo>
                    <a:pt x="116" y="117"/>
                  </a:lnTo>
                  <a:lnTo>
                    <a:pt x="120" y="120"/>
                  </a:lnTo>
                  <a:lnTo>
                    <a:pt x="123" y="123"/>
                  </a:lnTo>
                  <a:lnTo>
                    <a:pt x="127" y="125"/>
                  </a:lnTo>
                  <a:lnTo>
                    <a:pt x="127" y="125"/>
                  </a:lnTo>
                  <a:lnTo>
                    <a:pt x="140" y="118"/>
                  </a:lnTo>
                  <a:lnTo>
                    <a:pt x="140" y="118"/>
                  </a:lnTo>
                  <a:lnTo>
                    <a:pt x="145" y="116"/>
                  </a:lnTo>
                  <a:lnTo>
                    <a:pt x="149" y="113"/>
                  </a:lnTo>
                  <a:lnTo>
                    <a:pt x="149" y="113"/>
                  </a:lnTo>
                  <a:lnTo>
                    <a:pt x="146" y="110"/>
                  </a:lnTo>
                  <a:lnTo>
                    <a:pt x="144" y="108"/>
                  </a:lnTo>
                  <a:lnTo>
                    <a:pt x="142" y="104"/>
                  </a:lnTo>
                  <a:lnTo>
                    <a:pt x="142" y="104"/>
                  </a:lnTo>
                  <a:lnTo>
                    <a:pt x="140" y="101"/>
                  </a:lnTo>
                  <a:lnTo>
                    <a:pt x="142" y="98"/>
                  </a:lnTo>
                  <a:lnTo>
                    <a:pt x="142" y="98"/>
                  </a:lnTo>
                  <a:lnTo>
                    <a:pt x="145" y="103"/>
                  </a:lnTo>
                  <a:lnTo>
                    <a:pt x="150" y="106"/>
                  </a:lnTo>
                  <a:lnTo>
                    <a:pt x="154" y="110"/>
                  </a:lnTo>
                  <a:lnTo>
                    <a:pt x="154" y="110"/>
                  </a:lnTo>
                  <a:lnTo>
                    <a:pt x="172" y="99"/>
                  </a:lnTo>
                  <a:lnTo>
                    <a:pt x="172" y="99"/>
                  </a:lnTo>
                  <a:lnTo>
                    <a:pt x="174" y="98"/>
                  </a:lnTo>
                  <a:lnTo>
                    <a:pt x="174" y="98"/>
                  </a:lnTo>
                  <a:lnTo>
                    <a:pt x="174" y="98"/>
                  </a:lnTo>
                  <a:lnTo>
                    <a:pt x="174" y="98"/>
                  </a:lnTo>
                  <a:lnTo>
                    <a:pt x="173" y="95"/>
                  </a:lnTo>
                  <a:lnTo>
                    <a:pt x="168" y="91"/>
                  </a:lnTo>
                  <a:lnTo>
                    <a:pt x="165" y="87"/>
                  </a:lnTo>
                  <a:lnTo>
                    <a:pt x="165" y="84"/>
                  </a:lnTo>
                  <a:lnTo>
                    <a:pt x="167" y="83"/>
                  </a:lnTo>
                  <a:lnTo>
                    <a:pt x="167" y="83"/>
                  </a:lnTo>
                  <a:lnTo>
                    <a:pt x="168" y="82"/>
                  </a:lnTo>
                  <a:lnTo>
                    <a:pt x="168" y="80"/>
                  </a:lnTo>
                  <a:lnTo>
                    <a:pt x="165" y="73"/>
                  </a:lnTo>
                  <a:lnTo>
                    <a:pt x="164" y="67"/>
                  </a:lnTo>
                  <a:lnTo>
                    <a:pt x="164" y="64"/>
                  </a:lnTo>
                  <a:lnTo>
                    <a:pt x="165" y="62"/>
                  </a:lnTo>
                  <a:lnTo>
                    <a:pt x="165" y="62"/>
                  </a:lnTo>
                  <a:lnTo>
                    <a:pt x="197" y="46"/>
                  </a:lnTo>
                  <a:lnTo>
                    <a:pt x="225" y="32"/>
                  </a:lnTo>
                  <a:lnTo>
                    <a:pt x="225" y="32"/>
                  </a:lnTo>
                  <a:lnTo>
                    <a:pt x="224" y="29"/>
                  </a:lnTo>
                  <a:lnTo>
                    <a:pt x="221" y="24"/>
                  </a:lnTo>
                  <a:lnTo>
                    <a:pt x="217" y="2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52" name="Freeform 32"/>
            <p:cNvSpPr>
              <a:spLocks/>
            </p:cNvSpPr>
            <p:nvPr userDrawn="1"/>
          </p:nvSpPr>
          <p:spPr bwMode="auto">
            <a:xfrm>
              <a:off x="4706" y="2563"/>
              <a:ext cx="96" cy="91"/>
            </a:xfrm>
            <a:custGeom>
              <a:avLst/>
              <a:gdLst>
                <a:gd name="T0" fmla="*/ 0 w 96"/>
                <a:gd name="T1" fmla="*/ 26 h 91"/>
                <a:gd name="T2" fmla="*/ 0 w 96"/>
                <a:gd name="T3" fmla="*/ 32 h 91"/>
                <a:gd name="T4" fmla="*/ 3 w 96"/>
                <a:gd name="T5" fmla="*/ 35 h 91"/>
                <a:gd name="T6" fmla="*/ 10 w 96"/>
                <a:gd name="T7" fmla="*/ 38 h 91"/>
                <a:gd name="T8" fmla="*/ 11 w 96"/>
                <a:gd name="T9" fmla="*/ 37 h 91"/>
                <a:gd name="T10" fmla="*/ 13 w 96"/>
                <a:gd name="T11" fmla="*/ 32 h 91"/>
                <a:gd name="T12" fmla="*/ 13 w 96"/>
                <a:gd name="T13" fmla="*/ 27 h 91"/>
                <a:gd name="T14" fmla="*/ 14 w 96"/>
                <a:gd name="T15" fmla="*/ 26 h 91"/>
                <a:gd name="T16" fmla="*/ 15 w 96"/>
                <a:gd name="T17" fmla="*/ 26 h 91"/>
                <a:gd name="T18" fmla="*/ 18 w 96"/>
                <a:gd name="T19" fmla="*/ 25 h 91"/>
                <a:gd name="T20" fmla="*/ 43 w 96"/>
                <a:gd name="T21" fmla="*/ 38 h 91"/>
                <a:gd name="T22" fmla="*/ 67 w 96"/>
                <a:gd name="T23" fmla="*/ 54 h 91"/>
                <a:gd name="T24" fmla="*/ 70 w 96"/>
                <a:gd name="T25" fmla="*/ 56 h 91"/>
                <a:gd name="T26" fmla="*/ 67 w 96"/>
                <a:gd name="T27" fmla="*/ 63 h 91"/>
                <a:gd name="T28" fmla="*/ 59 w 96"/>
                <a:gd name="T29" fmla="*/ 80 h 91"/>
                <a:gd name="T30" fmla="*/ 59 w 96"/>
                <a:gd name="T31" fmla="*/ 85 h 91"/>
                <a:gd name="T32" fmla="*/ 62 w 96"/>
                <a:gd name="T33" fmla="*/ 90 h 91"/>
                <a:gd name="T34" fmla="*/ 66 w 96"/>
                <a:gd name="T35" fmla="*/ 91 h 91"/>
                <a:gd name="T36" fmla="*/ 70 w 96"/>
                <a:gd name="T37" fmla="*/ 91 h 91"/>
                <a:gd name="T38" fmla="*/ 73 w 96"/>
                <a:gd name="T39" fmla="*/ 87 h 91"/>
                <a:gd name="T40" fmla="*/ 74 w 96"/>
                <a:gd name="T41" fmla="*/ 85 h 91"/>
                <a:gd name="T42" fmla="*/ 74 w 96"/>
                <a:gd name="T43" fmla="*/ 82 h 91"/>
                <a:gd name="T44" fmla="*/ 70 w 96"/>
                <a:gd name="T45" fmla="*/ 77 h 91"/>
                <a:gd name="T46" fmla="*/ 70 w 96"/>
                <a:gd name="T47" fmla="*/ 77 h 91"/>
                <a:gd name="T48" fmla="*/ 72 w 96"/>
                <a:gd name="T49" fmla="*/ 69 h 91"/>
                <a:gd name="T50" fmla="*/ 78 w 96"/>
                <a:gd name="T51" fmla="*/ 58 h 91"/>
                <a:gd name="T52" fmla="*/ 82 w 96"/>
                <a:gd name="T53" fmla="*/ 54 h 91"/>
                <a:gd name="T54" fmla="*/ 88 w 96"/>
                <a:gd name="T55" fmla="*/ 53 h 91"/>
                <a:gd name="T56" fmla="*/ 87 w 96"/>
                <a:gd name="T57" fmla="*/ 50 h 91"/>
                <a:gd name="T58" fmla="*/ 85 w 96"/>
                <a:gd name="T59" fmla="*/ 43 h 91"/>
                <a:gd name="T60" fmla="*/ 87 w 96"/>
                <a:gd name="T61" fmla="*/ 35 h 91"/>
                <a:gd name="T62" fmla="*/ 89 w 96"/>
                <a:gd name="T63" fmla="*/ 31 h 91"/>
                <a:gd name="T64" fmla="*/ 96 w 96"/>
                <a:gd name="T65" fmla="*/ 11 h 91"/>
                <a:gd name="T66" fmla="*/ 96 w 96"/>
                <a:gd name="T67" fmla="*/ 8 h 91"/>
                <a:gd name="T68" fmla="*/ 92 w 96"/>
                <a:gd name="T69" fmla="*/ 3 h 91"/>
                <a:gd name="T70" fmla="*/ 89 w 96"/>
                <a:gd name="T71" fmla="*/ 2 h 91"/>
                <a:gd name="T72" fmla="*/ 83 w 96"/>
                <a:gd name="T73" fmla="*/ 4 h 91"/>
                <a:gd name="T74" fmla="*/ 80 w 96"/>
                <a:gd name="T75" fmla="*/ 9 h 91"/>
                <a:gd name="T76" fmla="*/ 80 w 96"/>
                <a:gd name="T77" fmla="*/ 12 h 91"/>
                <a:gd name="T78" fmla="*/ 83 w 96"/>
                <a:gd name="T79" fmla="*/ 17 h 91"/>
                <a:gd name="T80" fmla="*/ 87 w 96"/>
                <a:gd name="T81" fmla="*/ 18 h 91"/>
                <a:gd name="T82" fmla="*/ 83 w 96"/>
                <a:gd name="T83" fmla="*/ 28 h 91"/>
                <a:gd name="T84" fmla="*/ 79 w 96"/>
                <a:gd name="T85" fmla="*/ 34 h 91"/>
                <a:gd name="T86" fmla="*/ 74 w 96"/>
                <a:gd name="T87" fmla="*/ 32 h 91"/>
                <a:gd name="T88" fmla="*/ 38 w 96"/>
                <a:gd name="T89" fmla="*/ 15 h 91"/>
                <a:gd name="T90" fmla="*/ 25 w 96"/>
                <a:gd name="T91" fmla="*/ 11 h 91"/>
                <a:gd name="T92" fmla="*/ 26 w 96"/>
                <a:gd name="T93" fmla="*/ 8 h 91"/>
                <a:gd name="T94" fmla="*/ 30 w 96"/>
                <a:gd name="T95" fmla="*/ 0 h 91"/>
                <a:gd name="T96" fmla="*/ 29 w 96"/>
                <a:gd name="T97" fmla="*/ 1 h 91"/>
                <a:gd name="T98" fmla="*/ 25 w 96"/>
                <a:gd name="T99" fmla="*/ 3 h 91"/>
                <a:gd name="T100" fmla="*/ 14 w 96"/>
                <a:gd name="T101" fmla="*/ 6 h 91"/>
                <a:gd name="T102" fmla="*/ 12 w 96"/>
                <a:gd name="T103" fmla="*/ 6 h 91"/>
                <a:gd name="T104" fmla="*/ 10 w 96"/>
                <a:gd name="T105" fmla="*/ 6 h 91"/>
                <a:gd name="T106" fmla="*/ 6 w 96"/>
                <a:gd name="T107" fmla="*/ 13 h 91"/>
                <a:gd name="T108" fmla="*/ 3 w 96"/>
                <a:gd name="T109" fmla="*/ 20 h 91"/>
                <a:gd name="T110" fmla="*/ 1 w 96"/>
                <a:gd name="T111" fmla="*/ 24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96" h="91">
                  <a:moveTo>
                    <a:pt x="0" y="26"/>
                  </a:moveTo>
                  <a:lnTo>
                    <a:pt x="0" y="26"/>
                  </a:lnTo>
                  <a:lnTo>
                    <a:pt x="0" y="30"/>
                  </a:lnTo>
                  <a:lnTo>
                    <a:pt x="0" y="32"/>
                  </a:lnTo>
                  <a:lnTo>
                    <a:pt x="3" y="35"/>
                  </a:lnTo>
                  <a:lnTo>
                    <a:pt x="3" y="35"/>
                  </a:lnTo>
                  <a:lnTo>
                    <a:pt x="7" y="37"/>
                  </a:lnTo>
                  <a:lnTo>
                    <a:pt x="10" y="38"/>
                  </a:lnTo>
                  <a:lnTo>
                    <a:pt x="11" y="37"/>
                  </a:lnTo>
                  <a:lnTo>
                    <a:pt x="11" y="37"/>
                  </a:lnTo>
                  <a:lnTo>
                    <a:pt x="12" y="34"/>
                  </a:lnTo>
                  <a:lnTo>
                    <a:pt x="13" y="32"/>
                  </a:lnTo>
                  <a:lnTo>
                    <a:pt x="13" y="30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4" y="26"/>
                  </a:lnTo>
                  <a:lnTo>
                    <a:pt x="15" y="26"/>
                  </a:lnTo>
                  <a:lnTo>
                    <a:pt x="15" y="26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30" y="31"/>
                  </a:lnTo>
                  <a:lnTo>
                    <a:pt x="43" y="38"/>
                  </a:lnTo>
                  <a:lnTo>
                    <a:pt x="67" y="54"/>
                  </a:lnTo>
                  <a:lnTo>
                    <a:pt x="67" y="54"/>
                  </a:lnTo>
                  <a:lnTo>
                    <a:pt x="70" y="56"/>
                  </a:lnTo>
                  <a:lnTo>
                    <a:pt x="70" y="56"/>
                  </a:lnTo>
                  <a:lnTo>
                    <a:pt x="67" y="63"/>
                  </a:lnTo>
                  <a:lnTo>
                    <a:pt x="67" y="63"/>
                  </a:lnTo>
                  <a:lnTo>
                    <a:pt x="62" y="75"/>
                  </a:lnTo>
                  <a:lnTo>
                    <a:pt x="59" y="80"/>
                  </a:lnTo>
                  <a:lnTo>
                    <a:pt x="59" y="85"/>
                  </a:lnTo>
                  <a:lnTo>
                    <a:pt x="59" y="85"/>
                  </a:lnTo>
                  <a:lnTo>
                    <a:pt x="59" y="87"/>
                  </a:lnTo>
                  <a:lnTo>
                    <a:pt x="62" y="90"/>
                  </a:lnTo>
                  <a:lnTo>
                    <a:pt x="64" y="91"/>
                  </a:lnTo>
                  <a:lnTo>
                    <a:pt x="66" y="91"/>
                  </a:lnTo>
                  <a:lnTo>
                    <a:pt x="66" y="91"/>
                  </a:lnTo>
                  <a:lnTo>
                    <a:pt x="70" y="91"/>
                  </a:lnTo>
                  <a:lnTo>
                    <a:pt x="72" y="90"/>
                  </a:lnTo>
                  <a:lnTo>
                    <a:pt x="73" y="87"/>
                  </a:lnTo>
                  <a:lnTo>
                    <a:pt x="74" y="85"/>
                  </a:lnTo>
                  <a:lnTo>
                    <a:pt x="74" y="85"/>
                  </a:lnTo>
                  <a:lnTo>
                    <a:pt x="74" y="83"/>
                  </a:lnTo>
                  <a:lnTo>
                    <a:pt x="74" y="82"/>
                  </a:lnTo>
                  <a:lnTo>
                    <a:pt x="72" y="78"/>
                  </a:lnTo>
                  <a:lnTo>
                    <a:pt x="70" y="77"/>
                  </a:lnTo>
                  <a:lnTo>
                    <a:pt x="70" y="77"/>
                  </a:lnTo>
                  <a:lnTo>
                    <a:pt x="70" y="77"/>
                  </a:lnTo>
                  <a:lnTo>
                    <a:pt x="72" y="69"/>
                  </a:lnTo>
                  <a:lnTo>
                    <a:pt x="72" y="69"/>
                  </a:lnTo>
                  <a:lnTo>
                    <a:pt x="75" y="63"/>
                  </a:lnTo>
                  <a:lnTo>
                    <a:pt x="78" y="58"/>
                  </a:lnTo>
                  <a:lnTo>
                    <a:pt x="80" y="56"/>
                  </a:lnTo>
                  <a:lnTo>
                    <a:pt x="82" y="54"/>
                  </a:lnTo>
                  <a:lnTo>
                    <a:pt x="87" y="53"/>
                  </a:lnTo>
                  <a:lnTo>
                    <a:pt x="88" y="53"/>
                  </a:lnTo>
                  <a:lnTo>
                    <a:pt x="88" y="53"/>
                  </a:lnTo>
                  <a:lnTo>
                    <a:pt x="87" y="50"/>
                  </a:lnTo>
                  <a:lnTo>
                    <a:pt x="86" y="47"/>
                  </a:lnTo>
                  <a:lnTo>
                    <a:pt x="85" y="43"/>
                  </a:lnTo>
                  <a:lnTo>
                    <a:pt x="86" y="40"/>
                  </a:lnTo>
                  <a:lnTo>
                    <a:pt x="87" y="35"/>
                  </a:lnTo>
                  <a:lnTo>
                    <a:pt x="89" y="31"/>
                  </a:lnTo>
                  <a:lnTo>
                    <a:pt x="89" y="31"/>
                  </a:lnTo>
                  <a:lnTo>
                    <a:pt x="94" y="19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6" y="8"/>
                  </a:lnTo>
                  <a:lnTo>
                    <a:pt x="94" y="5"/>
                  </a:lnTo>
                  <a:lnTo>
                    <a:pt x="92" y="3"/>
                  </a:lnTo>
                  <a:lnTo>
                    <a:pt x="89" y="2"/>
                  </a:lnTo>
                  <a:lnTo>
                    <a:pt x="89" y="2"/>
                  </a:lnTo>
                  <a:lnTo>
                    <a:pt x="86" y="3"/>
                  </a:lnTo>
                  <a:lnTo>
                    <a:pt x="83" y="4"/>
                  </a:lnTo>
                  <a:lnTo>
                    <a:pt x="81" y="6"/>
                  </a:lnTo>
                  <a:lnTo>
                    <a:pt x="80" y="9"/>
                  </a:lnTo>
                  <a:lnTo>
                    <a:pt x="80" y="9"/>
                  </a:lnTo>
                  <a:lnTo>
                    <a:pt x="80" y="12"/>
                  </a:lnTo>
                  <a:lnTo>
                    <a:pt x="81" y="15"/>
                  </a:lnTo>
                  <a:lnTo>
                    <a:pt x="83" y="17"/>
                  </a:lnTo>
                  <a:lnTo>
                    <a:pt x="86" y="18"/>
                  </a:lnTo>
                  <a:lnTo>
                    <a:pt x="87" y="18"/>
                  </a:lnTo>
                  <a:lnTo>
                    <a:pt x="87" y="18"/>
                  </a:lnTo>
                  <a:lnTo>
                    <a:pt x="83" y="28"/>
                  </a:lnTo>
                  <a:lnTo>
                    <a:pt x="79" y="34"/>
                  </a:lnTo>
                  <a:lnTo>
                    <a:pt x="79" y="34"/>
                  </a:lnTo>
                  <a:lnTo>
                    <a:pt x="74" y="32"/>
                  </a:lnTo>
                  <a:lnTo>
                    <a:pt x="74" y="32"/>
                  </a:lnTo>
                  <a:lnTo>
                    <a:pt x="50" y="19"/>
                  </a:lnTo>
                  <a:lnTo>
                    <a:pt x="38" y="15"/>
                  </a:lnTo>
                  <a:lnTo>
                    <a:pt x="25" y="11"/>
                  </a:lnTo>
                  <a:lnTo>
                    <a:pt x="25" y="11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9" y="2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29" y="1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19" y="5"/>
                  </a:lnTo>
                  <a:lnTo>
                    <a:pt x="14" y="6"/>
                  </a:lnTo>
                  <a:lnTo>
                    <a:pt x="14" y="6"/>
                  </a:lnTo>
                  <a:lnTo>
                    <a:pt x="12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7" y="8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1" y="24"/>
                  </a:lnTo>
                  <a:lnTo>
                    <a:pt x="0" y="2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53" name="Freeform 33"/>
            <p:cNvSpPr>
              <a:spLocks/>
            </p:cNvSpPr>
            <p:nvPr userDrawn="1"/>
          </p:nvSpPr>
          <p:spPr bwMode="auto">
            <a:xfrm>
              <a:off x="4703" y="2177"/>
              <a:ext cx="23" cy="27"/>
            </a:xfrm>
            <a:custGeom>
              <a:avLst/>
              <a:gdLst>
                <a:gd name="T0" fmla="*/ 8 w 23"/>
                <a:gd name="T1" fmla="*/ 27 h 27"/>
                <a:gd name="T2" fmla="*/ 8 w 23"/>
                <a:gd name="T3" fmla="*/ 27 h 27"/>
                <a:gd name="T4" fmla="*/ 18 w 23"/>
                <a:gd name="T5" fmla="*/ 26 h 27"/>
                <a:gd name="T6" fmla="*/ 23 w 23"/>
                <a:gd name="T7" fmla="*/ 25 h 27"/>
                <a:gd name="T8" fmla="*/ 23 w 23"/>
                <a:gd name="T9" fmla="*/ 2 h 27"/>
                <a:gd name="T10" fmla="*/ 23 w 23"/>
                <a:gd name="T11" fmla="*/ 2 h 27"/>
                <a:gd name="T12" fmla="*/ 11 w 23"/>
                <a:gd name="T13" fmla="*/ 0 h 27"/>
                <a:gd name="T14" fmla="*/ 11 w 23"/>
                <a:gd name="T15" fmla="*/ 0 h 27"/>
                <a:gd name="T16" fmla="*/ 8 w 23"/>
                <a:gd name="T17" fmla="*/ 0 h 27"/>
                <a:gd name="T18" fmla="*/ 4 w 23"/>
                <a:gd name="T19" fmla="*/ 1 h 27"/>
                <a:gd name="T20" fmla="*/ 3 w 23"/>
                <a:gd name="T21" fmla="*/ 2 h 27"/>
                <a:gd name="T22" fmla="*/ 1 w 23"/>
                <a:gd name="T23" fmla="*/ 4 h 27"/>
                <a:gd name="T24" fmla="*/ 0 w 23"/>
                <a:gd name="T25" fmla="*/ 8 h 27"/>
                <a:gd name="T26" fmla="*/ 0 w 23"/>
                <a:gd name="T27" fmla="*/ 10 h 27"/>
                <a:gd name="T28" fmla="*/ 1 w 23"/>
                <a:gd name="T29" fmla="*/ 17 h 27"/>
                <a:gd name="T30" fmla="*/ 1 w 23"/>
                <a:gd name="T31" fmla="*/ 17 h 27"/>
                <a:gd name="T32" fmla="*/ 2 w 23"/>
                <a:gd name="T33" fmla="*/ 21 h 27"/>
                <a:gd name="T34" fmla="*/ 4 w 23"/>
                <a:gd name="T35" fmla="*/ 25 h 27"/>
                <a:gd name="T36" fmla="*/ 6 w 23"/>
                <a:gd name="T37" fmla="*/ 26 h 27"/>
                <a:gd name="T38" fmla="*/ 8 w 23"/>
                <a:gd name="T39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3" h="27">
                  <a:moveTo>
                    <a:pt x="8" y="27"/>
                  </a:moveTo>
                  <a:lnTo>
                    <a:pt x="8" y="27"/>
                  </a:lnTo>
                  <a:lnTo>
                    <a:pt x="18" y="26"/>
                  </a:lnTo>
                  <a:lnTo>
                    <a:pt x="23" y="25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8" y="0"/>
                  </a:lnTo>
                  <a:lnTo>
                    <a:pt x="4" y="1"/>
                  </a:lnTo>
                  <a:lnTo>
                    <a:pt x="3" y="2"/>
                  </a:lnTo>
                  <a:lnTo>
                    <a:pt x="1" y="4"/>
                  </a:lnTo>
                  <a:lnTo>
                    <a:pt x="0" y="8"/>
                  </a:lnTo>
                  <a:lnTo>
                    <a:pt x="0" y="10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2" y="21"/>
                  </a:lnTo>
                  <a:lnTo>
                    <a:pt x="4" y="25"/>
                  </a:lnTo>
                  <a:lnTo>
                    <a:pt x="6" y="26"/>
                  </a:lnTo>
                  <a:lnTo>
                    <a:pt x="8" y="2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55" name="Freeform 34"/>
            <p:cNvSpPr>
              <a:spLocks/>
            </p:cNvSpPr>
            <p:nvPr userDrawn="1"/>
          </p:nvSpPr>
          <p:spPr bwMode="auto">
            <a:xfrm>
              <a:off x="4732" y="2171"/>
              <a:ext cx="36" cy="33"/>
            </a:xfrm>
            <a:custGeom>
              <a:avLst/>
              <a:gdLst>
                <a:gd name="T0" fmla="*/ 36 w 36"/>
                <a:gd name="T1" fmla="*/ 24 h 33"/>
                <a:gd name="T2" fmla="*/ 36 w 36"/>
                <a:gd name="T3" fmla="*/ 17 h 33"/>
                <a:gd name="T4" fmla="*/ 36 w 36"/>
                <a:gd name="T5" fmla="*/ 4 h 33"/>
                <a:gd name="T6" fmla="*/ 34 w 36"/>
                <a:gd name="T7" fmla="*/ 1 h 33"/>
                <a:gd name="T8" fmla="*/ 33 w 36"/>
                <a:gd name="T9" fmla="*/ 0 h 33"/>
                <a:gd name="T10" fmla="*/ 29 w 36"/>
                <a:gd name="T11" fmla="*/ 0 h 33"/>
                <a:gd name="T12" fmla="*/ 25 w 36"/>
                <a:gd name="T13" fmla="*/ 0 h 33"/>
                <a:gd name="T14" fmla="*/ 19 w 36"/>
                <a:gd name="T15" fmla="*/ 0 h 33"/>
                <a:gd name="T16" fmla="*/ 18 w 36"/>
                <a:gd name="T17" fmla="*/ 4 h 33"/>
                <a:gd name="T18" fmla="*/ 16 w 36"/>
                <a:gd name="T19" fmla="*/ 0 h 33"/>
                <a:gd name="T20" fmla="*/ 10 w 36"/>
                <a:gd name="T21" fmla="*/ 0 h 33"/>
                <a:gd name="T22" fmla="*/ 7 w 36"/>
                <a:gd name="T23" fmla="*/ 0 h 33"/>
                <a:gd name="T24" fmla="*/ 3 w 36"/>
                <a:gd name="T25" fmla="*/ 0 h 33"/>
                <a:gd name="T26" fmla="*/ 2 w 36"/>
                <a:gd name="T27" fmla="*/ 1 h 33"/>
                <a:gd name="T28" fmla="*/ 0 w 36"/>
                <a:gd name="T29" fmla="*/ 4 h 33"/>
                <a:gd name="T30" fmla="*/ 0 w 36"/>
                <a:gd name="T31" fmla="*/ 17 h 33"/>
                <a:gd name="T32" fmla="*/ 1 w 36"/>
                <a:gd name="T33" fmla="*/ 31 h 33"/>
                <a:gd name="T34" fmla="*/ 3 w 36"/>
                <a:gd name="T35" fmla="*/ 31 h 33"/>
                <a:gd name="T36" fmla="*/ 6 w 36"/>
                <a:gd name="T37" fmla="*/ 30 h 33"/>
                <a:gd name="T38" fmla="*/ 8 w 36"/>
                <a:gd name="T39" fmla="*/ 25 h 33"/>
                <a:gd name="T40" fmla="*/ 9 w 36"/>
                <a:gd name="T41" fmla="*/ 33 h 33"/>
                <a:gd name="T42" fmla="*/ 11 w 36"/>
                <a:gd name="T43" fmla="*/ 33 h 33"/>
                <a:gd name="T44" fmla="*/ 15 w 36"/>
                <a:gd name="T45" fmla="*/ 31 h 33"/>
                <a:gd name="T46" fmla="*/ 17 w 36"/>
                <a:gd name="T47" fmla="*/ 27 h 33"/>
                <a:gd name="T48" fmla="*/ 18 w 36"/>
                <a:gd name="T49" fmla="*/ 25 h 33"/>
                <a:gd name="T50" fmla="*/ 18 w 36"/>
                <a:gd name="T51" fmla="*/ 33 h 33"/>
                <a:gd name="T52" fmla="*/ 24 w 36"/>
                <a:gd name="T53" fmla="*/ 31 h 33"/>
                <a:gd name="T54" fmla="*/ 26 w 36"/>
                <a:gd name="T55" fmla="*/ 27 h 33"/>
                <a:gd name="T56" fmla="*/ 27 w 36"/>
                <a:gd name="T57" fmla="*/ 25 h 33"/>
                <a:gd name="T58" fmla="*/ 27 w 36"/>
                <a:gd name="T59" fmla="*/ 31 h 33"/>
                <a:gd name="T60" fmla="*/ 30 w 36"/>
                <a:gd name="T61" fmla="*/ 30 h 33"/>
                <a:gd name="T62" fmla="*/ 32 w 36"/>
                <a:gd name="T63" fmla="*/ 29 h 33"/>
                <a:gd name="T64" fmla="*/ 36 w 36"/>
                <a:gd name="T65" fmla="*/ 24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6" h="33">
                  <a:moveTo>
                    <a:pt x="36" y="24"/>
                  </a:moveTo>
                  <a:lnTo>
                    <a:pt x="36" y="24"/>
                  </a:lnTo>
                  <a:lnTo>
                    <a:pt x="36" y="17"/>
                  </a:lnTo>
                  <a:lnTo>
                    <a:pt x="36" y="17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2"/>
                  </a:lnTo>
                  <a:lnTo>
                    <a:pt x="34" y="1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29" y="0"/>
                  </a:lnTo>
                  <a:lnTo>
                    <a:pt x="29" y="0"/>
                  </a:lnTo>
                  <a:lnTo>
                    <a:pt x="27" y="4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8" y="4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8" y="4"/>
                  </a:lnTo>
                  <a:lnTo>
                    <a:pt x="7" y="0"/>
                  </a:lnTo>
                  <a:lnTo>
                    <a:pt x="7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2" y="1"/>
                  </a:lnTo>
                  <a:lnTo>
                    <a:pt x="1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1" y="31"/>
                  </a:lnTo>
                  <a:lnTo>
                    <a:pt x="1" y="31"/>
                  </a:lnTo>
                  <a:lnTo>
                    <a:pt x="3" y="31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8" y="26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11" y="33"/>
                  </a:lnTo>
                  <a:lnTo>
                    <a:pt x="12" y="32"/>
                  </a:lnTo>
                  <a:lnTo>
                    <a:pt x="15" y="31"/>
                  </a:lnTo>
                  <a:lnTo>
                    <a:pt x="15" y="31"/>
                  </a:lnTo>
                  <a:lnTo>
                    <a:pt x="17" y="27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18" y="33"/>
                  </a:lnTo>
                  <a:lnTo>
                    <a:pt x="18" y="33"/>
                  </a:lnTo>
                  <a:lnTo>
                    <a:pt x="21" y="32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6" y="27"/>
                  </a:lnTo>
                  <a:lnTo>
                    <a:pt x="27" y="25"/>
                  </a:lnTo>
                  <a:lnTo>
                    <a:pt x="27" y="25"/>
                  </a:lnTo>
                  <a:lnTo>
                    <a:pt x="27" y="31"/>
                  </a:lnTo>
                  <a:lnTo>
                    <a:pt x="27" y="31"/>
                  </a:lnTo>
                  <a:lnTo>
                    <a:pt x="30" y="30"/>
                  </a:lnTo>
                  <a:lnTo>
                    <a:pt x="30" y="30"/>
                  </a:lnTo>
                  <a:lnTo>
                    <a:pt x="32" y="29"/>
                  </a:lnTo>
                  <a:lnTo>
                    <a:pt x="32" y="29"/>
                  </a:lnTo>
                  <a:lnTo>
                    <a:pt x="34" y="27"/>
                  </a:lnTo>
                  <a:lnTo>
                    <a:pt x="36" y="2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56" name="Freeform 35"/>
            <p:cNvSpPr>
              <a:spLocks/>
            </p:cNvSpPr>
            <p:nvPr userDrawn="1"/>
          </p:nvSpPr>
          <p:spPr bwMode="auto">
            <a:xfrm>
              <a:off x="4736" y="2172"/>
              <a:ext cx="44" cy="48"/>
            </a:xfrm>
            <a:custGeom>
              <a:avLst/>
              <a:gdLst>
                <a:gd name="T0" fmla="*/ 44 w 44"/>
                <a:gd name="T1" fmla="*/ 36 h 48"/>
                <a:gd name="T2" fmla="*/ 44 w 44"/>
                <a:gd name="T3" fmla="*/ 28 h 48"/>
                <a:gd name="T4" fmla="*/ 44 w 44"/>
                <a:gd name="T5" fmla="*/ 28 h 48"/>
                <a:gd name="T6" fmla="*/ 43 w 44"/>
                <a:gd name="T7" fmla="*/ 26 h 48"/>
                <a:gd name="T8" fmla="*/ 42 w 44"/>
                <a:gd name="T9" fmla="*/ 23 h 48"/>
                <a:gd name="T10" fmla="*/ 41 w 44"/>
                <a:gd name="T11" fmla="*/ 18 h 48"/>
                <a:gd name="T12" fmla="*/ 41 w 44"/>
                <a:gd name="T13" fmla="*/ 18 h 48"/>
                <a:gd name="T14" fmla="*/ 42 w 44"/>
                <a:gd name="T15" fmla="*/ 16 h 48"/>
                <a:gd name="T16" fmla="*/ 43 w 44"/>
                <a:gd name="T17" fmla="*/ 13 h 48"/>
                <a:gd name="T18" fmla="*/ 44 w 44"/>
                <a:gd name="T19" fmla="*/ 10 h 48"/>
                <a:gd name="T20" fmla="*/ 44 w 44"/>
                <a:gd name="T21" fmla="*/ 3 h 48"/>
                <a:gd name="T22" fmla="*/ 44 w 44"/>
                <a:gd name="T23" fmla="*/ 3 h 48"/>
                <a:gd name="T24" fmla="*/ 42 w 44"/>
                <a:gd name="T25" fmla="*/ 1 h 48"/>
                <a:gd name="T26" fmla="*/ 40 w 44"/>
                <a:gd name="T27" fmla="*/ 0 h 48"/>
                <a:gd name="T28" fmla="*/ 37 w 44"/>
                <a:gd name="T29" fmla="*/ 0 h 48"/>
                <a:gd name="T30" fmla="*/ 37 w 44"/>
                <a:gd name="T31" fmla="*/ 25 h 48"/>
                <a:gd name="T32" fmla="*/ 37 w 44"/>
                <a:gd name="T33" fmla="*/ 25 h 48"/>
                <a:gd name="T34" fmla="*/ 36 w 44"/>
                <a:gd name="T35" fmla="*/ 29 h 48"/>
                <a:gd name="T36" fmla="*/ 34 w 44"/>
                <a:gd name="T37" fmla="*/ 32 h 48"/>
                <a:gd name="T38" fmla="*/ 29 w 44"/>
                <a:gd name="T39" fmla="*/ 35 h 48"/>
                <a:gd name="T40" fmla="*/ 26 w 44"/>
                <a:gd name="T41" fmla="*/ 36 h 48"/>
                <a:gd name="T42" fmla="*/ 26 w 44"/>
                <a:gd name="T43" fmla="*/ 36 h 48"/>
                <a:gd name="T44" fmla="*/ 17 w 44"/>
                <a:gd name="T45" fmla="*/ 37 h 48"/>
                <a:gd name="T46" fmla="*/ 8 w 44"/>
                <a:gd name="T47" fmla="*/ 38 h 48"/>
                <a:gd name="T48" fmla="*/ 0 w 44"/>
                <a:gd name="T49" fmla="*/ 38 h 48"/>
                <a:gd name="T50" fmla="*/ 0 w 44"/>
                <a:gd name="T51" fmla="*/ 38 h 48"/>
                <a:gd name="T52" fmla="*/ 2 w 44"/>
                <a:gd name="T53" fmla="*/ 44 h 48"/>
                <a:gd name="T54" fmla="*/ 2 w 44"/>
                <a:gd name="T55" fmla="*/ 44 h 48"/>
                <a:gd name="T56" fmla="*/ 4 w 44"/>
                <a:gd name="T57" fmla="*/ 47 h 48"/>
                <a:gd name="T58" fmla="*/ 5 w 44"/>
                <a:gd name="T59" fmla="*/ 48 h 48"/>
                <a:gd name="T60" fmla="*/ 36 w 44"/>
                <a:gd name="T61" fmla="*/ 48 h 48"/>
                <a:gd name="T62" fmla="*/ 44 w 44"/>
                <a:gd name="T63" fmla="*/ 36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4" h="48">
                  <a:moveTo>
                    <a:pt x="44" y="36"/>
                  </a:moveTo>
                  <a:lnTo>
                    <a:pt x="44" y="28"/>
                  </a:lnTo>
                  <a:lnTo>
                    <a:pt x="44" y="28"/>
                  </a:lnTo>
                  <a:lnTo>
                    <a:pt x="43" y="26"/>
                  </a:lnTo>
                  <a:lnTo>
                    <a:pt x="42" y="23"/>
                  </a:lnTo>
                  <a:lnTo>
                    <a:pt x="41" y="18"/>
                  </a:lnTo>
                  <a:lnTo>
                    <a:pt x="41" y="18"/>
                  </a:lnTo>
                  <a:lnTo>
                    <a:pt x="42" y="16"/>
                  </a:lnTo>
                  <a:lnTo>
                    <a:pt x="43" y="13"/>
                  </a:lnTo>
                  <a:lnTo>
                    <a:pt x="44" y="10"/>
                  </a:lnTo>
                  <a:lnTo>
                    <a:pt x="44" y="3"/>
                  </a:lnTo>
                  <a:lnTo>
                    <a:pt x="44" y="3"/>
                  </a:lnTo>
                  <a:lnTo>
                    <a:pt x="42" y="1"/>
                  </a:lnTo>
                  <a:lnTo>
                    <a:pt x="40" y="0"/>
                  </a:lnTo>
                  <a:lnTo>
                    <a:pt x="37" y="0"/>
                  </a:lnTo>
                  <a:lnTo>
                    <a:pt x="37" y="25"/>
                  </a:lnTo>
                  <a:lnTo>
                    <a:pt x="37" y="25"/>
                  </a:lnTo>
                  <a:lnTo>
                    <a:pt x="36" y="29"/>
                  </a:lnTo>
                  <a:lnTo>
                    <a:pt x="34" y="32"/>
                  </a:lnTo>
                  <a:lnTo>
                    <a:pt x="29" y="35"/>
                  </a:lnTo>
                  <a:lnTo>
                    <a:pt x="26" y="36"/>
                  </a:lnTo>
                  <a:lnTo>
                    <a:pt x="26" y="36"/>
                  </a:lnTo>
                  <a:lnTo>
                    <a:pt x="17" y="37"/>
                  </a:lnTo>
                  <a:lnTo>
                    <a:pt x="8" y="38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2" y="44"/>
                  </a:lnTo>
                  <a:lnTo>
                    <a:pt x="2" y="44"/>
                  </a:lnTo>
                  <a:lnTo>
                    <a:pt x="4" y="47"/>
                  </a:lnTo>
                  <a:lnTo>
                    <a:pt x="5" y="48"/>
                  </a:lnTo>
                  <a:lnTo>
                    <a:pt x="36" y="48"/>
                  </a:lnTo>
                  <a:lnTo>
                    <a:pt x="44" y="3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57" name="Freeform 36"/>
            <p:cNvSpPr>
              <a:spLocks/>
            </p:cNvSpPr>
            <p:nvPr userDrawn="1"/>
          </p:nvSpPr>
          <p:spPr bwMode="auto">
            <a:xfrm>
              <a:off x="4740" y="2226"/>
              <a:ext cx="34" cy="12"/>
            </a:xfrm>
            <a:custGeom>
              <a:avLst/>
              <a:gdLst>
                <a:gd name="T0" fmla="*/ 1 w 34"/>
                <a:gd name="T1" fmla="*/ 12 h 12"/>
                <a:gd name="T2" fmla="*/ 32 w 34"/>
                <a:gd name="T3" fmla="*/ 12 h 12"/>
                <a:gd name="T4" fmla="*/ 32 w 34"/>
                <a:gd name="T5" fmla="*/ 12 h 12"/>
                <a:gd name="T6" fmla="*/ 34 w 34"/>
                <a:gd name="T7" fmla="*/ 6 h 12"/>
                <a:gd name="T8" fmla="*/ 32 w 34"/>
                <a:gd name="T9" fmla="*/ 0 h 12"/>
                <a:gd name="T10" fmla="*/ 1 w 34"/>
                <a:gd name="T11" fmla="*/ 0 h 12"/>
                <a:gd name="T12" fmla="*/ 0 w 34"/>
                <a:gd name="T13" fmla="*/ 6 h 12"/>
                <a:gd name="T14" fmla="*/ 1 w 34"/>
                <a:gd name="T1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12">
                  <a:moveTo>
                    <a:pt x="1" y="12"/>
                  </a:moveTo>
                  <a:lnTo>
                    <a:pt x="32" y="12"/>
                  </a:lnTo>
                  <a:lnTo>
                    <a:pt x="32" y="12"/>
                  </a:lnTo>
                  <a:lnTo>
                    <a:pt x="34" y="6"/>
                  </a:lnTo>
                  <a:lnTo>
                    <a:pt x="32" y="0"/>
                  </a:lnTo>
                  <a:lnTo>
                    <a:pt x="1" y="0"/>
                  </a:lnTo>
                  <a:lnTo>
                    <a:pt x="0" y="6"/>
                  </a:lnTo>
                  <a:lnTo>
                    <a:pt x="1" y="1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59" name="Freeform 37"/>
            <p:cNvSpPr>
              <a:spLocks/>
            </p:cNvSpPr>
            <p:nvPr userDrawn="1"/>
          </p:nvSpPr>
          <p:spPr bwMode="auto">
            <a:xfrm>
              <a:off x="4742" y="2244"/>
              <a:ext cx="35" cy="40"/>
            </a:xfrm>
            <a:custGeom>
              <a:avLst/>
              <a:gdLst>
                <a:gd name="T0" fmla="*/ 30 w 35"/>
                <a:gd name="T1" fmla="*/ 0 h 40"/>
                <a:gd name="T2" fmla="*/ 0 w 35"/>
                <a:gd name="T3" fmla="*/ 0 h 40"/>
                <a:gd name="T4" fmla="*/ 0 w 35"/>
                <a:gd name="T5" fmla="*/ 39 h 40"/>
                <a:gd name="T6" fmla="*/ 26 w 35"/>
                <a:gd name="T7" fmla="*/ 40 h 40"/>
                <a:gd name="T8" fmla="*/ 35 w 35"/>
                <a:gd name="T9" fmla="*/ 33 h 40"/>
                <a:gd name="T10" fmla="*/ 30 w 35"/>
                <a:gd name="T11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" h="40">
                  <a:moveTo>
                    <a:pt x="30" y="0"/>
                  </a:moveTo>
                  <a:lnTo>
                    <a:pt x="0" y="0"/>
                  </a:lnTo>
                  <a:lnTo>
                    <a:pt x="0" y="39"/>
                  </a:lnTo>
                  <a:lnTo>
                    <a:pt x="26" y="40"/>
                  </a:lnTo>
                  <a:lnTo>
                    <a:pt x="35" y="33"/>
                  </a:lnTo>
                  <a:lnTo>
                    <a:pt x="3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60" name="Freeform 38"/>
            <p:cNvSpPr>
              <a:spLocks/>
            </p:cNvSpPr>
            <p:nvPr userDrawn="1"/>
          </p:nvSpPr>
          <p:spPr bwMode="auto">
            <a:xfrm>
              <a:off x="4740" y="2283"/>
              <a:ext cx="46" cy="40"/>
            </a:xfrm>
            <a:custGeom>
              <a:avLst/>
              <a:gdLst>
                <a:gd name="T0" fmla="*/ 46 w 46"/>
                <a:gd name="T1" fmla="*/ 10 h 40"/>
                <a:gd name="T2" fmla="*/ 46 w 46"/>
                <a:gd name="T3" fmla="*/ 10 h 40"/>
                <a:gd name="T4" fmla="*/ 40 w 46"/>
                <a:gd name="T5" fmla="*/ 6 h 40"/>
                <a:gd name="T6" fmla="*/ 40 w 46"/>
                <a:gd name="T7" fmla="*/ 6 h 40"/>
                <a:gd name="T8" fmla="*/ 40 w 46"/>
                <a:gd name="T9" fmla="*/ 0 h 40"/>
                <a:gd name="T10" fmla="*/ 30 w 46"/>
                <a:gd name="T11" fmla="*/ 7 h 40"/>
                <a:gd name="T12" fmla="*/ 1 w 46"/>
                <a:gd name="T13" fmla="*/ 7 h 40"/>
                <a:gd name="T14" fmla="*/ 1 w 46"/>
                <a:gd name="T15" fmla="*/ 7 h 40"/>
                <a:gd name="T16" fmla="*/ 0 w 46"/>
                <a:gd name="T17" fmla="*/ 17 h 40"/>
                <a:gd name="T18" fmla="*/ 0 w 46"/>
                <a:gd name="T19" fmla="*/ 29 h 40"/>
                <a:gd name="T20" fmla="*/ 0 w 46"/>
                <a:gd name="T21" fmla="*/ 29 h 40"/>
                <a:gd name="T22" fmla="*/ 8 w 46"/>
                <a:gd name="T23" fmla="*/ 35 h 40"/>
                <a:gd name="T24" fmla="*/ 16 w 46"/>
                <a:gd name="T25" fmla="*/ 40 h 40"/>
                <a:gd name="T26" fmla="*/ 36 w 46"/>
                <a:gd name="T27" fmla="*/ 16 h 40"/>
                <a:gd name="T28" fmla="*/ 46 w 46"/>
                <a:gd name="T29" fmla="*/ 1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6" h="40">
                  <a:moveTo>
                    <a:pt x="46" y="10"/>
                  </a:moveTo>
                  <a:lnTo>
                    <a:pt x="46" y="10"/>
                  </a:lnTo>
                  <a:lnTo>
                    <a:pt x="40" y="6"/>
                  </a:lnTo>
                  <a:lnTo>
                    <a:pt x="40" y="6"/>
                  </a:lnTo>
                  <a:lnTo>
                    <a:pt x="40" y="0"/>
                  </a:lnTo>
                  <a:lnTo>
                    <a:pt x="30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0" y="17"/>
                  </a:lnTo>
                  <a:lnTo>
                    <a:pt x="0" y="29"/>
                  </a:lnTo>
                  <a:lnTo>
                    <a:pt x="0" y="29"/>
                  </a:lnTo>
                  <a:lnTo>
                    <a:pt x="8" y="35"/>
                  </a:lnTo>
                  <a:lnTo>
                    <a:pt x="16" y="40"/>
                  </a:lnTo>
                  <a:lnTo>
                    <a:pt x="36" y="16"/>
                  </a:lnTo>
                  <a:lnTo>
                    <a:pt x="46" y="1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61" name="Freeform 39"/>
            <p:cNvSpPr>
              <a:spLocks/>
            </p:cNvSpPr>
            <p:nvPr userDrawn="1"/>
          </p:nvSpPr>
          <p:spPr bwMode="auto">
            <a:xfrm>
              <a:off x="4762" y="2298"/>
              <a:ext cx="69" cy="40"/>
            </a:xfrm>
            <a:custGeom>
              <a:avLst/>
              <a:gdLst>
                <a:gd name="T0" fmla="*/ 17 w 69"/>
                <a:gd name="T1" fmla="*/ 5 h 40"/>
                <a:gd name="T2" fmla="*/ 0 w 69"/>
                <a:gd name="T3" fmla="*/ 28 h 40"/>
                <a:gd name="T4" fmla="*/ 29 w 69"/>
                <a:gd name="T5" fmla="*/ 40 h 40"/>
                <a:gd name="T6" fmla="*/ 29 w 69"/>
                <a:gd name="T7" fmla="*/ 40 h 40"/>
                <a:gd name="T8" fmla="*/ 43 w 69"/>
                <a:gd name="T9" fmla="*/ 32 h 40"/>
                <a:gd name="T10" fmla="*/ 55 w 69"/>
                <a:gd name="T11" fmla="*/ 24 h 40"/>
                <a:gd name="T12" fmla="*/ 69 w 69"/>
                <a:gd name="T13" fmla="*/ 15 h 40"/>
                <a:gd name="T14" fmla="*/ 27 w 69"/>
                <a:gd name="T15" fmla="*/ 0 h 40"/>
                <a:gd name="T16" fmla="*/ 17 w 69"/>
                <a:gd name="T17" fmla="*/ 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9" h="40">
                  <a:moveTo>
                    <a:pt x="17" y="5"/>
                  </a:moveTo>
                  <a:lnTo>
                    <a:pt x="0" y="28"/>
                  </a:lnTo>
                  <a:lnTo>
                    <a:pt x="29" y="40"/>
                  </a:lnTo>
                  <a:lnTo>
                    <a:pt x="29" y="40"/>
                  </a:lnTo>
                  <a:lnTo>
                    <a:pt x="43" y="32"/>
                  </a:lnTo>
                  <a:lnTo>
                    <a:pt x="55" y="24"/>
                  </a:lnTo>
                  <a:lnTo>
                    <a:pt x="69" y="15"/>
                  </a:lnTo>
                  <a:lnTo>
                    <a:pt x="27" y="0"/>
                  </a:lnTo>
                  <a:lnTo>
                    <a:pt x="17" y="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62" name="Freeform 40"/>
            <p:cNvSpPr>
              <a:spLocks/>
            </p:cNvSpPr>
            <p:nvPr userDrawn="1"/>
          </p:nvSpPr>
          <p:spPr bwMode="auto">
            <a:xfrm>
              <a:off x="4783" y="2152"/>
              <a:ext cx="16" cy="74"/>
            </a:xfrm>
            <a:custGeom>
              <a:avLst/>
              <a:gdLst>
                <a:gd name="T0" fmla="*/ 12 w 16"/>
                <a:gd name="T1" fmla="*/ 31 h 74"/>
                <a:gd name="T2" fmla="*/ 12 w 16"/>
                <a:gd name="T3" fmla="*/ 31 h 74"/>
                <a:gd name="T4" fmla="*/ 12 w 16"/>
                <a:gd name="T5" fmla="*/ 7 h 74"/>
                <a:gd name="T6" fmla="*/ 12 w 16"/>
                <a:gd name="T7" fmla="*/ 7 h 74"/>
                <a:gd name="T8" fmla="*/ 15 w 16"/>
                <a:gd name="T9" fmla="*/ 5 h 74"/>
                <a:gd name="T10" fmla="*/ 15 w 16"/>
                <a:gd name="T11" fmla="*/ 5 h 74"/>
                <a:gd name="T12" fmla="*/ 15 w 16"/>
                <a:gd name="T13" fmla="*/ 3 h 74"/>
                <a:gd name="T14" fmla="*/ 13 w 16"/>
                <a:gd name="T15" fmla="*/ 0 h 74"/>
                <a:gd name="T16" fmla="*/ 0 w 16"/>
                <a:gd name="T17" fmla="*/ 0 h 74"/>
                <a:gd name="T18" fmla="*/ 0 w 16"/>
                <a:gd name="T19" fmla="*/ 0 h 74"/>
                <a:gd name="T20" fmla="*/ 0 w 16"/>
                <a:gd name="T21" fmla="*/ 4 h 74"/>
                <a:gd name="T22" fmla="*/ 0 w 16"/>
                <a:gd name="T23" fmla="*/ 4 h 74"/>
                <a:gd name="T24" fmla="*/ 1 w 16"/>
                <a:gd name="T25" fmla="*/ 6 h 74"/>
                <a:gd name="T26" fmla="*/ 2 w 16"/>
                <a:gd name="T27" fmla="*/ 7 h 74"/>
                <a:gd name="T28" fmla="*/ 2 w 16"/>
                <a:gd name="T29" fmla="*/ 31 h 74"/>
                <a:gd name="T30" fmla="*/ 2 w 16"/>
                <a:gd name="T31" fmla="*/ 31 h 74"/>
                <a:gd name="T32" fmla="*/ 1 w 16"/>
                <a:gd name="T33" fmla="*/ 33 h 74"/>
                <a:gd name="T34" fmla="*/ 0 w 16"/>
                <a:gd name="T35" fmla="*/ 38 h 74"/>
                <a:gd name="T36" fmla="*/ 0 w 16"/>
                <a:gd name="T37" fmla="*/ 38 h 74"/>
                <a:gd name="T38" fmla="*/ 0 w 16"/>
                <a:gd name="T39" fmla="*/ 42 h 74"/>
                <a:gd name="T40" fmla="*/ 1 w 16"/>
                <a:gd name="T41" fmla="*/ 45 h 74"/>
                <a:gd name="T42" fmla="*/ 2 w 16"/>
                <a:gd name="T43" fmla="*/ 48 h 74"/>
                <a:gd name="T44" fmla="*/ 2 w 16"/>
                <a:gd name="T45" fmla="*/ 67 h 74"/>
                <a:gd name="T46" fmla="*/ 2 w 16"/>
                <a:gd name="T47" fmla="*/ 67 h 74"/>
                <a:gd name="T48" fmla="*/ 1 w 16"/>
                <a:gd name="T49" fmla="*/ 68 h 74"/>
                <a:gd name="T50" fmla="*/ 1 w 16"/>
                <a:gd name="T51" fmla="*/ 71 h 74"/>
                <a:gd name="T52" fmla="*/ 1 w 16"/>
                <a:gd name="T53" fmla="*/ 71 h 74"/>
                <a:gd name="T54" fmla="*/ 1 w 16"/>
                <a:gd name="T55" fmla="*/ 74 h 74"/>
                <a:gd name="T56" fmla="*/ 15 w 16"/>
                <a:gd name="T57" fmla="*/ 74 h 74"/>
                <a:gd name="T58" fmla="*/ 15 w 16"/>
                <a:gd name="T59" fmla="*/ 74 h 74"/>
                <a:gd name="T60" fmla="*/ 15 w 16"/>
                <a:gd name="T61" fmla="*/ 70 h 74"/>
                <a:gd name="T62" fmla="*/ 15 w 16"/>
                <a:gd name="T63" fmla="*/ 70 h 74"/>
                <a:gd name="T64" fmla="*/ 12 w 16"/>
                <a:gd name="T65" fmla="*/ 67 h 74"/>
                <a:gd name="T66" fmla="*/ 12 w 16"/>
                <a:gd name="T67" fmla="*/ 48 h 74"/>
                <a:gd name="T68" fmla="*/ 12 w 16"/>
                <a:gd name="T69" fmla="*/ 48 h 74"/>
                <a:gd name="T70" fmla="*/ 15 w 16"/>
                <a:gd name="T71" fmla="*/ 44 h 74"/>
                <a:gd name="T72" fmla="*/ 16 w 16"/>
                <a:gd name="T73" fmla="*/ 42 h 74"/>
                <a:gd name="T74" fmla="*/ 16 w 16"/>
                <a:gd name="T75" fmla="*/ 40 h 74"/>
                <a:gd name="T76" fmla="*/ 16 w 16"/>
                <a:gd name="T77" fmla="*/ 40 h 74"/>
                <a:gd name="T78" fmla="*/ 15 w 16"/>
                <a:gd name="T79" fmla="*/ 34 h 74"/>
                <a:gd name="T80" fmla="*/ 12 w 16"/>
                <a:gd name="T81" fmla="*/ 31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6" h="74">
                  <a:moveTo>
                    <a:pt x="12" y="31"/>
                  </a:moveTo>
                  <a:lnTo>
                    <a:pt x="12" y="31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5" y="5"/>
                  </a:lnTo>
                  <a:lnTo>
                    <a:pt x="15" y="5"/>
                  </a:lnTo>
                  <a:lnTo>
                    <a:pt x="15" y="3"/>
                  </a:lnTo>
                  <a:lnTo>
                    <a:pt x="1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1" y="6"/>
                  </a:lnTo>
                  <a:lnTo>
                    <a:pt x="2" y="7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1" y="33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0" y="42"/>
                  </a:lnTo>
                  <a:lnTo>
                    <a:pt x="1" y="45"/>
                  </a:lnTo>
                  <a:lnTo>
                    <a:pt x="2" y="48"/>
                  </a:lnTo>
                  <a:lnTo>
                    <a:pt x="2" y="67"/>
                  </a:lnTo>
                  <a:lnTo>
                    <a:pt x="2" y="67"/>
                  </a:lnTo>
                  <a:lnTo>
                    <a:pt x="1" y="68"/>
                  </a:lnTo>
                  <a:lnTo>
                    <a:pt x="1" y="71"/>
                  </a:lnTo>
                  <a:lnTo>
                    <a:pt x="1" y="71"/>
                  </a:lnTo>
                  <a:lnTo>
                    <a:pt x="1" y="74"/>
                  </a:lnTo>
                  <a:lnTo>
                    <a:pt x="15" y="74"/>
                  </a:lnTo>
                  <a:lnTo>
                    <a:pt x="15" y="74"/>
                  </a:lnTo>
                  <a:lnTo>
                    <a:pt x="15" y="70"/>
                  </a:lnTo>
                  <a:lnTo>
                    <a:pt x="15" y="70"/>
                  </a:lnTo>
                  <a:lnTo>
                    <a:pt x="12" y="67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5" y="44"/>
                  </a:lnTo>
                  <a:lnTo>
                    <a:pt x="16" y="42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5" y="34"/>
                  </a:lnTo>
                  <a:lnTo>
                    <a:pt x="12" y="31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63" name="Freeform 41"/>
            <p:cNvSpPr>
              <a:spLocks/>
            </p:cNvSpPr>
            <p:nvPr userDrawn="1"/>
          </p:nvSpPr>
          <p:spPr bwMode="auto">
            <a:xfrm>
              <a:off x="4800" y="2174"/>
              <a:ext cx="48" cy="35"/>
            </a:xfrm>
            <a:custGeom>
              <a:avLst/>
              <a:gdLst>
                <a:gd name="T0" fmla="*/ 25 w 48"/>
                <a:gd name="T1" fmla="*/ 29 h 35"/>
                <a:gd name="T2" fmla="*/ 48 w 48"/>
                <a:gd name="T3" fmla="*/ 6 h 35"/>
                <a:gd name="T4" fmla="*/ 48 w 48"/>
                <a:gd name="T5" fmla="*/ 6 h 35"/>
                <a:gd name="T6" fmla="*/ 16 w 48"/>
                <a:gd name="T7" fmla="*/ 6 h 35"/>
                <a:gd name="T8" fmla="*/ 16 w 48"/>
                <a:gd name="T9" fmla="*/ 6 h 35"/>
                <a:gd name="T10" fmla="*/ 13 w 48"/>
                <a:gd name="T11" fmla="*/ 5 h 35"/>
                <a:gd name="T12" fmla="*/ 8 w 48"/>
                <a:gd name="T13" fmla="*/ 3 h 35"/>
                <a:gd name="T14" fmla="*/ 5 w 48"/>
                <a:gd name="T15" fmla="*/ 0 h 35"/>
                <a:gd name="T16" fmla="*/ 2 w 48"/>
                <a:gd name="T17" fmla="*/ 0 h 35"/>
                <a:gd name="T18" fmla="*/ 2 w 48"/>
                <a:gd name="T19" fmla="*/ 0 h 35"/>
                <a:gd name="T20" fmla="*/ 0 w 48"/>
                <a:gd name="T21" fmla="*/ 7 h 35"/>
                <a:gd name="T22" fmla="*/ 0 w 48"/>
                <a:gd name="T23" fmla="*/ 7 h 35"/>
                <a:gd name="T24" fmla="*/ 2 w 48"/>
                <a:gd name="T25" fmla="*/ 11 h 35"/>
                <a:gd name="T26" fmla="*/ 3 w 48"/>
                <a:gd name="T27" fmla="*/ 13 h 35"/>
                <a:gd name="T28" fmla="*/ 3 w 48"/>
                <a:gd name="T29" fmla="*/ 18 h 35"/>
                <a:gd name="T30" fmla="*/ 3 w 48"/>
                <a:gd name="T31" fmla="*/ 18 h 35"/>
                <a:gd name="T32" fmla="*/ 3 w 48"/>
                <a:gd name="T33" fmla="*/ 21 h 35"/>
                <a:gd name="T34" fmla="*/ 2 w 48"/>
                <a:gd name="T35" fmla="*/ 24 h 35"/>
                <a:gd name="T36" fmla="*/ 0 w 48"/>
                <a:gd name="T37" fmla="*/ 27 h 35"/>
                <a:gd name="T38" fmla="*/ 0 w 48"/>
                <a:gd name="T39" fmla="*/ 27 h 35"/>
                <a:gd name="T40" fmla="*/ 3 w 48"/>
                <a:gd name="T41" fmla="*/ 35 h 35"/>
                <a:gd name="T42" fmla="*/ 3 w 48"/>
                <a:gd name="T43" fmla="*/ 35 h 35"/>
                <a:gd name="T44" fmla="*/ 8 w 48"/>
                <a:gd name="T45" fmla="*/ 33 h 35"/>
                <a:gd name="T46" fmla="*/ 16 w 48"/>
                <a:gd name="T47" fmla="*/ 29 h 35"/>
                <a:gd name="T48" fmla="*/ 16 w 48"/>
                <a:gd name="T49" fmla="*/ 29 h 35"/>
                <a:gd name="T50" fmla="*/ 25 w 48"/>
                <a:gd name="T51" fmla="*/ 2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8" h="35">
                  <a:moveTo>
                    <a:pt x="25" y="29"/>
                  </a:moveTo>
                  <a:lnTo>
                    <a:pt x="48" y="6"/>
                  </a:lnTo>
                  <a:lnTo>
                    <a:pt x="48" y="6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3" y="5"/>
                  </a:lnTo>
                  <a:lnTo>
                    <a:pt x="8" y="3"/>
                  </a:lnTo>
                  <a:lnTo>
                    <a:pt x="5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7"/>
                  </a:lnTo>
                  <a:lnTo>
                    <a:pt x="0" y="7"/>
                  </a:lnTo>
                  <a:lnTo>
                    <a:pt x="2" y="11"/>
                  </a:lnTo>
                  <a:lnTo>
                    <a:pt x="3" y="13"/>
                  </a:lnTo>
                  <a:lnTo>
                    <a:pt x="3" y="18"/>
                  </a:lnTo>
                  <a:lnTo>
                    <a:pt x="3" y="18"/>
                  </a:lnTo>
                  <a:lnTo>
                    <a:pt x="3" y="21"/>
                  </a:lnTo>
                  <a:lnTo>
                    <a:pt x="2" y="24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3" y="35"/>
                  </a:lnTo>
                  <a:lnTo>
                    <a:pt x="3" y="35"/>
                  </a:lnTo>
                  <a:lnTo>
                    <a:pt x="8" y="33"/>
                  </a:lnTo>
                  <a:lnTo>
                    <a:pt x="16" y="29"/>
                  </a:lnTo>
                  <a:lnTo>
                    <a:pt x="16" y="29"/>
                  </a:lnTo>
                  <a:lnTo>
                    <a:pt x="25" y="29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64" name="Freeform 42"/>
            <p:cNvSpPr>
              <a:spLocks/>
            </p:cNvSpPr>
            <p:nvPr userDrawn="1"/>
          </p:nvSpPr>
          <p:spPr bwMode="auto">
            <a:xfrm>
              <a:off x="4860" y="2128"/>
              <a:ext cx="95" cy="75"/>
            </a:xfrm>
            <a:custGeom>
              <a:avLst/>
              <a:gdLst>
                <a:gd name="T0" fmla="*/ 95 w 95"/>
                <a:gd name="T1" fmla="*/ 38 h 75"/>
                <a:gd name="T2" fmla="*/ 92 w 95"/>
                <a:gd name="T3" fmla="*/ 37 h 75"/>
                <a:gd name="T4" fmla="*/ 88 w 95"/>
                <a:gd name="T5" fmla="*/ 39 h 75"/>
                <a:gd name="T6" fmla="*/ 85 w 95"/>
                <a:gd name="T7" fmla="*/ 40 h 75"/>
                <a:gd name="T8" fmla="*/ 83 w 95"/>
                <a:gd name="T9" fmla="*/ 47 h 75"/>
                <a:gd name="T10" fmla="*/ 82 w 95"/>
                <a:gd name="T11" fmla="*/ 45 h 75"/>
                <a:gd name="T12" fmla="*/ 76 w 95"/>
                <a:gd name="T13" fmla="*/ 44 h 75"/>
                <a:gd name="T14" fmla="*/ 72 w 95"/>
                <a:gd name="T15" fmla="*/ 45 h 75"/>
                <a:gd name="T16" fmla="*/ 74 w 95"/>
                <a:gd name="T17" fmla="*/ 51 h 75"/>
                <a:gd name="T18" fmla="*/ 72 w 95"/>
                <a:gd name="T19" fmla="*/ 57 h 75"/>
                <a:gd name="T20" fmla="*/ 68 w 95"/>
                <a:gd name="T21" fmla="*/ 57 h 75"/>
                <a:gd name="T22" fmla="*/ 65 w 95"/>
                <a:gd name="T23" fmla="*/ 53 h 75"/>
                <a:gd name="T24" fmla="*/ 65 w 95"/>
                <a:gd name="T25" fmla="*/ 50 h 75"/>
                <a:gd name="T26" fmla="*/ 58 w 95"/>
                <a:gd name="T27" fmla="*/ 52 h 75"/>
                <a:gd name="T28" fmla="*/ 55 w 95"/>
                <a:gd name="T29" fmla="*/ 50 h 75"/>
                <a:gd name="T30" fmla="*/ 55 w 95"/>
                <a:gd name="T31" fmla="*/ 44 h 75"/>
                <a:gd name="T32" fmla="*/ 65 w 95"/>
                <a:gd name="T33" fmla="*/ 42 h 75"/>
                <a:gd name="T34" fmla="*/ 65 w 95"/>
                <a:gd name="T35" fmla="*/ 38 h 75"/>
                <a:gd name="T36" fmla="*/ 61 w 95"/>
                <a:gd name="T37" fmla="*/ 34 h 75"/>
                <a:gd name="T38" fmla="*/ 58 w 95"/>
                <a:gd name="T39" fmla="*/ 32 h 75"/>
                <a:gd name="T40" fmla="*/ 52 w 95"/>
                <a:gd name="T41" fmla="*/ 34 h 75"/>
                <a:gd name="T42" fmla="*/ 53 w 95"/>
                <a:gd name="T43" fmla="*/ 32 h 75"/>
                <a:gd name="T44" fmla="*/ 57 w 95"/>
                <a:gd name="T45" fmla="*/ 28 h 75"/>
                <a:gd name="T46" fmla="*/ 55 w 95"/>
                <a:gd name="T47" fmla="*/ 22 h 75"/>
                <a:gd name="T48" fmla="*/ 53 w 95"/>
                <a:gd name="T49" fmla="*/ 16 h 75"/>
                <a:gd name="T50" fmla="*/ 52 w 95"/>
                <a:gd name="T51" fmla="*/ 16 h 75"/>
                <a:gd name="T52" fmla="*/ 48 w 95"/>
                <a:gd name="T53" fmla="*/ 17 h 75"/>
                <a:gd name="T54" fmla="*/ 42 w 95"/>
                <a:gd name="T55" fmla="*/ 21 h 75"/>
                <a:gd name="T56" fmla="*/ 40 w 95"/>
                <a:gd name="T57" fmla="*/ 24 h 75"/>
                <a:gd name="T58" fmla="*/ 40 w 95"/>
                <a:gd name="T59" fmla="*/ 29 h 75"/>
                <a:gd name="T60" fmla="*/ 39 w 95"/>
                <a:gd name="T61" fmla="*/ 25 h 75"/>
                <a:gd name="T62" fmla="*/ 35 w 95"/>
                <a:gd name="T63" fmla="*/ 22 h 75"/>
                <a:gd name="T64" fmla="*/ 31 w 95"/>
                <a:gd name="T65" fmla="*/ 22 h 75"/>
                <a:gd name="T66" fmla="*/ 25 w 95"/>
                <a:gd name="T67" fmla="*/ 24 h 75"/>
                <a:gd name="T68" fmla="*/ 29 w 95"/>
                <a:gd name="T69" fmla="*/ 29 h 75"/>
                <a:gd name="T70" fmla="*/ 29 w 95"/>
                <a:gd name="T71" fmla="*/ 36 h 75"/>
                <a:gd name="T72" fmla="*/ 27 w 95"/>
                <a:gd name="T73" fmla="*/ 37 h 75"/>
                <a:gd name="T74" fmla="*/ 21 w 95"/>
                <a:gd name="T75" fmla="*/ 34 h 75"/>
                <a:gd name="T76" fmla="*/ 20 w 95"/>
                <a:gd name="T77" fmla="*/ 30 h 75"/>
                <a:gd name="T78" fmla="*/ 15 w 95"/>
                <a:gd name="T79" fmla="*/ 34 h 75"/>
                <a:gd name="T80" fmla="*/ 12 w 95"/>
                <a:gd name="T81" fmla="*/ 32 h 75"/>
                <a:gd name="T82" fmla="*/ 10 w 95"/>
                <a:gd name="T83" fmla="*/ 27 h 75"/>
                <a:gd name="T84" fmla="*/ 18 w 95"/>
                <a:gd name="T85" fmla="*/ 22 h 75"/>
                <a:gd name="T86" fmla="*/ 18 w 95"/>
                <a:gd name="T87" fmla="*/ 21 h 75"/>
                <a:gd name="T88" fmla="*/ 14 w 95"/>
                <a:gd name="T89" fmla="*/ 15 h 75"/>
                <a:gd name="T90" fmla="*/ 9 w 95"/>
                <a:gd name="T91" fmla="*/ 15 h 75"/>
                <a:gd name="T92" fmla="*/ 12 w 95"/>
                <a:gd name="T93" fmla="*/ 12 h 75"/>
                <a:gd name="T94" fmla="*/ 13 w 95"/>
                <a:gd name="T95" fmla="*/ 6 h 75"/>
                <a:gd name="T96" fmla="*/ 12 w 95"/>
                <a:gd name="T97" fmla="*/ 3 h 75"/>
                <a:gd name="T98" fmla="*/ 8 w 95"/>
                <a:gd name="T99" fmla="*/ 0 h 75"/>
                <a:gd name="T100" fmla="*/ 21 w 95"/>
                <a:gd name="T101" fmla="*/ 55 h 75"/>
                <a:gd name="T102" fmla="*/ 28 w 95"/>
                <a:gd name="T103" fmla="*/ 52 h 75"/>
                <a:gd name="T104" fmla="*/ 32 w 95"/>
                <a:gd name="T105" fmla="*/ 50 h 75"/>
                <a:gd name="T106" fmla="*/ 40 w 95"/>
                <a:gd name="T107" fmla="*/ 51 h 75"/>
                <a:gd name="T108" fmla="*/ 44 w 95"/>
                <a:gd name="T109" fmla="*/ 52 h 75"/>
                <a:gd name="T110" fmla="*/ 51 w 95"/>
                <a:gd name="T111" fmla="*/ 57 h 75"/>
                <a:gd name="T112" fmla="*/ 53 w 95"/>
                <a:gd name="T113" fmla="*/ 62 h 75"/>
                <a:gd name="T114" fmla="*/ 52 w 95"/>
                <a:gd name="T115" fmla="*/ 66 h 75"/>
                <a:gd name="T116" fmla="*/ 66 w 95"/>
                <a:gd name="T117" fmla="*/ 7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5" h="75">
                  <a:moveTo>
                    <a:pt x="66" y="75"/>
                  </a:moveTo>
                  <a:lnTo>
                    <a:pt x="95" y="38"/>
                  </a:lnTo>
                  <a:lnTo>
                    <a:pt x="95" y="38"/>
                  </a:lnTo>
                  <a:lnTo>
                    <a:pt x="92" y="37"/>
                  </a:lnTo>
                  <a:lnTo>
                    <a:pt x="90" y="38"/>
                  </a:lnTo>
                  <a:lnTo>
                    <a:pt x="88" y="39"/>
                  </a:lnTo>
                  <a:lnTo>
                    <a:pt x="88" y="39"/>
                  </a:lnTo>
                  <a:lnTo>
                    <a:pt x="85" y="40"/>
                  </a:lnTo>
                  <a:lnTo>
                    <a:pt x="84" y="44"/>
                  </a:lnTo>
                  <a:lnTo>
                    <a:pt x="83" y="47"/>
                  </a:lnTo>
                  <a:lnTo>
                    <a:pt x="83" y="47"/>
                  </a:lnTo>
                  <a:lnTo>
                    <a:pt x="82" y="45"/>
                  </a:lnTo>
                  <a:lnTo>
                    <a:pt x="80" y="44"/>
                  </a:lnTo>
                  <a:lnTo>
                    <a:pt x="76" y="44"/>
                  </a:lnTo>
                  <a:lnTo>
                    <a:pt x="73" y="44"/>
                  </a:lnTo>
                  <a:lnTo>
                    <a:pt x="72" y="45"/>
                  </a:lnTo>
                  <a:lnTo>
                    <a:pt x="72" y="45"/>
                  </a:lnTo>
                  <a:lnTo>
                    <a:pt x="74" y="51"/>
                  </a:lnTo>
                  <a:lnTo>
                    <a:pt x="74" y="54"/>
                  </a:lnTo>
                  <a:lnTo>
                    <a:pt x="72" y="57"/>
                  </a:lnTo>
                  <a:lnTo>
                    <a:pt x="68" y="57"/>
                  </a:lnTo>
                  <a:lnTo>
                    <a:pt x="68" y="57"/>
                  </a:lnTo>
                  <a:lnTo>
                    <a:pt x="66" y="55"/>
                  </a:lnTo>
                  <a:lnTo>
                    <a:pt x="65" y="53"/>
                  </a:lnTo>
                  <a:lnTo>
                    <a:pt x="65" y="50"/>
                  </a:lnTo>
                  <a:lnTo>
                    <a:pt x="65" y="50"/>
                  </a:lnTo>
                  <a:lnTo>
                    <a:pt x="61" y="52"/>
                  </a:lnTo>
                  <a:lnTo>
                    <a:pt x="58" y="52"/>
                  </a:lnTo>
                  <a:lnTo>
                    <a:pt x="55" y="50"/>
                  </a:lnTo>
                  <a:lnTo>
                    <a:pt x="55" y="50"/>
                  </a:lnTo>
                  <a:lnTo>
                    <a:pt x="54" y="47"/>
                  </a:lnTo>
                  <a:lnTo>
                    <a:pt x="55" y="44"/>
                  </a:lnTo>
                  <a:lnTo>
                    <a:pt x="59" y="43"/>
                  </a:lnTo>
                  <a:lnTo>
                    <a:pt x="65" y="42"/>
                  </a:lnTo>
                  <a:lnTo>
                    <a:pt x="65" y="42"/>
                  </a:lnTo>
                  <a:lnTo>
                    <a:pt x="65" y="38"/>
                  </a:lnTo>
                  <a:lnTo>
                    <a:pt x="64" y="36"/>
                  </a:lnTo>
                  <a:lnTo>
                    <a:pt x="61" y="34"/>
                  </a:lnTo>
                  <a:lnTo>
                    <a:pt x="61" y="34"/>
                  </a:lnTo>
                  <a:lnTo>
                    <a:pt x="58" y="32"/>
                  </a:lnTo>
                  <a:lnTo>
                    <a:pt x="54" y="32"/>
                  </a:lnTo>
                  <a:lnTo>
                    <a:pt x="52" y="34"/>
                  </a:lnTo>
                  <a:lnTo>
                    <a:pt x="52" y="34"/>
                  </a:lnTo>
                  <a:lnTo>
                    <a:pt x="53" y="32"/>
                  </a:lnTo>
                  <a:lnTo>
                    <a:pt x="55" y="30"/>
                  </a:lnTo>
                  <a:lnTo>
                    <a:pt x="57" y="28"/>
                  </a:lnTo>
                  <a:lnTo>
                    <a:pt x="57" y="28"/>
                  </a:lnTo>
                  <a:lnTo>
                    <a:pt x="55" y="22"/>
                  </a:lnTo>
                  <a:lnTo>
                    <a:pt x="54" y="20"/>
                  </a:lnTo>
                  <a:lnTo>
                    <a:pt x="53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48" y="17"/>
                  </a:lnTo>
                  <a:lnTo>
                    <a:pt x="46" y="18"/>
                  </a:lnTo>
                  <a:lnTo>
                    <a:pt x="42" y="21"/>
                  </a:lnTo>
                  <a:lnTo>
                    <a:pt x="42" y="21"/>
                  </a:lnTo>
                  <a:lnTo>
                    <a:pt x="40" y="24"/>
                  </a:lnTo>
                  <a:lnTo>
                    <a:pt x="40" y="27"/>
                  </a:lnTo>
                  <a:lnTo>
                    <a:pt x="40" y="29"/>
                  </a:lnTo>
                  <a:lnTo>
                    <a:pt x="40" y="29"/>
                  </a:lnTo>
                  <a:lnTo>
                    <a:pt x="39" y="25"/>
                  </a:lnTo>
                  <a:lnTo>
                    <a:pt x="37" y="23"/>
                  </a:lnTo>
                  <a:lnTo>
                    <a:pt x="35" y="22"/>
                  </a:lnTo>
                  <a:lnTo>
                    <a:pt x="35" y="22"/>
                  </a:lnTo>
                  <a:lnTo>
                    <a:pt x="31" y="22"/>
                  </a:lnTo>
                  <a:lnTo>
                    <a:pt x="28" y="23"/>
                  </a:lnTo>
                  <a:lnTo>
                    <a:pt x="25" y="24"/>
                  </a:lnTo>
                  <a:lnTo>
                    <a:pt x="25" y="24"/>
                  </a:lnTo>
                  <a:lnTo>
                    <a:pt x="29" y="29"/>
                  </a:lnTo>
                  <a:lnTo>
                    <a:pt x="30" y="34"/>
                  </a:lnTo>
                  <a:lnTo>
                    <a:pt x="29" y="36"/>
                  </a:lnTo>
                  <a:lnTo>
                    <a:pt x="27" y="37"/>
                  </a:lnTo>
                  <a:lnTo>
                    <a:pt x="27" y="37"/>
                  </a:lnTo>
                  <a:lnTo>
                    <a:pt x="23" y="36"/>
                  </a:lnTo>
                  <a:lnTo>
                    <a:pt x="21" y="34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17" y="32"/>
                  </a:lnTo>
                  <a:lnTo>
                    <a:pt x="15" y="34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0" y="30"/>
                  </a:lnTo>
                  <a:lnTo>
                    <a:pt x="10" y="27"/>
                  </a:lnTo>
                  <a:lnTo>
                    <a:pt x="13" y="24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8" y="21"/>
                  </a:lnTo>
                  <a:lnTo>
                    <a:pt x="16" y="17"/>
                  </a:lnTo>
                  <a:lnTo>
                    <a:pt x="14" y="15"/>
                  </a:lnTo>
                  <a:lnTo>
                    <a:pt x="12" y="14"/>
                  </a:lnTo>
                  <a:lnTo>
                    <a:pt x="9" y="15"/>
                  </a:lnTo>
                  <a:lnTo>
                    <a:pt x="9" y="15"/>
                  </a:lnTo>
                  <a:lnTo>
                    <a:pt x="12" y="12"/>
                  </a:lnTo>
                  <a:lnTo>
                    <a:pt x="13" y="9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2" y="3"/>
                  </a:lnTo>
                  <a:lnTo>
                    <a:pt x="9" y="1"/>
                  </a:lnTo>
                  <a:lnTo>
                    <a:pt x="8" y="0"/>
                  </a:lnTo>
                  <a:lnTo>
                    <a:pt x="0" y="46"/>
                  </a:lnTo>
                  <a:lnTo>
                    <a:pt x="21" y="55"/>
                  </a:lnTo>
                  <a:lnTo>
                    <a:pt x="21" y="55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32" y="50"/>
                  </a:lnTo>
                  <a:lnTo>
                    <a:pt x="37" y="50"/>
                  </a:lnTo>
                  <a:lnTo>
                    <a:pt x="40" y="51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8" y="54"/>
                  </a:lnTo>
                  <a:lnTo>
                    <a:pt x="51" y="57"/>
                  </a:lnTo>
                  <a:lnTo>
                    <a:pt x="52" y="60"/>
                  </a:lnTo>
                  <a:lnTo>
                    <a:pt x="53" y="62"/>
                  </a:lnTo>
                  <a:lnTo>
                    <a:pt x="53" y="62"/>
                  </a:lnTo>
                  <a:lnTo>
                    <a:pt x="52" y="66"/>
                  </a:lnTo>
                  <a:lnTo>
                    <a:pt x="51" y="69"/>
                  </a:lnTo>
                  <a:lnTo>
                    <a:pt x="66" y="7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65" name="Freeform 43"/>
            <p:cNvSpPr>
              <a:spLocks/>
            </p:cNvSpPr>
            <p:nvPr userDrawn="1"/>
          </p:nvSpPr>
          <p:spPr bwMode="auto">
            <a:xfrm>
              <a:off x="4936" y="2180"/>
              <a:ext cx="116" cy="20"/>
            </a:xfrm>
            <a:custGeom>
              <a:avLst/>
              <a:gdLst>
                <a:gd name="T0" fmla="*/ 97 w 116"/>
                <a:gd name="T1" fmla="*/ 17 h 20"/>
                <a:gd name="T2" fmla="*/ 116 w 116"/>
                <a:gd name="T3" fmla="*/ 9 h 20"/>
                <a:gd name="T4" fmla="*/ 97 w 116"/>
                <a:gd name="T5" fmla="*/ 1 h 20"/>
                <a:gd name="T6" fmla="*/ 97 w 116"/>
                <a:gd name="T7" fmla="*/ 1 h 20"/>
                <a:gd name="T8" fmla="*/ 65 w 116"/>
                <a:gd name="T9" fmla="*/ 1 h 20"/>
                <a:gd name="T10" fmla="*/ 16 w 116"/>
                <a:gd name="T11" fmla="*/ 0 h 20"/>
                <a:gd name="T12" fmla="*/ 0 w 116"/>
                <a:gd name="T13" fmla="*/ 20 h 20"/>
                <a:gd name="T14" fmla="*/ 0 w 116"/>
                <a:gd name="T15" fmla="*/ 20 h 20"/>
                <a:gd name="T16" fmla="*/ 97 w 116"/>
                <a:gd name="T17" fmla="*/ 17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6" h="20">
                  <a:moveTo>
                    <a:pt x="97" y="17"/>
                  </a:moveTo>
                  <a:lnTo>
                    <a:pt x="116" y="9"/>
                  </a:lnTo>
                  <a:lnTo>
                    <a:pt x="97" y="1"/>
                  </a:lnTo>
                  <a:lnTo>
                    <a:pt x="97" y="1"/>
                  </a:lnTo>
                  <a:lnTo>
                    <a:pt x="65" y="1"/>
                  </a:lnTo>
                  <a:lnTo>
                    <a:pt x="16" y="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97" y="1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66" name="Freeform 44"/>
            <p:cNvSpPr>
              <a:spLocks/>
            </p:cNvSpPr>
            <p:nvPr userDrawn="1"/>
          </p:nvSpPr>
          <p:spPr bwMode="auto">
            <a:xfrm>
              <a:off x="4973" y="2230"/>
              <a:ext cx="68" cy="67"/>
            </a:xfrm>
            <a:custGeom>
              <a:avLst/>
              <a:gdLst>
                <a:gd name="T0" fmla="*/ 36 w 68"/>
                <a:gd name="T1" fmla="*/ 67 h 67"/>
                <a:gd name="T2" fmla="*/ 36 w 68"/>
                <a:gd name="T3" fmla="*/ 67 h 67"/>
                <a:gd name="T4" fmla="*/ 26 w 68"/>
                <a:gd name="T5" fmla="*/ 61 h 67"/>
                <a:gd name="T6" fmla="*/ 16 w 68"/>
                <a:gd name="T7" fmla="*/ 56 h 67"/>
                <a:gd name="T8" fmla="*/ 9 w 68"/>
                <a:gd name="T9" fmla="*/ 51 h 67"/>
                <a:gd name="T10" fmla="*/ 4 w 68"/>
                <a:gd name="T11" fmla="*/ 44 h 67"/>
                <a:gd name="T12" fmla="*/ 4 w 68"/>
                <a:gd name="T13" fmla="*/ 44 h 67"/>
                <a:gd name="T14" fmla="*/ 1 w 68"/>
                <a:gd name="T15" fmla="*/ 39 h 67"/>
                <a:gd name="T16" fmla="*/ 0 w 68"/>
                <a:gd name="T17" fmla="*/ 33 h 67"/>
                <a:gd name="T18" fmla="*/ 0 w 68"/>
                <a:gd name="T19" fmla="*/ 29 h 67"/>
                <a:gd name="T20" fmla="*/ 1 w 68"/>
                <a:gd name="T21" fmla="*/ 23 h 67"/>
                <a:gd name="T22" fmla="*/ 3 w 68"/>
                <a:gd name="T23" fmla="*/ 17 h 67"/>
                <a:gd name="T24" fmla="*/ 6 w 68"/>
                <a:gd name="T25" fmla="*/ 12 h 67"/>
                <a:gd name="T26" fmla="*/ 9 w 68"/>
                <a:gd name="T27" fmla="*/ 8 h 67"/>
                <a:gd name="T28" fmla="*/ 15 w 68"/>
                <a:gd name="T29" fmla="*/ 4 h 67"/>
                <a:gd name="T30" fmla="*/ 15 w 68"/>
                <a:gd name="T31" fmla="*/ 4 h 67"/>
                <a:gd name="T32" fmla="*/ 16 w 68"/>
                <a:gd name="T33" fmla="*/ 7 h 67"/>
                <a:gd name="T34" fmla="*/ 18 w 68"/>
                <a:gd name="T35" fmla="*/ 9 h 67"/>
                <a:gd name="T36" fmla="*/ 18 w 68"/>
                <a:gd name="T37" fmla="*/ 11 h 67"/>
                <a:gd name="T38" fmla="*/ 18 w 68"/>
                <a:gd name="T39" fmla="*/ 11 h 67"/>
                <a:gd name="T40" fmla="*/ 34 w 68"/>
                <a:gd name="T41" fmla="*/ 10 h 67"/>
                <a:gd name="T42" fmla="*/ 34 w 68"/>
                <a:gd name="T43" fmla="*/ 10 h 67"/>
                <a:gd name="T44" fmla="*/ 34 w 68"/>
                <a:gd name="T45" fmla="*/ 5 h 67"/>
                <a:gd name="T46" fmla="*/ 33 w 68"/>
                <a:gd name="T47" fmla="*/ 2 h 67"/>
                <a:gd name="T48" fmla="*/ 31 w 68"/>
                <a:gd name="T49" fmla="*/ 0 h 67"/>
                <a:gd name="T50" fmla="*/ 31 w 68"/>
                <a:gd name="T51" fmla="*/ 0 h 67"/>
                <a:gd name="T52" fmla="*/ 36 w 68"/>
                <a:gd name="T53" fmla="*/ 3 h 67"/>
                <a:gd name="T54" fmla="*/ 38 w 68"/>
                <a:gd name="T55" fmla="*/ 7 h 67"/>
                <a:gd name="T56" fmla="*/ 39 w 68"/>
                <a:gd name="T57" fmla="*/ 10 h 67"/>
                <a:gd name="T58" fmla="*/ 39 w 68"/>
                <a:gd name="T59" fmla="*/ 10 h 67"/>
                <a:gd name="T60" fmla="*/ 53 w 68"/>
                <a:gd name="T61" fmla="*/ 11 h 67"/>
                <a:gd name="T62" fmla="*/ 53 w 68"/>
                <a:gd name="T63" fmla="*/ 11 h 67"/>
                <a:gd name="T64" fmla="*/ 52 w 68"/>
                <a:gd name="T65" fmla="*/ 7 h 67"/>
                <a:gd name="T66" fmla="*/ 50 w 68"/>
                <a:gd name="T67" fmla="*/ 2 h 67"/>
                <a:gd name="T68" fmla="*/ 50 w 68"/>
                <a:gd name="T69" fmla="*/ 2 h 67"/>
                <a:gd name="T70" fmla="*/ 56 w 68"/>
                <a:gd name="T71" fmla="*/ 5 h 67"/>
                <a:gd name="T72" fmla="*/ 59 w 68"/>
                <a:gd name="T73" fmla="*/ 8 h 67"/>
                <a:gd name="T74" fmla="*/ 63 w 68"/>
                <a:gd name="T75" fmla="*/ 12 h 67"/>
                <a:gd name="T76" fmla="*/ 65 w 68"/>
                <a:gd name="T77" fmla="*/ 16 h 67"/>
                <a:gd name="T78" fmla="*/ 68 w 68"/>
                <a:gd name="T79" fmla="*/ 24 h 67"/>
                <a:gd name="T80" fmla="*/ 68 w 68"/>
                <a:gd name="T81" fmla="*/ 31 h 67"/>
                <a:gd name="T82" fmla="*/ 68 w 68"/>
                <a:gd name="T83" fmla="*/ 31 h 67"/>
                <a:gd name="T84" fmla="*/ 68 w 68"/>
                <a:gd name="T85" fmla="*/ 39 h 67"/>
                <a:gd name="T86" fmla="*/ 65 w 68"/>
                <a:gd name="T87" fmla="*/ 46 h 67"/>
                <a:gd name="T88" fmla="*/ 60 w 68"/>
                <a:gd name="T89" fmla="*/ 52 h 67"/>
                <a:gd name="T90" fmla="*/ 54 w 68"/>
                <a:gd name="T91" fmla="*/ 56 h 67"/>
                <a:gd name="T92" fmla="*/ 54 w 68"/>
                <a:gd name="T93" fmla="*/ 56 h 67"/>
                <a:gd name="T94" fmla="*/ 44 w 68"/>
                <a:gd name="T95" fmla="*/ 62 h 67"/>
                <a:gd name="T96" fmla="*/ 36 w 68"/>
                <a:gd name="T97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8" h="67">
                  <a:moveTo>
                    <a:pt x="36" y="67"/>
                  </a:moveTo>
                  <a:lnTo>
                    <a:pt x="36" y="67"/>
                  </a:lnTo>
                  <a:lnTo>
                    <a:pt x="26" y="61"/>
                  </a:lnTo>
                  <a:lnTo>
                    <a:pt x="16" y="56"/>
                  </a:lnTo>
                  <a:lnTo>
                    <a:pt x="9" y="51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1" y="39"/>
                  </a:lnTo>
                  <a:lnTo>
                    <a:pt x="0" y="33"/>
                  </a:lnTo>
                  <a:lnTo>
                    <a:pt x="0" y="29"/>
                  </a:lnTo>
                  <a:lnTo>
                    <a:pt x="1" y="23"/>
                  </a:lnTo>
                  <a:lnTo>
                    <a:pt x="3" y="17"/>
                  </a:lnTo>
                  <a:lnTo>
                    <a:pt x="6" y="12"/>
                  </a:lnTo>
                  <a:lnTo>
                    <a:pt x="9" y="8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6" y="7"/>
                  </a:lnTo>
                  <a:lnTo>
                    <a:pt x="18" y="9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4" y="5"/>
                  </a:lnTo>
                  <a:lnTo>
                    <a:pt x="33" y="2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36" y="3"/>
                  </a:lnTo>
                  <a:lnTo>
                    <a:pt x="38" y="7"/>
                  </a:lnTo>
                  <a:lnTo>
                    <a:pt x="39" y="10"/>
                  </a:lnTo>
                  <a:lnTo>
                    <a:pt x="39" y="10"/>
                  </a:lnTo>
                  <a:lnTo>
                    <a:pt x="53" y="11"/>
                  </a:lnTo>
                  <a:lnTo>
                    <a:pt x="53" y="11"/>
                  </a:lnTo>
                  <a:lnTo>
                    <a:pt x="52" y="7"/>
                  </a:lnTo>
                  <a:lnTo>
                    <a:pt x="50" y="2"/>
                  </a:lnTo>
                  <a:lnTo>
                    <a:pt x="50" y="2"/>
                  </a:lnTo>
                  <a:lnTo>
                    <a:pt x="56" y="5"/>
                  </a:lnTo>
                  <a:lnTo>
                    <a:pt x="59" y="8"/>
                  </a:lnTo>
                  <a:lnTo>
                    <a:pt x="63" y="12"/>
                  </a:lnTo>
                  <a:lnTo>
                    <a:pt x="65" y="16"/>
                  </a:lnTo>
                  <a:lnTo>
                    <a:pt x="68" y="24"/>
                  </a:lnTo>
                  <a:lnTo>
                    <a:pt x="68" y="31"/>
                  </a:lnTo>
                  <a:lnTo>
                    <a:pt x="68" y="31"/>
                  </a:lnTo>
                  <a:lnTo>
                    <a:pt x="68" y="39"/>
                  </a:lnTo>
                  <a:lnTo>
                    <a:pt x="65" y="46"/>
                  </a:lnTo>
                  <a:lnTo>
                    <a:pt x="60" y="52"/>
                  </a:lnTo>
                  <a:lnTo>
                    <a:pt x="54" y="56"/>
                  </a:lnTo>
                  <a:lnTo>
                    <a:pt x="54" y="56"/>
                  </a:lnTo>
                  <a:lnTo>
                    <a:pt x="44" y="62"/>
                  </a:lnTo>
                  <a:lnTo>
                    <a:pt x="36" y="6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67" name="Freeform 45"/>
            <p:cNvSpPr>
              <a:spLocks/>
            </p:cNvSpPr>
            <p:nvPr userDrawn="1"/>
          </p:nvSpPr>
          <p:spPr bwMode="auto">
            <a:xfrm>
              <a:off x="4993" y="2394"/>
              <a:ext cx="1" cy="1"/>
            </a:xfrm>
            <a:custGeom>
              <a:avLst/>
              <a:gdLst>
                <a:gd name="T0" fmla="*/ 1 w 1"/>
                <a:gd name="T1" fmla="*/ 1 h 1"/>
                <a:gd name="T2" fmla="*/ 1 w 1"/>
                <a:gd name="T3" fmla="*/ 1 h 1"/>
                <a:gd name="T4" fmla="*/ 0 w 1"/>
                <a:gd name="T5" fmla="*/ 0 h 1"/>
                <a:gd name="T6" fmla="*/ 0 w 1"/>
                <a:gd name="T7" fmla="*/ 0 h 1"/>
                <a:gd name="T8" fmla="*/ 0 w 1"/>
                <a:gd name="T9" fmla="*/ 0 h 1"/>
                <a:gd name="T10" fmla="*/ 0 w 1"/>
                <a:gd name="T11" fmla="*/ 0 h 1"/>
                <a:gd name="T12" fmla="*/ 1 w 1"/>
                <a:gd name="T13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lnTo>
                    <a:pt x="1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1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68" name="Freeform 46"/>
            <p:cNvSpPr>
              <a:spLocks/>
            </p:cNvSpPr>
            <p:nvPr userDrawn="1"/>
          </p:nvSpPr>
          <p:spPr bwMode="auto">
            <a:xfrm>
              <a:off x="4846" y="2205"/>
              <a:ext cx="13" cy="7"/>
            </a:xfrm>
            <a:custGeom>
              <a:avLst/>
              <a:gdLst>
                <a:gd name="T0" fmla="*/ 13 w 13"/>
                <a:gd name="T1" fmla="*/ 6 h 7"/>
                <a:gd name="T2" fmla="*/ 13 w 13"/>
                <a:gd name="T3" fmla="*/ 6 h 7"/>
                <a:gd name="T4" fmla="*/ 11 w 13"/>
                <a:gd name="T5" fmla="*/ 6 h 7"/>
                <a:gd name="T6" fmla="*/ 7 w 13"/>
                <a:gd name="T7" fmla="*/ 7 h 7"/>
                <a:gd name="T8" fmla="*/ 0 w 13"/>
                <a:gd name="T9" fmla="*/ 7 h 7"/>
                <a:gd name="T10" fmla="*/ 0 w 13"/>
                <a:gd name="T11" fmla="*/ 7 h 7"/>
                <a:gd name="T12" fmla="*/ 0 w 13"/>
                <a:gd name="T13" fmla="*/ 5 h 7"/>
                <a:gd name="T14" fmla="*/ 0 w 13"/>
                <a:gd name="T15" fmla="*/ 0 h 7"/>
                <a:gd name="T16" fmla="*/ 0 w 13"/>
                <a:gd name="T17" fmla="*/ 0 h 7"/>
                <a:gd name="T18" fmla="*/ 2 w 13"/>
                <a:gd name="T19" fmla="*/ 0 h 7"/>
                <a:gd name="T20" fmla="*/ 6 w 13"/>
                <a:gd name="T21" fmla="*/ 2 h 7"/>
                <a:gd name="T22" fmla="*/ 11 w 13"/>
                <a:gd name="T23" fmla="*/ 3 h 7"/>
                <a:gd name="T24" fmla="*/ 13 w 13"/>
                <a:gd name="T25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" h="7">
                  <a:moveTo>
                    <a:pt x="13" y="6"/>
                  </a:moveTo>
                  <a:lnTo>
                    <a:pt x="13" y="6"/>
                  </a:lnTo>
                  <a:lnTo>
                    <a:pt x="11" y="6"/>
                  </a:lnTo>
                  <a:lnTo>
                    <a:pt x="7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5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6" y="2"/>
                  </a:lnTo>
                  <a:lnTo>
                    <a:pt x="11" y="3"/>
                  </a:lnTo>
                  <a:lnTo>
                    <a:pt x="13" y="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69" name="Freeform 47"/>
            <p:cNvSpPr>
              <a:spLocks/>
            </p:cNvSpPr>
            <p:nvPr userDrawn="1"/>
          </p:nvSpPr>
          <p:spPr bwMode="auto">
            <a:xfrm>
              <a:off x="4681" y="2180"/>
              <a:ext cx="390" cy="461"/>
            </a:xfrm>
            <a:custGeom>
              <a:avLst/>
              <a:gdLst>
                <a:gd name="T0" fmla="*/ 374 w 390"/>
                <a:gd name="T1" fmla="*/ 155 h 461"/>
                <a:gd name="T2" fmla="*/ 372 w 390"/>
                <a:gd name="T3" fmla="*/ 95 h 461"/>
                <a:gd name="T4" fmla="*/ 325 w 390"/>
                <a:gd name="T5" fmla="*/ 36 h 461"/>
                <a:gd name="T6" fmla="*/ 281 w 390"/>
                <a:gd name="T7" fmla="*/ 95 h 461"/>
                <a:gd name="T8" fmla="*/ 291 w 390"/>
                <a:gd name="T9" fmla="*/ 154 h 461"/>
                <a:gd name="T10" fmla="*/ 308 w 390"/>
                <a:gd name="T11" fmla="*/ 162 h 461"/>
                <a:gd name="T12" fmla="*/ 320 w 390"/>
                <a:gd name="T13" fmla="*/ 151 h 461"/>
                <a:gd name="T14" fmla="*/ 359 w 390"/>
                <a:gd name="T15" fmla="*/ 158 h 461"/>
                <a:gd name="T16" fmla="*/ 337 w 390"/>
                <a:gd name="T17" fmla="*/ 218 h 461"/>
                <a:gd name="T18" fmla="*/ 271 w 390"/>
                <a:gd name="T19" fmla="*/ 184 h 461"/>
                <a:gd name="T20" fmla="*/ 263 w 390"/>
                <a:gd name="T21" fmla="*/ 125 h 461"/>
                <a:gd name="T22" fmla="*/ 263 w 390"/>
                <a:gd name="T23" fmla="*/ 116 h 461"/>
                <a:gd name="T24" fmla="*/ 237 w 390"/>
                <a:gd name="T25" fmla="*/ 76 h 461"/>
                <a:gd name="T26" fmla="*/ 267 w 390"/>
                <a:gd name="T27" fmla="*/ 49 h 461"/>
                <a:gd name="T28" fmla="*/ 223 w 390"/>
                <a:gd name="T29" fmla="*/ 17 h 461"/>
                <a:gd name="T30" fmla="*/ 155 w 390"/>
                <a:gd name="T31" fmla="*/ 21 h 461"/>
                <a:gd name="T32" fmla="*/ 141 w 390"/>
                <a:gd name="T33" fmla="*/ 46 h 461"/>
                <a:gd name="T34" fmla="*/ 154 w 390"/>
                <a:gd name="T35" fmla="*/ 66 h 461"/>
                <a:gd name="T36" fmla="*/ 184 w 390"/>
                <a:gd name="T37" fmla="*/ 55 h 461"/>
                <a:gd name="T38" fmla="*/ 139 w 390"/>
                <a:gd name="T39" fmla="*/ 73 h 461"/>
                <a:gd name="T40" fmla="*/ 120 w 390"/>
                <a:gd name="T41" fmla="*/ 69 h 461"/>
                <a:gd name="T42" fmla="*/ 163 w 390"/>
                <a:gd name="T43" fmla="*/ 71 h 461"/>
                <a:gd name="T44" fmla="*/ 164 w 390"/>
                <a:gd name="T45" fmla="*/ 81 h 461"/>
                <a:gd name="T46" fmla="*/ 149 w 390"/>
                <a:gd name="T47" fmla="*/ 96 h 461"/>
                <a:gd name="T48" fmla="*/ 164 w 390"/>
                <a:gd name="T49" fmla="*/ 121 h 461"/>
                <a:gd name="T50" fmla="*/ 84 w 390"/>
                <a:gd name="T51" fmla="*/ 175 h 461"/>
                <a:gd name="T52" fmla="*/ 32 w 390"/>
                <a:gd name="T53" fmla="*/ 159 h 461"/>
                <a:gd name="T54" fmla="*/ 26 w 390"/>
                <a:gd name="T55" fmla="*/ 169 h 461"/>
                <a:gd name="T56" fmla="*/ 32 w 390"/>
                <a:gd name="T57" fmla="*/ 181 h 461"/>
                <a:gd name="T58" fmla="*/ 1 w 390"/>
                <a:gd name="T59" fmla="*/ 193 h 461"/>
                <a:gd name="T60" fmla="*/ 37 w 390"/>
                <a:gd name="T61" fmla="*/ 198 h 461"/>
                <a:gd name="T62" fmla="*/ 22 w 390"/>
                <a:gd name="T63" fmla="*/ 209 h 461"/>
                <a:gd name="T64" fmla="*/ 32 w 390"/>
                <a:gd name="T65" fmla="*/ 218 h 461"/>
                <a:gd name="T66" fmla="*/ 65 w 390"/>
                <a:gd name="T67" fmla="*/ 218 h 461"/>
                <a:gd name="T68" fmla="*/ 73 w 390"/>
                <a:gd name="T69" fmla="*/ 220 h 461"/>
                <a:gd name="T70" fmla="*/ 103 w 390"/>
                <a:gd name="T71" fmla="*/ 195 h 461"/>
                <a:gd name="T72" fmla="*/ 135 w 390"/>
                <a:gd name="T73" fmla="*/ 190 h 461"/>
                <a:gd name="T74" fmla="*/ 178 w 390"/>
                <a:gd name="T75" fmla="*/ 206 h 461"/>
                <a:gd name="T76" fmla="*/ 262 w 390"/>
                <a:gd name="T77" fmla="*/ 244 h 461"/>
                <a:gd name="T78" fmla="*/ 293 w 390"/>
                <a:gd name="T79" fmla="*/ 311 h 461"/>
                <a:gd name="T80" fmla="*/ 292 w 390"/>
                <a:gd name="T81" fmla="*/ 327 h 461"/>
                <a:gd name="T82" fmla="*/ 323 w 390"/>
                <a:gd name="T83" fmla="*/ 333 h 461"/>
                <a:gd name="T84" fmla="*/ 331 w 390"/>
                <a:gd name="T85" fmla="*/ 396 h 461"/>
                <a:gd name="T86" fmla="*/ 292 w 390"/>
                <a:gd name="T87" fmla="*/ 403 h 461"/>
                <a:gd name="T88" fmla="*/ 311 w 390"/>
                <a:gd name="T89" fmla="*/ 411 h 461"/>
                <a:gd name="T90" fmla="*/ 303 w 390"/>
                <a:gd name="T91" fmla="*/ 420 h 461"/>
                <a:gd name="T92" fmla="*/ 299 w 390"/>
                <a:gd name="T93" fmla="*/ 450 h 461"/>
                <a:gd name="T94" fmla="*/ 318 w 390"/>
                <a:gd name="T95" fmla="*/ 438 h 461"/>
                <a:gd name="T96" fmla="*/ 323 w 390"/>
                <a:gd name="T97" fmla="*/ 443 h 461"/>
                <a:gd name="T98" fmla="*/ 343 w 390"/>
                <a:gd name="T99" fmla="*/ 455 h 461"/>
                <a:gd name="T100" fmla="*/ 350 w 390"/>
                <a:gd name="T101" fmla="*/ 429 h 461"/>
                <a:gd name="T102" fmla="*/ 371 w 390"/>
                <a:gd name="T103" fmla="*/ 436 h 461"/>
                <a:gd name="T104" fmla="*/ 372 w 390"/>
                <a:gd name="T105" fmla="*/ 395 h 461"/>
                <a:gd name="T106" fmla="*/ 380 w 390"/>
                <a:gd name="T107" fmla="*/ 378 h 461"/>
                <a:gd name="T108" fmla="*/ 378 w 390"/>
                <a:gd name="T109" fmla="*/ 349 h 461"/>
                <a:gd name="T110" fmla="*/ 362 w 390"/>
                <a:gd name="T111" fmla="*/ 321 h 461"/>
                <a:gd name="T112" fmla="*/ 335 w 390"/>
                <a:gd name="T113" fmla="*/ 292 h 461"/>
                <a:gd name="T114" fmla="*/ 335 w 390"/>
                <a:gd name="T115" fmla="*/ 265 h 461"/>
                <a:gd name="T116" fmla="*/ 341 w 390"/>
                <a:gd name="T117" fmla="*/ 238 h 461"/>
                <a:gd name="T118" fmla="*/ 390 w 390"/>
                <a:gd name="T119" fmla="*/ 200 h 4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90" h="461">
                  <a:moveTo>
                    <a:pt x="380" y="177"/>
                  </a:moveTo>
                  <a:lnTo>
                    <a:pt x="380" y="177"/>
                  </a:lnTo>
                  <a:lnTo>
                    <a:pt x="387" y="178"/>
                  </a:lnTo>
                  <a:lnTo>
                    <a:pt x="390" y="177"/>
                  </a:lnTo>
                  <a:lnTo>
                    <a:pt x="390" y="177"/>
                  </a:lnTo>
                  <a:lnTo>
                    <a:pt x="390" y="170"/>
                  </a:lnTo>
                  <a:lnTo>
                    <a:pt x="388" y="159"/>
                  </a:lnTo>
                  <a:lnTo>
                    <a:pt x="388" y="159"/>
                  </a:lnTo>
                  <a:lnTo>
                    <a:pt x="386" y="159"/>
                  </a:lnTo>
                  <a:lnTo>
                    <a:pt x="381" y="159"/>
                  </a:lnTo>
                  <a:lnTo>
                    <a:pt x="378" y="158"/>
                  </a:lnTo>
                  <a:lnTo>
                    <a:pt x="374" y="155"/>
                  </a:lnTo>
                  <a:lnTo>
                    <a:pt x="374" y="155"/>
                  </a:lnTo>
                  <a:lnTo>
                    <a:pt x="371" y="150"/>
                  </a:lnTo>
                  <a:lnTo>
                    <a:pt x="371" y="150"/>
                  </a:lnTo>
                  <a:lnTo>
                    <a:pt x="364" y="141"/>
                  </a:lnTo>
                  <a:lnTo>
                    <a:pt x="357" y="134"/>
                  </a:lnTo>
                  <a:lnTo>
                    <a:pt x="349" y="128"/>
                  </a:lnTo>
                  <a:lnTo>
                    <a:pt x="341" y="124"/>
                  </a:lnTo>
                  <a:lnTo>
                    <a:pt x="341" y="124"/>
                  </a:lnTo>
                  <a:lnTo>
                    <a:pt x="353" y="117"/>
                  </a:lnTo>
                  <a:lnTo>
                    <a:pt x="362" y="110"/>
                  </a:lnTo>
                  <a:lnTo>
                    <a:pt x="366" y="104"/>
                  </a:lnTo>
                  <a:lnTo>
                    <a:pt x="370" y="99"/>
                  </a:lnTo>
                  <a:lnTo>
                    <a:pt x="370" y="99"/>
                  </a:lnTo>
                  <a:lnTo>
                    <a:pt x="372" y="95"/>
                  </a:lnTo>
                  <a:lnTo>
                    <a:pt x="373" y="88"/>
                  </a:lnTo>
                  <a:lnTo>
                    <a:pt x="374" y="81"/>
                  </a:lnTo>
                  <a:lnTo>
                    <a:pt x="374" y="73"/>
                  </a:lnTo>
                  <a:lnTo>
                    <a:pt x="372" y="65"/>
                  </a:lnTo>
                  <a:lnTo>
                    <a:pt x="368" y="57"/>
                  </a:lnTo>
                  <a:lnTo>
                    <a:pt x="362" y="50"/>
                  </a:lnTo>
                  <a:lnTo>
                    <a:pt x="358" y="46"/>
                  </a:lnTo>
                  <a:lnTo>
                    <a:pt x="353" y="43"/>
                  </a:lnTo>
                  <a:lnTo>
                    <a:pt x="353" y="43"/>
                  </a:lnTo>
                  <a:lnTo>
                    <a:pt x="345" y="39"/>
                  </a:lnTo>
                  <a:lnTo>
                    <a:pt x="338" y="37"/>
                  </a:lnTo>
                  <a:lnTo>
                    <a:pt x="330" y="36"/>
                  </a:lnTo>
                  <a:lnTo>
                    <a:pt x="325" y="36"/>
                  </a:lnTo>
                  <a:lnTo>
                    <a:pt x="312" y="38"/>
                  </a:lnTo>
                  <a:lnTo>
                    <a:pt x="304" y="40"/>
                  </a:lnTo>
                  <a:lnTo>
                    <a:pt x="304" y="40"/>
                  </a:lnTo>
                  <a:lnTo>
                    <a:pt x="298" y="44"/>
                  </a:lnTo>
                  <a:lnTo>
                    <a:pt x="292" y="49"/>
                  </a:lnTo>
                  <a:lnTo>
                    <a:pt x="288" y="53"/>
                  </a:lnTo>
                  <a:lnTo>
                    <a:pt x="284" y="59"/>
                  </a:lnTo>
                  <a:lnTo>
                    <a:pt x="281" y="66"/>
                  </a:lnTo>
                  <a:lnTo>
                    <a:pt x="279" y="73"/>
                  </a:lnTo>
                  <a:lnTo>
                    <a:pt x="278" y="80"/>
                  </a:lnTo>
                  <a:lnTo>
                    <a:pt x="279" y="89"/>
                  </a:lnTo>
                  <a:lnTo>
                    <a:pt x="279" y="89"/>
                  </a:lnTo>
                  <a:lnTo>
                    <a:pt x="281" y="95"/>
                  </a:lnTo>
                  <a:lnTo>
                    <a:pt x="284" y="101"/>
                  </a:lnTo>
                  <a:lnTo>
                    <a:pt x="288" y="106"/>
                  </a:lnTo>
                  <a:lnTo>
                    <a:pt x="291" y="110"/>
                  </a:lnTo>
                  <a:lnTo>
                    <a:pt x="300" y="117"/>
                  </a:lnTo>
                  <a:lnTo>
                    <a:pt x="312" y="124"/>
                  </a:lnTo>
                  <a:lnTo>
                    <a:pt x="312" y="124"/>
                  </a:lnTo>
                  <a:lnTo>
                    <a:pt x="304" y="128"/>
                  </a:lnTo>
                  <a:lnTo>
                    <a:pt x="297" y="135"/>
                  </a:lnTo>
                  <a:lnTo>
                    <a:pt x="295" y="139"/>
                  </a:lnTo>
                  <a:lnTo>
                    <a:pt x="292" y="143"/>
                  </a:lnTo>
                  <a:lnTo>
                    <a:pt x="291" y="148"/>
                  </a:lnTo>
                  <a:lnTo>
                    <a:pt x="291" y="154"/>
                  </a:lnTo>
                  <a:lnTo>
                    <a:pt x="291" y="154"/>
                  </a:lnTo>
                  <a:lnTo>
                    <a:pt x="292" y="161"/>
                  </a:lnTo>
                  <a:lnTo>
                    <a:pt x="295" y="169"/>
                  </a:lnTo>
                  <a:lnTo>
                    <a:pt x="296" y="178"/>
                  </a:lnTo>
                  <a:lnTo>
                    <a:pt x="295" y="184"/>
                  </a:lnTo>
                  <a:lnTo>
                    <a:pt x="295" y="190"/>
                  </a:lnTo>
                  <a:lnTo>
                    <a:pt x="295" y="190"/>
                  </a:lnTo>
                  <a:lnTo>
                    <a:pt x="296" y="190"/>
                  </a:lnTo>
                  <a:lnTo>
                    <a:pt x="299" y="188"/>
                  </a:lnTo>
                  <a:lnTo>
                    <a:pt x="306" y="184"/>
                  </a:lnTo>
                  <a:lnTo>
                    <a:pt x="306" y="184"/>
                  </a:lnTo>
                  <a:lnTo>
                    <a:pt x="308" y="177"/>
                  </a:lnTo>
                  <a:lnTo>
                    <a:pt x="308" y="170"/>
                  </a:lnTo>
                  <a:lnTo>
                    <a:pt x="308" y="162"/>
                  </a:lnTo>
                  <a:lnTo>
                    <a:pt x="308" y="162"/>
                  </a:lnTo>
                  <a:lnTo>
                    <a:pt x="311" y="165"/>
                  </a:lnTo>
                  <a:lnTo>
                    <a:pt x="312" y="171"/>
                  </a:lnTo>
                  <a:lnTo>
                    <a:pt x="312" y="176"/>
                  </a:lnTo>
                  <a:lnTo>
                    <a:pt x="312" y="180"/>
                  </a:lnTo>
                  <a:lnTo>
                    <a:pt x="312" y="180"/>
                  </a:lnTo>
                  <a:lnTo>
                    <a:pt x="315" y="178"/>
                  </a:lnTo>
                  <a:lnTo>
                    <a:pt x="319" y="176"/>
                  </a:lnTo>
                  <a:lnTo>
                    <a:pt x="320" y="173"/>
                  </a:lnTo>
                  <a:lnTo>
                    <a:pt x="320" y="173"/>
                  </a:lnTo>
                  <a:lnTo>
                    <a:pt x="322" y="165"/>
                  </a:lnTo>
                  <a:lnTo>
                    <a:pt x="321" y="157"/>
                  </a:lnTo>
                  <a:lnTo>
                    <a:pt x="320" y="151"/>
                  </a:lnTo>
                  <a:lnTo>
                    <a:pt x="318" y="147"/>
                  </a:lnTo>
                  <a:lnTo>
                    <a:pt x="318" y="147"/>
                  </a:lnTo>
                  <a:lnTo>
                    <a:pt x="318" y="142"/>
                  </a:lnTo>
                  <a:lnTo>
                    <a:pt x="319" y="138"/>
                  </a:lnTo>
                  <a:lnTo>
                    <a:pt x="321" y="133"/>
                  </a:lnTo>
                  <a:lnTo>
                    <a:pt x="326" y="131"/>
                  </a:lnTo>
                  <a:lnTo>
                    <a:pt x="326" y="131"/>
                  </a:lnTo>
                  <a:lnTo>
                    <a:pt x="337" y="136"/>
                  </a:lnTo>
                  <a:lnTo>
                    <a:pt x="337" y="136"/>
                  </a:lnTo>
                  <a:lnTo>
                    <a:pt x="341" y="140"/>
                  </a:lnTo>
                  <a:lnTo>
                    <a:pt x="348" y="146"/>
                  </a:lnTo>
                  <a:lnTo>
                    <a:pt x="356" y="154"/>
                  </a:lnTo>
                  <a:lnTo>
                    <a:pt x="359" y="158"/>
                  </a:lnTo>
                  <a:lnTo>
                    <a:pt x="362" y="164"/>
                  </a:lnTo>
                  <a:lnTo>
                    <a:pt x="362" y="164"/>
                  </a:lnTo>
                  <a:lnTo>
                    <a:pt x="364" y="171"/>
                  </a:lnTo>
                  <a:lnTo>
                    <a:pt x="365" y="178"/>
                  </a:lnTo>
                  <a:lnTo>
                    <a:pt x="366" y="184"/>
                  </a:lnTo>
                  <a:lnTo>
                    <a:pt x="366" y="190"/>
                  </a:lnTo>
                  <a:lnTo>
                    <a:pt x="364" y="198"/>
                  </a:lnTo>
                  <a:lnTo>
                    <a:pt x="362" y="202"/>
                  </a:lnTo>
                  <a:lnTo>
                    <a:pt x="362" y="202"/>
                  </a:lnTo>
                  <a:lnTo>
                    <a:pt x="357" y="208"/>
                  </a:lnTo>
                  <a:lnTo>
                    <a:pt x="351" y="214"/>
                  </a:lnTo>
                  <a:lnTo>
                    <a:pt x="345" y="217"/>
                  </a:lnTo>
                  <a:lnTo>
                    <a:pt x="337" y="218"/>
                  </a:lnTo>
                  <a:lnTo>
                    <a:pt x="337" y="218"/>
                  </a:lnTo>
                  <a:lnTo>
                    <a:pt x="336" y="218"/>
                  </a:lnTo>
                  <a:lnTo>
                    <a:pt x="336" y="218"/>
                  </a:lnTo>
                  <a:lnTo>
                    <a:pt x="327" y="218"/>
                  </a:lnTo>
                  <a:lnTo>
                    <a:pt x="327" y="218"/>
                  </a:lnTo>
                  <a:lnTo>
                    <a:pt x="319" y="216"/>
                  </a:lnTo>
                  <a:lnTo>
                    <a:pt x="319" y="216"/>
                  </a:lnTo>
                  <a:lnTo>
                    <a:pt x="312" y="214"/>
                  </a:lnTo>
                  <a:lnTo>
                    <a:pt x="312" y="214"/>
                  </a:lnTo>
                  <a:lnTo>
                    <a:pt x="305" y="210"/>
                  </a:lnTo>
                  <a:lnTo>
                    <a:pt x="295" y="203"/>
                  </a:lnTo>
                  <a:lnTo>
                    <a:pt x="283" y="195"/>
                  </a:lnTo>
                  <a:lnTo>
                    <a:pt x="271" y="184"/>
                  </a:lnTo>
                  <a:lnTo>
                    <a:pt x="271" y="184"/>
                  </a:lnTo>
                  <a:lnTo>
                    <a:pt x="255" y="165"/>
                  </a:lnTo>
                  <a:lnTo>
                    <a:pt x="245" y="153"/>
                  </a:lnTo>
                  <a:lnTo>
                    <a:pt x="245" y="153"/>
                  </a:lnTo>
                  <a:lnTo>
                    <a:pt x="251" y="155"/>
                  </a:lnTo>
                  <a:lnTo>
                    <a:pt x="256" y="155"/>
                  </a:lnTo>
                  <a:lnTo>
                    <a:pt x="262" y="155"/>
                  </a:lnTo>
                  <a:lnTo>
                    <a:pt x="262" y="155"/>
                  </a:lnTo>
                  <a:lnTo>
                    <a:pt x="262" y="144"/>
                  </a:lnTo>
                  <a:lnTo>
                    <a:pt x="263" y="134"/>
                  </a:lnTo>
                  <a:lnTo>
                    <a:pt x="263" y="134"/>
                  </a:lnTo>
                  <a:lnTo>
                    <a:pt x="263" y="125"/>
                  </a:lnTo>
                  <a:lnTo>
                    <a:pt x="263" y="125"/>
                  </a:lnTo>
                  <a:lnTo>
                    <a:pt x="260" y="125"/>
                  </a:lnTo>
                  <a:lnTo>
                    <a:pt x="252" y="123"/>
                  </a:lnTo>
                  <a:lnTo>
                    <a:pt x="247" y="121"/>
                  </a:lnTo>
                  <a:lnTo>
                    <a:pt x="243" y="119"/>
                  </a:lnTo>
                  <a:lnTo>
                    <a:pt x="239" y="117"/>
                  </a:lnTo>
                  <a:lnTo>
                    <a:pt x="237" y="113"/>
                  </a:lnTo>
                  <a:lnTo>
                    <a:pt x="237" y="113"/>
                  </a:lnTo>
                  <a:lnTo>
                    <a:pt x="240" y="114"/>
                  </a:lnTo>
                  <a:lnTo>
                    <a:pt x="244" y="116"/>
                  </a:lnTo>
                  <a:lnTo>
                    <a:pt x="249" y="117"/>
                  </a:lnTo>
                  <a:lnTo>
                    <a:pt x="249" y="117"/>
                  </a:lnTo>
                  <a:lnTo>
                    <a:pt x="259" y="116"/>
                  </a:lnTo>
                  <a:lnTo>
                    <a:pt x="263" y="116"/>
                  </a:lnTo>
                  <a:lnTo>
                    <a:pt x="263" y="116"/>
                  </a:lnTo>
                  <a:lnTo>
                    <a:pt x="264" y="105"/>
                  </a:lnTo>
                  <a:lnTo>
                    <a:pt x="266" y="96"/>
                  </a:lnTo>
                  <a:lnTo>
                    <a:pt x="266" y="96"/>
                  </a:lnTo>
                  <a:lnTo>
                    <a:pt x="266" y="87"/>
                  </a:lnTo>
                  <a:lnTo>
                    <a:pt x="266" y="87"/>
                  </a:lnTo>
                  <a:lnTo>
                    <a:pt x="259" y="87"/>
                  </a:lnTo>
                  <a:lnTo>
                    <a:pt x="249" y="86"/>
                  </a:lnTo>
                  <a:lnTo>
                    <a:pt x="249" y="86"/>
                  </a:lnTo>
                  <a:lnTo>
                    <a:pt x="243" y="82"/>
                  </a:lnTo>
                  <a:lnTo>
                    <a:pt x="239" y="80"/>
                  </a:lnTo>
                  <a:lnTo>
                    <a:pt x="237" y="76"/>
                  </a:lnTo>
                  <a:lnTo>
                    <a:pt x="237" y="76"/>
                  </a:lnTo>
                  <a:lnTo>
                    <a:pt x="240" y="77"/>
                  </a:lnTo>
                  <a:lnTo>
                    <a:pt x="248" y="80"/>
                  </a:lnTo>
                  <a:lnTo>
                    <a:pt x="248" y="80"/>
                  </a:lnTo>
                  <a:lnTo>
                    <a:pt x="255" y="80"/>
                  </a:lnTo>
                  <a:lnTo>
                    <a:pt x="261" y="79"/>
                  </a:lnTo>
                  <a:lnTo>
                    <a:pt x="264" y="79"/>
                  </a:lnTo>
                  <a:lnTo>
                    <a:pt x="267" y="77"/>
                  </a:lnTo>
                  <a:lnTo>
                    <a:pt x="267" y="77"/>
                  </a:lnTo>
                  <a:lnTo>
                    <a:pt x="267" y="59"/>
                  </a:lnTo>
                  <a:lnTo>
                    <a:pt x="267" y="59"/>
                  </a:lnTo>
                  <a:lnTo>
                    <a:pt x="267" y="54"/>
                  </a:lnTo>
                  <a:lnTo>
                    <a:pt x="267" y="49"/>
                  </a:lnTo>
                  <a:lnTo>
                    <a:pt x="267" y="49"/>
                  </a:lnTo>
                  <a:lnTo>
                    <a:pt x="263" y="49"/>
                  </a:lnTo>
                  <a:lnTo>
                    <a:pt x="258" y="47"/>
                  </a:lnTo>
                  <a:lnTo>
                    <a:pt x="249" y="44"/>
                  </a:lnTo>
                  <a:lnTo>
                    <a:pt x="245" y="42"/>
                  </a:lnTo>
                  <a:lnTo>
                    <a:pt x="241" y="38"/>
                  </a:lnTo>
                  <a:lnTo>
                    <a:pt x="241" y="38"/>
                  </a:lnTo>
                  <a:lnTo>
                    <a:pt x="240" y="36"/>
                  </a:lnTo>
                  <a:lnTo>
                    <a:pt x="239" y="34"/>
                  </a:lnTo>
                  <a:lnTo>
                    <a:pt x="241" y="29"/>
                  </a:lnTo>
                  <a:lnTo>
                    <a:pt x="241" y="29"/>
                  </a:lnTo>
                  <a:lnTo>
                    <a:pt x="221" y="20"/>
                  </a:lnTo>
                  <a:lnTo>
                    <a:pt x="221" y="20"/>
                  </a:lnTo>
                  <a:lnTo>
                    <a:pt x="223" y="17"/>
                  </a:lnTo>
                  <a:lnTo>
                    <a:pt x="224" y="14"/>
                  </a:lnTo>
                  <a:lnTo>
                    <a:pt x="225" y="12"/>
                  </a:lnTo>
                  <a:lnTo>
                    <a:pt x="225" y="12"/>
                  </a:lnTo>
                  <a:lnTo>
                    <a:pt x="224" y="8"/>
                  </a:lnTo>
                  <a:lnTo>
                    <a:pt x="221" y="6"/>
                  </a:lnTo>
                  <a:lnTo>
                    <a:pt x="216" y="5"/>
                  </a:lnTo>
                  <a:lnTo>
                    <a:pt x="211" y="5"/>
                  </a:lnTo>
                  <a:lnTo>
                    <a:pt x="211" y="5"/>
                  </a:lnTo>
                  <a:lnTo>
                    <a:pt x="208" y="6"/>
                  </a:lnTo>
                  <a:lnTo>
                    <a:pt x="204" y="8"/>
                  </a:lnTo>
                  <a:lnTo>
                    <a:pt x="202" y="12"/>
                  </a:lnTo>
                  <a:lnTo>
                    <a:pt x="176" y="0"/>
                  </a:lnTo>
                  <a:lnTo>
                    <a:pt x="155" y="21"/>
                  </a:lnTo>
                  <a:lnTo>
                    <a:pt x="155" y="21"/>
                  </a:lnTo>
                  <a:lnTo>
                    <a:pt x="155" y="22"/>
                  </a:lnTo>
                  <a:lnTo>
                    <a:pt x="154" y="24"/>
                  </a:lnTo>
                  <a:lnTo>
                    <a:pt x="154" y="27"/>
                  </a:lnTo>
                  <a:lnTo>
                    <a:pt x="154" y="27"/>
                  </a:lnTo>
                  <a:lnTo>
                    <a:pt x="154" y="28"/>
                  </a:lnTo>
                  <a:lnTo>
                    <a:pt x="154" y="29"/>
                  </a:lnTo>
                  <a:lnTo>
                    <a:pt x="154" y="29"/>
                  </a:lnTo>
                  <a:lnTo>
                    <a:pt x="148" y="36"/>
                  </a:lnTo>
                  <a:lnTo>
                    <a:pt x="148" y="36"/>
                  </a:lnTo>
                  <a:lnTo>
                    <a:pt x="143" y="42"/>
                  </a:lnTo>
                  <a:lnTo>
                    <a:pt x="143" y="42"/>
                  </a:lnTo>
                  <a:lnTo>
                    <a:pt x="141" y="46"/>
                  </a:lnTo>
                  <a:lnTo>
                    <a:pt x="140" y="50"/>
                  </a:lnTo>
                  <a:lnTo>
                    <a:pt x="140" y="50"/>
                  </a:lnTo>
                  <a:lnTo>
                    <a:pt x="140" y="51"/>
                  </a:lnTo>
                  <a:lnTo>
                    <a:pt x="140" y="53"/>
                  </a:lnTo>
                  <a:lnTo>
                    <a:pt x="142" y="58"/>
                  </a:lnTo>
                  <a:lnTo>
                    <a:pt x="147" y="62"/>
                  </a:lnTo>
                  <a:lnTo>
                    <a:pt x="148" y="64"/>
                  </a:lnTo>
                  <a:lnTo>
                    <a:pt x="148" y="64"/>
                  </a:lnTo>
                  <a:lnTo>
                    <a:pt x="149" y="62"/>
                  </a:lnTo>
                  <a:lnTo>
                    <a:pt x="149" y="62"/>
                  </a:lnTo>
                  <a:lnTo>
                    <a:pt x="149" y="62"/>
                  </a:lnTo>
                  <a:lnTo>
                    <a:pt x="154" y="66"/>
                  </a:lnTo>
                  <a:lnTo>
                    <a:pt x="154" y="66"/>
                  </a:lnTo>
                  <a:lnTo>
                    <a:pt x="155" y="64"/>
                  </a:lnTo>
                  <a:lnTo>
                    <a:pt x="156" y="60"/>
                  </a:lnTo>
                  <a:lnTo>
                    <a:pt x="156" y="60"/>
                  </a:lnTo>
                  <a:lnTo>
                    <a:pt x="160" y="55"/>
                  </a:lnTo>
                  <a:lnTo>
                    <a:pt x="164" y="52"/>
                  </a:lnTo>
                  <a:lnTo>
                    <a:pt x="164" y="52"/>
                  </a:lnTo>
                  <a:lnTo>
                    <a:pt x="169" y="50"/>
                  </a:lnTo>
                  <a:lnTo>
                    <a:pt x="174" y="50"/>
                  </a:lnTo>
                  <a:lnTo>
                    <a:pt x="174" y="50"/>
                  </a:lnTo>
                  <a:lnTo>
                    <a:pt x="178" y="50"/>
                  </a:lnTo>
                  <a:lnTo>
                    <a:pt x="181" y="52"/>
                  </a:lnTo>
                  <a:lnTo>
                    <a:pt x="181" y="52"/>
                  </a:lnTo>
                  <a:lnTo>
                    <a:pt x="184" y="55"/>
                  </a:lnTo>
                  <a:lnTo>
                    <a:pt x="185" y="60"/>
                  </a:lnTo>
                  <a:lnTo>
                    <a:pt x="186" y="65"/>
                  </a:lnTo>
                  <a:lnTo>
                    <a:pt x="185" y="68"/>
                  </a:lnTo>
                  <a:lnTo>
                    <a:pt x="185" y="68"/>
                  </a:lnTo>
                  <a:lnTo>
                    <a:pt x="182" y="66"/>
                  </a:lnTo>
                  <a:lnTo>
                    <a:pt x="182" y="66"/>
                  </a:lnTo>
                  <a:lnTo>
                    <a:pt x="179" y="65"/>
                  </a:lnTo>
                  <a:lnTo>
                    <a:pt x="174" y="64"/>
                  </a:lnTo>
                  <a:lnTo>
                    <a:pt x="167" y="64"/>
                  </a:lnTo>
                  <a:lnTo>
                    <a:pt x="159" y="65"/>
                  </a:lnTo>
                  <a:lnTo>
                    <a:pt x="159" y="65"/>
                  </a:lnTo>
                  <a:lnTo>
                    <a:pt x="152" y="68"/>
                  </a:lnTo>
                  <a:lnTo>
                    <a:pt x="139" y="73"/>
                  </a:lnTo>
                  <a:lnTo>
                    <a:pt x="139" y="73"/>
                  </a:lnTo>
                  <a:lnTo>
                    <a:pt x="134" y="74"/>
                  </a:lnTo>
                  <a:lnTo>
                    <a:pt x="132" y="74"/>
                  </a:lnTo>
                  <a:lnTo>
                    <a:pt x="129" y="72"/>
                  </a:lnTo>
                  <a:lnTo>
                    <a:pt x="127" y="69"/>
                  </a:lnTo>
                  <a:lnTo>
                    <a:pt x="127" y="69"/>
                  </a:lnTo>
                  <a:lnTo>
                    <a:pt x="127" y="66"/>
                  </a:lnTo>
                  <a:lnTo>
                    <a:pt x="128" y="64"/>
                  </a:lnTo>
                  <a:lnTo>
                    <a:pt x="128" y="61"/>
                  </a:lnTo>
                  <a:lnTo>
                    <a:pt x="128" y="61"/>
                  </a:lnTo>
                  <a:lnTo>
                    <a:pt x="125" y="64"/>
                  </a:lnTo>
                  <a:lnTo>
                    <a:pt x="122" y="66"/>
                  </a:lnTo>
                  <a:lnTo>
                    <a:pt x="120" y="69"/>
                  </a:lnTo>
                  <a:lnTo>
                    <a:pt x="120" y="69"/>
                  </a:lnTo>
                  <a:lnTo>
                    <a:pt x="119" y="74"/>
                  </a:lnTo>
                  <a:lnTo>
                    <a:pt x="120" y="79"/>
                  </a:lnTo>
                  <a:lnTo>
                    <a:pt x="122" y="81"/>
                  </a:lnTo>
                  <a:lnTo>
                    <a:pt x="127" y="83"/>
                  </a:lnTo>
                  <a:lnTo>
                    <a:pt x="127" y="83"/>
                  </a:lnTo>
                  <a:lnTo>
                    <a:pt x="132" y="83"/>
                  </a:lnTo>
                  <a:lnTo>
                    <a:pt x="137" y="82"/>
                  </a:lnTo>
                  <a:lnTo>
                    <a:pt x="148" y="77"/>
                  </a:lnTo>
                  <a:lnTo>
                    <a:pt x="148" y="77"/>
                  </a:lnTo>
                  <a:lnTo>
                    <a:pt x="158" y="72"/>
                  </a:lnTo>
                  <a:lnTo>
                    <a:pt x="158" y="72"/>
                  </a:lnTo>
                  <a:lnTo>
                    <a:pt x="163" y="71"/>
                  </a:lnTo>
                  <a:lnTo>
                    <a:pt x="166" y="69"/>
                  </a:lnTo>
                  <a:lnTo>
                    <a:pt x="170" y="71"/>
                  </a:lnTo>
                  <a:lnTo>
                    <a:pt x="174" y="72"/>
                  </a:lnTo>
                  <a:lnTo>
                    <a:pt x="174" y="72"/>
                  </a:lnTo>
                  <a:lnTo>
                    <a:pt x="180" y="75"/>
                  </a:lnTo>
                  <a:lnTo>
                    <a:pt x="182" y="76"/>
                  </a:lnTo>
                  <a:lnTo>
                    <a:pt x="182" y="76"/>
                  </a:lnTo>
                  <a:lnTo>
                    <a:pt x="180" y="80"/>
                  </a:lnTo>
                  <a:lnTo>
                    <a:pt x="177" y="82"/>
                  </a:lnTo>
                  <a:lnTo>
                    <a:pt x="172" y="82"/>
                  </a:lnTo>
                  <a:lnTo>
                    <a:pt x="172" y="82"/>
                  </a:lnTo>
                  <a:lnTo>
                    <a:pt x="167" y="82"/>
                  </a:lnTo>
                  <a:lnTo>
                    <a:pt x="164" y="81"/>
                  </a:lnTo>
                  <a:lnTo>
                    <a:pt x="162" y="79"/>
                  </a:lnTo>
                  <a:lnTo>
                    <a:pt x="159" y="76"/>
                  </a:lnTo>
                  <a:lnTo>
                    <a:pt x="159" y="76"/>
                  </a:lnTo>
                  <a:lnTo>
                    <a:pt x="157" y="81"/>
                  </a:lnTo>
                  <a:lnTo>
                    <a:pt x="157" y="81"/>
                  </a:lnTo>
                  <a:lnTo>
                    <a:pt x="157" y="83"/>
                  </a:lnTo>
                  <a:lnTo>
                    <a:pt x="157" y="86"/>
                  </a:lnTo>
                  <a:lnTo>
                    <a:pt x="157" y="87"/>
                  </a:lnTo>
                  <a:lnTo>
                    <a:pt x="157" y="89"/>
                  </a:lnTo>
                  <a:lnTo>
                    <a:pt x="157" y="89"/>
                  </a:lnTo>
                  <a:lnTo>
                    <a:pt x="156" y="90"/>
                  </a:lnTo>
                  <a:lnTo>
                    <a:pt x="154" y="92"/>
                  </a:lnTo>
                  <a:lnTo>
                    <a:pt x="149" y="96"/>
                  </a:lnTo>
                  <a:lnTo>
                    <a:pt x="149" y="96"/>
                  </a:lnTo>
                  <a:lnTo>
                    <a:pt x="143" y="99"/>
                  </a:lnTo>
                  <a:lnTo>
                    <a:pt x="137" y="101"/>
                  </a:lnTo>
                  <a:lnTo>
                    <a:pt x="137" y="101"/>
                  </a:lnTo>
                  <a:lnTo>
                    <a:pt x="142" y="111"/>
                  </a:lnTo>
                  <a:lnTo>
                    <a:pt x="142" y="111"/>
                  </a:lnTo>
                  <a:lnTo>
                    <a:pt x="147" y="118"/>
                  </a:lnTo>
                  <a:lnTo>
                    <a:pt x="149" y="123"/>
                  </a:lnTo>
                  <a:lnTo>
                    <a:pt x="151" y="126"/>
                  </a:lnTo>
                  <a:lnTo>
                    <a:pt x="151" y="126"/>
                  </a:lnTo>
                  <a:lnTo>
                    <a:pt x="156" y="125"/>
                  </a:lnTo>
                  <a:lnTo>
                    <a:pt x="164" y="121"/>
                  </a:lnTo>
                  <a:lnTo>
                    <a:pt x="164" y="121"/>
                  </a:lnTo>
                  <a:lnTo>
                    <a:pt x="170" y="117"/>
                  </a:lnTo>
                  <a:lnTo>
                    <a:pt x="173" y="112"/>
                  </a:lnTo>
                  <a:lnTo>
                    <a:pt x="173" y="112"/>
                  </a:lnTo>
                  <a:lnTo>
                    <a:pt x="169" y="123"/>
                  </a:lnTo>
                  <a:lnTo>
                    <a:pt x="164" y="128"/>
                  </a:lnTo>
                  <a:lnTo>
                    <a:pt x="160" y="133"/>
                  </a:lnTo>
                  <a:lnTo>
                    <a:pt x="157" y="136"/>
                  </a:lnTo>
                  <a:lnTo>
                    <a:pt x="157" y="136"/>
                  </a:lnTo>
                  <a:lnTo>
                    <a:pt x="141" y="147"/>
                  </a:lnTo>
                  <a:lnTo>
                    <a:pt x="120" y="158"/>
                  </a:lnTo>
                  <a:lnTo>
                    <a:pt x="108" y="165"/>
                  </a:lnTo>
                  <a:lnTo>
                    <a:pt x="96" y="170"/>
                  </a:lnTo>
                  <a:lnTo>
                    <a:pt x="84" y="175"/>
                  </a:lnTo>
                  <a:lnTo>
                    <a:pt x="72" y="177"/>
                  </a:lnTo>
                  <a:lnTo>
                    <a:pt x="72" y="177"/>
                  </a:lnTo>
                  <a:lnTo>
                    <a:pt x="68" y="176"/>
                  </a:lnTo>
                  <a:lnTo>
                    <a:pt x="63" y="175"/>
                  </a:lnTo>
                  <a:lnTo>
                    <a:pt x="54" y="169"/>
                  </a:lnTo>
                  <a:lnTo>
                    <a:pt x="47" y="163"/>
                  </a:lnTo>
                  <a:lnTo>
                    <a:pt x="41" y="157"/>
                  </a:lnTo>
                  <a:lnTo>
                    <a:pt x="41" y="157"/>
                  </a:lnTo>
                  <a:lnTo>
                    <a:pt x="40" y="157"/>
                  </a:lnTo>
                  <a:lnTo>
                    <a:pt x="39" y="156"/>
                  </a:lnTo>
                  <a:lnTo>
                    <a:pt x="36" y="157"/>
                  </a:lnTo>
                  <a:lnTo>
                    <a:pt x="32" y="159"/>
                  </a:lnTo>
                  <a:lnTo>
                    <a:pt x="32" y="159"/>
                  </a:lnTo>
                  <a:lnTo>
                    <a:pt x="30" y="159"/>
                  </a:lnTo>
                  <a:lnTo>
                    <a:pt x="25" y="159"/>
                  </a:lnTo>
                  <a:lnTo>
                    <a:pt x="20" y="161"/>
                  </a:lnTo>
                  <a:lnTo>
                    <a:pt x="16" y="163"/>
                  </a:lnTo>
                  <a:lnTo>
                    <a:pt x="14" y="165"/>
                  </a:lnTo>
                  <a:lnTo>
                    <a:pt x="14" y="165"/>
                  </a:lnTo>
                  <a:lnTo>
                    <a:pt x="15" y="166"/>
                  </a:lnTo>
                  <a:lnTo>
                    <a:pt x="17" y="166"/>
                  </a:lnTo>
                  <a:lnTo>
                    <a:pt x="22" y="165"/>
                  </a:lnTo>
                  <a:lnTo>
                    <a:pt x="25" y="166"/>
                  </a:lnTo>
                  <a:lnTo>
                    <a:pt x="25" y="166"/>
                  </a:lnTo>
                  <a:lnTo>
                    <a:pt x="26" y="168"/>
                  </a:lnTo>
                  <a:lnTo>
                    <a:pt x="26" y="169"/>
                  </a:lnTo>
                  <a:lnTo>
                    <a:pt x="25" y="170"/>
                  </a:lnTo>
                  <a:lnTo>
                    <a:pt x="24" y="172"/>
                  </a:lnTo>
                  <a:lnTo>
                    <a:pt x="24" y="172"/>
                  </a:lnTo>
                  <a:lnTo>
                    <a:pt x="25" y="173"/>
                  </a:lnTo>
                  <a:lnTo>
                    <a:pt x="26" y="176"/>
                  </a:lnTo>
                  <a:lnTo>
                    <a:pt x="32" y="178"/>
                  </a:lnTo>
                  <a:lnTo>
                    <a:pt x="45" y="183"/>
                  </a:lnTo>
                  <a:lnTo>
                    <a:pt x="45" y="183"/>
                  </a:lnTo>
                  <a:lnTo>
                    <a:pt x="46" y="184"/>
                  </a:lnTo>
                  <a:lnTo>
                    <a:pt x="45" y="185"/>
                  </a:lnTo>
                  <a:lnTo>
                    <a:pt x="45" y="185"/>
                  </a:lnTo>
                  <a:lnTo>
                    <a:pt x="38" y="184"/>
                  </a:lnTo>
                  <a:lnTo>
                    <a:pt x="32" y="181"/>
                  </a:lnTo>
                  <a:lnTo>
                    <a:pt x="24" y="178"/>
                  </a:lnTo>
                  <a:lnTo>
                    <a:pt x="24" y="178"/>
                  </a:lnTo>
                  <a:lnTo>
                    <a:pt x="18" y="177"/>
                  </a:lnTo>
                  <a:lnTo>
                    <a:pt x="15" y="177"/>
                  </a:lnTo>
                  <a:lnTo>
                    <a:pt x="13" y="179"/>
                  </a:lnTo>
                  <a:lnTo>
                    <a:pt x="11" y="181"/>
                  </a:lnTo>
                  <a:lnTo>
                    <a:pt x="11" y="181"/>
                  </a:lnTo>
                  <a:lnTo>
                    <a:pt x="11" y="183"/>
                  </a:lnTo>
                  <a:lnTo>
                    <a:pt x="10" y="183"/>
                  </a:lnTo>
                  <a:lnTo>
                    <a:pt x="6" y="185"/>
                  </a:lnTo>
                  <a:lnTo>
                    <a:pt x="5" y="186"/>
                  </a:lnTo>
                  <a:lnTo>
                    <a:pt x="2" y="190"/>
                  </a:lnTo>
                  <a:lnTo>
                    <a:pt x="1" y="193"/>
                  </a:lnTo>
                  <a:lnTo>
                    <a:pt x="0" y="199"/>
                  </a:lnTo>
                  <a:lnTo>
                    <a:pt x="0" y="199"/>
                  </a:lnTo>
                  <a:lnTo>
                    <a:pt x="1" y="198"/>
                  </a:lnTo>
                  <a:lnTo>
                    <a:pt x="5" y="194"/>
                  </a:lnTo>
                  <a:lnTo>
                    <a:pt x="9" y="192"/>
                  </a:lnTo>
                  <a:lnTo>
                    <a:pt x="10" y="191"/>
                  </a:lnTo>
                  <a:lnTo>
                    <a:pt x="11" y="192"/>
                  </a:lnTo>
                  <a:lnTo>
                    <a:pt x="11" y="192"/>
                  </a:lnTo>
                  <a:lnTo>
                    <a:pt x="13" y="196"/>
                  </a:lnTo>
                  <a:lnTo>
                    <a:pt x="16" y="199"/>
                  </a:lnTo>
                  <a:lnTo>
                    <a:pt x="21" y="199"/>
                  </a:lnTo>
                  <a:lnTo>
                    <a:pt x="26" y="199"/>
                  </a:lnTo>
                  <a:lnTo>
                    <a:pt x="37" y="198"/>
                  </a:lnTo>
                  <a:lnTo>
                    <a:pt x="40" y="198"/>
                  </a:lnTo>
                  <a:lnTo>
                    <a:pt x="44" y="198"/>
                  </a:lnTo>
                  <a:lnTo>
                    <a:pt x="44" y="198"/>
                  </a:lnTo>
                  <a:lnTo>
                    <a:pt x="44" y="199"/>
                  </a:lnTo>
                  <a:lnTo>
                    <a:pt x="43" y="199"/>
                  </a:lnTo>
                  <a:lnTo>
                    <a:pt x="40" y="200"/>
                  </a:lnTo>
                  <a:lnTo>
                    <a:pt x="32" y="201"/>
                  </a:lnTo>
                  <a:lnTo>
                    <a:pt x="28" y="202"/>
                  </a:lnTo>
                  <a:lnTo>
                    <a:pt x="24" y="205"/>
                  </a:lnTo>
                  <a:lnTo>
                    <a:pt x="22" y="206"/>
                  </a:lnTo>
                  <a:lnTo>
                    <a:pt x="22" y="208"/>
                  </a:lnTo>
                  <a:lnTo>
                    <a:pt x="22" y="209"/>
                  </a:lnTo>
                  <a:lnTo>
                    <a:pt x="22" y="209"/>
                  </a:lnTo>
                  <a:lnTo>
                    <a:pt x="21" y="212"/>
                  </a:lnTo>
                  <a:lnTo>
                    <a:pt x="17" y="216"/>
                  </a:lnTo>
                  <a:lnTo>
                    <a:pt x="16" y="218"/>
                  </a:lnTo>
                  <a:lnTo>
                    <a:pt x="16" y="222"/>
                  </a:lnTo>
                  <a:lnTo>
                    <a:pt x="17" y="225"/>
                  </a:lnTo>
                  <a:lnTo>
                    <a:pt x="21" y="230"/>
                  </a:lnTo>
                  <a:lnTo>
                    <a:pt x="21" y="230"/>
                  </a:lnTo>
                  <a:lnTo>
                    <a:pt x="22" y="223"/>
                  </a:lnTo>
                  <a:lnTo>
                    <a:pt x="24" y="220"/>
                  </a:lnTo>
                  <a:lnTo>
                    <a:pt x="26" y="218"/>
                  </a:lnTo>
                  <a:lnTo>
                    <a:pt x="29" y="218"/>
                  </a:lnTo>
                  <a:lnTo>
                    <a:pt x="29" y="218"/>
                  </a:lnTo>
                  <a:lnTo>
                    <a:pt x="32" y="218"/>
                  </a:lnTo>
                  <a:lnTo>
                    <a:pt x="36" y="221"/>
                  </a:lnTo>
                  <a:lnTo>
                    <a:pt x="40" y="221"/>
                  </a:lnTo>
                  <a:lnTo>
                    <a:pt x="45" y="218"/>
                  </a:lnTo>
                  <a:lnTo>
                    <a:pt x="45" y="218"/>
                  </a:lnTo>
                  <a:lnTo>
                    <a:pt x="50" y="215"/>
                  </a:lnTo>
                  <a:lnTo>
                    <a:pt x="53" y="213"/>
                  </a:lnTo>
                  <a:lnTo>
                    <a:pt x="59" y="210"/>
                  </a:lnTo>
                  <a:lnTo>
                    <a:pt x="59" y="210"/>
                  </a:lnTo>
                  <a:lnTo>
                    <a:pt x="60" y="213"/>
                  </a:lnTo>
                  <a:lnTo>
                    <a:pt x="61" y="216"/>
                  </a:lnTo>
                  <a:lnTo>
                    <a:pt x="61" y="216"/>
                  </a:lnTo>
                  <a:lnTo>
                    <a:pt x="63" y="217"/>
                  </a:lnTo>
                  <a:lnTo>
                    <a:pt x="65" y="218"/>
                  </a:lnTo>
                  <a:lnTo>
                    <a:pt x="65" y="218"/>
                  </a:lnTo>
                  <a:lnTo>
                    <a:pt x="65" y="218"/>
                  </a:lnTo>
                  <a:lnTo>
                    <a:pt x="65" y="222"/>
                  </a:lnTo>
                  <a:lnTo>
                    <a:pt x="62" y="225"/>
                  </a:lnTo>
                  <a:lnTo>
                    <a:pt x="60" y="228"/>
                  </a:lnTo>
                  <a:lnTo>
                    <a:pt x="60" y="228"/>
                  </a:lnTo>
                  <a:lnTo>
                    <a:pt x="61" y="228"/>
                  </a:lnTo>
                  <a:lnTo>
                    <a:pt x="63" y="228"/>
                  </a:lnTo>
                  <a:lnTo>
                    <a:pt x="68" y="227"/>
                  </a:lnTo>
                  <a:lnTo>
                    <a:pt x="70" y="224"/>
                  </a:lnTo>
                  <a:lnTo>
                    <a:pt x="72" y="221"/>
                  </a:lnTo>
                  <a:lnTo>
                    <a:pt x="72" y="221"/>
                  </a:lnTo>
                  <a:lnTo>
                    <a:pt x="73" y="220"/>
                  </a:lnTo>
                  <a:lnTo>
                    <a:pt x="75" y="220"/>
                  </a:lnTo>
                  <a:lnTo>
                    <a:pt x="77" y="220"/>
                  </a:lnTo>
                  <a:lnTo>
                    <a:pt x="77" y="220"/>
                  </a:lnTo>
                  <a:lnTo>
                    <a:pt x="80" y="218"/>
                  </a:lnTo>
                  <a:lnTo>
                    <a:pt x="81" y="217"/>
                  </a:lnTo>
                  <a:lnTo>
                    <a:pt x="82" y="214"/>
                  </a:lnTo>
                  <a:lnTo>
                    <a:pt x="81" y="210"/>
                  </a:lnTo>
                  <a:lnTo>
                    <a:pt x="81" y="209"/>
                  </a:lnTo>
                  <a:lnTo>
                    <a:pt x="82" y="207"/>
                  </a:lnTo>
                  <a:lnTo>
                    <a:pt x="82" y="207"/>
                  </a:lnTo>
                  <a:lnTo>
                    <a:pt x="88" y="203"/>
                  </a:lnTo>
                  <a:lnTo>
                    <a:pt x="92" y="200"/>
                  </a:lnTo>
                  <a:lnTo>
                    <a:pt x="103" y="195"/>
                  </a:lnTo>
                  <a:lnTo>
                    <a:pt x="103" y="195"/>
                  </a:lnTo>
                  <a:lnTo>
                    <a:pt x="102" y="200"/>
                  </a:lnTo>
                  <a:lnTo>
                    <a:pt x="102" y="205"/>
                  </a:lnTo>
                  <a:lnTo>
                    <a:pt x="103" y="210"/>
                  </a:lnTo>
                  <a:lnTo>
                    <a:pt x="128" y="203"/>
                  </a:lnTo>
                  <a:lnTo>
                    <a:pt x="128" y="203"/>
                  </a:lnTo>
                  <a:lnTo>
                    <a:pt x="128" y="198"/>
                  </a:lnTo>
                  <a:lnTo>
                    <a:pt x="129" y="193"/>
                  </a:lnTo>
                  <a:lnTo>
                    <a:pt x="132" y="187"/>
                  </a:lnTo>
                  <a:lnTo>
                    <a:pt x="135" y="181"/>
                  </a:lnTo>
                  <a:lnTo>
                    <a:pt x="135" y="181"/>
                  </a:lnTo>
                  <a:lnTo>
                    <a:pt x="135" y="184"/>
                  </a:lnTo>
                  <a:lnTo>
                    <a:pt x="135" y="190"/>
                  </a:lnTo>
                  <a:lnTo>
                    <a:pt x="134" y="196"/>
                  </a:lnTo>
                  <a:lnTo>
                    <a:pt x="135" y="200"/>
                  </a:lnTo>
                  <a:lnTo>
                    <a:pt x="136" y="201"/>
                  </a:lnTo>
                  <a:lnTo>
                    <a:pt x="160" y="195"/>
                  </a:lnTo>
                  <a:lnTo>
                    <a:pt x="160" y="195"/>
                  </a:lnTo>
                  <a:lnTo>
                    <a:pt x="160" y="192"/>
                  </a:lnTo>
                  <a:lnTo>
                    <a:pt x="160" y="187"/>
                  </a:lnTo>
                  <a:lnTo>
                    <a:pt x="162" y="179"/>
                  </a:lnTo>
                  <a:lnTo>
                    <a:pt x="162" y="179"/>
                  </a:lnTo>
                  <a:lnTo>
                    <a:pt x="165" y="188"/>
                  </a:lnTo>
                  <a:lnTo>
                    <a:pt x="169" y="196"/>
                  </a:lnTo>
                  <a:lnTo>
                    <a:pt x="174" y="203"/>
                  </a:lnTo>
                  <a:lnTo>
                    <a:pt x="178" y="206"/>
                  </a:lnTo>
                  <a:lnTo>
                    <a:pt x="182" y="208"/>
                  </a:lnTo>
                  <a:lnTo>
                    <a:pt x="182" y="208"/>
                  </a:lnTo>
                  <a:lnTo>
                    <a:pt x="196" y="214"/>
                  </a:lnTo>
                  <a:lnTo>
                    <a:pt x="210" y="218"/>
                  </a:lnTo>
                  <a:lnTo>
                    <a:pt x="246" y="229"/>
                  </a:lnTo>
                  <a:lnTo>
                    <a:pt x="246" y="229"/>
                  </a:lnTo>
                  <a:lnTo>
                    <a:pt x="258" y="232"/>
                  </a:lnTo>
                  <a:lnTo>
                    <a:pt x="266" y="236"/>
                  </a:lnTo>
                  <a:lnTo>
                    <a:pt x="266" y="236"/>
                  </a:lnTo>
                  <a:lnTo>
                    <a:pt x="267" y="237"/>
                  </a:lnTo>
                  <a:lnTo>
                    <a:pt x="267" y="238"/>
                  </a:lnTo>
                  <a:lnTo>
                    <a:pt x="266" y="242"/>
                  </a:lnTo>
                  <a:lnTo>
                    <a:pt x="262" y="244"/>
                  </a:lnTo>
                  <a:lnTo>
                    <a:pt x="262" y="244"/>
                  </a:lnTo>
                  <a:lnTo>
                    <a:pt x="268" y="247"/>
                  </a:lnTo>
                  <a:lnTo>
                    <a:pt x="277" y="253"/>
                  </a:lnTo>
                  <a:lnTo>
                    <a:pt x="277" y="253"/>
                  </a:lnTo>
                  <a:lnTo>
                    <a:pt x="283" y="259"/>
                  </a:lnTo>
                  <a:lnTo>
                    <a:pt x="286" y="266"/>
                  </a:lnTo>
                  <a:lnTo>
                    <a:pt x="290" y="275"/>
                  </a:lnTo>
                  <a:lnTo>
                    <a:pt x="292" y="284"/>
                  </a:lnTo>
                  <a:lnTo>
                    <a:pt x="292" y="284"/>
                  </a:lnTo>
                  <a:lnTo>
                    <a:pt x="293" y="292"/>
                  </a:lnTo>
                  <a:lnTo>
                    <a:pt x="295" y="300"/>
                  </a:lnTo>
                  <a:lnTo>
                    <a:pt x="295" y="307"/>
                  </a:lnTo>
                  <a:lnTo>
                    <a:pt x="293" y="311"/>
                  </a:lnTo>
                  <a:lnTo>
                    <a:pt x="292" y="312"/>
                  </a:lnTo>
                  <a:lnTo>
                    <a:pt x="292" y="312"/>
                  </a:lnTo>
                  <a:lnTo>
                    <a:pt x="291" y="314"/>
                  </a:lnTo>
                  <a:lnTo>
                    <a:pt x="289" y="316"/>
                  </a:lnTo>
                  <a:lnTo>
                    <a:pt x="284" y="317"/>
                  </a:lnTo>
                  <a:lnTo>
                    <a:pt x="277" y="319"/>
                  </a:lnTo>
                  <a:lnTo>
                    <a:pt x="279" y="328"/>
                  </a:lnTo>
                  <a:lnTo>
                    <a:pt x="279" y="328"/>
                  </a:lnTo>
                  <a:lnTo>
                    <a:pt x="285" y="328"/>
                  </a:lnTo>
                  <a:lnTo>
                    <a:pt x="290" y="327"/>
                  </a:lnTo>
                  <a:lnTo>
                    <a:pt x="295" y="326"/>
                  </a:lnTo>
                  <a:lnTo>
                    <a:pt x="295" y="326"/>
                  </a:lnTo>
                  <a:lnTo>
                    <a:pt x="292" y="327"/>
                  </a:lnTo>
                  <a:lnTo>
                    <a:pt x="292" y="327"/>
                  </a:lnTo>
                  <a:lnTo>
                    <a:pt x="290" y="333"/>
                  </a:lnTo>
                  <a:lnTo>
                    <a:pt x="289" y="337"/>
                  </a:lnTo>
                  <a:lnTo>
                    <a:pt x="298" y="344"/>
                  </a:lnTo>
                  <a:lnTo>
                    <a:pt x="298" y="344"/>
                  </a:lnTo>
                  <a:lnTo>
                    <a:pt x="303" y="333"/>
                  </a:lnTo>
                  <a:lnTo>
                    <a:pt x="305" y="329"/>
                  </a:lnTo>
                  <a:lnTo>
                    <a:pt x="307" y="327"/>
                  </a:lnTo>
                  <a:lnTo>
                    <a:pt x="307" y="327"/>
                  </a:lnTo>
                  <a:lnTo>
                    <a:pt x="310" y="327"/>
                  </a:lnTo>
                  <a:lnTo>
                    <a:pt x="313" y="328"/>
                  </a:lnTo>
                  <a:lnTo>
                    <a:pt x="318" y="331"/>
                  </a:lnTo>
                  <a:lnTo>
                    <a:pt x="323" y="333"/>
                  </a:lnTo>
                  <a:lnTo>
                    <a:pt x="328" y="337"/>
                  </a:lnTo>
                  <a:lnTo>
                    <a:pt x="333" y="343"/>
                  </a:lnTo>
                  <a:lnTo>
                    <a:pt x="337" y="349"/>
                  </a:lnTo>
                  <a:lnTo>
                    <a:pt x="341" y="356"/>
                  </a:lnTo>
                  <a:lnTo>
                    <a:pt x="341" y="356"/>
                  </a:lnTo>
                  <a:lnTo>
                    <a:pt x="343" y="362"/>
                  </a:lnTo>
                  <a:lnTo>
                    <a:pt x="343" y="368"/>
                  </a:lnTo>
                  <a:lnTo>
                    <a:pt x="343" y="373"/>
                  </a:lnTo>
                  <a:lnTo>
                    <a:pt x="343" y="380"/>
                  </a:lnTo>
                  <a:lnTo>
                    <a:pt x="342" y="386"/>
                  </a:lnTo>
                  <a:lnTo>
                    <a:pt x="340" y="391"/>
                  </a:lnTo>
                  <a:lnTo>
                    <a:pt x="336" y="394"/>
                  </a:lnTo>
                  <a:lnTo>
                    <a:pt x="331" y="396"/>
                  </a:lnTo>
                  <a:lnTo>
                    <a:pt x="331" y="396"/>
                  </a:lnTo>
                  <a:lnTo>
                    <a:pt x="329" y="396"/>
                  </a:lnTo>
                  <a:lnTo>
                    <a:pt x="326" y="395"/>
                  </a:lnTo>
                  <a:lnTo>
                    <a:pt x="319" y="392"/>
                  </a:lnTo>
                  <a:lnTo>
                    <a:pt x="312" y="388"/>
                  </a:lnTo>
                  <a:lnTo>
                    <a:pt x="308" y="388"/>
                  </a:lnTo>
                  <a:lnTo>
                    <a:pt x="307" y="391"/>
                  </a:lnTo>
                  <a:lnTo>
                    <a:pt x="307" y="391"/>
                  </a:lnTo>
                  <a:lnTo>
                    <a:pt x="305" y="392"/>
                  </a:lnTo>
                  <a:lnTo>
                    <a:pt x="303" y="394"/>
                  </a:lnTo>
                  <a:lnTo>
                    <a:pt x="296" y="398"/>
                  </a:lnTo>
                  <a:lnTo>
                    <a:pt x="293" y="400"/>
                  </a:lnTo>
                  <a:lnTo>
                    <a:pt x="292" y="403"/>
                  </a:lnTo>
                  <a:lnTo>
                    <a:pt x="291" y="408"/>
                  </a:lnTo>
                  <a:lnTo>
                    <a:pt x="292" y="414"/>
                  </a:lnTo>
                  <a:lnTo>
                    <a:pt x="292" y="414"/>
                  </a:lnTo>
                  <a:lnTo>
                    <a:pt x="298" y="408"/>
                  </a:lnTo>
                  <a:lnTo>
                    <a:pt x="300" y="406"/>
                  </a:lnTo>
                  <a:lnTo>
                    <a:pt x="303" y="406"/>
                  </a:lnTo>
                  <a:lnTo>
                    <a:pt x="303" y="406"/>
                  </a:lnTo>
                  <a:lnTo>
                    <a:pt x="304" y="407"/>
                  </a:lnTo>
                  <a:lnTo>
                    <a:pt x="305" y="408"/>
                  </a:lnTo>
                  <a:lnTo>
                    <a:pt x="306" y="410"/>
                  </a:lnTo>
                  <a:lnTo>
                    <a:pt x="306" y="410"/>
                  </a:lnTo>
                  <a:lnTo>
                    <a:pt x="308" y="411"/>
                  </a:lnTo>
                  <a:lnTo>
                    <a:pt x="311" y="411"/>
                  </a:lnTo>
                  <a:lnTo>
                    <a:pt x="316" y="411"/>
                  </a:lnTo>
                  <a:lnTo>
                    <a:pt x="323" y="410"/>
                  </a:lnTo>
                  <a:lnTo>
                    <a:pt x="326" y="410"/>
                  </a:lnTo>
                  <a:lnTo>
                    <a:pt x="326" y="411"/>
                  </a:lnTo>
                  <a:lnTo>
                    <a:pt x="326" y="411"/>
                  </a:lnTo>
                  <a:lnTo>
                    <a:pt x="326" y="413"/>
                  </a:lnTo>
                  <a:lnTo>
                    <a:pt x="325" y="413"/>
                  </a:lnTo>
                  <a:lnTo>
                    <a:pt x="322" y="413"/>
                  </a:lnTo>
                  <a:lnTo>
                    <a:pt x="322" y="413"/>
                  </a:lnTo>
                  <a:lnTo>
                    <a:pt x="310" y="415"/>
                  </a:lnTo>
                  <a:lnTo>
                    <a:pt x="305" y="417"/>
                  </a:lnTo>
                  <a:lnTo>
                    <a:pt x="303" y="420"/>
                  </a:lnTo>
                  <a:lnTo>
                    <a:pt x="303" y="420"/>
                  </a:lnTo>
                  <a:lnTo>
                    <a:pt x="303" y="421"/>
                  </a:lnTo>
                  <a:lnTo>
                    <a:pt x="301" y="423"/>
                  </a:lnTo>
                  <a:lnTo>
                    <a:pt x="301" y="423"/>
                  </a:lnTo>
                  <a:lnTo>
                    <a:pt x="300" y="426"/>
                  </a:lnTo>
                  <a:lnTo>
                    <a:pt x="297" y="429"/>
                  </a:lnTo>
                  <a:lnTo>
                    <a:pt x="295" y="432"/>
                  </a:lnTo>
                  <a:lnTo>
                    <a:pt x="293" y="436"/>
                  </a:lnTo>
                  <a:lnTo>
                    <a:pt x="293" y="439"/>
                  </a:lnTo>
                  <a:lnTo>
                    <a:pt x="293" y="439"/>
                  </a:lnTo>
                  <a:lnTo>
                    <a:pt x="295" y="444"/>
                  </a:lnTo>
                  <a:lnTo>
                    <a:pt x="297" y="446"/>
                  </a:lnTo>
                  <a:lnTo>
                    <a:pt x="299" y="450"/>
                  </a:lnTo>
                  <a:lnTo>
                    <a:pt x="299" y="450"/>
                  </a:lnTo>
                  <a:lnTo>
                    <a:pt x="300" y="447"/>
                  </a:lnTo>
                  <a:lnTo>
                    <a:pt x="300" y="444"/>
                  </a:lnTo>
                  <a:lnTo>
                    <a:pt x="301" y="439"/>
                  </a:lnTo>
                  <a:lnTo>
                    <a:pt x="303" y="437"/>
                  </a:lnTo>
                  <a:lnTo>
                    <a:pt x="304" y="437"/>
                  </a:lnTo>
                  <a:lnTo>
                    <a:pt x="304" y="437"/>
                  </a:lnTo>
                  <a:lnTo>
                    <a:pt x="306" y="437"/>
                  </a:lnTo>
                  <a:lnTo>
                    <a:pt x="307" y="438"/>
                  </a:lnTo>
                  <a:lnTo>
                    <a:pt x="310" y="440"/>
                  </a:lnTo>
                  <a:lnTo>
                    <a:pt x="312" y="440"/>
                  </a:lnTo>
                  <a:lnTo>
                    <a:pt x="312" y="440"/>
                  </a:lnTo>
                  <a:lnTo>
                    <a:pt x="314" y="440"/>
                  </a:lnTo>
                  <a:lnTo>
                    <a:pt x="318" y="438"/>
                  </a:lnTo>
                  <a:lnTo>
                    <a:pt x="323" y="431"/>
                  </a:lnTo>
                  <a:lnTo>
                    <a:pt x="330" y="425"/>
                  </a:lnTo>
                  <a:lnTo>
                    <a:pt x="334" y="423"/>
                  </a:lnTo>
                  <a:lnTo>
                    <a:pt x="336" y="423"/>
                  </a:lnTo>
                  <a:lnTo>
                    <a:pt x="336" y="423"/>
                  </a:lnTo>
                  <a:lnTo>
                    <a:pt x="336" y="424"/>
                  </a:lnTo>
                  <a:lnTo>
                    <a:pt x="335" y="425"/>
                  </a:lnTo>
                  <a:lnTo>
                    <a:pt x="331" y="429"/>
                  </a:lnTo>
                  <a:lnTo>
                    <a:pt x="327" y="433"/>
                  </a:lnTo>
                  <a:lnTo>
                    <a:pt x="325" y="436"/>
                  </a:lnTo>
                  <a:lnTo>
                    <a:pt x="323" y="439"/>
                  </a:lnTo>
                  <a:lnTo>
                    <a:pt x="323" y="439"/>
                  </a:lnTo>
                  <a:lnTo>
                    <a:pt x="323" y="443"/>
                  </a:lnTo>
                  <a:lnTo>
                    <a:pt x="326" y="445"/>
                  </a:lnTo>
                  <a:lnTo>
                    <a:pt x="328" y="447"/>
                  </a:lnTo>
                  <a:lnTo>
                    <a:pt x="329" y="450"/>
                  </a:lnTo>
                  <a:lnTo>
                    <a:pt x="329" y="450"/>
                  </a:lnTo>
                  <a:lnTo>
                    <a:pt x="329" y="452"/>
                  </a:lnTo>
                  <a:lnTo>
                    <a:pt x="331" y="455"/>
                  </a:lnTo>
                  <a:lnTo>
                    <a:pt x="335" y="458"/>
                  </a:lnTo>
                  <a:lnTo>
                    <a:pt x="338" y="459"/>
                  </a:lnTo>
                  <a:lnTo>
                    <a:pt x="344" y="461"/>
                  </a:lnTo>
                  <a:lnTo>
                    <a:pt x="348" y="461"/>
                  </a:lnTo>
                  <a:lnTo>
                    <a:pt x="348" y="461"/>
                  </a:lnTo>
                  <a:lnTo>
                    <a:pt x="346" y="459"/>
                  </a:lnTo>
                  <a:lnTo>
                    <a:pt x="343" y="455"/>
                  </a:lnTo>
                  <a:lnTo>
                    <a:pt x="341" y="451"/>
                  </a:lnTo>
                  <a:lnTo>
                    <a:pt x="340" y="450"/>
                  </a:lnTo>
                  <a:lnTo>
                    <a:pt x="341" y="447"/>
                  </a:lnTo>
                  <a:lnTo>
                    <a:pt x="341" y="447"/>
                  </a:lnTo>
                  <a:lnTo>
                    <a:pt x="342" y="446"/>
                  </a:lnTo>
                  <a:lnTo>
                    <a:pt x="343" y="447"/>
                  </a:lnTo>
                  <a:lnTo>
                    <a:pt x="345" y="447"/>
                  </a:lnTo>
                  <a:lnTo>
                    <a:pt x="349" y="446"/>
                  </a:lnTo>
                  <a:lnTo>
                    <a:pt x="349" y="446"/>
                  </a:lnTo>
                  <a:lnTo>
                    <a:pt x="349" y="444"/>
                  </a:lnTo>
                  <a:lnTo>
                    <a:pt x="348" y="437"/>
                  </a:lnTo>
                  <a:lnTo>
                    <a:pt x="349" y="433"/>
                  </a:lnTo>
                  <a:lnTo>
                    <a:pt x="350" y="429"/>
                  </a:lnTo>
                  <a:lnTo>
                    <a:pt x="353" y="424"/>
                  </a:lnTo>
                  <a:lnTo>
                    <a:pt x="358" y="418"/>
                  </a:lnTo>
                  <a:lnTo>
                    <a:pt x="358" y="418"/>
                  </a:lnTo>
                  <a:lnTo>
                    <a:pt x="360" y="422"/>
                  </a:lnTo>
                  <a:lnTo>
                    <a:pt x="363" y="423"/>
                  </a:lnTo>
                  <a:lnTo>
                    <a:pt x="366" y="424"/>
                  </a:lnTo>
                  <a:lnTo>
                    <a:pt x="366" y="424"/>
                  </a:lnTo>
                  <a:lnTo>
                    <a:pt x="368" y="425"/>
                  </a:lnTo>
                  <a:lnTo>
                    <a:pt x="368" y="426"/>
                  </a:lnTo>
                  <a:lnTo>
                    <a:pt x="370" y="431"/>
                  </a:lnTo>
                  <a:lnTo>
                    <a:pt x="368" y="437"/>
                  </a:lnTo>
                  <a:lnTo>
                    <a:pt x="368" y="437"/>
                  </a:lnTo>
                  <a:lnTo>
                    <a:pt x="371" y="436"/>
                  </a:lnTo>
                  <a:lnTo>
                    <a:pt x="373" y="432"/>
                  </a:lnTo>
                  <a:lnTo>
                    <a:pt x="374" y="426"/>
                  </a:lnTo>
                  <a:lnTo>
                    <a:pt x="375" y="420"/>
                  </a:lnTo>
                  <a:lnTo>
                    <a:pt x="375" y="420"/>
                  </a:lnTo>
                  <a:lnTo>
                    <a:pt x="377" y="418"/>
                  </a:lnTo>
                  <a:lnTo>
                    <a:pt x="380" y="414"/>
                  </a:lnTo>
                  <a:lnTo>
                    <a:pt x="380" y="414"/>
                  </a:lnTo>
                  <a:lnTo>
                    <a:pt x="380" y="411"/>
                  </a:lnTo>
                  <a:lnTo>
                    <a:pt x="379" y="410"/>
                  </a:lnTo>
                  <a:lnTo>
                    <a:pt x="377" y="407"/>
                  </a:lnTo>
                  <a:lnTo>
                    <a:pt x="374" y="405"/>
                  </a:lnTo>
                  <a:lnTo>
                    <a:pt x="373" y="401"/>
                  </a:lnTo>
                  <a:lnTo>
                    <a:pt x="372" y="395"/>
                  </a:lnTo>
                  <a:lnTo>
                    <a:pt x="372" y="388"/>
                  </a:lnTo>
                  <a:lnTo>
                    <a:pt x="372" y="388"/>
                  </a:lnTo>
                  <a:lnTo>
                    <a:pt x="372" y="386"/>
                  </a:lnTo>
                  <a:lnTo>
                    <a:pt x="371" y="385"/>
                  </a:lnTo>
                  <a:lnTo>
                    <a:pt x="367" y="383"/>
                  </a:lnTo>
                  <a:lnTo>
                    <a:pt x="367" y="383"/>
                  </a:lnTo>
                  <a:lnTo>
                    <a:pt x="366" y="379"/>
                  </a:lnTo>
                  <a:lnTo>
                    <a:pt x="366" y="378"/>
                  </a:lnTo>
                  <a:lnTo>
                    <a:pt x="366" y="378"/>
                  </a:lnTo>
                  <a:lnTo>
                    <a:pt x="366" y="378"/>
                  </a:lnTo>
                  <a:lnTo>
                    <a:pt x="371" y="379"/>
                  </a:lnTo>
                  <a:lnTo>
                    <a:pt x="375" y="379"/>
                  </a:lnTo>
                  <a:lnTo>
                    <a:pt x="380" y="378"/>
                  </a:lnTo>
                  <a:lnTo>
                    <a:pt x="380" y="378"/>
                  </a:lnTo>
                  <a:lnTo>
                    <a:pt x="381" y="364"/>
                  </a:lnTo>
                  <a:lnTo>
                    <a:pt x="381" y="357"/>
                  </a:lnTo>
                  <a:lnTo>
                    <a:pt x="381" y="354"/>
                  </a:lnTo>
                  <a:lnTo>
                    <a:pt x="381" y="354"/>
                  </a:lnTo>
                  <a:lnTo>
                    <a:pt x="375" y="354"/>
                  </a:lnTo>
                  <a:lnTo>
                    <a:pt x="372" y="353"/>
                  </a:lnTo>
                  <a:lnTo>
                    <a:pt x="368" y="351"/>
                  </a:lnTo>
                  <a:lnTo>
                    <a:pt x="366" y="349"/>
                  </a:lnTo>
                  <a:lnTo>
                    <a:pt x="366" y="349"/>
                  </a:lnTo>
                  <a:lnTo>
                    <a:pt x="371" y="349"/>
                  </a:lnTo>
                  <a:lnTo>
                    <a:pt x="374" y="349"/>
                  </a:lnTo>
                  <a:lnTo>
                    <a:pt x="378" y="349"/>
                  </a:lnTo>
                  <a:lnTo>
                    <a:pt x="381" y="347"/>
                  </a:lnTo>
                  <a:lnTo>
                    <a:pt x="381" y="347"/>
                  </a:lnTo>
                  <a:lnTo>
                    <a:pt x="380" y="335"/>
                  </a:lnTo>
                  <a:lnTo>
                    <a:pt x="380" y="327"/>
                  </a:lnTo>
                  <a:lnTo>
                    <a:pt x="379" y="325"/>
                  </a:lnTo>
                  <a:lnTo>
                    <a:pt x="379" y="324"/>
                  </a:lnTo>
                  <a:lnTo>
                    <a:pt x="379" y="324"/>
                  </a:lnTo>
                  <a:lnTo>
                    <a:pt x="374" y="325"/>
                  </a:lnTo>
                  <a:lnTo>
                    <a:pt x="371" y="325"/>
                  </a:lnTo>
                  <a:lnTo>
                    <a:pt x="366" y="324"/>
                  </a:lnTo>
                  <a:lnTo>
                    <a:pt x="363" y="322"/>
                  </a:lnTo>
                  <a:lnTo>
                    <a:pt x="363" y="322"/>
                  </a:lnTo>
                  <a:lnTo>
                    <a:pt x="362" y="321"/>
                  </a:lnTo>
                  <a:lnTo>
                    <a:pt x="362" y="319"/>
                  </a:lnTo>
                  <a:lnTo>
                    <a:pt x="360" y="316"/>
                  </a:lnTo>
                  <a:lnTo>
                    <a:pt x="360" y="313"/>
                  </a:lnTo>
                  <a:lnTo>
                    <a:pt x="359" y="312"/>
                  </a:lnTo>
                  <a:lnTo>
                    <a:pt x="358" y="311"/>
                  </a:lnTo>
                  <a:lnTo>
                    <a:pt x="358" y="311"/>
                  </a:lnTo>
                  <a:lnTo>
                    <a:pt x="351" y="309"/>
                  </a:lnTo>
                  <a:lnTo>
                    <a:pt x="345" y="305"/>
                  </a:lnTo>
                  <a:lnTo>
                    <a:pt x="341" y="302"/>
                  </a:lnTo>
                  <a:lnTo>
                    <a:pt x="338" y="299"/>
                  </a:lnTo>
                  <a:lnTo>
                    <a:pt x="338" y="299"/>
                  </a:lnTo>
                  <a:lnTo>
                    <a:pt x="336" y="296"/>
                  </a:lnTo>
                  <a:lnTo>
                    <a:pt x="335" y="292"/>
                  </a:lnTo>
                  <a:lnTo>
                    <a:pt x="335" y="290"/>
                  </a:lnTo>
                  <a:lnTo>
                    <a:pt x="335" y="290"/>
                  </a:lnTo>
                  <a:lnTo>
                    <a:pt x="341" y="292"/>
                  </a:lnTo>
                  <a:lnTo>
                    <a:pt x="344" y="292"/>
                  </a:lnTo>
                  <a:lnTo>
                    <a:pt x="346" y="291"/>
                  </a:lnTo>
                  <a:lnTo>
                    <a:pt x="349" y="273"/>
                  </a:lnTo>
                  <a:lnTo>
                    <a:pt x="349" y="273"/>
                  </a:lnTo>
                  <a:lnTo>
                    <a:pt x="346" y="273"/>
                  </a:lnTo>
                  <a:lnTo>
                    <a:pt x="342" y="272"/>
                  </a:lnTo>
                  <a:lnTo>
                    <a:pt x="342" y="272"/>
                  </a:lnTo>
                  <a:lnTo>
                    <a:pt x="340" y="269"/>
                  </a:lnTo>
                  <a:lnTo>
                    <a:pt x="337" y="267"/>
                  </a:lnTo>
                  <a:lnTo>
                    <a:pt x="335" y="265"/>
                  </a:lnTo>
                  <a:lnTo>
                    <a:pt x="335" y="265"/>
                  </a:lnTo>
                  <a:lnTo>
                    <a:pt x="337" y="266"/>
                  </a:lnTo>
                  <a:lnTo>
                    <a:pt x="342" y="267"/>
                  </a:lnTo>
                  <a:lnTo>
                    <a:pt x="342" y="267"/>
                  </a:lnTo>
                  <a:lnTo>
                    <a:pt x="348" y="267"/>
                  </a:lnTo>
                  <a:lnTo>
                    <a:pt x="349" y="266"/>
                  </a:lnTo>
                  <a:lnTo>
                    <a:pt x="352" y="245"/>
                  </a:lnTo>
                  <a:lnTo>
                    <a:pt x="352" y="245"/>
                  </a:lnTo>
                  <a:lnTo>
                    <a:pt x="348" y="245"/>
                  </a:lnTo>
                  <a:lnTo>
                    <a:pt x="345" y="244"/>
                  </a:lnTo>
                  <a:lnTo>
                    <a:pt x="342" y="243"/>
                  </a:lnTo>
                  <a:lnTo>
                    <a:pt x="341" y="239"/>
                  </a:lnTo>
                  <a:lnTo>
                    <a:pt x="341" y="238"/>
                  </a:lnTo>
                  <a:lnTo>
                    <a:pt x="341" y="238"/>
                  </a:lnTo>
                  <a:lnTo>
                    <a:pt x="348" y="236"/>
                  </a:lnTo>
                  <a:lnTo>
                    <a:pt x="355" y="232"/>
                  </a:lnTo>
                  <a:lnTo>
                    <a:pt x="360" y="228"/>
                  </a:lnTo>
                  <a:lnTo>
                    <a:pt x="366" y="223"/>
                  </a:lnTo>
                  <a:lnTo>
                    <a:pt x="371" y="217"/>
                  </a:lnTo>
                  <a:lnTo>
                    <a:pt x="374" y="210"/>
                  </a:lnTo>
                  <a:lnTo>
                    <a:pt x="377" y="205"/>
                  </a:lnTo>
                  <a:lnTo>
                    <a:pt x="379" y="198"/>
                  </a:lnTo>
                  <a:lnTo>
                    <a:pt x="379" y="198"/>
                  </a:lnTo>
                  <a:lnTo>
                    <a:pt x="383" y="200"/>
                  </a:lnTo>
                  <a:lnTo>
                    <a:pt x="387" y="200"/>
                  </a:lnTo>
                  <a:lnTo>
                    <a:pt x="390" y="200"/>
                  </a:lnTo>
                  <a:lnTo>
                    <a:pt x="390" y="200"/>
                  </a:lnTo>
                  <a:lnTo>
                    <a:pt x="390" y="192"/>
                  </a:lnTo>
                  <a:lnTo>
                    <a:pt x="390" y="183"/>
                  </a:lnTo>
                  <a:lnTo>
                    <a:pt x="390" y="183"/>
                  </a:lnTo>
                  <a:lnTo>
                    <a:pt x="386" y="181"/>
                  </a:lnTo>
                  <a:lnTo>
                    <a:pt x="382" y="180"/>
                  </a:lnTo>
                  <a:lnTo>
                    <a:pt x="380" y="17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</p:grpSp>
      <p:sp>
        <p:nvSpPr>
          <p:cNvPr id="11" name="Alaotsikko"/>
          <p:cNvSpPr>
            <a:spLocks noGrp="1"/>
          </p:cNvSpPr>
          <p:nvPr userDrawn="1">
            <p:ph type="subTitle" idx="1"/>
          </p:nvPr>
        </p:nvSpPr>
        <p:spPr>
          <a:xfrm>
            <a:off x="488868" y="4677139"/>
            <a:ext cx="4647027" cy="2016224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2400">
                <a:solidFill>
                  <a:schemeClr val="tx2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/>
              <a:t>Muokkaa alaotsikon perustyyliä napsautt.</a:t>
            </a:r>
            <a:endParaRPr lang="fi-FI" dirty="0"/>
          </a:p>
        </p:txBody>
      </p:sp>
      <p:sp>
        <p:nvSpPr>
          <p:cNvPr id="10" name="Otsikko"/>
          <p:cNvSpPr>
            <a:spLocks noGrp="1"/>
          </p:cNvSpPr>
          <p:nvPr userDrawn="1">
            <p:ph type="ctrTitle"/>
          </p:nvPr>
        </p:nvSpPr>
        <p:spPr>
          <a:xfrm>
            <a:off x="488869" y="548680"/>
            <a:ext cx="4647025" cy="3956083"/>
          </a:xfrm>
        </p:spPr>
        <p:txBody>
          <a:bodyPr anchor="b" anchorCtr="0">
            <a:noAutofit/>
          </a:bodyPr>
          <a:lstStyle>
            <a:lvl1pPr algn="l">
              <a:defRPr sz="5333">
                <a:solidFill>
                  <a:schemeClr val="tx2"/>
                </a:solidFill>
              </a:defRPr>
            </a:lvl1pPr>
          </a:lstStyle>
          <a:p>
            <a:r>
              <a:rPr lang="fi-FI"/>
              <a:t>Muokkaa perustyyl. napsautt.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308620237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tsikko ja sisältö 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Alatunnisteen paikkamerkki 4"/>
          <p:cNvSpPr>
            <a:spLocks noGrp="1"/>
          </p:cNvSpPr>
          <p:nvPr>
            <p:ph type="ftr" sz="quarter" idx="11"/>
          </p:nvPr>
        </p:nvSpPr>
        <p:spPr>
          <a:xfrm>
            <a:off x="1583499" y="6497452"/>
            <a:ext cx="3648405" cy="258163"/>
          </a:xfrm>
          <a:prstGeom prst="rect">
            <a:avLst/>
          </a:prstGeom>
        </p:spPr>
        <p:txBody>
          <a:bodyPr/>
          <a:lstStyle>
            <a:lvl1pPr algn="l">
              <a:defRPr sz="106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fi-FI"/>
              <a:t>Petra Kokko</a:t>
            </a:r>
            <a:endParaRPr lang="fi-FI" dirty="0"/>
          </a:p>
        </p:txBody>
      </p:sp>
      <p:sp>
        <p:nvSpPr>
          <p:cNvPr id="9" name="Päivämäärän paikkamerkki 3"/>
          <p:cNvSpPr>
            <a:spLocks noGrp="1"/>
          </p:cNvSpPr>
          <p:nvPr>
            <p:ph type="dt" sz="half" idx="2"/>
          </p:nvPr>
        </p:nvSpPr>
        <p:spPr>
          <a:xfrm>
            <a:off x="577047" y="6497452"/>
            <a:ext cx="911424" cy="26813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67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fi-FI"/>
              <a:t>19.5.2021</a:t>
            </a:r>
            <a:endParaRPr lang="fi-FI" dirty="0"/>
          </a:p>
        </p:txBody>
      </p:sp>
      <p:sp>
        <p:nvSpPr>
          <p:cNvPr id="10" name="Dian numeron paikkamerkki 5"/>
          <p:cNvSpPr>
            <a:spLocks noGrp="1"/>
          </p:cNvSpPr>
          <p:nvPr>
            <p:ph type="sldNum" sz="quarter" idx="12"/>
          </p:nvPr>
        </p:nvSpPr>
        <p:spPr>
          <a:xfrm>
            <a:off x="-1" y="6497453"/>
            <a:ext cx="538948" cy="268137"/>
          </a:xfrm>
          <a:prstGeom prst="rect">
            <a:avLst/>
          </a:prstGeom>
        </p:spPr>
        <p:txBody>
          <a:bodyPr rIns="18000" anchor="ctr"/>
          <a:lstStyle>
            <a:lvl1pPr algn="r">
              <a:defRPr sz="1067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1EA1DD0D-7089-48C5-B116-A19F892CF1D9}" type="slidenum">
              <a:rPr lang="fi-FI" smtClean="0"/>
              <a:pPr/>
              <a:t>‹#›</a:t>
            </a:fld>
            <a:r>
              <a:rPr lang="fi-FI" dirty="0"/>
              <a:t>  </a:t>
            </a:r>
            <a:r>
              <a:rPr lang="fi-FI" b="0" dirty="0">
                <a:solidFill>
                  <a:schemeClr val="bg1">
                    <a:lumMod val="65000"/>
                  </a:schemeClr>
                </a:solidFill>
              </a:rPr>
              <a:t>|</a:t>
            </a:r>
            <a:endParaRPr lang="fi-FI" sz="800" b="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3" name="Sisällön paikkamerkki"/>
          <p:cNvSpPr>
            <a:spLocks noGrp="1"/>
          </p:cNvSpPr>
          <p:nvPr>
            <p:ph idx="1"/>
          </p:nvPr>
        </p:nvSpPr>
        <p:spPr>
          <a:xfrm>
            <a:off x="577047" y="1881330"/>
            <a:ext cx="10965805" cy="4524001"/>
          </a:xfrm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8" name="Otsikko"/>
          <p:cNvSpPr>
            <a:spLocks noGrp="1"/>
          </p:cNvSpPr>
          <p:nvPr>
            <p:ph type="title"/>
          </p:nvPr>
        </p:nvSpPr>
        <p:spPr>
          <a:xfrm>
            <a:off x="577047" y="313787"/>
            <a:ext cx="10965805" cy="1299027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fi-FI"/>
              <a:t>Muokkaa perustyyl. napsautt.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002915132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Kuvapaikka vaa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isällön paikkamerkki"/>
          <p:cNvSpPr>
            <a:spLocks noGrp="1"/>
          </p:cNvSpPr>
          <p:nvPr>
            <p:ph idx="1"/>
          </p:nvPr>
        </p:nvSpPr>
        <p:spPr>
          <a:xfrm>
            <a:off x="0" y="0"/>
            <a:ext cx="12192000" cy="5829267"/>
          </a:xfrm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15" name="Content Placeholder"/>
          <p:cNvSpPr>
            <a:spLocks noGrp="1"/>
          </p:cNvSpPr>
          <p:nvPr>
            <p:ph idx="13"/>
          </p:nvPr>
        </p:nvSpPr>
        <p:spPr>
          <a:xfrm>
            <a:off x="6480043" y="6024241"/>
            <a:ext cx="5711957" cy="615553"/>
          </a:xfrm>
        </p:spPr>
        <p:txBody>
          <a:bodyPr>
            <a:noAutofit/>
          </a:bodyPr>
          <a:lstStyle/>
          <a:p>
            <a:pPr marL="0" lvl="0" indent="0">
              <a:buNone/>
            </a:pPr>
            <a:r>
              <a:rPr lang="fi-FI" sz="1600"/>
              <a:t>Muokkaa tekstin perustyylejä</a:t>
            </a:r>
          </a:p>
        </p:txBody>
      </p:sp>
      <p:sp>
        <p:nvSpPr>
          <p:cNvPr id="8" name="Otsikko"/>
          <p:cNvSpPr>
            <a:spLocks noGrp="1"/>
          </p:cNvSpPr>
          <p:nvPr>
            <p:ph type="title"/>
          </p:nvPr>
        </p:nvSpPr>
        <p:spPr>
          <a:xfrm>
            <a:off x="577047" y="5829266"/>
            <a:ext cx="5614964" cy="810527"/>
          </a:xfrm>
        </p:spPr>
        <p:txBody>
          <a:bodyPr/>
          <a:lstStyle>
            <a:lvl1pPr>
              <a:defRPr sz="3733">
                <a:solidFill>
                  <a:schemeClr val="tx2"/>
                </a:solidFill>
              </a:defRPr>
            </a:lvl1pPr>
          </a:lstStyle>
          <a:p>
            <a:r>
              <a:rPr lang="fi-FI"/>
              <a:t>Muokkaa perustyyl. napsautt.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707390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Pictur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orakulmio 2">
            <a:extLst>
              <a:ext uri="{FF2B5EF4-FFF2-40B4-BE49-F238E27FC236}">
                <a16:creationId xmlns:a16="http://schemas.microsoft.com/office/drawing/2014/main" id="{483FB58F-61FC-B125-47DF-7A1E6819B7A4}"/>
              </a:ext>
            </a:extLst>
          </p:cNvPr>
          <p:cNvSpPr/>
          <p:nvPr userDrawn="1"/>
        </p:nvSpPr>
        <p:spPr>
          <a:xfrm>
            <a:off x="-1" y="4570190"/>
            <a:ext cx="12192001" cy="2287810"/>
          </a:xfrm>
          <a:prstGeom prst="rect">
            <a:avLst/>
          </a:prstGeom>
          <a:solidFill>
            <a:srgbClr val="F0EB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4" name="Picture Placeholder 7">
            <a:extLst>
              <a:ext uri="{FF2B5EF4-FFF2-40B4-BE49-F238E27FC236}">
                <a16:creationId xmlns:a16="http://schemas.microsoft.com/office/drawing/2014/main" id="{5E70779E-03A6-C3DE-E92E-DA3EBF19B8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" y="-1"/>
            <a:ext cx="8105774" cy="4570191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None/>
              <a:defRPr sz="1800"/>
            </a:lvl1pPr>
          </a:lstStyle>
          <a:p>
            <a:r>
              <a:rPr lang="fi-FI"/>
              <a:t>Lisää kuva napsauttamalla kuvaketta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C1DC208-0BC6-4780-8569-0CCC5C8BCB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941" y="5170932"/>
            <a:ext cx="6756699" cy="1143000"/>
          </a:xfrm>
        </p:spPr>
        <p:txBody>
          <a:bodyPr anchor="t"/>
          <a:lstStyle>
            <a:lvl1pPr>
              <a:defRPr sz="3200"/>
            </a:lvl1pPr>
          </a:lstStyle>
          <a:p>
            <a:r>
              <a:rPr lang="fi-FI"/>
              <a:t>Muokkaa perustyyl. napsautt.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D1212A6-DA8E-4A60-A5F2-8DAE3B39E0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19.5.2021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2766CB0-43A1-4E89-83D2-9E67BAD632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etra Kokko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E2AEE1E-B285-4162-ABF0-E898A0AD68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160B98-140E-4345-B1A3-2A7247C42973}" type="slidenum">
              <a:rPr lang="fi-FI" smtClean="0"/>
              <a:t>‹#›</a:t>
            </a:fld>
            <a:endParaRPr lang="fi-FI"/>
          </a:p>
        </p:txBody>
      </p:sp>
      <p:sp>
        <p:nvSpPr>
          <p:cNvPr id="12" name="Free-form: Shape 11">
            <a:extLst>
              <a:ext uri="{FF2B5EF4-FFF2-40B4-BE49-F238E27FC236}">
                <a16:creationId xmlns:a16="http://schemas.microsoft.com/office/drawing/2014/main" id="{16E5BBD8-3D18-CC13-B42D-BA6270086E42}"/>
              </a:ext>
            </a:extLst>
          </p:cNvPr>
          <p:cNvSpPr/>
          <p:nvPr/>
        </p:nvSpPr>
        <p:spPr>
          <a:xfrm>
            <a:off x="8105775" y="0"/>
            <a:ext cx="378679" cy="4568336"/>
          </a:xfrm>
          <a:custGeom>
            <a:avLst/>
            <a:gdLst>
              <a:gd name="connsiteX0" fmla="*/ 378679 w 378679"/>
              <a:gd name="connsiteY0" fmla="*/ 0 h 4570191"/>
              <a:gd name="connsiteX1" fmla="*/ 378679 w 378679"/>
              <a:gd name="connsiteY1" fmla="*/ 4570191 h 4570191"/>
              <a:gd name="connsiteX2" fmla="*/ 0 w 378679"/>
              <a:gd name="connsiteY2" fmla="*/ 4570191 h 4570191"/>
              <a:gd name="connsiteX3" fmla="*/ 0 w 378679"/>
              <a:gd name="connsiteY3" fmla="*/ 0 h 4570191"/>
              <a:gd name="connsiteX4" fmla="*/ 378679 w 378679"/>
              <a:gd name="connsiteY4" fmla="*/ 0 h 45701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8679" h="4570191">
                <a:moveTo>
                  <a:pt x="378679" y="0"/>
                </a:moveTo>
                <a:lnTo>
                  <a:pt x="378679" y="4570191"/>
                </a:lnTo>
                <a:lnTo>
                  <a:pt x="0" y="4570191"/>
                </a:lnTo>
                <a:lnTo>
                  <a:pt x="0" y="0"/>
                </a:lnTo>
                <a:lnTo>
                  <a:pt x="378679" y="0"/>
                </a:lnTo>
                <a:close/>
              </a:path>
            </a:pathLst>
          </a:custGeom>
          <a:solidFill>
            <a:schemeClr val="accent2"/>
          </a:solidFill>
          <a:ln w="35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3" name="Free-form: Shape 12">
            <a:extLst>
              <a:ext uri="{FF2B5EF4-FFF2-40B4-BE49-F238E27FC236}">
                <a16:creationId xmlns:a16="http://schemas.microsoft.com/office/drawing/2014/main" id="{F88FF5DF-8F63-E6E6-5985-36E7158CDBC7}"/>
              </a:ext>
            </a:extLst>
          </p:cNvPr>
          <p:cNvSpPr/>
          <p:nvPr/>
        </p:nvSpPr>
        <p:spPr>
          <a:xfrm>
            <a:off x="8869551" y="0"/>
            <a:ext cx="385100" cy="4568336"/>
          </a:xfrm>
          <a:custGeom>
            <a:avLst/>
            <a:gdLst>
              <a:gd name="connsiteX0" fmla="*/ 385101 w 385100"/>
              <a:gd name="connsiteY0" fmla="*/ 0 h 4570191"/>
              <a:gd name="connsiteX1" fmla="*/ 385101 w 385100"/>
              <a:gd name="connsiteY1" fmla="*/ 4570191 h 4570191"/>
              <a:gd name="connsiteX2" fmla="*/ 0 w 385100"/>
              <a:gd name="connsiteY2" fmla="*/ 4570191 h 4570191"/>
              <a:gd name="connsiteX3" fmla="*/ 0 w 385100"/>
              <a:gd name="connsiteY3" fmla="*/ 0 h 4570191"/>
              <a:gd name="connsiteX4" fmla="*/ 385101 w 385100"/>
              <a:gd name="connsiteY4" fmla="*/ 0 h 45701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5100" h="4570191">
                <a:moveTo>
                  <a:pt x="385101" y="0"/>
                </a:moveTo>
                <a:lnTo>
                  <a:pt x="385101" y="4570191"/>
                </a:lnTo>
                <a:lnTo>
                  <a:pt x="0" y="4570191"/>
                </a:lnTo>
                <a:lnTo>
                  <a:pt x="0" y="0"/>
                </a:lnTo>
                <a:lnTo>
                  <a:pt x="385101" y="0"/>
                </a:lnTo>
                <a:close/>
              </a:path>
            </a:pathLst>
          </a:custGeom>
          <a:solidFill>
            <a:schemeClr val="accent2"/>
          </a:solidFill>
          <a:ln w="35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4" name="Free-form: Shape 13">
            <a:extLst>
              <a:ext uri="{FF2B5EF4-FFF2-40B4-BE49-F238E27FC236}">
                <a16:creationId xmlns:a16="http://schemas.microsoft.com/office/drawing/2014/main" id="{B2086361-D08C-2A10-C9AC-F7580BD19271}"/>
              </a:ext>
            </a:extLst>
          </p:cNvPr>
          <p:cNvSpPr/>
          <p:nvPr/>
        </p:nvSpPr>
        <p:spPr>
          <a:xfrm>
            <a:off x="9639735" y="0"/>
            <a:ext cx="385100" cy="4568336"/>
          </a:xfrm>
          <a:custGeom>
            <a:avLst/>
            <a:gdLst>
              <a:gd name="connsiteX0" fmla="*/ 385101 w 385100"/>
              <a:gd name="connsiteY0" fmla="*/ 0 h 4570191"/>
              <a:gd name="connsiteX1" fmla="*/ 385101 w 385100"/>
              <a:gd name="connsiteY1" fmla="*/ 4570191 h 4570191"/>
              <a:gd name="connsiteX2" fmla="*/ 0 w 385100"/>
              <a:gd name="connsiteY2" fmla="*/ 4570191 h 4570191"/>
              <a:gd name="connsiteX3" fmla="*/ 0 w 385100"/>
              <a:gd name="connsiteY3" fmla="*/ 0 h 4570191"/>
              <a:gd name="connsiteX4" fmla="*/ 385101 w 385100"/>
              <a:gd name="connsiteY4" fmla="*/ 0 h 45701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5100" h="4570191">
                <a:moveTo>
                  <a:pt x="385101" y="0"/>
                </a:moveTo>
                <a:lnTo>
                  <a:pt x="385101" y="4570191"/>
                </a:lnTo>
                <a:lnTo>
                  <a:pt x="0" y="4570191"/>
                </a:lnTo>
                <a:lnTo>
                  <a:pt x="0" y="0"/>
                </a:lnTo>
                <a:lnTo>
                  <a:pt x="385101" y="0"/>
                </a:lnTo>
                <a:close/>
              </a:path>
            </a:pathLst>
          </a:custGeom>
          <a:solidFill>
            <a:schemeClr val="accent2"/>
          </a:solidFill>
          <a:ln w="35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5" name="Free-form: Shape 14">
            <a:extLst>
              <a:ext uri="{FF2B5EF4-FFF2-40B4-BE49-F238E27FC236}">
                <a16:creationId xmlns:a16="http://schemas.microsoft.com/office/drawing/2014/main" id="{C86574D7-D6D6-EF56-FB66-14F53A064D5B}"/>
              </a:ext>
            </a:extLst>
          </p:cNvPr>
          <p:cNvSpPr/>
          <p:nvPr/>
        </p:nvSpPr>
        <p:spPr>
          <a:xfrm>
            <a:off x="10409932" y="0"/>
            <a:ext cx="385100" cy="4568336"/>
          </a:xfrm>
          <a:custGeom>
            <a:avLst/>
            <a:gdLst>
              <a:gd name="connsiteX0" fmla="*/ 385101 w 385100"/>
              <a:gd name="connsiteY0" fmla="*/ 0 h 4570191"/>
              <a:gd name="connsiteX1" fmla="*/ 385101 w 385100"/>
              <a:gd name="connsiteY1" fmla="*/ 4570191 h 4570191"/>
              <a:gd name="connsiteX2" fmla="*/ 0 w 385100"/>
              <a:gd name="connsiteY2" fmla="*/ 4570191 h 4570191"/>
              <a:gd name="connsiteX3" fmla="*/ 0 w 385100"/>
              <a:gd name="connsiteY3" fmla="*/ 0 h 4570191"/>
              <a:gd name="connsiteX4" fmla="*/ 385101 w 385100"/>
              <a:gd name="connsiteY4" fmla="*/ 0 h 45701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5100" h="4570191">
                <a:moveTo>
                  <a:pt x="385101" y="0"/>
                </a:moveTo>
                <a:lnTo>
                  <a:pt x="385101" y="4570191"/>
                </a:lnTo>
                <a:lnTo>
                  <a:pt x="0" y="4570191"/>
                </a:lnTo>
                <a:lnTo>
                  <a:pt x="0" y="0"/>
                </a:lnTo>
                <a:lnTo>
                  <a:pt x="385101" y="0"/>
                </a:lnTo>
                <a:close/>
              </a:path>
            </a:pathLst>
          </a:custGeom>
          <a:solidFill>
            <a:schemeClr val="accent2"/>
          </a:solidFill>
          <a:ln w="35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6" name="Free-form: Shape 15">
            <a:extLst>
              <a:ext uri="{FF2B5EF4-FFF2-40B4-BE49-F238E27FC236}">
                <a16:creationId xmlns:a16="http://schemas.microsoft.com/office/drawing/2014/main" id="{294352AE-8336-96CB-B1E6-4E7E7F5C772A}"/>
              </a:ext>
            </a:extLst>
          </p:cNvPr>
          <p:cNvSpPr/>
          <p:nvPr/>
        </p:nvSpPr>
        <p:spPr>
          <a:xfrm>
            <a:off x="11180116" y="0"/>
            <a:ext cx="385100" cy="4568336"/>
          </a:xfrm>
          <a:custGeom>
            <a:avLst/>
            <a:gdLst>
              <a:gd name="connsiteX0" fmla="*/ 385100 w 385100"/>
              <a:gd name="connsiteY0" fmla="*/ 0 h 4570191"/>
              <a:gd name="connsiteX1" fmla="*/ 385100 w 385100"/>
              <a:gd name="connsiteY1" fmla="*/ 4570191 h 4570191"/>
              <a:gd name="connsiteX2" fmla="*/ 0 w 385100"/>
              <a:gd name="connsiteY2" fmla="*/ 4570191 h 4570191"/>
              <a:gd name="connsiteX3" fmla="*/ 0 w 385100"/>
              <a:gd name="connsiteY3" fmla="*/ 0 h 4570191"/>
              <a:gd name="connsiteX4" fmla="*/ 385100 w 385100"/>
              <a:gd name="connsiteY4" fmla="*/ 0 h 45701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5100" h="4570191">
                <a:moveTo>
                  <a:pt x="385100" y="0"/>
                </a:moveTo>
                <a:lnTo>
                  <a:pt x="385100" y="4570191"/>
                </a:lnTo>
                <a:lnTo>
                  <a:pt x="0" y="4570191"/>
                </a:lnTo>
                <a:lnTo>
                  <a:pt x="0" y="0"/>
                </a:lnTo>
                <a:lnTo>
                  <a:pt x="385100" y="0"/>
                </a:lnTo>
                <a:close/>
              </a:path>
            </a:pathLst>
          </a:custGeom>
          <a:solidFill>
            <a:schemeClr val="accent2"/>
          </a:solidFill>
          <a:ln w="35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7" name="Free-form: Shape 16">
            <a:extLst>
              <a:ext uri="{FF2B5EF4-FFF2-40B4-BE49-F238E27FC236}">
                <a16:creationId xmlns:a16="http://schemas.microsoft.com/office/drawing/2014/main" id="{005D8EB3-53B4-CC5F-7972-88D5D8352E6C}"/>
              </a:ext>
            </a:extLst>
          </p:cNvPr>
          <p:cNvSpPr/>
          <p:nvPr userDrawn="1"/>
        </p:nvSpPr>
        <p:spPr>
          <a:xfrm>
            <a:off x="11950317" y="0"/>
            <a:ext cx="241724" cy="4568336"/>
          </a:xfrm>
          <a:custGeom>
            <a:avLst/>
            <a:gdLst>
              <a:gd name="connsiteX0" fmla="*/ 0 w 241724"/>
              <a:gd name="connsiteY0" fmla="*/ 4570191 h 4570191"/>
              <a:gd name="connsiteX1" fmla="*/ 0 w 241724"/>
              <a:gd name="connsiteY1" fmla="*/ 0 h 4570191"/>
              <a:gd name="connsiteX2" fmla="*/ 241725 w 241724"/>
              <a:gd name="connsiteY2" fmla="*/ 0 h 4570191"/>
              <a:gd name="connsiteX3" fmla="*/ 241725 w 241724"/>
              <a:gd name="connsiteY3" fmla="*/ 4570191 h 4570191"/>
              <a:gd name="connsiteX4" fmla="*/ 0 w 241724"/>
              <a:gd name="connsiteY4" fmla="*/ 4570191 h 45701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1724" h="4570191">
                <a:moveTo>
                  <a:pt x="0" y="4570191"/>
                </a:moveTo>
                <a:lnTo>
                  <a:pt x="0" y="0"/>
                </a:lnTo>
                <a:lnTo>
                  <a:pt x="241725" y="0"/>
                </a:lnTo>
                <a:lnTo>
                  <a:pt x="241725" y="4570191"/>
                </a:lnTo>
                <a:lnTo>
                  <a:pt x="0" y="4570191"/>
                </a:lnTo>
                <a:close/>
              </a:path>
            </a:pathLst>
          </a:custGeom>
          <a:solidFill>
            <a:schemeClr val="accent2"/>
          </a:solidFill>
          <a:ln w="35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A24A5D3F-B208-9740-8F43-58C8D911A4A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39507" y="5596332"/>
            <a:ext cx="2090175" cy="703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2743320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Kuvapaikka py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Alatunnisteen paikkamerkki 4"/>
          <p:cNvSpPr>
            <a:spLocks noGrp="1"/>
          </p:cNvSpPr>
          <p:nvPr>
            <p:ph type="ftr" sz="quarter" idx="11"/>
          </p:nvPr>
        </p:nvSpPr>
        <p:spPr>
          <a:xfrm>
            <a:off x="1583499" y="6497452"/>
            <a:ext cx="3648405" cy="258163"/>
          </a:xfrm>
          <a:prstGeom prst="rect">
            <a:avLst/>
          </a:prstGeom>
        </p:spPr>
        <p:txBody>
          <a:bodyPr/>
          <a:lstStyle>
            <a:lvl1pPr algn="l">
              <a:defRPr sz="106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fi-FI"/>
              <a:t>Petra Kokko</a:t>
            </a:r>
            <a:endParaRPr lang="fi-FI" dirty="0"/>
          </a:p>
        </p:txBody>
      </p:sp>
      <p:sp>
        <p:nvSpPr>
          <p:cNvPr id="13" name="Päivämäärän paikkamerkki 3"/>
          <p:cNvSpPr>
            <a:spLocks noGrp="1"/>
          </p:cNvSpPr>
          <p:nvPr>
            <p:ph type="dt" sz="half" idx="2"/>
          </p:nvPr>
        </p:nvSpPr>
        <p:spPr>
          <a:xfrm>
            <a:off x="577047" y="6497452"/>
            <a:ext cx="911424" cy="26813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67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fi-FI"/>
              <a:t>19.5.2021</a:t>
            </a:r>
            <a:endParaRPr lang="fi-FI" dirty="0"/>
          </a:p>
        </p:txBody>
      </p:sp>
      <p:sp>
        <p:nvSpPr>
          <p:cNvPr id="14" name="Dian numeron paikkamerkki 5"/>
          <p:cNvSpPr>
            <a:spLocks noGrp="1"/>
          </p:cNvSpPr>
          <p:nvPr>
            <p:ph type="sldNum" sz="quarter" idx="12"/>
          </p:nvPr>
        </p:nvSpPr>
        <p:spPr>
          <a:xfrm>
            <a:off x="-1" y="6497453"/>
            <a:ext cx="538948" cy="268137"/>
          </a:xfrm>
          <a:prstGeom prst="rect">
            <a:avLst/>
          </a:prstGeom>
        </p:spPr>
        <p:txBody>
          <a:bodyPr rIns="18000" anchor="ctr"/>
          <a:lstStyle>
            <a:lvl1pPr algn="r">
              <a:defRPr sz="1067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1EA1DD0D-7089-48C5-B116-A19F892CF1D9}" type="slidenum">
              <a:rPr lang="fi-FI" smtClean="0"/>
              <a:pPr/>
              <a:t>‹#›</a:t>
            </a:fld>
            <a:r>
              <a:rPr lang="fi-FI" dirty="0"/>
              <a:t>  </a:t>
            </a:r>
            <a:r>
              <a:rPr lang="fi-FI" b="0" dirty="0">
                <a:solidFill>
                  <a:schemeClr val="bg1">
                    <a:lumMod val="65000"/>
                  </a:schemeClr>
                </a:solidFill>
              </a:rPr>
              <a:t>|</a:t>
            </a:r>
            <a:endParaRPr lang="fi-FI" sz="800" b="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6" name="Content Placeholder"/>
          <p:cNvSpPr>
            <a:spLocks noGrp="1"/>
          </p:cNvSpPr>
          <p:nvPr>
            <p:ph idx="14"/>
          </p:nvPr>
        </p:nvSpPr>
        <p:spPr>
          <a:xfrm>
            <a:off x="335361" y="2319313"/>
            <a:ext cx="2880320" cy="4320480"/>
          </a:xfrm>
        </p:spPr>
        <p:txBody>
          <a:bodyPr>
            <a:normAutofit/>
          </a:bodyPr>
          <a:lstStyle/>
          <a:p>
            <a:pPr lvl="0"/>
            <a:r>
              <a:rPr lang="fi-FI" sz="1867"/>
              <a:t>Muokkaa tekstin perustyylejä</a:t>
            </a:r>
          </a:p>
        </p:txBody>
      </p:sp>
      <p:sp>
        <p:nvSpPr>
          <p:cNvPr id="3" name="Sisällön paikkamerkki"/>
          <p:cNvSpPr>
            <a:spLocks noGrp="1"/>
          </p:cNvSpPr>
          <p:nvPr>
            <p:ph idx="1"/>
          </p:nvPr>
        </p:nvSpPr>
        <p:spPr>
          <a:xfrm>
            <a:off x="3695733" y="0"/>
            <a:ext cx="8504235" cy="6858000"/>
          </a:xfrm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8" name="Otsikko"/>
          <p:cNvSpPr>
            <a:spLocks noGrp="1"/>
          </p:cNvSpPr>
          <p:nvPr>
            <p:ph type="title"/>
          </p:nvPr>
        </p:nvSpPr>
        <p:spPr>
          <a:xfrm>
            <a:off x="335361" y="277227"/>
            <a:ext cx="2880320" cy="1903635"/>
          </a:xfrm>
        </p:spPr>
        <p:txBody>
          <a:bodyPr/>
          <a:lstStyle>
            <a:lvl1pPr>
              <a:defRPr sz="3733">
                <a:solidFill>
                  <a:schemeClr val="tx2"/>
                </a:solidFill>
              </a:defRPr>
            </a:lvl1pPr>
          </a:lstStyle>
          <a:p>
            <a:r>
              <a:rPr lang="fi-FI"/>
              <a:t>Muokkaa perustyyl. napsautt.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166091886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latunnisteen paikkamerkki 4"/>
          <p:cNvSpPr>
            <a:spLocks noGrp="1"/>
          </p:cNvSpPr>
          <p:nvPr>
            <p:ph type="ftr" sz="quarter" idx="11"/>
          </p:nvPr>
        </p:nvSpPr>
        <p:spPr>
          <a:xfrm>
            <a:off x="1583499" y="6497452"/>
            <a:ext cx="3648405" cy="258163"/>
          </a:xfrm>
          <a:prstGeom prst="rect">
            <a:avLst/>
          </a:prstGeom>
        </p:spPr>
        <p:txBody>
          <a:bodyPr/>
          <a:lstStyle>
            <a:lvl1pPr algn="l">
              <a:defRPr sz="106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fi-FI"/>
              <a:t>Petra Kokko</a:t>
            </a:r>
            <a:endParaRPr lang="fi-FI" dirty="0"/>
          </a:p>
        </p:txBody>
      </p:sp>
      <p:sp>
        <p:nvSpPr>
          <p:cNvPr id="3" name="Päivämäärän paikkamerkki 3"/>
          <p:cNvSpPr>
            <a:spLocks noGrp="1"/>
          </p:cNvSpPr>
          <p:nvPr>
            <p:ph type="dt" sz="half" idx="2"/>
          </p:nvPr>
        </p:nvSpPr>
        <p:spPr>
          <a:xfrm>
            <a:off x="577047" y="6497452"/>
            <a:ext cx="911424" cy="26813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67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fi-FI"/>
              <a:t>19.5.2021</a:t>
            </a:r>
            <a:endParaRPr lang="fi-FI" dirty="0"/>
          </a:p>
        </p:txBody>
      </p:sp>
      <p:sp>
        <p:nvSpPr>
          <p:cNvPr id="4" name="Dian numeron paikkamerkki 5"/>
          <p:cNvSpPr>
            <a:spLocks noGrp="1"/>
          </p:cNvSpPr>
          <p:nvPr>
            <p:ph type="sldNum" sz="quarter" idx="12"/>
          </p:nvPr>
        </p:nvSpPr>
        <p:spPr>
          <a:xfrm>
            <a:off x="-1" y="6497453"/>
            <a:ext cx="538948" cy="268137"/>
          </a:xfrm>
          <a:prstGeom prst="rect">
            <a:avLst/>
          </a:prstGeom>
        </p:spPr>
        <p:txBody>
          <a:bodyPr rIns="18000" anchor="ctr"/>
          <a:lstStyle>
            <a:lvl1pPr algn="r">
              <a:defRPr sz="1067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1EA1DD0D-7089-48C5-B116-A19F892CF1D9}" type="slidenum">
              <a:rPr lang="fi-FI" smtClean="0"/>
              <a:pPr/>
              <a:t>‹#›</a:t>
            </a:fld>
            <a:r>
              <a:rPr lang="fi-FI" dirty="0"/>
              <a:t>  </a:t>
            </a:r>
            <a:r>
              <a:rPr lang="fi-FI" b="0" dirty="0">
                <a:solidFill>
                  <a:schemeClr val="bg1">
                    <a:lumMod val="65000"/>
                  </a:schemeClr>
                </a:solidFill>
              </a:rPr>
              <a:t>|</a:t>
            </a:r>
            <a:endParaRPr lang="fi-FI" sz="800" b="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3535040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Lopet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/>
          <p:cNvGrpSpPr/>
          <p:nvPr userDrawn="1"/>
        </p:nvGrpSpPr>
        <p:grpSpPr>
          <a:xfrm>
            <a:off x="0" y="1"/>
            <a:ext cx="12192000" cy="6858001"/>
            <a:chOff x="0" y="0"/>
            <a:chExt cx="9144000" cy="5143501"/>
          </a:xfrm>
        </p:grpSpPr>
        <p:sp>
          <p:nvSpPr>
            <p:cNvPr id="2" name="Rectangle 1"/>
            <p:cNvSpPr/>
            <p:nvPr userDrawn="1"/>
          </p:nvSpPr>
          <p:spPr>
            <a:xfrm>
              <a:off x="0" y="0"/>
              <a:ext cx="9144000" cy="5143501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i-FI" sz="2400"/>
            </a:p>
          </p:txBody>
        </p:sp>
        <p:sp>
          <p:nvSpPr>
            <p:cNvPr id="5" name="Freeform 5"/>
            <p:cNvSpPr>
              <a:spLocks/>
            </p:cNvSpPr>
            <p:nvPr userDrawn="1"/>
          </p:nvSpPr>
          <p:spPr bwMode="auto">
            <a:xfrm flipH="1">
              <a:off x="0" y="3640138"/>
              <a:ext cx="2425376" cy="1503363"/>
            </a:xfrm>
            <a:custGeom>
              <a:avLst/>
              <a:gdLst>
                <a:gd name="T0" fmla="*/ 1527 w 1527"/>
                <a:gd name="T1" fmla="*/ 947 h 947"/>
                <a:gd name="T2" fmla="*/ 1527 w 1527"/>
                <a:gd name="T3" fmla="*/ 491 h 947"/>
                <a:gd name="T4" fmla="*/ 1527 w 1527"/>
                <a:gd name="T5" fmla="*/ 491 h 947"/>
                <a:gd name="T6" fmla="*/ 1291 w 1527"/>
                <a:gd name="T7" fmla="*/ 382 h 947"/>
                <a:gd name="T8" fmla="*/ 1175 w 1527"/>
                <a:gd name="T9" fmla="*/ 327 h 947"/>
                <a:gd name="T10" fmla="*/ 1118 w 1527"/>
                <a:gd name="T11" fmla="*/ 299 h 947"/>
                <a:gd name="T12" fmla="*/ 1060 w 1527"/>
                <a:gd name="T13" fmla="*/ 270 h 947"/>
                <a:gd name="T14" fmla="*/ 1003 w 1527"/>
                <a:gd name="T15" fmla="*/ 241 h 947"/>
                <a:gd name="T16" fmla="*/ 946 w 1527"/>
                <a:gd name="T17" fmla="*/ 210 h 947"/>
                <a:gd name="T18" fmla="*/ 889 w 1527"/>
                <a:gd name="T19" fmla="*/ 179 h 947"/>
                <a:gd name="T20" fmla="*/ 833 w 1527"/>
                <a:gd name="T21" fmla="*/ 146 h 947"/>
                <a:gd name="T22" fmla="*/ 777 w 1527"/>
                <a:gd name="T23" fmla="*/ 111 h 947"/>
                <a:gd name="T24" fmla="*/ 722 w 1527"/>
                <a:gd name="T25" fmla="*/ 76 h 947"/>
                <a:gd name="T26" fmla="*/ 667 w 1527"/>
                <a:gd name="T27" fmla="*/ 39 h 947"/>
                <a:gd name="T28" fmla="*/ 612 w 1527"/>
                <a:gd name="T29" fmla="*/ 0 h 947"/>
                <a:gd name="T30" fmla="*/ 612 w 1527"/>
                <a:gd name="T31" fmla="*/ 0 h 947"/>
                <a:gd name="T32" fmla="*/ 569 w 1527"/>
                <a:gd name="T33" fmla="*/ 70 h 947"/>
                <a:gd name="T34" fmla="*/ 527 w 1527"/>
                <a:gd name="T35" fmla="*/ 137 h 947"/>
                <a:gd name="T36" fmla="*/ 486 w 1527"/>
                <a:gd name="T37" fmla="*/ 202 h 947"/>
                <a:gd name="T38" fmla="*/ 444 w 1527"/>
                <a:gd name="T39" fmla="*/ 265 h 947"/>
                <a:gd name="T40" fmla="*/ 363 w 1527"/>
                <a:gd name="T41" fmla="*/ 386 h 947"/>
                <a:gd name="T42" fmla="*/ 283 w 1527"/>
                <a:gd name="T43" fmla="*/ 502 h 947"/>
                <a:gd name="T44" fmla="*/ 207 w 1527"/>
                <a:gd name="T45" fmla="*/ 614 h 947"/>
                <a:gd name="T46" fmla="*/ 170 w 1527"/>
                <a:gd name="T47" fmla="*/ 669 h 947"/>
                <a:gd name="T48" fmla="*/ 134 w 1527"/>
                <a:gd name="T49" fmla="*/ 724 h 947"/>
                <a:gd name="T50" fmla="*/ 99 w 1527"/>
                <a:gd name="T51" fmla="*/ 779 h 947"/>
                <a:gd name="T52" fmla="*/ 65 w 1527"/>
                <a:gd name="T53" fmla="*/ 835 h 947"/>
                <a:gd name="T54" fmla="*/ 32 w 1527"/>
                <a:gd name="T55" fmla="*/ 890 h 947"/>
                <a:gd name="T56" fmla="*/ 0 w 1527"/>
                <a:gd name="T57" fmla="*/ 947 h 947"/>
                <a:gd name="T58" fmla="*/ 1527 w 1527"/>
                <a:gd name="T59" fmla="*/ 947 h 9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27" h="947">
                  <a:moveTo>
                    <a:pt x="1527" y="947"/>
                  </a:moveTo>
                  <a:lnTo>
                    <a:pt x="1527" y="491"/>
                  </a:lnTo>
                  <a:lnTo>
                    <a:pt x="1527" y="491"/>
                  </a:lnTo>
                  <a:lnTo>
                    <a:pt x="1291" y="382"/>
                  </a:lnTo>
                  <a:lnTo>
                    <a:pt x="1175" y="327"/>
                  </a:lnTo>
                  <a:lnTo>
                    <a:pt x="1118" y="299"/>
                  </a:lnTo>
                  <a:lnTo>
                    <a:pt x="1060" y="270"/>
                  </a:lnTo>
                  <a:lnTo>
                    <a:pt x="1003" y="241"/>
                  </a:lnTo>
                  <a:lnTo>
                    <a:pt x="946" y="210"/>
                  </a:lnTo>
                  <a:lnTo>
                    <a:pt x="889" y="179"/>
                  </a:lnTo>
                  <a:lnTo>
                    <a:pt x="833" y="146"/>
                  </a:lnTo>
                  <a:lnTo>
                    <a:pt x="777" y="111"/>
                  </a:lnTo>
                  <a:lnTo>
                    <a:pt x="722" y="76"/>
                  </a:lnTo>
                  <a:lnTo>
                    <a:pt x="667" y="39"/>
                  </a:lnTo>
                  <a:lnTo>
                    <a:pt x="612" y="0"/>
                  </a:lnTo>
                  <a:lnTo>
                    <a:pt x="612" y="0"/>
                  </a:lnTo>
                  <a:lnTo>
                    <a:pt x="569" y="70"/>
                  </a:lnTo>
                  <a:lnTo>
                    <a:pt x="527" y="137"/>
                  </a:lnTo>
                  <a:lnTo>
                    <a:pt x="486" y="202"/>
                  </a:lnTo>
                  <a:lnTo>
                    <a:pt x="444" y="265"/>
                  </a:lnTo>
                  <a:lnTo>
                    <a:pt x="363" y="386"/>
                  </a:lnTo>
                  <a:lnTo>
                    <a:pt x="283" y="502"/>
                  </a:lnTo>
                  <a:lnTo>
                    <a:pt x="207" y="614"/>
                  </a:lnTo>
                  <a:lnTo>
                    <a:pt x="170" y="669"/>
                  </a:lnTo>
                  <a:lnTo>
                    <a:pt x="134" y="724"/>
                  </a:lnTo>
                  <a:lnTo>
                    <a:pt x="99" y="779"/>
                  </a:lnTo>
                  <a:lnTo>
                    <a:pt x="65" y="835"/>
                  </a:lnTo>
                  <a:lnTo>
                    <a:pt x="32" y="890"/>
                  </a:lnTo>
                  <a:lnTo>
                    <a:pt x="0" y="947"/>
                  </a:lnTo>
                  <a:lnTo>
                    <a:pt x="1527" y="947"/>
                  </a:lnTo>
                  <a:close/>
                </a:path>
              </a:pathLst>
            </a:custGeom>
            <a:solidFill>
              <a:srgbClr val="7991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6" name="Freeform 6"/>
            <p:cNvSpPr>
              <a:spLocks/>
            </p:cNvSpPr>
            <p:nvPr userDrawn="1"/>
          </p:nvSpPr>
          <p:spPr bwMode="auto">
            <a:xfrm flipH="1">
              <a:off x="0" y="2641600"/>
              <a:ext cx="1453319" cy="1671638"/>
            </a:xfrm>
            <a:custGeom>
              <a:avLst/>
              <a:gdLst>
                <a:gd name="T0" fmla="*/ 915 w 915"/>
                <a:gd name="T1" fmla="*/ 0 h 1053"/>
                <a:gd name="T2" fmla="*/ 915 w 915"/>
                <a:gd name="T3" fmla="*/ 0 h 1053"/>
                <a:gd name="T4" fmla="*/ 854 w 915"/>
                <a:gd name="T5" fmla="*/ 29 h 1053"/>
                <a:gd name="T6" fmla="*/ 795 w 915"/>
                <a:gd name="T7" fmla="*/ 62 h 1053"/>
                <a:gd name="T8" fmla="*/ 735 w 915"/>
                <a:gd name="T9" fmla="*/ 97 h 1053"/>
                <a:gd name="T10" fmla="*/ 675 w 915"/>
                <a:gd name="T11" fmla="*/ 133 h 1053"/>
                <a:gd name="T12" fmla="*/ 617 w 915"/>
                <a:gd name="T13" fmla="*/ 171 h 1053"/>
                <a:gd name="T14" fmla="*/ 559 w 915"/>
                <a:gd name="T15" fmla="*/ 210 h 1053"/>
                <a:gd name="T16" fmla="*/ 500 w 915"/>
                <a:gd name="T17" fmla="*/ 251 h 1053"/>
                <a:gd name="T18" fmla="*/ 443 w 915"/>
                <a:gd name="T19" fmla="*/ 294 h 1053"/>
                <a:gd name="T20" fmla="*/ 329 w 915"/>
                <a:gd name="T21" fmla="*/ 378 h 1053"/>
                <a:gd name="T22" fmla="*/ 218 w 915"/>
                <a:gd name="T23" fmla="*/ 465 h 1053"/>
                <a:gd name="T24" fmla="*/ 108 w 915"/>
                <a:gd name="T25" fmla="*/ 549 h 1053"/>
                <a:gd name="T26" fmla="*/ 53 w 915"/>
                <a:gd name="T27" fmla="*/ 589 h 1053"/>
                <a:gd name="T28" fmla="*/ 0 w 915"/>
                <a:gd name="T29" fmla="*/ 629 h 1053"/>
                <a:gd name="T30" fmla="*/ 0 w 915"/>
                <a:gd name="T31" fmla="*/ 629 h 1053"/>
                <a:gd name="T32" fmla="*/ 0 w 915"/>
                <a:gd name="T33" fmla="*/ 629 h 1053"/>
                <a:gd name="T34" fmla="*/ 53 w 915"/>
                <a:gd name="T35" fmla="*/ 667 h 1053"/>
                <a:gd name="T36" fmla="*/ 107 w 915"/>
                <a:gd name="T37" fmla="*/ 704 h 1053"/>
                <a:gd name="T38" fmla="*/ 161 w 915"/>
                <a:gd name="T39" fmla="*/ 739 h 1053"/>
                <a:gd name="T40" fmla="*/ 216 w 915"/>
                <a:gd name="T41" fmla="*/ 774 h 1053"/>
                <a:gd name="T42" fmla="*/ 272 w 915"/>
                <a:gd name="T43" fmla="*/ 808 h 1053"/>
                <a:gd name="T44" fmla="*/ 328 w 915"/>
                <a:gd name="T45" fmla="*/ 839 h 1053"/>
                <a:gd name="T46" fmla="*/ 384 w 915"/>
                <a:gd name="T47" fmla="*/ 870 h 1053"/>
                <a:gd name="T48" fmla="*/ 442 w 915"/>
                <a:gd name="T49" fmla="*/ 899 h 1053"/>
                <a:gd name="T50" fmla="*/ 500 w 915"/>
                <a:gd name="T51" fmla="*/ 926 h 1053"/>
                <a:gd name="T52" fmla="*/ 559 w 915"/>
                <a:gd name="T53" fmla="*/ 951 h 1053"/>
                <a:gd name="T54" fmla="*/ 617 w 915"/>
                <a:gd name="T55" fmla="*/ 973 h 1053"/>
                <a:gd name="T56" fmla="*/ 675 w 915"/>
                <a:gd name="T57" fmla="*/ 994 h 1053"/>
                <a:gd name="T58" fmla="*/ 735 w 915"/>
                <a:gd name="T59" fmla="*/ 1012 h 1053"/>
                <a:gd name="T60" fmla="*/ 795 w 915"/>
                <a:gd name="T61" fmla="*/ 1028 h 1053"/>
                <a:gd name="T62" fmla="*/ 854 w 915"/>
                <a:gd name="T63" fmla="*/ 1042 h 1053"/>
                <a:gd name="T64" fmla="*/ 885 w 915"/>
                <a:gd name="T65" fmla="*/ 1048 h 1053"/>
                <a:gd name="T66" fmla="*/ 915 w 915"/>
                <a:gd name="T67" fmla="*/ 1053 h 1053"/>
                <a:gd name="T68" fmla="*/ 915 w 915"/>
                <a:gd name="T69" fmla="*/ 0 h 10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915" h="1053">
                  <a:moveTo>
                    <a:pt x="915" y="0"/>
                  </a:moveTo>
                  <a:lnTo>
                    <a:pt x="915" y="0"/>
                  </a:lnTo>
                  <a:lnTo>
                    <a:pt x="854" y="29"/>
                  </a:lnTo>
                  <a:lnTo>
                    <a:pt x="795" y="62"/>
                  </a:lnTo>
                  <a:lnTo>
                    <a:pt x="735" y="97"/>
                  </a:lnTo>
                  <a:lnTo>
                    <a:pt x="675" y="133"/>
                  </a:lnTo>
                  <a:lnTo>
                    <a:pt x="617" y="171"/>
                  </a:lnTo>
                  <a:lnTo>
                    <a:pt x="559" y="210"/>
                  </a:lnTo>
                  <a:lnTo>
                    <a:pt x="500" y="251"/>
                  </a:lnTo>
                  <a:lnTo>
                    <a:pt x="443" y="294"/>
                  </a:lnTo>
                  <a:lnTo>
                    <a:pt x="329" y="378"/>
                  </a:lnTo>
                  <a:lnTo>
                    <a:pt x="218" y="465"/>
                  </a:lnTo>
                  <a:lnTo>
                    <a:pt x="108" y="549"/>
                  </a:lnTo>
                  <a:lnTo>
                    <a:pt x="53" y="589"/>
                  </a:lnTo>
                  <a:lnTo>
                    <a:pt x="0" y="629"/>
                  </a:lnTo>
                  <a:lnTo>
                    <a:pt x="0" y="629"/>
                  </a:lnTo>
                  <a:lnTo>
                    <a:pt x="0" y="629"/>
                  </a:lnTo>
                  <a:lnTo>
                    <a:pt x="53" y="667"/>
                  </a:lnTo>
                  <a:lnTo>
                    <a:pt x="107" y="704"/>
                  </a:lnTo>
                  <a:lnTo>
                    <a:pt x="161" y="739"/>
                  </a:lnTo>
                  <a:lnTo>
                    <a:pt x="216" y="774"/>
                  </a:lnTo>
                  <a:lnTo>
                    <a:pt x="272" y="808"/>
                  </a:lnTo>
                  <a:lnTo>
                    <a:pt x="328" y="839"/>
                  </a:lnTo>
                  <a:lnTo>
                    <a:pt x="384" y="870"/>
                  </a:lnTo>
                  <a:lnTo>
                    <a:pt x="442" y="899"/>
                  </a:lnTo>
                  <a:lnTo>
                    <a:pt x="500" y="926"/>
                  </a:lnTo>
                  <a:lnTo>
                    <a:pt x="559" y="951"/>
                  </a:lnTo>
                  <a:lnTo>
                    <a:pt x="617" y="973"/>
                  </a:lnTo>
                  <a:lnTo>
                    <a:pt x="675" y="994"/>
                  </a:lnTo>
                  <a:lnTo>
                    <a:pt x="735" y="1012"/>
                  </a:lnTo>
                  <a:lnTo>
                    <a:pt x="795" y="1028"/>
                  </a:lnTo>
                  <a:lnTo>
                    <a:pt x="854" y="1042"/>
                  </a:lnTo>
                  <a:lnTo>
                    <a:pt x="885" y="1048"/>
                  </a:lnTo>
                  <a:lnTo>
                    <a:pt x="915" y="1053"/>
                  </a:lnTo>
                  <a:lnTo>
                    <a:pt x="915" y="0"/>
                  </a:lnTo>
                  <a:close/>
                </a:path>
              </a:pathLst>
            </a:custGeom>
            <a:solidFill>
              <a:srgbClr val="9BAD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7" name="Freeform 7"/>
            <p:cNvSpPr>
              <a:spLocks/>
            </p:cNvSpPr>
            <p:nvPr userDrawn="1"/>
          </p:nvSpPr>
          <p:spPr bwMode="auto">
            <a:xfrm flipH="1">
              <a:off x="625801" y="0"/>
              <a:ext cx="2544500" cy="3640138"/>
            </a:xfrm>
            <a:custGeom>
              <a:avLst/>
              <a:gdLst>
                <a:gd name="T0" fmla="*/ 46 w 1602"/>
                <a:gd name="T1" fmla="*/ 0 h 2293"/>
                <a:gd name="T2" fmla="*/ 27 w 1602"/>
                <a:gd name="T3" fmla="*/ 79 h 2293"/>
                <a:gd name="T4" fmla="*/ 13 w 1602"/>
                <a:gd name="T5" fmla="*/ 158 h 2293"/>
                <a:gd name="T6" fmla="*/ 5 w 1602"/>
                <a:gd name="T7" fmla="*/ 236 h 2293"/>
                <a:gd name="T8" fmla="*/ 0 w 1602"/>
                <a:gd name="T9" fmla="*/ 315 h 2293"/>
                <a:gd name="T10" fmla="*/ 1 w 1602"/>
                <a:gd name="T11" fmla="*/ 394 h 2293"/>
                <a:gd name="T12" fmla="*/ 7 w 1602"/>
                <a:gd name="T13" fmla="*/ 473 h 2293"/>
                <a:gd name="T14" fmla="*/ 16 w 1602"/>
                <a:gd name="T15" fmla="*/ 551 h 2293"/>
                <a:gd name="T16" fmla="*/ 27 w 1602"/>
                <a:gd name="T17" fmla="*/ 630 h 2293"/>
                <a:gd name="T18" fmla="*/ 43 w 1602"/>
                <a:gd name="T19" fmla="*/ 708 h 2293"/>
                <a:gd name="T20" fmla="*/ 80 w 1602"/>
                <a:gd name="T21" fmla="*/ 862 h 2293"/>
                <a:gd name="T22" fmla="*/ 124 w 1602"/>
                <a:gd name="T23" fmla="*/ 1014 h 2293"/>
                <a:gd name="T24" fmla="*/ 195 w 1602"/>
                <a:gd name="T25" fmla="*/ 1236 h 2293"/>
                <a:gd name="T26" fmla="*/ 209 w 1602"/>
                <a:gd name="T27" fmla="*/ 1277 h 2293"/>
                <a:gd name="T28" fmla="*/ 242 w 1602"/>
                <a:gd name="T29" fmla="*/ 1358 h 2293"/>
                <a:gd name="T30" fmla="*/ 279 w 1602"/>
                <a:gd name="T31" fmla="*/ 1437 h 2293"/>
                <a:gd name="T32" fmla="*/ 322 w 1602"/>
                <a:gd name="T33" fmla="*/ 1514 h 2293"/>
                <a:gd name="T34" fmla="*/ 369 w 1602"/>
                <a:gd name="T35" fmla="*/ 1590 h 2293"/>
                <a:gd name="T36" fmla="*/ 420 w 1602"/>
                <a:gd name="T37" fmla="*/ 1662 h 2293"/>
                <a:gd name="T38" fmla="*/ 474 w 1602"/>
                <a:gd name="T39" fmla="*/ 1733 h 2293"/>
                <a:gd name="T40" fmla="*/ 531 w 1602"/>
                <a:gd name="T41" fmla="*/ 1801 h 2293"/>
                <a:gd name="T42" fmla="*/ 590 w 1602"/>
                <a:gd name="T43" fmla="*/ 1869 h 2293"/>
                <a:gd name="T44" fmla="*/ 652 w 1602"/>
                <a:gd name="T45" fmla="*/ 1933 h 2293"/>
                <a:gd name="T46" fmla="*/ 749 w 1602"/>
                <a:gd name="T47" fmla="*/ 2025 h 2293"/>
                <a:gd name="T48" fmla="*/ 881 w 1602"/>
                <a:gd name="T49" fmla="*/ 2139 h 2293"/>
                <a:gd name="T50" fmla="*/ 1014 w 1602"/>
                <a:gd name="T51" fmla="*/ 2244 h 2293"/>
                <a:gd name="T52" fmla="*/ 1081 w 1602"/>
                <a:gd name="T53" fmla="*/ 2293 h 2293"/>
                <a:gd name="T54" fmla="*/ 1107 w 1602"/>
                <a:gd name="T55" fmla="*/ 2266 h 2293"/>
                <a:gd name="T56" fmla="*/ 1157 w 1602"/>
                <a:gd name="T57" fmla="*/ 2210 h 2293"/>
                <a:gd name="T58" fmla="*/ 1206 w 1602"/>
                <a:gd name="T59" fmla="*/ 2151 h 2293"/>
                <a:gd name="T60" fmla="*/ 1249 w 1602"/>
                <a:gd name="T61" fmla="*/ 2090 h 2293"/>
                <a:gd name="T62" fmla="*/ 1290 w 1602"/>
                <a:gd name="T63" fmla="*/ 2027 h 2293"/>
                <a:gd name="T64" fmla="*/ 1328 w 1602"/>
                <a:gd name="T65" fmla="*/ 1963 h 2293"/>
                <a:gd name="T66" fmla="*/ 1363 w 1602"/>
                <a:gd name="T67" fmla="*/ 1898 h 2293"/>
                <a:gd name="T68" fmla="*/ 1396 w 1602"/>
                <a:gd name="T69" fmla="*/ 1830 h 2293"/>
                <a:gd name="T70" fmla="*/ 1425 w 1602"/>
                <a:gd name="T71" fmla="*/ 1762 h 2293"/>
                <a:gd name="T72" fmla="*/ 1452 w 1602"/>
                <a:gd name="T73" fmla="*/ 1692 h 2293"/>
                <a:gd name="T74" fmla="*/ 1475 w 1602"/>
                <a:gd name="T75" fmla="*/ 1620 h 2293"/>
                <a:gd name="T76" fmla="*/ 1508 w 1602"/>
                <a:gd name="T77" fmla="*/ 1511 h 2293"/>
                <a:gd name="T78" fmla="*/ 1542 w 1602"/>
                <a:gd name="T79" fmla="*/ 1362 h 2293"/>
                <a:gd name="T80" fmla="*/ 1568 w 1602"/>
                <a:gd name="T81" fmla="*/ 1211 h 2293"/>
                <a:gd name="T82" fmla="*/ 1586 w 1602"/>
                <a:gd name="T83" fmla="*/ 1058 h 2293"/>
                <a:gd name="T84" fmla="*/ 1597 w 1602"/>
                <a:gd name="T85" fmla="*/ 902 h 2293"/>
                <a:gd name="T86" fmla="*/ 1602 w 1602"/>
                <a:gd name="T87" fmla="*/ 747 h 2293"/>
                <a:gd name="T88" fmla="*/ 1601 w 1602"/>
                <a:gd name="T89" fmla="*/ 593 h 2293"/>
                <a:gd name="T90" fmla="*/ 1597 w 1602"/>
                <a:gd name="T91" fmla="*/ 440 h 2293"/>
                <a:gd name="T92" fmla="*/ 1588 w 1602"/>
                <a:gd name="T93" fmla="*/ 290 h 2293"/>
                <a:gd name="T94" fmla="*/ 1577 w 1602"/>
                <a:gd name="T95" fmla="*/ 143 h 2293"/>
                <a:gd name="T96" fmla="*/ 46 w 1602"/>
                <a:gd name="T97" fmla="*/ 0 h 2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02" h="2293">
                  <a:moveTo>
                    <a:pt x="46" y="0"/>
                  </a:moveTo>
                  <a:lnTo>
                    <a:pt x="46" y="0"/>
                  </a:lnTo>
                  <a:lnTo>
                    <a:pt x="36" y="39"/>
                  </a:lnTo>
                  <a:lnTo>
                    <a:pt x="27" y="79"/>
                  </a:lnTo>
                  <a:lnTo>
                    <a:pt x="19" y="118"/>
                  </a:lnTo>
                  <a:lnTo>
                    <a:pt x="13" y="158"/>
                  </a:lnTo>
                  <a:lnTo>
                    <a:pt x="8" y="197"/>
                  </a:lnTo>
                  <a:lnTo>
                    <a:pt x="5" y="236"/>
                  </a:lnTo>
                  <a:lnTo>
                    <a:pt x="2" y="276"/>
                  </a:lnTo>
                  <a:lnTo>
                    <a:pt x="0" y="315"/>
                  </a:lnTo>
                  <a:lnTo>
                    <a:pt x="0" y="354"/>
                  </a:lnTo>
                  <a:lnTo>
                    <a:pt x="1" y="394"/>
                  </a:lnTo>
                  <a:lnTo>
                    <a:pt x="4" y="433"/>
                  </a:lnTo>
                  <a:lnTo>
                    <a:pt x="7" y="473"/>
                  </a:lnTo>
                  <a:lnTo>
                    <a:pt x="10" y="512"/>
                  </a:lnTo>
                  <a:lnTo>
                    <a:pt x="16" y="551"/>
                  </a:lnTo>
                  <a:lnTo>
                    <a:pt x="22" y="591"/>
                  </a:lnTo>
                  <a:lnTo>
                    <a:pt x="27" y="630"/>
                  </a:lnTo>
                  <a:lnTo>
                    <a:pt x="35" y="668"/>
                  </a:lnTo>
                  <a:lnTo>
                    <a:pt x="43" y="708"/>
                  </a:lnTo>
                  <a:lnTo>
                    <a:pt x="60" y="785"/>
                  </a:lnTo>
                  <a:lnTo>
                    <a:pt x="80" y="862"/>
                  </a:lnTo>
                  <a:lnTo>
                    <a:pt x="101" y="938"/>
                  </a:lnTo>
                  <a:lnTo>
                    <a:pt x="124" y="1014"/>
                  </a:lnTo>
                  <a:lnTo>
                    <a:pt x="147" y="1089"/>
                  </a:lnTo>
                  <a:lnTo>
                    <a:pt x="195" y="1236"/>
                  </a:lnTo>
                  <a:lnTo>
                    <a:pt x="195" y="1236"/>
                  </a:lnTo>
                  <a:lnTo>
                    <a:pt x="209" y="1277"/>
                  </a:lnTo>
                  <a:lnTo>
                    <a:pt x="224" y="1319"/>
                  </a:lnTo>
                  <a:lnTo>
                    <a:pt x="242" y="1358"/>
                  </a:lnTo>
                  <a:lnTo>
                    <a:pt x="260" y="1398"/>
                  </a:lnTo>
                  <a:lnTo>
                    <a:pt x="279" y="1437"/>
                  </a:lnTo>
                  <a:lnTo>
                    <a:pt x="299" y="1476"/>
                  </a:lnTo>
                  <a:lnTo>
                    <a:pt x="322" y="1514"/>
                  </a:lnTo>
                  <a:lnTo>
                    <a:pt x="344" y="1551"/>
                  </a:lnTo>
                  <a:lnTo>
                    <a:pt x="369" y="1590"/>
                  </a:lnTo>
                  <a:lnTo>
                    <a:pt x="394" y="1626"/>
                  </a:lnTo>
                  <a:lnTo>
                    <a:pt x="420" y="1662"/>
                  </a:lnTo>
                  <a:lnTo>
                    <a:pt x="445" y="1698"/>
                  </a:lnTo>
                  <a:lnTo>
                    <a:pt x="474" y="1733"/>
                  </a:lnTo>
                  <a:lnTo>
                    <a:pt x="502" y="1767"/>
                  </a:lnTo>
                  <a:lnTo>
                    <a:pt x="531" y="1801"/>
                  </a:lnTo>
                  <a:lnTo>
                    <a:pt x="560" y="1835"/>
                  </a:lnTo>
                  <a:lnTo>
                    <a:pt x="590" y="1869"/>
                  </a:lnTo>
                  <a:lnTo>
                    <a:pt x="621" y="1900"/>
                  </a:lnTo>
                  <a:lnTo>
                    <a:pt x="652" y="1933"/>
                  </a:lnTo>
                  <a:lnTo>
                    <a:pt x="685" y="1963"/>
                  </a:lnTo>
                  <a:lnTo>
                    <a:pt x="749" y="2025"/>
                  </a:lnTo>
                  <a:lnTo>
                    <a:pt x="814" y="2084"/>
                  </a:lnTo>
                  <a:lnTo>
                    <a:pt x="881" y="2139"/>
                  </a:lnTo>
                  <a:lnTo>
                    <a:pt x="948" y="2193"/>
                  </a:lnTo>
                  <a:lnTo>
                    <a:pt x="1014" y="2244"/>
                  </a:lnTo>
                  <a:lnTo>
                    <a:pt x="1081" y="2293"/>
                  </a:lnTo>
                  <a:lnTo>
                    <a:pt x="1081" y="2293"/>
                  </a:lnTo>
                  <a:lnTo>
                    <a:pt x="1081" y="2293"/>
                  </a:lnTo>
                  <a:lnTo>
                    <a:pt x="1107" y="2266"/>
                  </a:lnTo>
                  <a:lnTo>
                    <a:pt x="1132" y="2238"/>
                  </a:lnTo>
                  <a:lnTo>
                    <a:pt x="1157" y="2210"/>
                  </a:lnTo>
                  <a:lnTo>
                    <a:pt x="1182" y="2180"/>
                  </a:lnTo>
                  <a:lnTo>
                    <a:pt x="1206" y="2151"/>
                  </a:lnTo>
                  <a:lnTo>
                    <a:pt x="1228" y="2121"/>
                  </a:lnTo>
                  <a:lnTo>
                    <a:pt x="1249" y="2090"/>
                  </a:lnTo>
                  <a:lnTo>
                    <a:pt x="1270" y="2059"/>
                  </a:lnTo>
                  <a:lnTo>
                    <a:pt x="1290" y="2027"/>
                  </a:lnTo>
                  <a:lnTo>
                    <a:pt x="1310" y="1996"/>
                  </a:lnTo>
                  <a:lnTo>
                    <a:pt x="1328" y="1963"/>
                  </a:lnTo>
                  <a:lnTo>
                    <a:pt x="1346" y="1931"/>
                  </a:lnTo>
                  <a:lnTo>
                    <a:pt x="1363" y="1898"/>
                  </a:lnTo>
                  <a:lnTo>
                    <a:pt x="1380" y="1864"/>
                  </a:lnTo>
                  <a:lnTo>
                    <a:pt x="1396" y="1830"/>
                  </a:lnTo>
                  <a:lnTo>
                    <a:pt x="1410" y="1797"/>
                  </a:lnTo>
                  <a:lnTo>
                    <a:pt x="1425" y="1762"/>
                  </a:lnTo>
                  <a:lnTo>
                    <a:pt x="1438" y="1727"/>
                  </a:lnTo>
                  <a:lnTo>
                    <a:pt x="1452" y="1692"/>
                  </a:lnTo>
                  <a:lnTo>
                    <a:pt x="1464" y="1656"/>
                  </a:lnTo>
                  <a:lnTo>
                    <a:pt x="1475" y="1620"/>
                  </a:lnTo>
                  <a:lnTo>
                    <a:pt x="1487" y="1584"/>
                  </a:lnTo>
                  <a:lnTo>
                    <a:pt x="1508" y="1511"/>
                  </a:lnTo>
                  <a:lnTo>
                    <a:pt x="1526" y="1438"/>
                  </a:lnTo>
                  <a:lnTo>
                    <a:pt x="1542" y="1362"/>
                  </a:lnTo>
                  <a:lnTo>
                    <a:pt x="1556" y="1287"/>
                  </a:lnTo>
                  <a:lnTo>
                    <a:pt x="1568" y="1211"/>
                  </a:lnTo>
                  <a:lnTo>
                    <a:pt x="1578" y="1134"/>
                  </a:lnTo>
                  <a:lnTo>
                    <a:pt x="1586" y="1058"/>
                  </a:lnTo>
                  <a:lnTo>
                    <a:pt x="1592" y="980"/>
                  </a:lnTo>
                  <a:lnTo>
                    <a:pt x="1597" y="902"/>
                  </a:lnTo>
                  <a:lnTo>
                    <a:pt x="1600" y="825"/>
                  </a:lnTo>
                  <a:lnTo>
                    <a:pt x="1602" y="747"/>
                  </a:lnTo>
                  <a:lnTo>
                    <a:pt x="1602" y="671"/>
                  </a:lnTo>
                  <a:lnTo>
                    <a:pt x="1601" y="593"/>
                  </a:lnTo>
                  <a:lnTo>
                    <a:pt x="1600" y="516"/>
                  </a:lnTo>
                  <a:lnTo>
                    <a:pt x="1597" y="440"/>
                  </a:lnTo>
                  <a:lnTo>
                    <a:pt x="1592" y="365"/>
                  </a:lnTo>
                  <a:lnTo>
                    <a:pt x="1588" y="290"/>
                  </a:lnTo>
                  <a:lnTo>
                    <a:pt x="1582" y="216"/>
                  </a:lnTo>
                  <a:lnTo>
                    <a:pt x="1577" y="143"/>
                  </a:lnTo>
                  <a:lnTo>
                    <a:pt x="1562" y="0"/>
                  </a:lnTo>
                  <a:lnTo>
                    <a:pt x="46" y="0"/>
                  </a:lnTo>
                  <a:close/>
                </a:path>
              </a:pathLst>
            </a:custGeom>
            <a:solidFill>
              <a:srgbClr val="7991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9" name="Freeform 9"/>
            <p:cNvSpPr>
              <a:spLocks/>
            </p:cNvSpPr>
            <p:nvPr userDrawn="1"/>
          </p:nvSpPr>
          <p:spPr bwMode="auto">
            <a:xfrm flipH="1">
              <a:off x="0" y="0"/>
              <a:ext cx="1453319" cy="3640138"/>
            </a:xfrm>
            <a:custGeom>
              <a:avLst/>
              <a:gdLst>
                <a:gd name="T0" fmla="*/ 915 w 915"/>
                <a:gd name="T1" fmla="*/ 1753 h 2293"/>
                <a:gd name="T2" fmla="*/ 915 w 915"/>
                <a:gd name="T3" fmla="*/ 0 h 2293"/>
                <a:gd name="T4" fmla="*/ 240 w 915"/>
                <a:gd name="T5" fmla="*/ 0 h 2293"/>
                <a:gd name="T6" fmla="*/ 240 w 915"/>
                <a:gd name="T7" fmla="*/ 0 h 2293"/>
                <a:gd name="T8" fmla="*/ 247 w 915"/>
                <a:gd name="T9" fmla="*/ 70 h 2293"/>
                <a:gd name="T10" fmla="*/ 254 w 915"/>
                <a:gd name="T11" fmla="*/ 141 h 2293"/>
                <a:gd name="T12" fmla="*/ 259 w 915"/>
                <a:gd name="T13" fmla="*/ 212 h 2293"/>
                <a:gd name="T14" fmla="*/ 263 w 915"/>
                <a:gd name="T15" fmla="*/ 282 h 2293"/>
                <a:gd name="T16" fmla="*/ 266 w 915"/>
                <a:gd name="T17" fmla="*/ 353 h 2293"/>
                <a:gd name="T18" fmla="*/ 270 w 915"/>
                <a:gd name="T19" fmla="*/ 424 h 2293"/>
                <a:gd name="T20" fmla="*/ 271 w 915"/>
                <a:gd name="T21" fmla="*/ 496 h 2293"/>
                <a:gd name="T22" fmla="*/ 272 w 915"/>
                <a:gd name="T23" fmla="*/ 567 h 2293"/>
                <a:gd name="T24" fmla="*/ 271 w 915"/>
                <a:gd name="T25" fmla="*/ 639 h 2293"/>
                <a:gd name="T26" fmla="*/ 270 w 915"/>
                <a:gd name="T27" fmla="*/ 710 h 2293"/>
                <a:gd name="T28" fmla="*/ 268 w 915"/>
                <a:gd name="T29" fmla="*/ 782 h 2293"/>
                <a:gd name="T30" fmla="*/ 265 w 915"/>
                <a:gd name="T31" fmla="*/ 854 h 2293"/>
                <a:gd name="T32" fmla="*/ 261 w 915"/>
                <a:gd name="T33" fmla="*/ 925 h 2293"/>
                <a:gd name="T34" fmla="*/ 256 w 915"/>
                <a:gd name="T35" fmla="*/ 997 h 2293"/>
                <a:gd name="T36" fmla="*/ 250 w 915"/>
                <a:gd name="T37" fmla="*/ 1069 h 2293"/>
                <a:gd name="T38" fmla="*/ 243 w 915"/>
                <a:gd name="T39" fmla="*/ 1141 h 2293"/>
                <a:gd name="T40" fmla="*/ 235 w 915"/>
                <a:gd name="T41" fmla="*/ 1213 h 2293"/>
                <a:gd name="T42" fmla="*/ 227 w 915"/>
                <a:gd name="T43" fmla="*/ 1285 h 2293"/>
                <a:gd name="T44" fmla="*/ 217 w 915"/>
                <a:gd name="T45" fmla="*/ 1357 h 2293"/>
                <a:gd name="T46" fmla="*/ 205 w 915"/>
                <a:gd name="T47" fmla="*/ 1429 h 2293"/>
                <a:gd name="T48" fmla="*/ 194 w 915"/>
                <a:gd name="T49" fmla="*/ 1502 h 2293"/>
                <a:gd name="T50" fmla="*/ 182 w 915"/>
                <a:gd name="T51" fmla="*/ 1574 h 2293"/>
                <a:gd name="T52" fmla="*/ 167 w 915"/>
                <a:gd name="T53" fmla="*/ 1646 h 2293"/>
                <a:gd name="T54" fmla="*/ 153 w 915"/>
                <a:gd name="T55" fmla="*/ 1718 h 2293"/>
                <a:gd name="T56" fmla="*/ 137 w 915"/>
                <a:gd name="T57" fmla="*/ 1790 h 2293"/>
                <a:gd name="T58" fmla="*/ 121 w 915"/>
                <a:gd name="T59" fmla="*/ 1862 h 2293"/>
                <a:gd name="T60" fmla="*/ 103 w 915"/>
                <a:gd name="T61" fmla="*/ 1934 h 2293"/>
                <a:gd name="T62" fmla="*/ 84 w 915"/>
                <a:gd name="T63" fmla="*/ 2006 h 2293"/>
                <a:gd name="T64" fmla="*/ 65 w 915"/>
                <a:gd name="T65" fmla="*/ 2078 h 2293"/>
                <a:gd name="T66" fmla="*/ 44 w 915"/>
                <a:gd name="T67" fmla="*/ 2150 h 2293"/>
                <a:gd name="T68" fmla="*/ 22 w 915"/>
                <a:gd name="T69" fmla="*/ 2221 h 2293"/>
                <a:gd name="T70" fmla="*/ 0 w 915"/>
                <a:gd name="T71" fmla="*/ 2293 h 2293"/>
                <a:gd name="T72" fmla="*/ 0 w 915"/>
                <a:gd name="T73" fmla="*/ 2293 h 2293"/>
                <a:gd name="T74" fmla="*/ 53 w 915"/>
                <a:gd name="T75" fmla="*/ 2255 h 2293"/>
                <a:gd name="T76" fmla="*/ 108 w 915"/>
                <a:gd name="T77" fmla="*/ 2216 h 2293"/>
                <a:gd name="T78" fmla="*/ 162 w 915"/>
                <a:gd name="T79" fmla="*/ 2179 h 2293"/>
                <a:gd name="T80" fmla="*/ 218 w 915"/>
                <a:gd name="T81" fmla="*/ 2142 h 2293"/>
                <a:gd name="T82" fmla="*/ 273 w 915"/>
                <a:gd name="T83" fmla="*/ 2106 h 2293"/>
                <a:gd name="T84" fmla="*/ 329 w 915"/>
                <a:gd name="T85" fmla="*/ 2071 h 2293"/>
                <a:gd name="T86" fmla="*/ 385 w 915"/>
                <a:gd name="T87" fmla="*/ 2036 h 2293"/>
                <a:gd name="T88" fmla="*/ 443 w 915"/>
                <a:gd name="T89" fmla="*/ 2001 h 2293"/>
                <a:gd name="T90" fmla="*/ 500 w 915"/>
                <a:gd name="T91" fmla="*/ 1969 h 2293"/>
                <a:gd name="T92" fmla="*/ 559 w 915"/>
                <a:gd name="T93" fmla="*/ 1935 h 2293"/>
                <a:gd name="T94" fmla="*/ 617 w 915"/>
                <a:gd name="T95" fmla="*/ 1904 h 2293"/>
                <a:gd name="T96" fmla="*/ 675 w 915"/>
                <a:gd name="T97" fmla="*/ 1872 h 2293"/>
                <a:gd name="T98" fmla="*/ 735 w 915"/>
                <a:gd name="T99" fmla="*/ 1842 h 2293"/>
                <a:gd name="T100" fmla="*/ 795 w 915"/>
                <a:gd name="T101" fmla="*/ 1811 h 2293"/>
                <a:gd name="T102" fmla="*/ 854 w 915"/>
                <a:gd name="T103" fmla="*/ 1782 h 2293"/>
                <a:gd name="T104" fmla="*/ 915 w 915"/>
                <a:gd name="T105" fmla="*/ 1753 h 2293"/>
                <a:gd name="T106" fmla="*/ 915 w 915"/>
                <a:gd name="T107" fmla="*/ 1753 h 2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15" h="2293">
                  <a:moveTo>
                    <a:pt x="915" y="1753"/>
                  </a:moveTo>
                  <a:lnTo>
                    <a:pt x="915" y="0"/>
                  </a:lnTo>
                  <a:lnTo>
                    <a:pt x="240" y="0"/>
                  </a:lnTo>
                  <a:lnTo>
                    <a:pt x="240" y="0"/>
                  </a:lnTo>
                  <a:lnTo>
                    <a:pt x="247" y="70"/>
                  </a:lnTo>
                  <a:lnTo>
                    <a:pt x="254" y="141"/>
                  </a:lnTo>
                  <a:lnTo>
                    <a:pt x="259" y="212"/>
                  </a:lnTo>
                  <a:lnTo>
                    <a:pt x="263" y="282"/>
                  </a:lnTo>
                  <a:lnTo>
                    <a:pt x="266" y="353"/>
                  </a:lnTo>
                  <a:lnTo>
                    <a:pt x="270" y="424"/>
                  </a:lnTo>
                  <a:lnTo>
                    <a:pt x="271" y="496"/>
                  </a:lnTo>
                  <a:lnTo>
                    <a:pt x="272" y="567"/>
                  </a:lnTo>
                  <a:lnTo>
                    <a:pt x="271" y="639"/>
                  </a:lnTo>
                  <a:lnTo>
                    <a:pt x="270" y="710"/>
                  </a:lnTo>
                  <a:lnTo>
                    <a:pt x="268" y="782"/>
                  </a:lnTo>
                  <a:lnTo>
                    <a:pt x="265" y="854"/>
                  </a:lnTo>
                  <a:lnTo>
                    <a:pt x="261" y="925"/>
                  </a:lnTo>
                  <a:lnTo>
                    <a:pt x="256" y="997"/>
                  </a:lnTo>
                  <a:lnTo>
                    <a:pt x="250" y="1069"/>
                  </a:lnTo>
                  <a:lnTo>
                    <a:pt x="243" y="1141"/>
                  </a:lnTo>
                  <a:lnTo>
                    <a:pt x="235" y="1213"/>
                  </a:lnTo>
                  <a:lnTo>
                    <a:pt x="227" y="1285"/>
                  </a:lnTo>
                  <a:lnTo>
                    <a:pt x="217" y="1357"/>
                  </a:lnTo>
                  <a:lnTo>
                    <a:pt x="205" y="1429"/>
                  </a:lnTo>
                  <a:lnTo>
                    <a:pt x="194" y="1502"/>
                  </a:lnTo>
                  <a:lnTo>
                    <a:pt x="182" y="1574"/>
                  </a:lnTo>
                  <a:lnTo>
                    <a:pt x="167" y="1646"/>
                  </a:lnTo>
                  <a:lnTo>
                    <a:pt x="153" y="1718"/>
                  </a:lnTo>
                  <a:lnTo>
                    <a:pt x="137" y="1790"/>
                  </a:lnTo>
                  <a:lnTo>
                    <a:pt x="121" y="1862"/>
                  </a:lnTo>
                  <a:lnTo>
                    <a:pt x="103" y="1934"/>
                  </a:lnTo>
                  <a:lnTo>
                    <a:pt x="84" y="2006"/>
                  </a:lnTo>
                  <a:lnTo>
                    <a:pt x="65" y="2078"/>
                  </a:lnTo>
                  <a:lnTo>
                    <a:pt x="44" y="2150"/>
                  </a:lnTo>
                  <a:lnTo>
                    <a:pt x="22" y="2221"/>
                  </a:lnTo>
                  <a:lnTo>
                    <a:pt x="0" y="2293"/>
                  </a:lnTo>
                  <a:lnTo>
                    <a:pt x="0" y="2293"/>
                  </a:lnTo>
                  <a:lnTo>
                    <a:pt x="53" y="2255"/>
                  </a:lnTo>
                  <a:lnTo>
                    <a:pt x="108" y="2216"/>
                  </a:lnTo>
                  <a:lnTo>
                    <a:pt x="162" y="2179"/>
                  </a:lnTo>
                  <a:lnTo>
                    <a:pt x="218" y="2142"/>
                  </a:lnTo>
                  <a:lnTo>
                    <a:pt x="273" y="2106"/>
                  </a:lnTo>
                  <a:lnTo>
                    <a:pt x="329" y="2071"/>
                  </a:lnTo>
                  <a:lnTo>
                    <a:pt x="385" y="2036"/>
                  </a:lnTo>
                  <a:lnTo>
                    <a:pt x="443" y="2001"/>
                  </a:lnTo>
                  <a:lnTo>
                    <a:pt x="500" y="1969"/>
                  </a:lnTo>
                  <a:lnTo>
                    <a:pt x="559" y="1935"/>
                  </a:lnTo>
                  <a:lnTo>
                    <a:pt x="617" y="1904"/>
                  </a:lnTo>
                  <a:lnTo>
                    <a:pt x="675" y="1872"/>
                  </a:lnTo>
                  <a:lnTo>
                    <a:pt x="735" y="1842"/>
                  </a:lnTo>
                  <a:lnTo>
                    <a:pt x="795" y="1811"/>
                  </a:lnTo>
                  <a:lnTo>
                    <a:pt x="854" y="1782"/>
                  </a:lnTo>
                  <a:lnTo>
                    <a:pt x="915" y="1753"/>
                  </a:lnTo>
                  <a:lnTo>
                    <a:pt x="915" y="1753"/>
                  </a:lnTo>
                  <a:close/>
                </a:path>
              </a:pathLst>
            </a:custGeom>
            <a:solidFill>
              <a:srgbClr val="BCC8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10" name="Freeform 10"/>
            <p:cNvSpPr>
              <a:spLocks/>
            </p:cNvSpPr>
            <p:nvPr userDrawn="1"/>
          </p:nvSpPr>
          <p:spPr bwMode="auto">
            <a:xfrm flipH="1">
              <a:off x="0" y="3640138"/>
              <a:ext cx="1453319" cy="857250"/>
            </a:xfrm>
            <a:custGeom>
              <a:avLst/>
              <a:gdLst>
                <a:gd name="T0" fmla="*/ 915 w 915"/>
                <a:gd name="T1" fmla="*/ 378 h 540"/>
                <a:gd name="T2" fmla="*/ 915 w 915"/>
                <a:gd name="T3" fmla="*/ 378 h 540"/>
                <a:gd name="T4" fmla="*/ 854 w 915"/>
                <a:gd name="T5" fmla="*/ 368 h 540"/>
                <a:gd name="T6" fmla="*/ 795 w 915"/>
                <a:gd name="T7" fmla="*/ 356 h 540"/>
                <a:gd name="T8" fmla="*/ 735 w 915"/>
                <a:gd name="T9" fmla="*/ 342 h 540"/>
                <a:gd name="T10" fmla="*/ 675 w 915"/>
                <a:gd name="T11" fmla="*/ 327 h 540"/>
                <a:gd name="T12" fmla="*/ 617 w 915"/>
                <a:gd name="T13" fmla="*/ 309 h 540"/>
                <a:gd name="T14" fmla="*/ 559 w 915"/>
                <a:gd name="T15" fmla="*/ 290 h 540"/>
                <a:gd name="T16" fmla="*/ 500 w 915"/>
                <a:gd name="T17" fmla="*/ 270 h 540"/>
                <a:gd name="T18" fmla="*/ 442 w 915"/>
                <a:gd name="T19" fmla="*/ 247 h 540"/>
                <a:gd name="T20" fmla="*/ 384 w 915"/>
                <a:gd name="T21" fmla="*/ 223 h 540"/>
                <a:gd name="T22" fmla="*/ 328 w 915"/>
                <a:gd name="T23" fmla="*/ 196 h 540"/>
                <a:gd name="T24" fmla="*/ 272 w 915"/>
                <a:gd name="T25" fmla="*/ 167 h 540"/>
                <a:gd name="T26" fmla="*/ 216 w 915"/>
                <a:gd name="T27" fmla="*/ 138 h 540"/>
                <a:gd name="T28" fmla="*/ 161 w 915"/>
                <a:gd name="T29" fmla="*/ 107 h 540"/>
                <a:gd name="T30" fmla="*/ 107 w 915"/>
                <a:gd name="T31" fmla="*/ 73 h 540"/>
                <a:gd name="T32" fmla="*/ 53 w 915"/>
                <a:gd name="T33" fmla="*/ 37 h 540"/>
                <a:gd name="T34" fmla="*/ 0 w 915"/>
                <a:gd name="T35" fmla="*/ 0 h 540"/>
                <a:gd name="T36" fmla="*/ 0 w 915"/>
                <a:gd name="T37" fmla="*/ 0 h 540"/>
                <a:gd name="T38" fmla="*/ 55 w 915"/>
                <a:gd name="T39" fmla="*/ 39 h 540"/>
                <a:gd name="T40" fmla="*/ 110 w 915"/>
                <a:gd name="T41" fmla="*/ 79 h 540"/>
                <a:gd name="T42" fmla="*/ 165 w 915"/>
                <a:gd name="T43" fmla="*/ 116 h 540"/>
                <a:gd name="T44" fmla="*/ 221 w 915"/>
                <a:gd name="T45" fmla="*/ 153 h 540"/>
                <a:gd name="T46" fmla="*/ 277 w 915"/>
                <a:gd name="T47" fmla="*/ 190 h 540"/>
                <a:gd name="T48" fmla="*/ 334 w 915"/>
                <a:gd name="T49" fmla="*/ 225 h 540"/>
                <a:gd name="T50" fmla="*/ 391 w 915"/>
                <a:gd name="T51" fmla="*/ 260 h 540"/>
                <a:gd name="T52" fmla="*/ 448 w 915"/>
                <a:gd name="T53" fmla="*/ 295 h 540"/>
                <a:gd name="T54" fmla="*/ 506 w 915"/>
                <a:gd name="T55" fmla="*/ 327 h 540"/>
                <a:gd name="T56" fmla="*/ 563 w 915"/>
                <a:gd name="T57" fmla="*/ 360 h 540"/>
                <a:gd name="T58" fmla="*/ 622 w 915"/>
                <a:gd name="T59" fmla="*/ 392 h 540"/>
                <a:gd name="T60" fmla="*/ 679 w 915"/>
                <a:gd name="T61" fmla="*/ 423 h 540"/>
                <a:gd name="T62" fmla="*/ 737 w 915"/>
                <a:gd name="T63" fmla="*/ 453 h 540"/>
                <a:gd name="T64" fmla="*/ 797 w 915"/>
                <a:gd name="T65" fmla="*/ 482 h 540"/>
                <a:gd name="T66" fmla="*/ 855 w 915"/>
                <a:gd name="T67" fmla="*/ 512 h 540"/>
                <a:gd name="T68" fmla="*/ 915 w 915"/>
                <a:gd name="T69" fmla="*/ 540 h 540"/>
                <a:gd name="T70" fmla="*/ 915 w 915"/>
                <a:gd name="T71" fmla="*/ 378 h 5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15" h="540">
                  <a:moveTo>
                    <a:pt x="915" y="378"/>
                  </a:moveTo>
                  <a:lnTo>
                    <a:pt x="915" y="378"/>
                  </a:lnTo>
                  <a:lnTo>
                    <a:pt x="854" y="368"/>
                  </a:lnTo>
                  <a:lnTo>
                    <a:pt x="795" y="356"/>
                  </a:lnTo>
                  <a:lnTo>
                    <a:pt x="735" y="342"/>
                  </a:lnTo>
                  <a:lnTo>
                    <a:pt x="675" y="327"/>
                  </a:lnTo>
                  <a:lnTo>
                    <a:pt x="617" y="309"/>
                  </a:lnTo>
                  <a:lnTo>
                    <a:pt x="559" y="290"/>
                  </a:lnTo>
                  <a:lnTo>
                    <a:pt x="500" y="270"/>
                  </a:lnTo>
                  <a:lnTo>
                    <a:pt x="442" y="247"/>
                  </a:lnTo>
                  <a:lnTo>
                    <a:pt x="384" y="223"/>
                  </a:lnTo>
                  <a:lnTo>
                    <a:pt x="328" y="196"/>
                  </a:lnTo>
                  <a:lnTo>
                    <a:pt x="272" y="167"/>
                  </a:lnTo>
                  <a:lnTo>
                    <a:pt x="216" y="138"/>
                  </a:lnTo>
                  <a:lnTo>
                    <a:pt x="161" y="107"/>
                  </a:lnTo>
                  <a:lnTo>
                    <a:pt x="107" y="73"/>
                  </a:lnTo>
                  <a:lnTo>
                    <a:pt x="53" y="37"/>
                  </a:lnTo>
                  <a:lnTo>
                    <a:pt x="0" y="0"/>
                  </a:lnTo>
                  <a:lnTo>
                    <a:pt x="0" y="0"/>
                  </a:lnTo>
                  <a:lnTo>
                    <a:pt x="55" y="39"/>
                  </a:lnTo>
                  <a:lnTo>
                    <a:pt x="110" y="79"/>
                  </a:lnTo>
                  <a:lnTo>
                    <a:pt x="165" y="116"/>
                  </a:lnTo>
                  <a:lnTo>
                    <a:pt x="221" y="153"/>
                  </a:lnTo>
                  <a:lnTo>
                    <a:pt x="277" y="190"/>
                  </a:lnTo>
                  <a:lnTo>
                    <a:pt x="334" y="225"/>
                  </a:lnTo>
                  <a:lnTo>
                    <a:pt x="391" y="260"/>
                  </a:lnTo>
                  <a:lnTo>
                    <a:pt x="448" y="295"/>
                  </a:lnTo>
                  <a:lnTo>
                    <a:pt x="506" y="327"/>
                  </a:lnTo>
                  <a:lnTo>
                    <a:pt x="563" y="360"/>
                  </a:lnTo>
                  <a:lnTo>
                    <a:pt x="622" y="392"/>
                  </a:lnTo>
                  <a:lnTo>
                    <a:pt x="679" y="423"/>
                  </a:lnTo>
                  <a:lnTo>
                    <a:pt x="737" y="453"/>
                  </a:lnTo>
                  <a:lnTo>
                    <a:pt x="797" y="482"/>
                  </a:lnTo>
                  <a:lnTo>
                    <a:pt x="855" y="512"/>
                  </a:lnTo>
                  <a:lnTo>
                    <a:pt x="915" y="540"/>
                  </a:lnTo>
                  <a:lnTo>
                    <a:pt x="915" y="378"/>
                  </a:lnTo>
                  <a:close/>
                </a:path>
              </a:pathLst>
            </a:custGeom>
            <a:solidFill>
              <a:srgbClr val="5876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11" name="Freeform 11"/>
            <p:cNvSpPr>
              <a:spLocks/>
            </p:cNvSpPr>
            <p:nvPr userDrawn="1"/>
          </p:nvSpPr>
          <p:spPr bwMode="auto">
            <a:xfrm flipH="1">
              <a:off x="1453319" y="0"/>
              <a:ext cx="2912992" cy="3640138"/>
            </a:xfrm>
            <a:custGeom>
              <a:avLst/>
              <a:gdLst>
                <a:gd name="T0" fmla="*/ 1065 w 1834"/>
                <a:gd name="T1" fmla="*/ 1236 h 2293"/>
                <a:gd name="T2" fmla="*/ 1042 w 1834"/>
                <a:gd name="T3" fmla="*/ 1163 h 2293"/>
                <a:gd name="T4" fmla="*/ 1023 w 1834"/>
                <a:gd name="T5" fmla="*/ 1089 h 2293"/>
                <a:gd name="T6" fmla="*/ 1005 w 1834"/>
                <a:gd name="T7" fmla="*/ 1014 h 2293"/>
                <a:gd name="T8" fmla="*/ 992 w 1834"/>
                <a:gd name="T9" fmla="*/ 938 h 2293"/>
                <a:gd name="T10" fmla="*/ 979 w 1834"/>
                <a:gd name="T11" fmla="*/ 862 h 2293"/>
                <a:gd name="T12" fmla="*/ 970 w 1834"/>
                <a:gd name="T13" fmla="*/ 785 h 2293"/>
                <a:gd name="T14" fmla="*/ 965 w 1834"/>
                <a:gd name="T15" fmla="*/ 708 h 2293"/>
                <a:gd name="T16" fmla="*/ 961 w 1834"/>
                <a:gd name="T17" fmla="*/ 630 h 2293"/>
                <a:gd name="T18" fmla="*/ 961 w 1834"/>
                <a:gd name="T19" fmla="*/ 551 h 2293"/>
                <a:gd name="T20" fmla="*/ 963 w 1834"/>
                <a:gd name="T21" fmla="*/ 473 h 2293"/>
                <a:gd name="T22" fmla="*/ 969 w 1834"/>
                <a:gd name="T23" fmla="*/ 394 h 2293"/>
                <a:gd name="T24" fmla="*/ 978 w 1834"/>
                <a:gd name="T25" fmla="*/ 315 h 2293"/>
                <a:gd name="T26" fmla="*/ 990 w 1834"/>
                <a:gd name="T27" fmla="*/ 236 h 2293"/>
                <a:gd name="T28" fmla="*/ 1005 w 1834"/>
                <a:gd name="T29" fmla="*/ 158 h 2293"/>
                <a:gd name="T30" fmla="*/ 1023 w 1834"/>
                <a:gd name="T31" fmla="*/ 79 h 2293"/>
                <a:gd name="T32" fmla="*/ 1043 w 1834"/>
                <a:gd name="T33" fmla="*/ 0 h 2293"/>
                <a:gd name="T34" fmla="*/ 0 w 1834"/>
                <a:gd name="T35" fmla="*/ 0 h 2293"/>
                <a:gd name="T36" fmla="*/ 79 w 1834"/>
                <a:gd name="T37" fmla="*/ 174 h 2293"/>
                <a:gd name="T38" fmla="*/ 162 w 1834"/>
                <a:gd name="T39" fmla="*/ 345 h 2293"/>
                <a:gd name="T40" fmla="*/ 252 w 1834"/>
                <a:gd name="T41" fmla="*/ 512 h 2293"/>
                <a:gd name="T42" fmla="*/ 346 w 1834"/>
                <a:gd name="T43" fmla="*/ 675 h 2293"/>
                <a:gd name="T44" fmla="*/ 445 w 1834"/>
                <a:gd name="T45" fmla="*/ 835 h 2293"/>
                <a:gd name="T46" fmla="*/ 550 w 1834"/>
                <a:gd name="T47" fmla="*/ 989 h 2293"/>
                <a:gd name="T48" fmla="*/ 659 w 1834"/>
                <a:gd name="T49" fmla="*/ 1140 h 2293"/>
                <a:gd name="T50" fmla="*/ 773 w 1834"/>
                <a:gd name="T51" fmla="*/ 1286 h 2293"/>
                <a:gd name="T52" fmla="*/ 891 w 1834"/>
                <a:gd name="T53" fmla="*/ 1428 h 2293"/>
                <a:gd name="T54" fmla="*/ 1014 w 1834"/>
                <a:gd name="T55" fmla="*/ 1565 h 2293"/>
                <a:gd name="T56" fmla="*/ 1141 w 1834"/>
                <a:gd name="T57" fmla="*/ 1699 h 2293"/>
                <a:gd name="T58" fmla="*/ 1272 w 1834"/>
                <a:gd name="T59" fmla="*/ 1827 h 2293"/>
                <a:gd name="T60" fmla="*/ 1406 w 1834"/>
                <a:gd name="T61" fmla="*/ 1951 h 2293"/>
                <a:gd name="T62" fmla="*/ 1545 w 1834"/>
                <a:gd name="T63" fmla="*/ 2069 h 2293"/>
                <a:gd name="T64" fmla="*/ 1688 w 1834"/>
                <a:gd name="T65" fmla="*/ 2184 h 2293"/>
                <a:gd name="T66" fmla="*/ 1834 w 1834"/>
                <a:gd name="T67" fmla="*/ 2293 h 2293"/>
                <a:gd name="T68" fmla="*/ 1801 w 1834"/>
                <a:gd name="T69" fmla="*/ 2269 h 2293"/>
                <a:gd name="T70" fmla="*/ 1737 w 1834"/>
                <a:gd name="T71" fmla="*/ 2219 h 2293"/>
                <a:gd name="T72" fmla="*/ 1675 w 1834"/>
                <a:gd name="T73" fmla="*/ 2167 h 2293"/>
                <a:gd name="T74" fmla="*/ 1616 w 1834"/>
                <a:gd name="T75" fmla="*/ 2112 h 2293"/>
                <a:gd name="T76" fmla="*/ 1557 w 1834"/>
                <a:gd name="T77" fmla="*/ 2054 h 2293"/>
                <a:gd name="T78" fmla="*/ 1502 w 1834"/>
                <a:gd name="T79" fmla="*/ 1995 h 2293"/>
                <a:gd name="T80" fmla="*/ 1448 w 1834"/>
                <a:gd name="T81" fmla="*/ 1933 h 2293"/>
                <a:gd name="T82" fmla="*/ 1396 w 1834"/>
                <a:gd name="T83" fmla="*/ 1869 h 2293"/>
                <a:gd name="T84" fmla="*/ 1348 w 1834"/>
                <a:gd name="T85" fmla="*/ 1801 h 2293"/>
                <a:gd name="T86" fmla="*/ 1301 w 1834"/>
                <a:gd name="T87" fmla="*/ 1733 h 2293"/>
                <a:gd name="T88" fmla="*/ 1257 w 1834"/>
                <a:gd name="T89" fmla="*/ 1662 h 2293"/>
                <a:gd name="T90" fmla="*/ 1216 w 1834"/>
                <a:gd name="T91" fmla="*/ 1590 h 2293"/>
                <a:gd name="T92" fmla="*/ 1177 w 1834"/>
                <a:gd name="T93" fmla="*/ 1514 h 2293"/>
                <a:gd name="T94" fmla="*/ 1142 w 1834"/>
                <a:gd name="T95" fmla="*/ 1437 h 2293"/>
                <a:gd name="T96" fmla="*/ 1108 w 1834"/>
                <a:gd name="T97" fmla="*/ 1358 h 2293"/>
                <a:gd name="T98" fmla="*/ 1079 w 1834"/>
                <a:gd name="T99" fmla="*/ 1277 h 2293"/>
                <a:gd name="T100" fmla="*/ 1065 w 1834"/>
                <a:gd name="T101" fmla="*/ 1236 h 2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834" h="2293">
                  <a:moveTo>
                    <a:pt x="1065" y="1236"/>
                  </a:moveTo>
                  <a:lnTo>
                    <a:pt x="1065" y="1236"/>
                  </a:lnTo>
                  <a:lnTo>
                    <a:pt x="1053" y="1199"/>
                  </a:lnTo>
                  <a:lnTo>
                    <a:pt x="1042" y="1163"/>
                  </a:lnTo>
                  <a:lnTo>
                    <a:pt x="1032" y="1126"/>
                  </a:lnTo>
                  <a:lnTo>
                    <a:pt x="1023" y="1089"/>
                  </a:lnTo>
                  <a:lnTo>
                    <a:pt x="1014" y="1051"/>
                  </a:lnTo>
                  <a:lnTo>
                    <a:pt x="1005" y="1014"/>
                  </a:lnTo>
                  <a:lnTo>
                    <a:pt x="998" y="975"/>
                  </a:lnTo>
                  <a:lnTo>
                    <a:pt x="992" y="938"/>
                  </a:lnTo>
                  <a:lnTo>
                    <a:pt x="985" y="900"/>
                  </a:lnTo>
                  <a:lnTo>
                    <a:pt x="979" y="862"/>
                  </a:lnTo>
                  <a:lnTo>
                    <a:pt x="975" y="824"/>
                  </a:lnTo>
                  <a:lnTo>
                    <a:pt x="970" y="785"/>
                  </a:lnTo>
                  <a:lnTo>
                    <a:pt x="967" y="746"/>
                  </a:lnTo>
                  <a:lnTo>
                    <a:pt x="965" y="708"/>
                  </a:lnTo>
                  <a:lnTo>
                    <a:pt x="962" y="668"/>
                  </a:lnTo>
                  <a:lnTo>
                    <a:pt x="961" y="630"/>
                  </a:lnTo>
                  <a:lnTo>
                    <a:pt x="961" y="591"/>
                  </a:lnTo>
                  <a:lnTo>
                    <a:pt x="961" y="551"/>
                  </a:lnTo>
                  <a:lnTo>
                    <a:pt x="962" y="512"/>
                  </a:lnTo>
                  <a:lnTo>
                    <a:pt x="963" y="473"/>
                  </a:lnTo>
                  <a:lnTo>
                    <a:pt x="967" y="433"/>
                  </a:lnTo>
                  <a:lnTo>
                    <a:pt x="969" y="394"/>
                  </a:lnTo>
                  <a:lnTo>
                    <a:pt x="974" y="354"/>
                  </a:lnTo>
                  <a:lnTo>
                    <a:pt x="978" y="315"/>
                  </a:lnTo>
                  <a:lnTo>
                    <a:pt x="984" y="276"/>
                  </a:lnTo>
                  <a:lnTo>
                    <a:pt x="990" y="236"/>
                  </a:lnTo>
                  <a:lnTo>
                    <a:pt x="997" y="197"/>
                  </a:lnTo>
                  <a:lnTo>
                    <a:pt x="1005" y="158"/>
                  </a:lnTo>
                  <a:lnTo>
                    <a:pt x="1013" y="118"/>
                  </a:lnTo>
                  <a:lnTo>
                    <a:pt x="1023" y="79"/>
                  </a:lnTo>
                  <a:lnTo>
                    <a:pt x="1033" y="39"/>
                  </a:lnTo>
                  <a:lnTo>
                    <a:pt x="104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38" y="88"/>
                  </a:lnTo>
                  <a:lnTo>
                    <a:pt x="79" y="174"/>
                  </a:lnTo>
                  <a:lnTo>
                    <a:pt x="120" y="260"/>
                  </a:lnTo>
                  <a:lnTo>
                    <a:pt x="162" y="345"/>
                  </a:lnTo>
                  <a:lnTo>
                    <a:pt x="207" y="430"/>
                  </a:lnTo>
                  <a:lnTo>
                    <a:pt x="252" y="512"/>
                  </a:lnTo>
                  <a:lnTo>
                    <a:pt x="298" y="594"/>
                  </a:lnTo>
                  <a:lnTo>
                    <a:pt x="346" y="675"/>
                  </a:lnTo>
                  <a:lnTo>
                    <a:pt x="396" y="755"/>
                  </a:lnTo>
                  <a:lnTo>
                    <a:pt x="445" y="835"/>
                  </a:lnTo>
                  <a:lnTo>
                    <a:pt x="497" y="912"/>
                  </a:lnTo>
                  <a:lnTo>
                    <a:pt x="550" y="989"/>
                  </a:lnTo>
                  <a:lnTo>
                    <a:pt x="604" y="1065"/>
                  </a:lnTo>
                  <a:lnTo>
                    <a:pt x="659" y="1140"/>
                  </a:lnTo>
                  <a:lnTo>
                    <a:pt x="716" y="1214"/>
                  </a:lnTo>
                  <a:lnTo>
                    <a:pt x="773" y="1286"/>
                  </a:lnTo>
                  <a:lnTo>
                    <a:pt x="832" y="1358"/>
                  </a:lnTo>
                  <a:lnTo>
                    <a:pt x="891" y="1428"/>
                  </a:lnTo>
                  <a:lnTo>
                    <a:pt x="952" y="1497"/>
                  </a:lnTo>
                  <a:lnTo>
                    <a:pt x="1014" y="1565"/>
                  </a:lnTo>
                  <a:lnTo>
                    <a:pt x="1077" y="1632"/>
                  </a:lnTo>
                  <a:lnTo>
                    <a:pt x="1141" y="1699"/>
                  </a:lnTo>
                  <a:lnTo>
                    <a:pt x="1206" y="1763"/>
                  </a:lnTo>
                  <a:lnTo>
                    <a:pt x="1272" y="1827"/>
                  </a:lnTo>
                  <a:lnTo>
                    <a:pt x="1339" y="1889"/>
                  </a:lnTo>
                  <a:lnTo>
                    <a:pt x="1406" y="1951"/>
                  </a:lnTo>
                  <a:lnTo>
                    <a:pt x="1475" y="2010"/>
                  </a:lnTo>
                  <a:lnTo>
                    <a:pt x="1545" y="2069"/>
                  </a:lnTo>
                  <a:lnTo>
                    <a:pt x="1616" y="2127"/>
                  </a:lnTo>
                  <a:lnTo>
                    <a:pt x="1688" y="2184"/>
                  </a:lnTo>
                  <a:lnTo>
                    <a:pt x="1760" y="2239"/>
                  </a:lnTo>
                  <a:lnTo>
                    <a:pt x="1834" y="2293"/>
                  </a:lnTo>
                  <a:lnTo>
                    <a:pt x="1834" y="2293"/>
                  </a:lnTo>
                  <a:lnTo>
                    <a:pt x="1801" y="2269"/>
                  </a:lnTo>
                  <a:lnTo>
                    <a:pt x="1769" y="2244"/>
                  </a:lnTo>
                  <a:lnTo>
                    <a:pt x="1737" y="2219"/>
                  </a:lnTo>
                  <a:lnTo>
                    <a:pt x="1706" y="2193"/>
                  </a:lnTo>
                  <a:lnTo>
                    <a:pt x="1675" y="2167"/>
                  </a:lnTo>
                  <a:lnTo>
                    <a:pt x="1645" y="2139"/>
                  </a:lnTo>
                  <a:lnTo>
                    <a:pt x="1616" y="2112"/>
                  </a:lnTo>
                  <a:lnTo>
                    <a:pt x="1586" y="2084"/>
                  </a:lnTo>
                  <a:lnTo>
                    <a:pt x="1557" y="2054"/>
                  </a:lnTo>
                  <a:lnTo>
                    <a:pt x="1529" y="2025"/>
                  </a:lnTo>
                  <a:lnTo>
                    <a:pt x="1502" y="1995"/>
                  </a:lnTo>
                  <a:lnTo>
                    <a:pt x="1475" y="1963"/>
                  </a:lnTo>
                  <a:lnTo>
                    <a:pt x="1448" y="1933"/>
                  </a:lnTo>
                  <a:lnTo>
                    <a:pt x="1422" y="1900"/>
                  </a:lnTo>
                  <a:lnTo>
                    <a:pt x="1396" y="1869"/>
                  </a:lnTo>
                  <a:lnTo>
                    <a:pt x="1372" y="1835"/>
                  </a:lnTo>
                  <a:lnTo>
                    <a:pt x="1348" y="1801"/>
                  </a:lnTo>
                  <a:lnTo>
                    <a:pt x="1324" y="1767"/>
                  </a:lnTo>
                  <a:lnTo>
                    <a:pt x="1301" y="1733"/>
                  </a:lnTo>
                  <a:lnTo>
                    <a:pt x="1279" y="1698"/>
                  </a:lnTo>
                  <a:lnTo>
                    <a:pt x="1257" y="1662"/>
                  </a:lnTo>
                  <a:lnTo>
                    <a:pt x="1237" y="1626"/>
                  </a:lnTo>
                  <a:lnTo>
                    <a:pt x="1216" y="1590"/>
                  </a:lnTo>
                  <a:lnTo>
                    <a:pt x="1196" y="1551"/>
                  </a:lnTo>
                  <a:lnTo>
                    <a:pt x="1177" y="1514"/>
                  </a:lnTo>
                  <a:lnTo>
                    <a:pt x="1159" y="1476"/>
                  </a:lnTo>
                  <a:lnTo>
                    <a:pt x="1142" y="1437"/>
                  </a:lnTo>
                  <a:lnTo>
                    <a:pt x="1125" y="1398"/>
                  </a:lnTo>
                  <a:lnTo>
                    <a:pt x="1108" y="1358"/>
                  </a:lnTo>
                  <a:lnTo>
                    <a:pt x="1094" y="1319"/>
                  </a:lnTo>
                  <a:lnTo>
                    <a:pt x="1079" y="1277"/>
                  </a:lnTo>
                  <a:lnTo>
                    <a:pt x="1065" y="1236"/>
                  </a:lnTo>
                  <a:lnTo>
                    <a:pt x="1065" y="1236"/>
                  </a:lnTo>
                  <a:close/>
                </a:path>
              </a:pathLst>
            </a:custGeom>
            <a:solidFill>
              <a:srgbClr val="5876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12" name="Freeform 12"/>
            <p:cNvSpPr>
              <a:spLocks/>
            </p:cNvSpPr>
            <p:nvPr userDrawn="1"/>
          </p:nvSpPr>
          <p:spPr bwMode="auto">
            <a:xfrm flipH="1">
              <a:off x="1453319" y="3640138"/>
              <a:ext cx="1605799" cy="1503363"/>
            </a:xfrm>
            <a:custGeom>
              <a:avLst/>
              <a:gdLst>
                <a:gd name="T0" fmla="*/ 603 w 1011"/>
                <a:gd name="T1" fmla="*/ 947 h 947"/>
                <a:gd name="T2" fmla="*/ 603 w 1011"/>
                <a:gd name="T3" fmla="*/ 947 h 947"/>
                <a:gd name="T4" fmla="*/ 633 w 1011"/>
                <a:gd name="T5" fmla="*/ 890 h 947"/>
                <a:gd name="T6" fmla="*/ 663 w 1011"/>
                <a:gd name="T7" fmla="*/ 832 h 947"/>
                <a:gd name="T8" fmla="*/ 693 w 1011"/>
                <a:gd name="T9" fmla="*/ 775 h 947"/>
                <a:gd name="T10" fmla="*/ 722 w 1011"/>
                <a:gd name="T11" fmla="*/ 716 h 947"/>
                <a:gd name="T12" fmla="*/ 750 w 1011"/>
                <a:gd name="T13" fmla="*/ 658 h 947"/>
                <a:gd name="T14" fmla="*/ 777 w 1011"/>
                <a:gd name="T15" fmla="*/ 599 h 947"/>
                <a:gd name="T16" fmla="*/ 803 w 1011"/>
                <a:gd name="T17" fmla="*/ 541 h 947"/>
                <a:gd name="T18" fmla="*/ 829 w 1011"/>
                <a:gd name="T19" fmla="*/ 481 h 947"/>
                <a:gd name="T20" fmla="*/ 854 w 1011"/>
                <a:gd name="T21" fmla="*/ 423 h 947"/>
                <a:gd name="T22" fmla="*/ 878 w 1011"/>
                <a:gd name="T23" fmla="*/ 363 h 947"/>
                <a:gd name="T24" fmla="*/ 903 w 1011"/>
                <a:gd name="T25" fmla="*/ 302 h 947"/>
                <a:gd name="T26" fmla="*/ 925 w 1011"/>
                <a:gd name="T27" fmla="*/ 243 h 947"/>
                <a:gd name="T28" fmla="*/ 948 w 1011"/>
                <a:gd name="T29" fmla="*/ 182 h 947"/>
                <a:gd name="T30" fmla="*/ 969 w 1011"/>
                <a:gd name="T31" fmla="*/ 121 h 947"/>
                <a:gd name="T32" fmla="*/ 990 w 1011"/>
                <a:gd name="T33" fmla="*/ 61 h 947"/>
                <a:gd name="T34" fmla="*/ 1011 w 1011"/>
                <a:gd name="T35" fmla="*/ 0 h 947"/>
                <a:gd name="T36" fmla="*/ 1011 w 1011"/>
                <a:gd name="T37" fmla="*/ 0 h 947"/>
                <a:gd name="T38" fmla="*/ 1011 w 1011"/>
                <a:gd name="T39" fmla="*/ 0 h 947"/>
                <a:gd name="T40" fmla="*/ 939 w 1011"/>
                <a:gd name="T41" fmla="*/ 53 h 947"/>
                <a:gd name="T42" fmla="*/ 868 w 1011"/>
                <a:gd name="T43" fmla="*/ 107 h 947"/>
                <a:gd name="T44" fmla="*/ 799 w 1011"/>
                <a:gd name="T45" fmla="*/ 161 h 947"/>
                <a:gd name="T46" fmla="*/ 731 w 1011"/>
                <a:gd name="T47" fmla="*/ 217 h 947"/>
                <a:gd name="T48" fmla="*/ 664 w 1011"/>
                <a:gd name="T49" fmla="*/ 273 h 947"/>
                <a:gd name="T50" fmla="*/ 598 w 1011"/>
                <a:gd name="T51" fmla="*/ 329 h 947"/>
                <a:gd name="T52" fmla="*/ 533 w 1011"/>
                <a:gd name="T53" fmla="*/ 388 h 947"/>
                <a:gd name="T54" fmla="*/ 470 w 1011"/>
                <a:gd name="T55" fmla="*/ 446 h 947"/>
                <a:gd name="T56" fmla="*/ 407 w 1011"/>
                <a:gd name="T57" fmla="*/ 507 h 947"/>
                <a:gd name="T58" fmla="*/ 345 w 1011"/>
                <a:gd name="T59" fmla="*/ 567 h 947"/>
                <a:gd name="T60" fmla="*/ 284 w 1011"/>
                <a:gd name="T61" fmla="*/ 629 h 947"/>
                <a:gd name="T62" fmla="*/ 226 w 1011"/>
                <a:gd name="T63" fmla="*/ 691 h 947"/>
                <a:gd name="T64" fmla="*/ 167 w 1011"/>
                <a:gd name="T65" fmla="*/ 754 h 947"/>
                <a:gd name="T66" fmla="*/ 110 w 1011"/>
                <a:gd name="T67" fmla="*/ 818 h 947"/>
                <a:gd name="T68" fmla="*/ 54 w 1011"/>
                <a:gd name="T69" fmla="*/ 882 h 947"/>
                <a:gd name="T70" fmla="*/ 0 w 1011"/>
                <a:gd name="T71" fmla="*/ 947 h 947"/>
                <a:gd name="T72" fmla="*/ 603 w 1011"/>
                <a:gd name="T73" fmla="*/ 947 h 9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011" h="947">
                  <a:moveTo>
                    <a:pt x="603" y="947"/>
                  </a:moveTo>
                  <a:lnTo>
                    <a:pt x="603" y="947"/>
                  </a:lnTo>
                  <a:lnTo>
                    <a:pt x="633" y="890"/>
                  </a:lnTo>
                  <a:lnTo>
                    <a:pt x="663" y="832"/>
                  </a:lnTo>
                  <a:lnTo>
                    <a:pt x="693" y="775"/>
                  </a:lnTo>
                  <a:lnTo>
                    <a:pt x="722" y="716"/>
                  </a:lnTo>
                  <a:lnTo>
                    <a:pt x="750" y="658"/>
                  </a:lnTo>
                  <a:lnTo>
                    <a:pt x="777" y="599"/>
                  </a:lnTo>
                  <a:lnTo>
                    <a:pt x="803" y="541"/>
                  </a:lnTo>
                  <a:lnTo>
                    <a:pt x="829" y="481"/>
                  </a:lnTo>
                  <a:lnTo>
                    <a:pt x="854" y="423"/>
                  </a:lnTo>
                  <a:lnTo>
                    <a:pt x="878" y="363"/>
                  </a:lnTo>
                  <a:lnTo>
                    <a:pt x="903" y="302"/>
                  </a:lnTo>
                  <a:lnTo>
                    <a:pt x="925" y="243"/>
                  </a:lnTo>
                  <a:lnTo>
                    <a:pt x="948" y="182"/>
                  </a:lnTo>
                  <a:lnTo>
                    <a:pt x="969" y="121"/>
                  </a:lnTo>
                  <a:lnTo>
                    <a:pt x="990" y="61"/>
                  </a:lnTo>
                  <a:lnTo>
                    <a:pt x="1011" y="0"/>
                  </a:lnTo>
                  <a:lnTo>
                    <a:pt x="1011" y="0"/>
                  </a:lnTo>
                  <a:lnTo>
                    <a:pt x="1011" y="0"/>
                  </a:lnTo>
                  <a:lnTo>
                    <a:pt x="939" y="53"/>
                  </a:lnTo>
                  <a:lnTo>
                    <a:pt x="868" y="107"/>
                  </a:lnTo>
                  <a:lnTo>
                    <a:pt x="799" y="161"/>
                  </a:lnTo>
                  <a:lnTo>
                    <a:pt x="731" y="217"/>
                  </a:lnTo>
                  <a:lnTo>
                    <a:pt x="664" y="273"/>
                  </a:lnTo>
                  <a:lnTo>
                    <a:pt x="598" y="329"/>
                  </a:lnTo>
                  <a:lnTo>
                    <a:pt x="533" y="388"/>
                  </a:lnTo>
                  <a:lnTo>
                    <a:pt x="470" y="446"/>
                  </a:lnTo>
                  <a:lnTo>
                    <a:pt x="407" y="507"/>
                  </a:lnTo>
                  <a:lnTo>
                    <a:pt x="345" y="567"/>
                  </a:lnTo>
                  <a:lnTo>
                    <a:pt x="284" y="629"/>
                  </a:lnTo>
                  <a:lnTo>
                    <a:pt x="226" y="691"/>
                  </a:lnTo>
                  <a:lnTo>
                    <a:pt x="167" y="754"/>
                  </a:lnTo>
                  <a:lnTo>
                    <a:pt x="110" y="818"/>
                  </a:lnTo>
                  <a:lnTo>
                    <a:pt x="54" y="882"/>
                  </a:lnTo>
                  <a:lnTo>
                    <a:pt x="0" y="947"/>
                  </a:lnTo>
                  <a:lnTo>
                    <a:pt x="603" y="947"/>
                  </a:lnTo>
                  <a:close/>
                </a:path>
              </a:pathLst>
            </a:custGeom>
            <a:solidFill>
              <a:srgbClr val="5876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</p:grpSp>
      <p:grpSp>
        <p:nvGrpSpPr>
          <p:cNvPr id="51" name="Group 50"/>
          <p:cNvGrpSpPr/>
          <p:nvPr userDrawn="1"/>
        </p:nvGrpSpPr>
        <p:grpSpPr>
          <a:xfrm>
            <a:off x="433680" y="5907923"/>
            <a:ext cx="2057288" cy="600839"/>
            <a:chOff x="5743821" y="366879"/>
            <a:chExt cx="3076574" cy="898527"/>
          </a:xfrm>
        </p:grpSpPr>
        <p:sp>
          <p:nvSpPr>
            <p:cNvPr id="52" name="Freeform 5"/>
            <p:cNvSpPr>
              <a:spLocks/>
            </p:cNvSpPr>
            <p:nvPr userDrawn="1"/>
          </p:nvSpPr>
          <p:spPr bwMode="auto">
            <a:xfrm>
              <a:off x="6569320" y="633580"/>
              <a:ext cx="160338" cy="141289"/>
            </a:xfrm>
            <a:custGeom>
              <a:avLst/>
              <a:gdLst>
                <a:gd name="T0" fmla="*/ 623 w 1210"/>
                <a:gd name="T1" fmla="*/ 1065 h 1065"/>
                <a:gd name="T2" fmla="*/ 211 w 1210"/>
                <a:gd name="T3" fmla="*/ 202 h 1065"/>
                <a:gd name="T4" fmla="*/ 194 w 1210"/>
                <a:gd name="T5" fmla="*/ 163 h 1065"/>
                <a:gd name="T6" fmla="*/ 177 w 1210"/>
                <a:gd name="T7" fmla="*/ 131 h 1065"/>
                <a:gd name="T8" fmla="*/ 160 w 1210"/>
                <a:gd name="T9" fmla="*/ 105 h 1065"/>
                <a:gd name="T10" fmla="*/ 139 w 1210"/>
                <a:gd name="T11" fmla="*/ 84 h 1065"/>
                <a:gd name="T12" fmla="*/ 115 w 1210"/>
                <a:gd name="T13" fmla="*/ 69 h 1065"/>
                <a:gd name="T14" fmla="*/ 84 w 1210"/>
                <a:gd name="T15" fmla="*/ 59 h 1065"/>
                <a:gd name="T16" fmla="*/ 47 w 1210"/>
                <a:gd name="T17" fmla="*/ 52 h 1065"/>
                <a:gd name="T18" fmla="*/ 0 w 1210"/>
                <a:gd name="T19" fmla="*/ 50 h 1065"/>
                <a:gd name="T20" fmla="*/ 566 w 1210"/>
                <a:gd name="T21" fmla="*/ 0 h 1065"/>
                <a:gd name="T22" fmla="*/ 566 w 1210"/>
                <a:gd name="T23" fmla="*/ 50 h 1065"/>
                <a:gd name="T24" fmla="*/ 516 w 1210"/>
                <a:gd name="T25" fmla="*/ 52 h 1065"/>
                <a:gd name="T26" fmla="*/ 477 w 1210"/>
                <a:gd name="T27" fmla="*/ 58 h 1065"/>
                <a:gd name="T28" fmla="*/ 448 w 1210"/>
                <a:gd name="T29" fmla="*/ 68 h 1065"/>
                <a:gd name="T30" fmla="*/ 430 w 1210"/>
                <a:gd name="T31" fmla="*/ 81 h 1065"/>
                <a:gd name="T32" fmla="*/ 421 w 1210"/>
                <a:gd name="T33" fmla="*/ 99 h 1065"/>
                <a:gd name="T34" fmla="*/ 419 w 1210"/>
                <a:gd name="T35" fmla="*/ 122 h 1065"/>
                <a:gd name="T36" fmla="*/ 425 w 1210"/>
                <a:gd name="T37" fmla="*/ 150 h 1065"/>
                <a:gd name="T38" fmla="*/ 437 w 1210"/>
                <a:gd name="T39" fmla="*/ 181 h 1065"/>
                <a:gd name="T40" fmla="*/ 922 w 1210"/>
                <a:gd name="T41" fmla="*/ 181 h 1065"/>
                <a:gd name="T42" fmla="*/ 928 w 1210"/>
                <a:gd name="T43" fmla="*/ 165 h 1065"/>
                <a:gd name="T44" fmla="*/ 937 w 1210"/>
                <a:gd name="T45" fmla="*/ 134 h 1065"/>
                <a:gd name="T46" fmla="*/ 938 w 1210"/>
                <a:gd name="T47" fmla="*/ 110 h 1065"/>
                <a:gd name="T48" fmla="*/ 932 w 1210"/>
                <a:gd name="T49" fmla="*/ 89 h 1065"/>
                <a:gd name="T50" fmla="*/ 918 w 1210"/>
                <a:gd name="T51" fmla="*/ 74 h 1065"/>
                <a:gd name="T52" fmla="*/ 894 w 1210"/>
                <a:gd name="T53" fmla="*/ 62 h 1065"/>
                <a:gd name="T54" fmla="*/ 860 w 1210"/>
                <a:gd name="T55" fmla="*/ 54 h 1065"/>
                <a:gd name="T56" fmla="*/ 817 w 1210"/>
                <a:gd name="T57" fmla="*/ 50 h 1065"/>
                <a:gd name="T58" fmla="*/ 792 w 1210"/>
                <a:gd name="T59" fmla="*/ 0 h 1065"/>
                <a:gd name="T60" fmla="*/ 1210 w 1210"/>
                <a:gd name="T61" fmla="*/ 50 h 1065"/>
                <a:gd name="T62" fmla="*/ 1189 w 1210"/>
                <a:gd name="T63" fmla="*/ 50 h 1065"/>
                <a:gd name="T64" fmla="*/ 1151 w 1210"/>
                <a:gd name="T65" fmla="*/ 53 h 1065"/>
                <a:gd name="T66" fmla="*/ 1119 w 1210"/>
                <a:gd name="T67" fmla="*/ 61 h 1065"/>
                <a:gd name="T68" fmla="*/ 1091 w 1210"/>
                <a:gd name="T69" fmla="*/ 73 h 1065"/>
                <a:gd name="T70" fmla="*/ 1068 w 1210"/>
                <a:gd name="T71" fmla="*/ 89 h 1065"/>
                <a:gd name="T72" fmla="*/ 1046 w 1210"/>
                <a:gd name="T73" fmla="*/ 113 h 1065"/>
                <a:gd name="T74" fmla="*/ 1027 w 1210"/>
                <a:gd name="T75" fmla="*/ 142 h 1065"/>
                <a:gd name="T76" fmla="*/ 1008 w 1210"/>
                <a:gd name="T77" fmla="*/ 180 h 1065"/>
                <a:gd name="T78" fmla="*/ 997 w 1210"/>
                <a:gd name="T79" fmla="*/ 202 h 10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10" h="1065">
                  <a:moveTo>
                    <a:pt x="997" y="202"/>
                  </a:moveTo>
                  <a:lnTo>
                    <a:pt x="623" y="1065"/>
                  </a:lnTo>
                  <a:lnTo>
                    <a:pt x="587" y="1065"/>
                  </a:lnTo>
                  <a:lnTo>
                    <a:pt x="211" y="202"/>
                  </a:lnTo>
                  <a:lnTo>
                    <a:pt x="211" y="202"/>
                  </a:lnTo>
                  <a:lnTo>
                    <a:pt x="194" y="163"/>
                  </a:lnTo>
                  <a:lnTo>
                    <a:pt x="185" y="146"/>
                  </a:lnTo>
                  <a:lnTo>
                    <a:pt x="177" y="131"/>
                  </a:lnTo>
                  <a:lnTo>
                    <a:pt x="168" y="117"/>
                  </a:lnTo>
                  <a:lnTo>
                    <a:pt x="160" y="105"/>
                  </a:lnTo>
                  <a:lnTo>
                    <a:pt x="150" y="93"/>
                  </a:lnTo>
                  <a:lnTo>
                    <a:pt x="139" y="84"/>
                  </a:lnTo>
                  <a:lnTo>
                    <a:pt x="128" y="76"/>
                  </a:lnTo>
                  <a:lnTo>
                    <a:pt x="115" y="69"/>
                  </a:lnTo>
                  <a:lnTo>
                    <a:pt x="101" y="63"/>
                  </a:lnTo>
                  <a:lnTo>
                    <a:pt x="84" y="59"/>
                  </a:lnTo>
                  <a:lnTo>
                    <a:pt x="67" y="54"/>
                  </a:lnTo>
                  <a:lnTo>
                    <a:pt x="47" y="52"/>
                  </a:lnTo>
                  <a:lnTo>
                    <a:pt x="25" y="50"/>
                  </a:lnTo>
                  <a:lnTo>
                    <a:pt x="0" y="50"/>
                  </a:lnTo>
                  <a:lnTo>
                    <a:pt x="0" y="0"/>
                  </a:lnTo>
                  <a:lnTo>
                    <a:pt x="566" y="0"/>
                  </a:lnTo>
                  <a:lnTo>
                    <a:pt x="566" y="50"/>
                  </a:lnTo>
                  <a:lnTo>
                    <a:pt x="566" y="50"/>
                  </a:lnTo>
                  <a:lnTo>
                    <a:pt x="539" y="50"/>
                  </a:lnTo>
                  <a:lnTo>
                    <a:pt x="516" y="52"/>
                  </a:lnTo>
                  <a:lnTo>
                    <a:pt x="494" y="54"/>
                  </a:lnTo>
                  <a:lnTo>
                    <a:pt x="477" y="58"/>
                  </a:lnTo>
                  <a:lnTo>
                    <a:pt x="460" y="63"/>
                  </a:lnTo>
                  <a:lnTo>
                    <a:pt x="448" y="68"/>
                  </a:lnTo>
                  <a:lnTo>
                    <a:pt x="438" y="74"/>
                  </a:lnTo>
                  <a:lnTo>
                    <a:pt x="430" y="81"/>
                  </a:lnTo>
                  <a:lnTo>
                    <a:pt x="424" y="90"/>
                  </a:lnTo>
                  <a:lnTo>
                    <a:pt x="421" y="99"/>
                  </a:lnTo>
                  <a:lnTo>
                    <a:pt x="419" y="111"/>
                  </a:lnTo>
                  <a:lnTo>
                    <a:pt x="419" y="122"/>
                  </a:lnTo>
                  <a:lnTo>
                    <a:pt x="421" y="135"/>
                  </a:lnTo>
                  <a:lnTo>
                    <a:pt x="425" y="150"/>
                  </a:lnTo>
                  <a:lnTo>
                    <a:pt x="430" y="165"/>
                  </a:lnTo>
                  <a:lnTo>
                    <a:pt x="437" y="181"/>
                  </a:lnTo>
                  <a:lnTo>
                    <a:pt x="678" y="742"/>
                  </a:lnTo>
                  <a:lnTo>
                    <a:pt x="922" y="181"/>
                  </a:lnTo>
                  <a:lnTo>
                    <a:pt x="922" y="181"/>
                  </a:lnTo>
                  <a:lnTo>
                    <a:pt x="928" y="165"/>
                  </a:lnTo>
                  <a:lnTo>
                    <a:pt x="933" y="149"/>
                  </a:lnTo>
                  <a:lnTo>
                    <a:pt x="937" y="134"/>
                  </a:lnTo>
                  <a:lnTo>
                    <a:pt x="938" y="122"/>
                  </a:lnTo>
                  <a:lnTo>
                    <a:pt x="938" y="110"/>
                  </a:lnTo>
                  <a:lnTo>
                    <a:pt x="936" y="98"/>
                  </a:lnTo>
                  <a:lnTo>
                    <a:pt x="932" y="89"/>
                  </a:lnTo>
                  <a:lnTo>
                    <a:pt x="926" y="81"/>
                  </a:lnTo>
                  <a:lnTo>
                    <a:pt x="918" y="74"/>
                  </a:lnTo>
                  <a:lnTo>
                    <a:pt x="906" y="67"/>
                  </a:lnTo>
                  <a:lnTo>
                    <a:pt x="894" y="62"/>
                  </a:lnTo>
                  <a:lnTo>
                    <a:pt x="879" y="58"/>
                  </a:lnTo>
                  <a:lnTo>
                    <a:pt x="860" y="54"/>
                  </a:lnTo>
                  <a:lnTo>
                    <a:pt x="841" y="52"/>
                  </a:lnTo>
                  <a:lnTo>
                    <a:pt x="817" y="50"/>
                  </a:lnTo>
                  <a:lnTo>
                    <a:pt x="792" y="50"/>
                  </a:lnTo>
                  <a:lnTo>
                    <a:pt x="792" y="0"/>
                  </a:lnTo>
                  <a:lnTo>
                    <a:pt x="1210" y="0"/>
                  </a:lnTo>
                  <a:lnTo>
                    <a:pt x="1210" y="50"/>
                  </a:lnTo>
                  <a:lnTo>
                    <a:pt x="1210" y="50"/>
                  </a:lnTo>
                  <a:lnTo>
                    <a:pt x="1189" y="50"/>
                  </a:lnTo>
                  <a:lnTo>
                    <a:pt x="1169" y="51"/>
                  </a:lnTo>
                  <a:lnTo>
                    <a:pt x="1151" y="53"/>
                  </a:lnTo>
                  <a:lnTo>
                    <a:pt x="1134" y="57"/>
                  </a:lnTo>
                  <a:lnTo>
                    <a:pt x="1119" y="61"/>
                  </a:lnTo>
                  <a:lnTo>
                    <a:pt x="1105" y="66"/>
                  </a:lnTo>
                  <a:lnTo>
                    <a:pt x="1091" y="73"/>
                  </a:lnTo>
                  <a:lnTo>
                    <a:pt x="1079" y="80"/>
                  </a:lnTo>
                  <a:lnTo>
                    <a:pt x="1068" y="89"/>
                  </a:lnTo>
                  <a:lnTo>
                    <a:pt x="1057" y="100"/>
                  </a:lnTo>
                  <a:lnTo>
                    <a:pt x="1046" y="113"/>
                  </a:lnTo>
                  <a:lnTo>
                    <a:pt x="1036" y="127"/>
                  </a:lnTo>
                  <a:lnTo>
                    <a:pt x="1027" y="142"/>
                  </a:lnTo>
                  <a:lnTo>
                    <a:pt x="1017" y="161"/>
                  </a:lnTo>
                  <a:lnTo>
                    <a:pt x="1008" y="180"/>
                  </a:lnTo>
                  <a:lnTo>
                    <a:pt x="997" y="202"/>
                  </a:lnTo>
                  <a:lnTo>
                    <a:pt x="997" y="20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53" name="Freeform 6"/>
            <p:cNvSpPr>
              <a:spLocks noEditPoints="1"/>
            </p:cNvSpPr>
            <p:nvPr userDrawn="1"/>
          </p:nvSpPr>
          <p:spPr bwMode="auto">
            <a:xfrm>
              <a:off x="6712196" y="630404"/>
              <a:ext cx="160338" cy="139699"/>
            </a:xfrm>
            <a:custGeom>
              <a:avLst/>
              <a:gdLst>
                <a:gd name="T0" fmla="*/ 289 w 1210"/>
                <a:gd name="T1" fmla="*/ 883 h 1064"/>
                <a:gd name="T2" fmla="*/ 276 w 1210"/>
                <a:gd name="T3" fmla="*/ 916 h 1064"/>
                <a:gd name="T4" fmla="*/ 271 w 1210"/>
                <a:gd name="T5" fmla="*/ 943 h 1064"/>
                <a:gd name="T6" fmla="*/ 274 w 1210"/>
                <a:gd name="T7" fmla="*/ 966 h 1064"/>
                <a:gd name="T8" fmla="*/ 284 w 1210"/>
                <a:gd name="T9" fmla="*/ 983 h 1064"/>
                <a:gd name="T10" fmla="*/ 303 w 1210"/>
                <a:gd name="T11" fmla="*/ 998 h 1064"/>
                <a:gd name="T12" fmla="*/ 331 w 1210"/>
                <a:gd name="T13" fmla="*/ 1007 h 1064"/>
                <a:gd name="T14" fmla="*/ 369 w 1210"/>
                <a:gd name="T15" fmla="*/ 1013 h 1064"/>
                <a:gd name="T16" fmla="*/ 417 w 1210"/>
                <a:gd name="T17" fmla="*/ 1014 h 1064"/>
                <a:gd name="T18" fmla="*/ 0 w 1210"/>
                <a:gd name="T19" fmla="*/ 1064 h 1064"/>
                <a:gd name="T20" fmla="*/ 0 w 1210"/>
                <a:gd name="T21" fmla="*/ 1014 h 1064"/>
                <a:gd name="T22" fmla="*/ 41 w 1210"/>
                <a:gd name="T23" fmla="*/ 1013 h 1064"/>
                <a:gd name="T24" fmla="*/ 76 w 1210"/>
                <a:gd name="T25" fmla="*/ 1008 h 1064"/>
                <a:gd name="T26" fmla="*/ 106 w 1210"/>
                <a:gd name="T27" fmla="*/ 999 h 1064"/>
                <a:gd name="T28" fmla="*/ 131 w 1210"/>
                <a:gd name="T29" fmla="*/ 984 h 1064"/>
                <a:gd name="T30" fmla="*/ 153 w 1210"/>
                <a:gd name="T31" fmla="*/ 964 h 1064"/>
                <a:gd name="T32" fmla="*/ 173 w 1210"/>
                <a:gd name="T33" fmla="*/ 938 h 1064"/>
                <a:gd name="T34" fmla="*/ 192 w 1210"/>
                <a:gd name="T35" fmla="*/ 904 h 1064"/>
                <a:gd name="T36" fmla="*/ 212 w 1210"/>
                <a:gd name="T37" fmla="*/ 863 h 1064"/>
                <a:gd name="T38" fmla="*/ 623 w 1210"/>
                <a:gd name="T39" fmla="*/ 0 h 1064"/>
                <a:gd name="T40" fmla="*/ 999 w 1210"/>
                <a:gd name="T41" fmla="*/ 863 h 1064"/>
                <a:gd name="T42" fmla="*/ 1025 w 1210"/>
                <a:gd name="T43" fmla="*/ 918 h 1064"/>
                <a:gd name="T44" fmla="*/ 1041 w 1210"/>
                <a:gd name="T45" fmla="*/ 946 h 1064"/>
                <a:gd name="T46" fmla="*/ 1060 w 1210"/>
                <a:gd name="T47" fmla="*/ 970 h 1064"/>
                <a:gd name="T48" fmla="*/ 1082 w 1210"/>
                <a:gd name="T49" fmla="*/ 988 h 1064"/>
                <a:gd name="T50" fmla="*/ 1110 w 1210"/>
                <a:gd name="T51" fmla="*/ 1002 h 1064"/>
                <a:gd name="T52" fmla="*/ 1142 w 1210"/>
                <a:gd name="T53" fmla="*/ 1010 h 1064"/>
                <a:gd name="T54" fmla="*/ 1185 w 1210"/>
                <a:gd name="T55" fmla="*/ 1014 h 1064"/>
                <a:gd name="T56" fmla="*/ 1210 w 1210"/>
                <a:gd name="T57" fmla="*/ 1064 h 1064"/>
                <a:gd name="T58" fmla="*/ 647 w 1210"/>
                <a:gd name="T59" fmla="*/ 1014 h 1064"/>
                <a:gd name="T60" fmla="*/ 674 w 1210"/>
                <a:gd name="T61" fmla="*/ 1014 h 1064"/>
                <a:gd name="T62" fmla="*/ 719 w 1210"/>
                <a:gd name="T63" fmla="*/ 1010 h 1064"/>
                <a:gd name="T64" fmla="*/ 752 w 1210"/>
                <a:gd name="T65" fmla="*/ 1003 h 1064"/>
                <a:gd name="T66" fmla="*/ 775 w 1210"/>
                <a:gd name="T67" fmla="*/ 990 h 1064"/>
                <a:gd name="T68" fmla="*/ 790 w 1210"/>
                <a:gd name="T69" fmla="*/ 974 h 1064"/>
                <a:gd name="T70" fmla="*/ 795 w 1210"/>
                <a:gd name="T71" fmla="*/ 954 h 1064"/>
                <a:gd name="T72" fmla="*/ 793 w 1210"/>
                <a:gd name="T73" fmla="*/ 929 h 1064"/>
                <a:gd name="T74" fmla="*/ 783 w 1210"/>
                <a:gd name="T75" fmla="*/ 899 h 1064"/>
                <a:gd name="T76" fmla="*/ 704 w 1210"/>
                <a:gd name="T77" fmla="*/ 719 h 1064"/>
                <a:gd name="T78" fmla="*/ 289 w 1210"/>
                <a:gd name="T79" fmla="*/ 883 h 1064"/>
                <a:gd name="T80" fmla="*/ 394 w 1210"/>
                <a:gd name="T81" fmla="*/ 642 h 1064"/>
                <a:gd name="T82" fmla="*/ 533 w 1210"/>
                <a:gd name="T83" fmla="*/ 318 h 10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210" h="1064">
                  <a:moveTo>
                    <a:pt x="289" y="883"/>
                  </a:moveTo>
                  <a:lnTo>
                    <a:pt x="289" y="883"/>
                  </a:lnTo>
                  <a:lnTo>
                    <a:pt x="281" y="900"/>
                  </a:lnTo>
                  <a:lnTo>
                    <a:pt x="276" y="916"/>
                  </a:lnTo>
                  <a:lnTo>
                    <a:pt x="273" y="930"/>
                  </a:lnTo>
                  <a:lnTo>
                    <a:pt x="271" y="943"/>
                  </a:lnTo>
                  <a:lnTo>
                    <a:pt x="272" y="955"/>
                  </a:lnTo>
                  <a:lnTo>
                    <a:pt x="274" y="966"/>
                  </a:lnTo>
                  <a:lnTo>
                    <a:pt x="278" y="975"/>
                  </a:lnTo>
                  <a:lnTo>
                    <a:pt x="284" y="983"/>
                  </a:lnTo>
                  <a:lnTo>
                    <a:pt x="293" y="991"/>
                  </a:lnTo>
                  <a:lnTo>
                    <a:pt x="303" y="998"/>
                  </a:lnTo>
                  <a:lnTo>
                    <a:pt x="316" y="1003"/>
                  </a:lnTo>
                  <a:lnTo>
                    <a:pt x="331" y="1007"/>
                  </a:lnTo>
                  <a:lnTo>
                    <a:pt x="349" y="1010"/>
                  </a:lnTo>
                  <a:lnTo>
                    <a:pt x="369" y="1013"/>
                  </a:lnTo>
                  <a:lnTo>
                    <a:pt x="392" y="1014"/>
                  </a:lnTo>
                  <a:lnTo>
                    <a:pt x="417" y="1014"/>
                  </a:lnTo>
                  <a:lnTo>
                    <a:pt x="417" y="1064"/>
                  </a:lnTo>
                  <a:lnTo>
                    <a:pt x="0" y="1064"/>
                  </a:lnTo>
                  <a:lnTo>
                    <a:pt x="0" y="1014"/>
                  </a:lnTo>
                  <a:lnTo>
                    <a:pt x="0" y="1014"/>
                  </a:lnTo>
                  <a:lnTo>
                    <a:pt x="22" y="1014"/>
                  </a:lnTo>
                  <a:lnTo>
                    <a:pt x="41" y="1013"/>
                  </a:lnTo>
                  <a:lnTo>
                    <a:pt x="59" y="1011"/>
                  </a:lnTo>
                  <a:lnTo>
                    <a:pt x="76" y="1008"/>
                  </a:lnTo>
                  <a:lnTo>
                    <a:pt x="91" y="1004"/>
                  </a:lnTo>
                  <a:lnTo>
                    <a:pt x="106" y="999"/>
                  </a:lnTo>
                  <a:lnTo>
                    <a:pt x="119" y="992"/>
                  </a:lnTo>
                  <a:lnTo>
                    <a:pt x="131" y="984"/>
                  </a:lnTo>
                  <a:lnTo>
                    <a:pt x="142" y="975"/>
                  </a:lnTo>
                  <a:lnTo>
                    <a:pt x="153" y="964"/>
                  </a:lnTo>
                  <a:lnTo>
                    <a:pt x="164" y="952"/>
                  </a:lnTo>
                  <a:lnTo>
                    <a:pt x="173" y="938"/>
                  </a:lnTo>
                  <a:lnTo>
                    <a:pt x="183" y="922"/>
                  </a:lnTo>
                  <a:lnTo>
                    <a:pt x="192" y="904"/>
                  </a:lnTo>
                  <a:lnTo>
                    <a:pt x="203" y="884"/>
                  </a:lnTo>
                  <a:lnTo>
                    <a:pt x="212" y="863"/>
                  </a:lnTo>
                  <a:lnTo>
                    <a:pt x="586" y="0"/>
                  </a:lnTo>
                  <a:lnTo>
                    <a:pt x="623" y="0"/>
                  </a:lnTo>
                  <a:lnTo>
                    <a:pt x="999" y="863"/>
                  </a:lnTo>
                  <a:lnTo>
                    <a:pt x="999" y="863"/>
                  </a:lnTo>
                  <a:lnTo>
                    <a:pt x="1017" y="900"/>
                  </a:lnTo>
                  <a:lnTo>
                    <a:pt x="1025" y="918"/>
                  </a:lnTo>
                  <a:lnTo>
                    <a:pt x="1033" y="933"/>
                  </a:lnTo>
                  <a:lnTo>
                    <a:pt x="1041" y="946"/>
                  </a:lnTo>
                  <a:lnTo>
                    <a:pt x="1050" y="959"/>
                  </a:lnTo>
                  <a:lnTo>
                    <a:pt x="1060" y="970"/>
                  </a:lnTo>
                  <a:lnTo>
                    <a:pt x="1071" y="980"/>
                  </a:lnTo>
                  <a:lnTo>
                    <a:pt x="1082" y="988"/>
                  </a:lnTo>
                  <a:lnTo>
                    <a:pt x="1095" y="995"/>
                  </a:lnTo>
                  <a:lnTo>
                    <a:pt x="1110" y="1002"/>
                  </a:lnTo>
                  <a:lnTo>
                    <a:pt x="1125" y="1006"/>
                  </a:lnTo>
                  <a:lnTo>
                    <a:pt x="1142" y="1010"/>
                  </a:lnTo>
                  <a:lnTo>
                    <a:pt x="1163" y="1012"/>
                  </a:lnTo>
                  <a:lnTo>
                    <a:pt x="1185" y="1014"/>
                  </a:lnTo>
                  <a:lnTo>
                    <a:pt x="1210" y="1014"/>
                  </a:lnTo>
                  <a:lnTo>
                    <a:pt x="1210" y="1064"/>
                  </a:lnTo>
                  <a:lnTo>
                    <a:pt x="647" y="1064"/>
                  </a:lnTo>
                  <a:lnTo>
                    <a:pt x="647" y="1014"/>
                  </a:lnTo>
                  <a:lnTo>
                    <a:pt x="647" y="1014"/>
                  </a:lnTo>
                  <a:lnTo>
                    <a:pt x="674" y="1014"/>
                  </a:lnTo>
                  <a:lnTo>
                    <a:pt x="698" y="1012"/>
                  </a:lnTo>
                  <a:lnTo>
                    <a:pt x="719" y="1010"/>
                  </a:lnTo>
                  <a:lnTo>
                    <a:pt x="736" y="1007"/>
                  </a:lnTo>
                  <a:lnTo>
                    <a:pt x="752" y="1003"/>
                  </a:lnTo>
                  <a:lnTo>
                    <a:pt x="765" y="996"/>
                  </a:lnTo>
                  <a:lnTo>
                    <a:pt x="775" y="990"/>
                  </a:lnTo>
                  <a:lnTo>
                    <a:pt x="783" y="983"/>
                  </a:lnTo>
                  <a:lnTo>
                    <a:pt x="790" y="974"/>
                  </a:lnTo>
                  <a:lnTo>
                    <a:pt x="793" y="965"/>
                  </a:lnTo>
                  <a:lnTo>
                    <a:pt x="795" y="954"/>
                  </a:lnTo>
                  <a:lnTo>
                    <a:pt x="795" y="942"/>
                  </a:lnTo>
                  <a:lnTo>
                    <a:pt x="793" y="929"/>
                  </a:lnTo>
                  <a:lnTo>
                    <a:pt x="789" y="915"/>
                  </a:lnTo>
                  <a:lnTo>
                    <a:pt x="783" y="899"/>
                  </a:lnTo>
                  <a:lnTo>
                    <a:pt x="776" y="883"/>
                  </a:lnTo>
                  <a:lnTo>
                    <a:pt x="704" y="719"/>
                  </a:lnTo>
                  <a:lnTo>
                    <a:pt x="359" y="719"/>
                  </a:lnTo>
                  <a:lnTo>
                    <a:pt x="289" y="883"/>
                  </a:lnTo>
                  <a:close/>
                  <a:moveTo>
                    <a:pt x="533" y="318"/>
                  </a:moveTo>
                  <a:lnTo>
                    <a:pt x="394" y="642"/>
                  </a:lnTo>
                  <a:lnTo>
                    <a:pt x="671" y="642"/>
                  </a:lnTo>
                  <a:lnTo>
                    <a:pt x="533" y="31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54" name="Freeform 7"/>
            <p:cNvSpPr>
              <a:spLocks/>
            </p:cNvSpPr>
            <p:nvPr userDrawn="1"/>
          </p:nvSpPr>
          <p:spPr bwMode="auto">
            <a:xfrm>
              <a:off x="6889995" y="633580"/>
              <a:ext cx="131763" cy="136525"/>
            </a:xfrm>
            <a:custGeom>
              <a:avLst/>
              <a:gdLst>
                <a:gd name="T0" fmla="*/ 0 w 1002"/>
                <a:gd name="T1" fmla="*/ 0 h 1035"/>
                <a:gd name="T2" fmla="*/ 545 w 1002"/>
                <a:gd name="T3" fmla="*/ 50 h 1035"/>
                <a:gd name="T4" fmla="*/ 519 w 1002"/>
                <a:gd name="T5" fmla="*/ 50 h 1035"/>
                <a:gd name="T6" fmla="*/ 476 w 1002"/>
                <a:gd name="T7" fmla="*/ 54 h 1035"/>
                <a:gd name="T8" fmla="*/ 443 w 1002"/>
                <a:gd name="T9" fmla="*/ 63 h 1035"/>
                <a:gd name="T10" fmla="*/ 424 w 1002"/>
                <a:gd name="T11" fmla="*/ 73 h 1035"/>
                <a:gd name="T12" fmla="*/ 413 w 1002"/>
                <a:gd name="T13" fmla="*/ 81 h 1035"/>
                <a:gd name="T14" fmla="*/ 405 w 1002"/>
                <a:gd name="T15" fmla="*/ 92 h 1035"/>
                <a:gd name="T16" fmla="*/ 394 w 1002"/>
                <a:gd name="T17" fmla="*/ 113 h 1035"/>
                <a:gd name="T18" fmla="*/ 385 w 1002"/>
                <a:gd name="T19" fmla="*/ 148 h 1035"/>
                <a:gd name="T20" fmla="*/ 380 w 1002"/>
                <a:gd name="T21" fmla="*/ 194 h 1035"/>
                <a:gd name="T22" fmla="*/ 379 w 1002"/>
                <a:gd name="T23" fmla="*/ 252 h 1035"/>
                <a:gd name="T24" fmla="*/ 379 w 1002"/>
                <a:gd name="T25" fmla="*/ 756 h 1035"/>
                <a:gd name="T26" fmla="*/ 380 w 1002"/>
                <a:gd name="T27" fmla="*/ 814 h 1035"/>
                <a:gd name="T28" fmla="*/ 385 w 1002"/>
                <a:gd name="T29" fmla="*/ 860 h 1035"/>
                <a:gd name="T30" fmla="*/ 394 w 1002"/>
                <a:gd name="T31" fmla="*/ 896 h 1035"/>
                <a:gd name="T32" fmla="*/ 405 w 1002"/>
                <a:gd name="T33" fmla="*/ 915 h 1035"/>
                <a:gd name="T34" fmla="*/ 413 w 1002"/>
                <a:gd name="T35" fmla="*/ 927 h 1035"/>
                <a:gd name="T36" fmla="*/ 424 w 1002"/>
                <a:gd name="T37" fmla="*/ 936 h 1035"/>
                <a:gd name="T38" fmla="*/ 443 w 1002"/>
                <a:gd name="T39" fmla="*/ 946 h 1035"/>
                <a:gd name="T40" fmla="*/ 476 w 1002"/>
                <a:gd name="T41" fmla="*/ 954 h 1035"/>
                <a:gd name="T42" fmla="*/ 519 w 1002"/>
                <a:gd name="T43" fmla="*/ 957 h 1035"/>
                <a:gd name="T44" fmla="*/ 743 w 1002"/>
                <a:gd name="T45" fmla="*/ 957 h 1035"/>
                <a:gd name="T46" fmla="*/ 772 w 1002"/>
                <a:gd name="T47" fmla="*/ 957 h 1035"/>
                <a:gd name="T48" fmla="*/ 819 w 1002"/>
                <a:gd name="T49" fmla="*/ 953 h 1035"/>
                <a:gd name="T50" fmla="*/ 855 w 1002"/>
                <a:gd name="T51" fmla="*/ 946 h 1035"/>
                <a:gd name="T52" fmla="*/ 883 w 1002"/>
                <a:gd name="T53" fmla="*/ 934 h 1035"/>
                <a:gd name="T54" fmla="*/ 904 w 1002"/>
                <a:gd name="T55" fmla="*/ 917 h 1035"/>
                <a:gd name="T56" fmla="*/ 919 w 1002"/>
                <a:gd name="T57" fmla="*/ 897 h 1035"/>
                <a:gd name="T58" fmla="*/ 930 w 1002"/>
                <a:gd name="T59" fmla="*/ 872 h 1035"/>
                <a:gd name="T60" fmla="*/ 943 w 1002"/>
                <a:gd name="T61" fmla="*/ 826 h 1035"/>
                <a:gd name="T62" fmla="*/ 1002 w 1002"/>
                <a:gd name="T63" fmla="*/ 792 h 1035"/>
                <a:gd name="T64" fmla="*/ 0 w 1002"/>
                <a:gd name="T65" fmla="*/ 1035 h 1035"/>
                <a:gd name="T66" fmla="*/ 0 w 1002"/>
                <a:gd name="T67" fmla="*/ 985 h 1035"/>
                <a:gd name="T68" fmla="*/ 48 w 1002"/>
                <a:gd name="T69" fmla="*/ 984 h 1035"/>
                <a:gd name="T70" fmla="*/ 86 w 1002"/>
                <a:gd name="T71" fmla="*/ 978 h 1035"/>
                <a:gd name="T72" fmla="*/ 114 w 1002"/>
                <a:gd name="T73" fmla="*/ 966 h 1035"/>
                <a:gd name="T74" fmla="*/ 125 w 1002"/>
                <a:gd name="T75" fmla="*/ 958 h 1035"/>
                <a:gd name="T76" fmla="*/ 136 w 1002"/>
                <a:gd name="T77" fmla="*/ 949 h 1035"/>
                <a:gd name="T78" fmla="*/ 143 w 1002"/>
                <a:gd name="T79" fmla="*/ 937 h 1035"/>
                <a:gd name="T80" fmla="*/ 154 w 1002"/>
                <a:gd name="T81" fmla="*/ 906 h 1035"/>
                <a:gd name="T82" fmla="*/ 161 w 1002"/>
                <a:gd name="T83" fmla="*/ 866 h 1035"/>
                <a:gd name="T84" fmla="*/ 163 w 1002"/>
                <a:gd name="T85" fmla="*/ 814 h 1035"/>
                <a:gd name="T86" fmla="*/ 163 w 1002"/>
                <a:gd name="T87" fmla="*/ 252 h 1035"/>
                <a:gd name="T88" fmla="*/ 163 w 1002"/>
                <a:gd name="T89" fmla="*/ 221 h 1035"/>
                <a:gd name="T90" fmla="*/ 161 w 1002"/>
                <a:gd name="T91" fmla="*/ 169 h 1035"/>
                <a:gd name="T92" fmla="*/ 154 w 1002"/>
                <a:gd name="T93" fmla="*/ 129 h 1035"/>
                <a:gd name="T94" fmla="*/ 143 w 1002"/>
                <a:gd name="T95" fmla="*/ 98 h 1035"/>
                <a:gd name="T96" fmla="*/ 136 w 1002"/>
                <a:gd name="T97" fmla="*/ 86 h 1035"/>
                <a:gd name="T98" fmla="*/ 125 w 1002"/>
                <a:gd name="T99" fmla="*/ 77 h 1035"/>
                <a:gd name="T100" fmla="*/ 114 w 1002"/>
                <a:gd name="T101" fmla="*/ 69 h 1035"/>
                <a:gd name="T102" fmla="*/ 86 w 1002"/>
                <a:gd name="T103" fmla="*/ 58 h 1035"/>
                <a:gd name="T104" fmla="*/ 48 w 1002"/>
                <a:gd name="T105" fmla="*/ 51 h 1035"/>
                <a:gd name="T106" fmla="*/ 0 w 1002"/>
                <a:gd name="T107" fmla="*/ 50 h 10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02" h="1035">
                  <a:moveTo>
                    <a:pt x="0" y="50"/>
                  </a:moveTo>
                  <a:lnTo>
                    <a:pt x="0" y="0"/>
                  </a:lnTo>
                  <a:lnTo>
                    <a:pt x="545" y="0"/>
                  </a:lnTo>
                  <a:lnTo>
                    <a:pt x="545" y="50"/>
                  </a:lnTo>
                  <a:lnTo>
                    <a:pt x="545" y="50"/>
                  </a:lnTo>
                  <a:lnTo>
                    <a:pt x="519" y="50"/>
                  </a:lnTo>
                  <a:lnTo>
                    <a:pt x="497" y="51"/>
                  </a:lnTo>
                  <a:lnTo>
                    <a:pt x="476" y="54"/>
                  </a:lnTo>
                  <a:lnTo>
                    <a:pt x="459" y="58"/>
                  </a:lnTo>
                  <a:lnTo>
                    <a:pt x="443" y="63"/>
                  </a:lnTo>
                  <a:lnTo>
                    <a:pt x="429" y="69"/>
                  </a:lnTo>
                  <a:lnTo>
                    <a:pt x="424" y="73"/>
                  </a:lnTo>
                  <a:lnTo>
                    <a:pt x="418" y="77"/>
                  </a:lnTo>
                  <a:lnTo>
                    <a:pt x="413" y="81"/>
                  </a:lnTo>
                  <a:lnTo>
                    <a:pt x="409" y="86"/>
                  </a:lnTo>
                  <a:lnTo>
                    <a:pt x="405" y="92"/>
                  </a:lnTo>
                  <a:lnTo>
                    <a:pt x="400" y="98"/>
                  </a:lnTo>
                  <a:lnTo>
                    <a:pt x="394" y="113"/>
                  </a:lnTo>
                  <a:lnTo>
                    <a:pt x="389" y="129"/>
                  </a:lnTo>
                  <a:lnTo>
                    <a:pt x="385" y="148"/>
                  </a:lnTo>
                  <a:lnTo>
                    <a:pt x="382" y="169"/>
                  </a:lnTo>
                  <a:lnTo>
                    <a:pt x="380" y="194"/>
                  </a:lnTo>
                  <a:lnTo>
                    <a:pt x="379" y="221"/>
                  </a:lnTo>
                  <a:lnTo>
                    <a:pt x="379" y="252"/>
                  </a:lnTo>
                  <a:lnTo>
                    <a:pt x="379" y="756"/>
                  </a:lnTo>
                  <a:lnTo>
                    <a:pt x="379" y="756"/>
                  </a:lnTo>
                  <a:lnTo>
                    <a:pt x="379" y="787"/>
                  </a:lnTo>
                  <a:lnTo>
                    <a:pt x="380" y="814"/>
                  </a:lnTo>
                  <a:lnTo>
                    <a:pt x="382" y="839"/>
                  </a:lnTo>
                  <a:lnTo>
                    <a:pt x="385" y="860"/>
                  </a:lnTo>
                  <a:lnTo>
                    <a:pt x="389" y="879"/>
                  </a:lnTo>
                  <a:lnTo>
                    <a:pt x="394" y="896"/>
                  </a:lnTo>
                  <a:lnTo>
                    <a:pt x="400" y="909"/>
                  </a:lnTo>
                  <a:lnTo>
                    <a:pt x="405" y="915"/>
                  </a:lnTo>
                  <a:lnTo>
                    <a:pt x="409" y="921"/>
                  </a:lnTo>
                  <a:lnTo>
                    <a:pt x="413" y="927"/>
                  </a:lnTo>
                  <a:lnTo>
                    <a:pt x="418" y="932"/>
                  </a:lnTo>
                  <a:lnTo>
                    <a:pt x="424" y="936"/>
                  </a:lnTo>
                  <a:lnTo>
                    <a:pt x="429" y="939"/>
                  </a:lnTo>
                  <a:lnTo>
                    <a:pt x="443" y="946"/>
                  </a:lnTo>
                  <a:lnTo>
                    <a:pt x="459" y="950"/>
                  </a:lnTo>
                  <a:lnTo>
                    <a:pt x="476" y="954"/>
                  </a:lnTo>
                  <a:lnTo>
                    <a:pt x="497" y="956"/>
                  </a:lnTo>
                  <a:lnTo>
                    <a:pt x="519" y="957"/>
                  </a:lnTo>
                  <a:lnTo>
                    <a:pt x="545" y="957"/>
                  </a:lnTo>
                  <a:lnTo>
                    <a:pt x="743" y="957"/>
                  </a:lnTo>
                  <a:lnTo>
                    <a:pt x="743" y="957"/>
                  </a:lnTo>
                  <a:lnTo>
                    <a:pt x="772" y="957"/>
                  </a:lnTo>
                  <a:lnTo>
                    <a:pt x="796" y="955"/>
                  </a:lnTo>
                  <a:lnTo>
                    <a:pt x="819" y="953"/>
                  </a:lnTo>
                  <a:lnTo>
                    <a:pt x="838" y="950"/>
                  </a:lnTo>
                  <a:lnTo>
                    <a:pt x="855" y="946"/>
                  </a:lnTo>
                  <a:lnTo>
                    <a:pt x="871" y="940"/>
                  </a:lnTo>
                  <a:lnTo>
                    <a:pt x="883" y="934"/>
                  </a:lnTo>
                  <a:lnTo>
                    <a:pt x="894" y="927"/>
                  </a:lnTo>
                  <a:lnTo>
                    <a:pt x="904" y="917"/>
                  </a:lnTo>
                  <a:lnTo>
                    <a:pt x="912" y="908"/>
                  </a:lnTo>
                  <a:lnTo>
                    <a:pt x="919" y="897"/>
                  </a:lnTo>
                  <a:lnTo>
                    <a:pt x="925" y="886"/>
                  </a:lnTo>
                  <a:lnTo>
                    <a:pt x="930" y="872"/>
                  </a:lnTo>
                  <a:lnTo>
                    <a:pt x="935" y="858"/>
                  </a:lnTo>
                  <a:lnTo>
                    <a:pt x="943" y="826"/>
                  </a:lnTo>
                  <a:lnTo>
                    <a:pt x="952" y="792"/>
                  </a:lnTo>
                  <a:lnTo>
                    <a:pt x="1002" y="792"/>
                  </a:lnTo>
                  <a:lnTo>
                    <a:pt x="988" y="1035"/>
                  </a:lnTo>
                  <a:lnTo>
                    <a:pt x="0" y="1035"/>
                  </a:lnTo>
                  <a:lnTo>
                    <a:pt x="0" y="985"/>
                  </a:lnTo>
                  <a:lnTo>
                    <a:pt x="0" y="985"/>
                  </a:lnTo>
                  <a:lnTo>
                    <a:pt x="25" y="985"/>
                  </a:lnTo>
                  <a:lnTo>
                    <a:pt x="48" y="984"/>
                  </a:lnTo>
                  <a:lnTo>
                    <a:pt x="68" y="982"/>
                  </a:lnTo>
                  <a:lnTo>
                    <a:pt x="86" y="978"/>
                  </a:lnTo>
                  <a:lnTo>
                    <a:pt x="101" y="973"/>
                  </a:lnTo>
                  <a:lnTo>
                    <a:pt x="114" y="966"/>
                  </a:lnTo>
                  <a:lnTo>
                    <a:pt x="120" y="963"/>
                  </a:lnTo>
                  <a:lnTo>
                    <a:pt x="125" y="958"/>
                  </a:lnTo>
                  <a:lnTo>
                    <a:pt x="131" y="954"/>
                  </a:lnTo>
                  <a:lnTo>
                    <a:pt x="136" y="949"/>
                  </a:lnTo>
                  <a:lnTo>
                    <a:pt x="140" y="943"/>
                  </a:lnTo>
                  <a:lnTo>
                    <a:pt x="143" y="937"/>
                  </a:lnTo>
                  <a:lnTo>
                    <a:pt x="150" y="923"/>
                  </a:lnTo>
                  <a:lnTo>
                    <a:pt x="154" y="906"/>
                  </a:lnTo>
                  <a:lnTo>
                    <a:pt x="158" y="888"/>
                  </a:lnTo>
                  <a:lnTo>
                    <a:pt x="161" y="866"/>
                  </a:lnTo>
                  <a:lnTo>
                    <a:pt x="162" y="842"/>
                  </a:lnTo>
                  <a:lnTo>
                    <a:pt x="163" y="814"/>
                  </a:lnTo>
                  <a:lnTo>
                    <a:pt x="163" y="783"/>
                  </a:lnTo>
                  <a:lnTo>
                    <a:pt x="163" y="252"/>
                  </a:lnTo>
                  <a:lnTo>
                    <a:pt x="163" y="252"/>
                  </a:lnTo>
                  <a:lnTo>
                    <a:pt x="163" y="221"/>
                  </a:lnTo>
                  <a:lnTo>
                    <a:pt x="162" y="194"/>
                  </a:lnTo>
                  <a:lnTo>
                    <a:pt x="161" y="169"/>
                  </a:lnTo>
                  <a:lnTo>
                    <a:pt x="158" y="148"/>
                  </a:lnTo>
                  <a:lnTo>
                    <a:pt x="154" y="129"/>
                  </a:lnTo>
                  <a:lnTo>
                    <a:pt x="150" y="113"/>
                  </a:lnTo>
                  <a:lnTo>
                    <a:pt x="143" y="98"/>
                  </a:lnTo>
                  <a:lnTo>
                    <a:pt x="140" y="92"/>
                  </a:lnTo>
                  <a:lnTo>
                    <a:pt x="136" y="86"/>
                  </a:lnTo>
                  <a:lnTo>
                    <a:pt x="131" y="81"/>
                  </a:lnTo>
                  <a:lnTo>
                    <a:pt x="125" y="77"/>
                  </a:lnTo>
                  <a:lnTo>
                    <a:pt x="120" y="73"/>
                  </a:lnTo>
                  <a:lnTo>
                    <a:pt x="114" y="69"/>
                  </a:lnTo>
                  <a:lnTo>
                    <a:pt x="101" y="63"/>
                  </a:lnTo>
                  <a:lnTo>
                    <a:pt x="86" y="58"/>
                  </a:lnTo>
                  <a:lnTo>
                    <a:pt x="68" y="54"/>
                  </a:lnTo>
                  <a:lnTo>
                    <a:pt x="48" y="51"/>
                  </a:lnTo>
                  <a:lnTo>
                    <a:pt x="25" y="50"/>
                  </a:lnTo>
                  <a:lnTo>
                    <a:pt x="0" y="50"/>
                  </a:lnTo>
                  <a:lnTo>
                    <a:pt x="0" y="5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55" name="Freeform 8"/>
            <p:cNvSpPr>
              <a:spLocks/>
            </p:cNvSpPr>
            <p:nvPr userDrawn="1"/>
          </p:nvSpPr>
          <p:spPr bwMode="auto">
            <a:xfrm>
              <a:off x="7023345" y="633580"/>
              <a:ext cx="142875" cy="136525"/>
            </a:xfrm>
            <a:custGeom>
              <a:avLst/>
              <a:gdLst>
                <a:gd name="T0" fmla="*/ 1028 w 1078"/>
                <a:gd name="T1" fmla="*/ 244 h 1035"/>
                <a:gd name="T2" fmla="*/ 1019 w 1078"/>
                <a:gd name="T3" fmla="*/ 209 h 1035"/>
                <a:gd name="T4" fmla="*/ 1006 w 1078"/>
                <a:gd name="T5" fmla="*/ 163 h 1035"/>
                <a:gd name="T6" fmla="*/ 995 w 1078"/>
                <a:gd name="T7" fmla="*/ 138 h 1035"/>
                <a:gd name="T8" fmla="*/ 979 w 1078"/>
                <a:gd name="T9" fmla="*/ 118 h 1035"/>
                <a:gd name="T10" fmla="*/ 959 w 1078"/>
                <a:gd name="T11" fmla="*/ 101 h 1035"/>
                <a:gd name="T12" fmla="*/ 931 w 1078"/>
                <a:gd name="T13" fmla="*/ 90 h 1035"/>
                <a:gd name="T14" fmla="*/ 895 w 1078"/>
                <a:gd name="T15" fmla="*/ 82 h 1035"/>
                <a:gd name="T16" fmla="*/ 848 w 1078"/>
                <a:gd name="T17" fmla="*/ 78 h 1035"/>
                <a:gd name="T18" fmla="*/ 646 w 1078"/>
                <a:gd name="T19" fmla="*/ 78 h 1035"/>
                <a:gd name="T20" fmla="*/ 646 w 1078"/>
                <a:gd name="T21" fmla="*/ 783 h 1035"/>
                <a:gd name="T22" fmla="*/ 648 w 1078"/>
                <a:gd name="T23" fmla="*/ 842 h 1035"/>
                <a:gd name="T24" fmla="*/ 652 w 1078"/>
                <a:gd name="T25" fmla="*/ 888 h 1035"/>
                <a:gd name="T26" fmla="*/ 661 w 1078"/>
                <a:gd name="T27" fmla="*/ 923 h 1035"/>
                <a:gd name="T28" fmla="*/ 672 w 1078"/>
                <a:gd name="T29" fmla="*/ 943 h 1035"/>
                <a:gd name="T30" fmla="*/ 680 w 1078"/>
                <a:gd name="T31" fmla="*/ 954 h 1035"/>
                <a:gd name="T32" fmla="*/ 691 w 1078"/>
                <a:gd name="T33" fmla="*/ 963 h 1035"/>
                <a:gd name="T34" fmla="*/ 711 w 1078"/>
                <a:gd name="T35" fmla="*/ 973 h 1035"/>
                <a:gd name="T36" fmla="*/ 743 w 1078"/>
                <a:gd name="T37" fmla="*/ 982 h 1035"/>
                <a:gd name="T38" fmla="*/ 786 w 1078"/>
                <a:gd name="T39" fmla="*/ 985 h 1035"/>
                <a:gd name="T40" fmla="*/ 812 w 1078"/>
                <a:gd name="T41" fmla="*/ 1035 h 1035"/>
                <a:gd name="T42" fmla="*/ 267 w 1078"/>
                <a:gd name="T43" fmla="*/ 985 h 1035"/>
                <a:gd name="T44" fmla="*/ 292 w 1078"/>
                <a:gd name="T45" fmla="*/ 985 h 1035"/>
                <a:gd name="T46" fmla="*/ 335 w 1078"/>
                <a:gd name="T47" fmla="*/ 982 h 1035"/>
                <a:gd name="T48" fmla="*/ 368 w 1078"/>
                <a:gd name="T49" fmla="*/ 973 h 1035"/>
                <a:gd name="T50" fmla="*/ 387 w 1078"/>
                <a:gd name="T51" fmla="*/ 963 h 1035"/>
                <a:gd name="T52" fmla="*/ 398 w 1078"/>
                <a:gd name="T53" fmla="*/ 954 h 1035"/>
                <a:gd name="T54" fmla="*/ 407 w 1078"/>
                <a:gd name="T55" fmla="*/ 943 h 1035"/>
                <a:gd name="T56" fmla="*/ 417 w 1078"/>
                <a:gd name="T57" fmla="*/ 923 h 1035"/>
                <a:gd name="T58" fmla="*/ 425 w 1078"/>
                <a:gd name="T59" fmla="*/ 888 h 1035"/>
                <a:gd name="T60" fmla="*/ 429 w 1078"/>
                <a:gd name="T61" fmla="*/ 842 h 1035"/>
                <a:gd name="T62" fmla="*/ 431 w 1078"/>
                <a:gd name="T63" fmla="*/ 783 h 1035"/>
                <a:gd name="T64" fmla="*/ 259 w 1078"/>
                <a:gd name="T65" fmla="*/ 78 h 1035"/>
                <a:gd name="T66" fmla="*/ 231 w 1078"/>
                <a:gd name="T67" fmla="*/ 78 h 1035"/>
                <a:gd name="T68" fmla="*/ 184 w 1078"/>
                <a:gd name="T69" fmla="*/ 82 h 1035"/>
                <a:gd name="T70" fmla="*/ 147 w 1078"/>
                <a:gd name="T71" fmla="*/ 90 h 1035"/>
                <a:gd name="T72" fmla="*/ 120 w 1078"/>
                <a:gd name="T73" fmla="*/ 101 h 1035"/>
                <a:gd name="T74" fmla="*/ 99 w 1078"/>
                <a:gd name="T75" fmla="*/ 118 h 1035"/>
                <a:gd name="T76" fmla="*/ 85 w 1078"/>
                <a:gd name="T77" fmla="*/ 138 h 1035"/>
                <a:gd name="T78" fmla="*/ 74 w 1078"/>
                <a:gd name="T79" fmla="*/ 163 h 1035"/>
                <a:gd name="T80" fmla="*/ 60 w 1078"/>
                <a:gd name="T81" fmla="*/ 209 h 1035"/>
                <a:gd name="T82" fmla="*/ 0 w 1078"/>
                <a:gd name="T83" fmla="*/ 244 h 1035"/>
                <a:gd name="T84" fmla="*/ 1064 w 1078"/>
                <a:gd name="T85" fmla="*/ 0 h 10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78" h="1035">
                  <a:moveTo>
                    <a:pt x="1078" y="244"/>
                  </a:moveTo>
                  <a:lnTo>
                    <a:pt x="1028" y="244"/>
                  </a:lnTo>
                  <a:lnTo>
                    <a:pt x="1019" y="209"/>
                  </a:lnTo>
                  <a:lnTo>
                    <a:pt x="1019" y="209"/>
                  </a:lnTo>
                  <a:lnTo>
                    <a:pt x="1011" y="177"/>
                  </a:lnTo>
                  <a:lnTo>
                    <a:pt x="1006" y="163"/>
                  </a:lnTo>
                  <a:lnTo>
                    <a:pt x="1001" y="150"/>
                  </a:lnTo>
                  <a:lnTo>
                    <a:pt x="995" y="138"/>
                  </a:lnTo>
                  <a:lnTo>
                    <a:pt x="988" y="127"/>
                  </a:lnTo>
                  <a:lnTo>
                    <a:pt x="979" y="118"/>
                  </a:lnTo>
                  <a:lnTo>
                    <a:pt x="970" y="109"/>
                  </a:lnTo>
                  <a:lnTo>
                    <a:pt x="959" y="101"/>
                  </a:lnTo>
                  <a:lnTo>
                    <a:pt x="946" y="95"/>
                  </a:lnTo>
                  <a:lnTo>
                    <a:pt x="931" y="90"/>
                  </a:lnTo>
                  <a:lnTo>
                    <a:pt x="914" y="85"/>
                  </a:lnTo>
                  <a:lnTo>
                    <a:pt x="895" y="82"/>
                  </a:lnTo>
                  <a:lnTo>
                    <a:pt x="872" y="80"/>
                  </a:lnTo>
                  <a:lnTo>
                    <a:pt x="848" y="78"/>
                  </a:lnTo>
                  <a:lnTo>
                    <a:pt x="819" y="78"/>
                  </a:lnTo>
                  <a:lnTo>
                    <a:pt x="646" y="78"/>
                  </a:lnTo>
                  <a:lnTo>
                    <a:pt x="646" y="783"/>
                  </a:lnTo>
                  <a:lnTo>
                    <a:pt x="646" y="783"/>
                  </a:lnTo>
                  <a:lnTo>
                    <a:pt x="647" y="814"/>
                  </a:lnTo>
                  <a:lnTo>
                    <a:pt x="648" y="842"/>
                  </a:lnTo>
                  <a:lnTo>
                    <a:pt x="649" y="866"/>
                  </a:lnTo>
                  <a:lnTo>
                    <a:pt x="652" y="888"/>
                  </a:lnTo>
                  <a:lnTo>
                    <a:pt x="656" y="906"/>
                  </a:lnTo>
                  <a:lnTo>
                    <a:pt x="661" y="923"/>
                  </a:lnTo>
                  <a:lnTo>
                    <a:pt x="668" y="937"/>
                  </a:lnTo>
                  <a:lnTo>
                    <a:pt x="672" y="943"/>
                  </a:lnTo>
                  <a:lnTo>
                    <a:pt x="676" y="949"/>
                  </a:lnTo>
                  <a:lnTo>
                    <a:pt x="680" y="954"/>
                  </a:lnTo>
                  <a:lnTo>
                    <a:pt x="685" y="958"/>
                  </a:lnTo>
                  <a:lnTo>
                    <a:pt x="691" y="963"/>
                  </a:lnTo>
                  <a:lnTo>
                    <a:pt x="697" y="966"/>
                  </a:lnTo>
                  <a:lnTo>
                    <a:pt x="711" y="973"/>
                  </a:lnTo>
                  <a:lnTo>
                    <a:pt x="726" y="978"/>
                  </a:lnTo>
                  <a:lnTo>
                    <a:pt x="743" y="982"/>
                  </a:lnTo>
                  <a:lnTo>
                    <a:pt x="764" y="984"/>
                  </a:lnTo>
                  <a:lnTo>
                    <a:pt x="786" y="985"/>
                  </a:lnTo>
                  <a:lnTo>
                    <a:pt x="812" y="985"/>
                  </a:lnTo>
                  <a:lnTo>
                    <a:pt x="812" y="1035"/>
                  </a:lnTo>
                  <a:lnTo>
                    <a:pt x="267" y="1035"/>
                  </a:lnTo>
                  <a:lnTo>
                    <a:pt x="267" y="985"/>
                  </a:lnTo>
                  <a:lnTo>
                    <a:pt x="267" y="985"/>
                  </a:lnTo>
                  <a:lnTo>
                    <a:pt x="292" y="985"/>
                  </a:lnTo>
                  <a:lnTo>
                    <a:pt x="315" y="984"/>
                  </a:lnTo>
                  <a:lnTo>
                    <a:pt x="335" y="982"/>
                  </a:lnTo>
                  <a:lnTo>
                    <a:pt x="353" y="978"/>
                  </a:lnTo>
                  <a:lnTo>
                    <a:pt x="368" y="973"/>
                  </a:lnTo>
                  <a:lnTo>
                    <a:pt x="381" y="966"/>
                  </a:lnTo>
                  <a:lnTo>
                    <a:pt x="387" y="963"/>
                  </a:lnTo>
                  <a:lnTo>
                    <a:pt x="394" y="958"/>
                  </a:lnTo>
                  <a:lnTo>
                    <a:pt x="398" y="954"/>
                  </a:lnTo>
                  <a:lnTo>
                    <a:pt x="403" y="949"/>
                  </a:lnTo>
                  <a:lnTo>
                    <a:pt x="407" y="943"/>
                  </a:lnTo>
                  <a:lnTo>
                    <a:pt x="411" y="937"/>
                  </a:lnTo>
                  <a:lnTo>
                    <a:pt x="417" y="923"/>
                  </a:lnTo>
                  <a:lnTo>
                    <a:pt x="422" y="906"/>
                  </a:lnTo>
                  <a:lnTo>
                    <a:pt x="425" y="888"/>
                  </a:lnTo>
                  <a:lnTo>
                    <a:pt x="428" y="866"/>
                  </a:lnTo>
                  <a:lnTo>
                    <a:pt x="429" y="842"/>
                  </a:lnTo>
                  <a:lnTo>
                    <a:pt x="430" y="814"/>
                  </a:lnTo>
                  <a:lnTo>
                    <a:pt x="431" y="783"/>
                  </a:lnTo>
                  <a:lnTo>
                    <a:pt x="431" y="78"/>
                  </a:lnTo>
                  <a:lnTo>
                    <a:pt x="259" y="78"/>
                  </a:lnTo>
                  <a:lnTo>
                    <a:pt x="259" y="78"/>
                  </a:lnTo>
                  <a:lnTo>
                    <a:pt x="231" y="78"/>
                  </a:lnTo>
                  <a:lnTo>
                    <a:pt x="205" y="80"/>
                  </a:lnTo>
                  <a:lnTo>
                    <a:pt x="184" y="82"/>
                  </a:lnTo>
                  <a:lnTo>
                    <a:pt x="165" y="85"/>
                  </a:lnTo>
                  <a:lnTo>
                    <a:pt x="147" y="90"/>
                  </a:lnTo>
                  <a:lnTo>
                    <a:pt x="133" y="95"/>
                  </a:lnTo>
                  <a:lnTo>
                    <a:pt x="120" y="101"/>
                  </a:lnTo>
                  <a:lnTo>
                    <a:pt x="108" y="109"/>
                  </a:lnTo>
                  <a:lnTo>
                    <a:pt x="99" y="118"/>
                  </a:lnTo>
                  <a:lnTo>
                    <a:pt x="91" y="127"/>
                  </a:lnTo>
                  <a:lnTo>
                    <a:pt x="85" y="138"/>
                  </a:lnTo>
                  <a:lnTo>
                    <a:pt x="79" y="150"/>
                  </a:lnTo>
                  <a:lnTo>
                    <a:pt x="74" y="163"/>
                  </a:lnTo>
                  <a:lnTo>
                    <a:pt x="68" y="177"/>
                  </a:lnTo>
                  <a:lnTo>
                    <a:pt x="60" y="209"/>
                  </a:lnTo>
                  <a:lnTo>
                    <a:pt x="51" y="244"/>
                  </a:lnTo>
                  <a:lnTo>
                    <a:pt x="0" y="244"/>
                  </a:lnTo>
                  <a:lnTo>
                    <a:pt x="15" y="0"/>
                  </a:lnTo>
                  <a:lnTo>
                    <a:pt x="1064" y="0"/>
                  </a:lnTo>
                  <a:lnTo>
                    <a:pt x="1078" y="24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56" name="Freeform 9"/>
            <p:cNvSpPr>
              <a:spLocks/>
            </p:cNvSpPr>
            <p:nvPr userDrawn="1"/>
          </p:nvSpPr>
          <p:spPr bwMode="auto">
            <a:xfrm>
              <a:off x="7193208" y="633580"/>
              <a:ext cx="73026" cy="136525"/>
            </a:xfrm>
            <a:custGeom>
              <a:avLst/>
              <a:gdLst>
                <a:gd name="T0" fmla="*/ 0 w 545"/>
                <a:gd name="T1" fmla="*/ 985 h 1035"/>
                <a:gd name="T2" fmla="*/ 26 w 545"/>
                <a:gd name="T3" fmla="*/ 985 h 1035"/>
                <a:gd name="T4" fmla="*/ 69 w 545"/>
                <a:gd name="T5" fmla="*/ 982 h 1035"/>
                <a:gd name="T6" fmla="*/ 102 w 545"/>
                <a:gd name="T7" fmla="*/ 973 h 1035"/>
                <a:gd name="T8" fmla="*/ 121 w 545"/>
                <a:gd name="T9" fmla="*/ 963 h 1035"/>
                <a:gd name="T10" fmla="*/ 131 w 545"/>
                <a:gd name="T11" fmla="*/ 954 h 1035"/>
                <a:gd name="T12" fmla="*/ 140 w 545"/>
                <a:gd name="T13" fmla="*/ 943 h 1035"/>
                <a:gd name="T14" fmla="*/ 151 w 545"/>
                <a:gd name="T15" fmla="*/ 923 h 1035"/>
                <a:gd name="T16" fmla="*/ 159 w 545"/>
                <a:gd name="T17" fmla="*/ 888 h 1035"/>
                <a:gd name="T18" fmla="*/ 163 w 545"/>
                <a:gd name="T19" fmla="*/ 842 h 1035"/>
                <a:gd name="T20" fmla="*/ 164 w 545"/>
                <a:gd name="T21" fmla="*/ 783 h 1035"/>
                <a:gd name="T22" fmla="*/ 164 w 545"/>
                <a:gd name="T23" fmla="*/ 252 h 1035"/>
                <a:gd name="T24" fmla="*/ 163 w 545"/>
                <a:gd name="T25" fmla="*/ 194 h 1035"/>
                <a:gd name="T26" fmla="*/ 159 w 545"/>
                <a:gd name="T27" fmla="*/ 148 h 1035"/>
                <a:gd name="T28" fmla="*/ 151 w 545"/>
                <a:gd name="T29" fmla="*/ 113 h 1035"/>
                <a:gd name="T30" fmla="*/ 140 w 545"/>
                <a:gd name="T31" fmla="*/ 92 h 1035"/>
                <a:gd name="T32" fmla="*/ 131 w 545"/>
                <a:gd name="T33" fmla="*/ 81 h 1035"/>
                <a:gd name="T34" fmla="*/ 121 w 545"/>
                <a:gd name="T35" fmla="*/ 73 h 1035"/>
                <a:gd name="T36" fmla="*/ 102 w 545"/>
                <a:gd name="T37" fmla="*/ 63 h 1035"/>
                <a:gd name="T38" fmla="*/ 69 w 545"/>
                <a:gd name="T39" fmla="*/ 54 h 1035"/>
                <a:gd name="T40" fmla="*/ 26 w 545"/>
                <a:gd name="T41" fmla="*/ 50 h 1035"/>
                <a:gd name="T42" fmla="*/ 0 w 545"/>
                <a:gd name="T43" fmla="*/ 0 h 1035"/>
                <a:gd name="T44" fmla="*/ 545 w 545"/>
                <a:gd name="T45" fmla="*/ 50 h 1035"/>
                <a:gd name="T46" fmla="*/ 520 w 545"/>
                <a:gd name="T47" fmla="*/ 50 h 1035"/>
                <a:gd name="T48" fmla="*/ 477 w 545"/>
                <a:gd name="T49" fmla="*/ 54 h 1035"/>
                <a:gd name="T50" fmla="*/ 444 w 545"/>
                <a:gd name="T51" fmla="*/ 63 h 1035"/>
                <a:gd name="T52" fmla="*/ 425 w 545"/>
                <a:gd name="T53" fmla="*/ 73 h 1035"/>
                <a:gd name="T54" fmla="*/ 413 w 545"/>
                <a:gd name="T55" fmla="*/ 81 h 1035"/>
                <a:gd name="T56" fmla="*/ 405 w 545"/>
                <a:gd name="T57" fmla="*/ 92 h 1035"/>
                <a:gd name="T58" fmla="*/ 395 w 545"/>
                <a:gd name="T59" fmla="*/ 113 h 1035"/>
                <a:gd name="T60" fmla="*/ 386 w 545"/>
                <a:gd name="T61" fmla="*/ 148 h 1035"/>
                <a:gd name="T62" fmla="*/ 381 w 545"/>
                <a:gd name="T63" fmla="*/ 194 h 1035"/>
                <a:gd name="T64" fmla="*/ 380 w 545"/>
                <a:gd name="T65" fmla="*/ 252 h 1035"/>
                <a:gd name="T66" fmla="*/ 380 w 545"/>
                <a:gd name="T67" fmla="*/ 783 h 1035"/>
                <a:gd name="T68" fmla="*/ 381 w 545"/>
                <a:gd name="T69" fmla="*/ 842 h 1035"/>
                <a:gd name="T70" fmla="*/ 386 w 545"/>
                <a:gd name="T71" fmla="*/ 888 h 1035"/>
                <a:gd name="T72" fmla="*/ 395 w 545"/>
                <a:gd name="T73" fmla="*/ 923 h 1035"/>
                <a:gd name="T74" fmla="*/ 405 w 545"/>
                <a:gd name="T75" fmla="*/ 943 h 1035"/>
                <a:gd name="T76" fmla="*/ 413 w 545"/>
                <a:gd name="T77" fmla="*/ 954 h 1035"/>
                <a:gd name="T78" fmla="*/ 425 w 545"/>
                <a:gd name="T79" fmla="*/ 963 h 1035"/>
                <a:gd name="T80" fmla="*/ 444 w 545"/>
                <a:gd name="T81" fmla="*/ 973 h 1035"/>
                <a:gd name="T82" fmla="*/ 477 w 545"/>
                <a:gd name="T83" fmla="*/ 982 h 1035"/>
                <a:gd name="T84" fmla="*/ 520 w 545"/>
                <a:gd name="T85" fmla="*/ 985 h 1035"/>
                <a:gd name="T86" fmla="*/ 545 w 545"/>
                <a:gd name="T87" fmla="*/ 1035 h 10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45" h="1035">
                  <a:moveTo>
                    <a:pt x="0" y="1035"/>
                  </a:moveTo>
                  <a:lnTo>
                    <a:pt x="0" y="985"/>
                  </a:lnTo>
                  <a:lnTo>
                    <a:pt x="0" y="985"/>
                  </a:lnTo>
                  <a:lnTo>
                    <a:pt x="26" y="985"/>
                  </a:lnTo>
                  <a:lnTo>
                    <a:pt x="48" y="984"/>
                  </a:lnTo>
                  <a:lnTo>
                    <a:pt x="69" y="982"/>
                  </a:lnTo>
                  <a:lnTo>
                    <a:pt x="86" y="978"/>
                  </a:lnTo>
                  <a:lnTo>
                    <a:pt x="102" y="973"/>
                  </a:lnTo>
                  <a:lnTo>
                    <a:pt x="115" y="966"/>
                  </a:lnTo>
                  <a:lnTo>
                    <a:pt x="121" y="963"/>
                  </a:lnTo>
                  <a:lnTo>
                    <a:pt x="126" y="958"/>
                  </a:lnTo>
                  <a:lnTo>
                    <a:pt x="131" y="954"/>
                  </a:lnTo>
                  <a:lnTo>
                    <a:pt x="136" y="949"/>
                  </a:lnTo>
                  <a:lnTo>
                    <a:pt x="140" y="943"/>
                  </a:lnTo>
                  <a:lnTo>
                    <a:pt x="143" y="937"/>
                  </a:lnTo>
                  <a:lnTo>
                    <a:pt x="151" y="923"/>
                  </a:lnTo>
                  <a:lnTo>
                    <a:pt x="155" y="906"/>
                  </a:lnTo>
                  <a:lnTo>
                    <a:pt x="159" y="888"/>
                  </a:lnTo>
                  <a:lnTo>
                    <a:pt x="162" y="866"/>
                  </a:lnTo>
                  <a:lnTo>
                    <a:pt x="163" y="842"/>
                  </a:lnTo>
                  <a:lnTo>
                    <a:pt x="164" y="814"/>
                  </a:lnTo>
                  <a:lnTo>
                    <a:pt x="164" y="783"/>
                  </a:lnTo>
                  <a:lnTo>
                    <a:pt x="164" y="252"/>
                  </a:lnTo>
                  <a:lnTo>
                    <a:pt x="164" y="252"/>
                  </a:lnTo>
                  <a:lnTo>
                    <a:pt x="164" y="221"/>
                  </a:lnTo>
                  <a:lnTo>
                    <a:pt x="163" y="194"/>
                  </a:lnTo>
                  <a:lnTo>
                    <a:pt x="162" y="169"/>
                  </a:lnTo>
                  <a:lnTo>
                    <a:pt x="159" y="148"/>
                  </a:lnTo>
                  <a:lnTo>
                    <a:pt x="155" y="129"/>
                  </a:lnTo>
                  <a:lnTo>
                    <a:pt x="151" y="113"/>
                  </a:lnTo>
                  <a:lnTo>
                    <a:pt x="143" y="98"/>
                  </a:lnTo>
                  <a:lnTo>
                    <a:pt x="140" y="92"/>
                  </a:lnTo>
                  <a:lnTo>
                    <a:pt x="136" y="86"/>
                  </a:lnTo>
                  <a:lnTo>
                    <a:pt x="131" y="81"/>
                  </a:lnTo>
                  <a:lnTo>
                    <a:pt x="126" y="77"/>
                  </a:lnTo>
                  <a:lnTo>
                    <a:pt x="121" y="73"/>
                  </a:lnTo>
                  <a:lnTo>
                    <a:pt x="115" y="69"/>
                  </a:lnTo>
                  <a:lnTo>
                    <a:pt x="102" y="63"/>
                  </a:lnTo>
                  <a:lnTo>
                    <a:pt x="86" y="58"/>
                  </a:lnTo>
                  <a:lnTo>
                    <a:pt x="69" y="54"/>
                  </a:lnTo>
                  <a:lnTo>
                    <a:pt x="48" y="51"/>
                  </a:lnTo>
                  <a:lnTo>
                    <a:pt x="26" y="50"/>
                  </a:lnTo>
                  <a:lnTo>
                    <a:pt x="0" y="50"/>
                  </a:lnTo>
                  <a:lnTo>
                    <a:pt x="0" y="0"/>
                  </a:lnTo>
                  <a:lnTo>
                    <a:pt x="545" y="0"/>
                  </a:lnTo>
                  <a:lnTo>
                    <a:pt x="545" y="50"/>
                  </a:lnTo>
                  <a:lnTo>
                    <a:pt x="545" y="50"/>
                  </a:lnTo>
                  <a:lnTo>
                    <a:pt x="520" y="50"/>
                  </a:lnTo>
                  <a:lnTo>
                    <a:pt x="497" y="51"/>
                  </a:lnTo>
                  <a:lnTo>
                    <a:pt x="477" y="54"/>
                  </a:lnTo>
                  <a:lnTo>
                    <a:pt x="459" y="58"/>
                  </a:lnTo>
                  <a:lnTo>
                    <a:pt x="444" y="63"/>
                  </a:lnTo>
                  <a:lnTo>
                    <a:pt x="430" y="69"/>
                  </a:lnTo>
                  <a:lnTo>
                    <a:pt x="425" y="73"/>
                  </a:lnTo>
                  <a:lnTo>
                    <a:pt x="418" y="77"/>
                  </a:lnTo>
                  <a:lnTo>
                    <a:pt x="413" y="81"/>
                  </a:lnTo>
                  <a:lnTo>
                    <a:pt x="409" y="86"/>
                  </a:lnTo>
                  <a:lnTo>
                    <a:pt x="405" y="92"/>
                  </a:lnTo>
                  <a:lnTo>
                    <a:pt x="401" y="98"/>
                  </a:lnTo>
                  <a:lnTo>
                    <a:pt x="395" y="113"/>
                  </a:lnTo>
                  <a:lnTo>
                    <a:pt x="390" y="129"/>
                  </a:lnTo>
                  <a:lnTo>
                    <a:pt x="386" y="148"/>
                  </a:lnTo>
                  <a:lnTo>
                    <a:pt x="383" y="169"/>
                  </a:lnTo>
                  <a:lnTo>
                    <a:pt x="381" y="194"/>
                  </a:lnTo>
                  <a:lnTo>
                    <a:pt x="380" y="221"/>
                  </a:lnTo>
                  <a:lnTo>
                    <a:pt x="380" y="252"/>
                  </a:lnTo>
                  <a:lnTo>
                    <a:pt x="380" y="783"/>
                  </a:lnTo>
                  <a:lnTo>
                    <a:pt x="380" y="783"/>
                  </a:lnTo>
                  <a:lnTo>
                    <a:pt x="380" y="814"/>
                  </a:lnTo>
                  <a:lnTo>
                    <a:pt x="381" y="842"/>
                  </a:lnTo>
                  <a:lnTo>
                    <a:pt x="383" y="866"/>
                  </a:lnTo>
                  <a:lnTo>
                    <a:pt x="386" y="888"/>
                  </a:lnTo>
                  <a:lnTo>
                    <a:pt x="390" y="906"/>
                  </a:lnTo>
                  <a:lnTo>
                    <a:pt x="395" y="923"/>
                  </a:lnTo>
                  <a:lnTo>
                    <a:pt x="401" y="937"/>
                  </a:lnTo>
                  <a:lnTo>
                    <a:pt x="405" y="943"/>
                  </a:lnTo>
                  <a:lnTo>
                    <a:pt x="409" y="949"/>
                  </a:lnTo>
                  <a:lnTo>
                    <a:pt x="413" y="954"/>
                  </a:lnTo>
                  <a:lnTo>
                    <a:pt x="418" y="958"/>
                  </a:lnTo>
                  <a:lnTo>
                    <a:pt x="425" y="963"/>
                  </a:lnTo>
                  <a:lnTo>
                    <a:pt x="430" y="966"/>
                  </a:lnTo>
                  <a:lnTo>
                    <a:pt x="444" y="973"/>
                  </a:lnTo>
                  <a:lnTo>
                    <a:pt x="459" y="978"/>
                  </a:lnTo>
                  <a:lnTo>
                    <a:pt x="477" y="982"/>
                  </a:lnTo>
                  <a:lnTo>
                    <a:pt x="497" y="984"/>
                  </a:lnTo>
                  <a:lnTo>
                    <a:pt x="520" y="985"/>
                  </a:lnTo>
                  <a:lnTo>
                    <a:pt x="545" y="985"/>
                  </a:lnTo>
                  <a:lnTo>
                    <a:pt x="545" y="1035"/>
                  </a:lnTo>
                  <a:lnTo>
                    <a:pt x="0" y="10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57" name="Freeform 10"/>
            <p:cNvSpPr>
              <a:spLocks noEditPoints="1"/>
            </p:cNvSpPr>
            <p:nvPr userDrawn="1"/>
          </p:nvSpPr>
          <p:spPr bwMode="auto">
            <a:xfrm>
              <a:off x="7301158" y="630404"/>
              <a:ext cx="152400" cy="144463"/>
            </a:xfrm>
            <a:custGeom>
              <a:avLst/>
              <a:gdLst>
                <a:gd name="T0" fmla="*/ 489 w 1152"/>
                <a:gd name="T1" fmla="*/ 1087 h 1094"/>
                <a:gd name="T2" fmla="*/ 353 w 1152"/>
                <a:gd name="T3" fmla="*/ 1051 h 1094"/>
                <a:gd name="T4" fmla="*/ 232 w 1152"/>
                <a:gd name="T5" fmla="*/ 984 h 1094"/>
                <a:gd name="T6" fmla="*/ 132 w 1152"/>
                <a:gd name="T7" fmla="*/ 894 h 1094"/>
                <a:gd name="T8" fmla="*/ 57 w 1152"/>
                <a:gd name="T9" fmla="*/ 783 h 1094"/>
                <a:gd name="T10" fmla="*/ 12 w 1152"/>
                <a:gd name="T11" fmla="*/ 656 h 1094"/>
                <a:gd name="T12" fmla="*/ 0 w 1152"/>
                <a:gd name="T13" fmla="*/ 547 h 1094"/>
                <a:gd name="T14" fmla="*/ 19 w 1152"/>
                <a:gd name="T15" fmla="*/ 411 h 1094"/>
                <a:gd name="T16" fmla="*/ 70 w 1152"/>
                <a:gd name="T17" fmla="*/ 287 h 1094"/>
                <a:gd name="T18" fmla="*/ 151 w 1152"/>
                <a:gd name="T19" fmla="*/ 180 h 1094"/>
                <a:gd name="T20" fmla="*/ 255 w 1152"/>
                <a:gd name="T21" fmla="*/ 94 h 1094"/>
                <a:gd name="T22" fmla="*/ 379 w 1152"/>
                <a:gd name="T23" fmla="*/ 33 h 1094"/>
                <a:gd name="T24" fmla="*/ 518 w 1152"/>
                <a:gd name="T25" fmla="*/ 3 h 1094"/>
                <a:gd name="T26" fmla="*/ 635 w 1152"/>
                <a:gd name="T27" fmla="*/ 3 h 1094"/>
                <a:gd name="T28" fmla="*/ 773 w 1152"/>
                <a:gd name="T29" fmla="*/ 33 h 1094"/>
                <a:gd name="T30" fmla="*/ 897 w 1152"/>
                <a:gd name="T31" fmla="*/ 94 h 1094"/>
                <a:gd name="T32" fmla="*/ 1001 w 1152"/>
                <a:gd name="T33" fmla="*/ 180 h 1094"/>
                <a:gd name="T34" fmla="*/ 1082 w 1152"/>
                <a:gd name="T35" fmla="*/ 287 h 1094"/>
                <a:gd name="T36" fmla="*/ 1133 w 1152"/>
                <a:gd name="T37" fmla="*/ 411 h 1094"/>
                <a:gd name="T38" fmla="*/ 1152 w 1152"/>
                <a:gd name="T39" fmla="*/ 547 h 1094"/>
                <a:gd name="T40" fmla="*/ 1139 w 1152"/>
                <a:gd name="T41" fmla="*/ 656 h 1094"/>
                <a:gd name="T42" fmla="*/ 1094 w 1152"/>
                <a:gd name="T43" fmla="*/ 783 h 1094"/>
                <a:gd name="T44" fmla="*/ 1020 w 1152"/>
                <a:gd name="T45" fmla="*/ 894 h 1094"/>
                <a:gd name="T46" fmla="*/ 919 w 1152"/>
                <a:gd name="T47" fmla="*/ 984 h 1094"/>
                <a:gd name="T48" fmla="*/ 800 w 1152"/>
                <a:gd name="T49" fmla="*/ 1051 h 1094"/>
                <a:gd name="T50" fmla="*/ 664 w 1152"/>
                <a:gd name="T51" fmla="*/ 1087 h 1094"/>
                <a:gd name="T52" fmla="*/ 577 w 1152"/>
                <a:gd name="T53" fmla="*/ 82 h 1094"/>
                <a:gd name="T54" fmla="*/ 492 w 1152"/>
                <a:gd name="T55" fmla="*/ 94 h 1094"/>
                <a:gd name="T56" fmla="*/ 404 w 1152"/>
                <a:gd name="T57" fmla="*/ 137 h 1094"/>
                <a:gd name="T58" fmla="*/ 336 w 1152"/>
                <a:gd name="T59" fmla="*/ 204 h 1094"/>
                <a:gd name="T60" fmla="*/ 285 w 1152"/>
                <a:gd name="T61" fmla="*/ 290 h 1094"/>
                <a:gd name="T62" fmla="*/ 253 w 1152"/>
                <a:gd name="T63" fmla="*/ 386 h 1094"/>
                <a:gd name="T64" fmla="*/ 234 w 1152"/>
                <a:gd name="T65" fmla="*/ 507 h 1094"/>
                <a:gd name="T66" fmla="*/ 240 w 1152"/>
                <a:gd name="T67" fmla="*/ 647 h 1094"/>
                <a:gd name="T68" fmla="*/ 264 w 1152"/>
                <a:gd name="T69" fmla="*/ 747 h 1094"/>
                <a:gd name="T70" fmla="*/ 303 w 1152"/>
                <a:gd name="T71" fmla="*/ 840 h 1094"/>
                <a:gd name="T72" fmla="*/ 360 w 1152"/>
                <a:gd name="T73" fmla="*/ 919 h 1094"/>
                <a:gd name="T74" fmla="*/ 437 w 1152"/>
                <a:gd name="T75" fmla="*/ 977 h 1094"/>
                <a:gd name="T76" fmla="*/ 533 w 1152"/>
                <a:gd name="T77" fmla="*/ 1008 h 1094"/>
                <a:gd name="T78" fmla="*/ 621 w 1152"/>
                <a:gd name="T79" fmla="*/ 1008 h 1094"/>
                <a:gd name="T80" fmla="*/ 716 w 1152"/>
                <a:gd name="T81" fmla="*/ 977 h 1094"/>
                <a:gd name="T82" fmla="*/ 793 w 1152"/>
                <a:gd name="T83" fmla="*/ 919 h 1094"/>
                <a:gd name="T84" fmla="*/ 850 w 1152"/>
                <a:gd name="T85" fmla="*/ 840 h 1094"/>
                <a:gd name="T86" fmla="*/ 890 w 1152"/>
                <a:gd name="T87" fmla="*/ 747 h 1094"/>
                <a:gd name="T88" fmla="*/ 912 w 1152"/>
                <a:gd name="T89" fmla="*/ 647 h 1094"/>
                <a:gd name="T90" fmla="*/ 918 w 1152"/>
                <a:gd name="T91" fmla="*/ 507 h 1094"/>
                <a:gd name="T92" fmla="*/ 901 w 1152"/>
                <a:gd name="T93" fmla="*/ 386 h 1094"/>
                <a:gd name="T94" fmla="*/ 867 w 1152"/>
                <a:gd name="T95" fmla="*/ 290 h 1094"/>
                <a:gd name="T96" fmla="*/ 817 w 1152"/>
                <a:gd name="T97" fmla="*/ 204 h 1094"/>
                <a:gd name="T98" fmla="*/ 749 w 1152"/>
                <a:gd name="T99" fmla="*/ 137 h 1094"/>
                <a:gd name="T100" fmla="*/ 662 w 1152"/>
                <a:gd name="T101" fmla="*/ 94 h 1094"/>
                <a:gd name="T102" fmla="*/ 577 w 1152"/>
                <a:gd name="T103" fmla="*/ 82 h 10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152" h="1094">
                  <a:moveTo>
                    <a:pt x="577" y="1094"/>
                  </a:moveTo>
                  <a:lnTo>
                    <a:pt x="577" y="1094"/>
                  </a:lnTo>
                  <a:lnTo>
                    <a:pt x="547" y="1093"/>
                  </a:lnTo>
                  <a:lnTo>
                    <a:pt x="518" y="1091"/>
                  </a:lnTo>
                  <a:lnTo>
                    <a:pt x="489" y="1087"/>
                  </a:lnTo>
                  <a:lnTo>
                    <a:pt x="460" y="1082"/>
                  </a:lnTo>
                  <a:lnTo>
                    <a:pt x="433" y="1076"/>
                  </a:lnTo>
                  <a:lnTo>
                    <a:pt x="406" y="1069"/>
                  </a:lnTo>
                  <a:lnTo>
                    <a:pt x="379" y="1060"/>
                  </a:lnTo>
                  <a:lnTo>
                    <a:pt x="353" y="1051"/>
                  </a:lnTo>
                  <a:lnTo>
                    <a:pt x="327" y="1039"/>
                  </a:lnTo>
                  <a:lnTo>
                    <a:pt x="303" y="1027"/>
                  </a:lnTo>
                  <a:lnTo>
                    <a:pt x="278" y="1014"/>
                  </a:lnTo>
                  <a:lnTo>
                    <a:pt x="255" y="1000"/>
                  </a:lnTo>
                  <a:lnTo>
                    <a:pt x="232" y="984"/>
                  </a:lnTo>
                  <a:lnTo>
                    <a:pt x="211" y="968"/>
                  </a:lnTo>
                  <a:lnTo>
                    <a:pt x="189" y="950"/>
                  </a:lnTo>
                  <a:lnTo>
                    <a:pt x="170" y="933"/>
                  </a:lnTo>
                  <a:lnTo>
                    <a:pt x="151" y="914"/>
                  </a:lnTo>
                  <a:lnTo>
                    <a:pt x="132" y="894"/>
                  </a:lnTo>
                  <a:lnTo>
                    <a:pt x="115" y="873"/>
                  </a:lnTo>
                  <a:lnTo>
                    <a:pt x="99" y="851"/>
                  </a:lnTo>
                  <a:lnTo>
                    <a:pt x="84" y="830"/>
                  </a:lnTo>
                  <a:lnTo>
                    <a:pt x="70" y="806"/>
                  </a:lnTo>
                  <a:lnTo>
                    <a:pt x="57" y="783"/>
                  </a:lnTo>
                  <a:lnTo>
                    <a:pt x="46" y="758"/>
                  </a:lnTo>
                  <a:lnTo>
                    <a:pt x="36" y="734"/>
                  </a:lnTo>
                  <a:lnTo>
                    <a:pt x="27" y="708"/>
                  </a:lnTo>
                  <a:lnTo>
                    <a:pt x="19" y="683"/>
                  </a:lnTo>
                  <a:lnTo>
                    <a:pt x="12" y="656"/>
                  </a:lnTo>
                  <a:lnTo>
                    <a:pt x="7" y="629"/>
                  </a:lnTo>
                  <a:lnTo>
                    <a:pt x="3" y="602"/>
                  </a:lnTo>
                  <a:lnTo>
                    <a:pt x="1" y="574"/>
                  </a:lnTo>
                  <a:lnTo>
                    <a:pt x="0" y="547"/>
                  </a:lnTo>
                  <a:lnTo>
                    <a:pt x="0" y="547"/>
                  </a:lnTo>
                  <a:lnTo>
                    <a:pt x="1" y="519"/>
                  </a:lnTo>
                  <a:lnTo>
                    <a:pt x="3" y="491"/>
                  </a:lnTo>
                  <a:lnTo>
                    <a:pt x="7" y="464"/>
                  </a:lnTo>
                  <a:lnTo>
                    <a:pt x="12" y="437"/>
                  </a:lnTo>
                  <a:lnTo>
                    <a:pt x="19" y="411"/>
                  </a:lnTo>
                  <a:lnTo>
                    <a:pt x="27" y="385"/>
                  </a:lnTo>
                  <a:lnTo>
                    <a:pt x="36" y="360"/>
                  </a:lnTo>
                  <a:lnTo>
                    <a:pt x="46" y="335"/>
                  </a:lnTo>
                  <a:lnTo>
                    <a:pt x="57" y="310"/>
                  </a:lnTo>
                  <a:lnTo>
                    <a:pt x="70" y="287"/>
                  </a:lnTo>
                  <a:lnTo>
                    <a:pt x="84" y="264"/>
                  </a:lnTo>
                  <a:lnTo>
                    <a:pt x="99" y="242"/>
                  </a:lnTo>
                  <a:lnTo>
                    <a:pt x="115" y="220"/>
                  </a:lnTo>
                  <a:lnTo>
                    <a:pt x="132" y="200"/>
                  </a:lnTo>
                  <a:lnTo>
                    <a:pt x="151" y="180"/>
                  </a:lnTo>
                  <a:lnTo>
                    <a:pt x="170" y="161"/>
                  </a:lnTo>
                  <a:lnTo>
                    <a:pt x="189" y="143"/>
                  </a:lnTo>
                  <a:lnTo>
                    <a:pt x="211" y="125"/>
                  </a:lnTo>
                  <a:lnTo>
                    <a:pt x="232" y="109"/>
                  </a:lnTo>
                  <a:lnTo>
                    <a:pt x="255" y="94"/>
                  </a:lnTo>
                  <a:lnTo>
                    <a:pt x="278" y="79"/>
                  </a:lnTo>
                  <a:lnTo>
                    <a:pt x="303" y="66"/>
                  </a:lnTo>
                  <a:lnTo>
                    <a:pt x="327" y="54"/>
                  </a:lnTo>
                  <a:lnTo>
                    <a:pt x="353" y="44"/>
                  </a:lnTo>
                  <a:lnTo>
                    <a:pt x="379" y="33"/>
                  </a:lnTo>
                  <a:lnTo>
                    <a:pt x="406" y="24"/>
                  </a:lnTo>
                  <a:lnTo>
                    <a:pt x="433" y="17"/>
                  </a:lnTo>
                  <a:lnTo>
                    <a:pt x="460" y="11"/>
                  </a:lnTo>
                  <a:lnTo>
                    <a:pt x="489" y="6"/>
                  </a:lnTo>
                  <a:lnTo>
                    <a:pt x="518" y="3"/>
                  </a:lnTo>
                  <a:lnTo>
                    <a:pt x="547" y="1"/>
                  </a:lnTo>
                  <a:lnTo>
                    <a:pt x="577" y="0"/>
                  </a:lnTo>
                  <a:lnTo>
                    <a:pt x="577" y="0"/>
                  </a:lnTo>
                  <a:lnTo>
                    <a:pt x="607" y="1"/>
                  </a:lnTo>
                  <a:lnTo>
                    <a:pt x="635" y="3"/>
                  </a:lnTo>
                  <a:lnTo>
                    <a:pt x="664" y="6"/>
                  </a:lnTo>
                  <a:lnTo>
                    <a:pt x="692" y="11"/>
                  </a:lnTo>
                  <a:lnTo>
                    <a:pt x="720" y="17"/>
                  </a:lnTo>
                  <a:lnTo>
                    <a:pt x="747" y="24"/>
                  </a:lnTo>
                  <a:lnTo>
                    <a:pt x="773" y="33"/>
                  </a:lnTo>
                  <a:lnTo>
                    <a:pt x="800" y="44"/>
                  </a:lnTo>
                  <a:lnTo>
                    <a:pt x="825" y="54"/>
                  </a:lnTo>
                  <a:lnTo>
                    <a:pt x="850" y="66"/>
                  </a:lnTo>
                  <a:lnTo>
                    <a:pt x="873" y="79"/>
                  </a:lnTo>
                  <a:lnTo>
                    <a:pt x="897" y="94"/>
                  </a:lnTo>
                  <a:lnTo>
                    <a:pt x="919" y="109"/>
                  </a:lnTo>
                  <a:lnTo>
                    <a:pt x="942" y="125"/>
                  </a:lnTo>
                  <a:lnTo>
                    <a:pt x="962" y="143"/>
                  </a:lnTo>
                  <a:lnTo>
                    <a:pt x="983" y="161"/>
                  </a:lnTo>
                  <a:lnTo>
                    <a:pt x="1001" y="180"/>
                  </a:lnTo>
                  <a:lnTo>
                    <a:pt x="1020" y="200"/>
                  </a:lnTo>
                  <a:lnTo>
                    <a:pt x="1037" y="220"/>
                  </a:lnTo>
                  <a:lnTo>
                    <a:pt x="1052" y="242"/>
                  </a:lnTo>
                  <a:lnTo>
                    <a:pt x="1068" y="264"/>
                  </a:lnTo>
                  <a:lnTo>
                    <a:pt x="1082" y="287"/>
                  </a:lnTo>
                  <a:lnTo>
                    <a:pt x="1094" y="310"/>
                  </a:lnTo>
                  <a:lnTo>
                    <a:pt x="1106" y="335"/>
                  </a:lnTo>
                  <a:lnTo>
                    <a:pt x="1116" y="360"/>
                  </a:lnTo>
                  <a:lnTo>
                    <a:pt x="1125" y="385"/>
                  </a:lnTo>
                  <a:lnTo>
                    <a:pt x="1133" y="411"/>
                  </a:lnTo>
                  <a:lnTo>
                    <a:pt x="1139" y="437"/>
                  </a:lnTo>
                  <a:lnTo>
                    <a:pt x="1144" y="464"/>
                  </a:lnTo>
                  <a:lnTo>
                    <a:pt x="1148" y="491"/>
                  </a:lnTo>
                  <a:lnTo>
                    <a:pt x="1151" y="519"/>
                  </a:lnTo>
                  <a:lnTo>
                    <a:pt x="1152" y="547"/>
                  </a:lnTo>
                  <a:lnTo>
                    <a:pt x="1152" y="547"/>
                  </a:lnTo>
                  <a:lnTo>
                    <a:pt x="1151" y="574"/>
                  </a:lnTo>
                  <a:lnTo>
                    <a:pt x="1148" y="602"/>
                  </a:lnTo>
                  <a:lnTo>
                    <a:pt x="1144" y="629"/>
                  </a:lnTo>
                  <a:lnTo>
                    <a:pt x="1139" y="656"/>
                  </a:lnTo>
                  <a:lnTo>
                    <a:pt x="1133" y="683"/>
                  </a:lnTo>
                  <a:lnTo>
                    <a:pt x="1125" y="708"/>
                  </a:lnTo>
                  <a:lnTo>
                    <a:pt x="1116" y="734"/>
                  </a:lnTo>
                  <a:lnTo>
                    <a:pt x="1106" y="758"/>
                  </a:lnTo>
                  <a:lnTo>
                    <a:pt x="1094" y="783"/>
                  </a:lnTo>
                  <a:lnTo>
                    <a:pt x="1082" y="806"/>
                  </a:lnTo>
                  <a:lnTo>
                    <a:pt x="1068" y="830"/>
                  </a:lnTo>
                  <a:lnTo>
                    <a:pt x="1052" y="851"/>
                  </a:lnTo>
                  <a:lnTo>
                    <a:pt x="1037" y="873"/>
                  </a:lnTo>
                  <a:lnTo>
                    <a:pt x="1020" y="894"/>
                  </a:lnTo>
                  <a:lnTo>
                    <a:pt x="1001" y="914"/>
                  </a:lnTo>
                  <a:lnTo>
                    <a:pt x="983" y="933"/>
                  </a:lnTo>
                  <a:lnTo>
                    <a:pt x="962" y="950"/>
                  </a:lnTo>
                  <a:lnTo>
                    <a:pt x="942" y="968"/>
                  </a:lnTo>
                  <a:lnTo>
                    <a:pt x="919" y="984"/>
                  </a:lnTo>
                  <a:lnTo>
                    <a:pt x="897" y="1000"/>
                  </a:lnTo>
                  <a:lnTo>
                    <a:pt x="873" y="1014"/>
                  </a:lnTo>
                  <a:lnTo>
                    <a:pt x="850" y="1027"/>
                  </a:lnTo>
                  <a:lnTo>
                    <a:pt x="825" y="1039"/>
                  </a:lnTo>
                  <a:lnTo>
                    <a:pt x="800" y="1051"/>
                  </a:lnTo>
                  <a:lnTo>
                    <a:pt x="773" y="1060"/>
                  </a:lnTo>
                  <a:lnTo>
                    <a:pt x="747" y="1069"/>
                  </a:lnTo>
                  <a:lnTo>
                    <a:pt x="720" y="1076"/>
                  </a:lnTo>
                  <a:lnTo>
                    <a:pt x="692" y="1082"/>
                  </a:lnTo>
                  <a:lnTo>
                    <a:pt x="664" y="1087"/>
                  </a:lnTo>
                  <a:lnTo>
                    <a:pt x="635" y="1091"/>
                  </a:lnTo>
                  <a:lnTo>
                    <a:pt x="607" y="1093"/>
                  </a:lnTo>
                  <a:lnTo>
                    <a:pt x="577" y="1094"/>
                  </a:lnTo>
                  <a:lnTo>
                    <a:pt x="577" y="1094"/>
                  </a:lnTo>
                  <a:close/>
                  <a:moveTo>
                    <a:pt x="577" y="82"/>
                  </a:moveTo>
                  <a:lnTo>
                    <a:pt x="577" y="82"/>
                  </a:lnTo>
                  <a:lnTo>
                    <a:pt x="554" y="83"/>
                  </a:lnTo>
                  <a:lnTo>
                    <a:pt x="533" y="86"/>
                  </a:lnTo>
                  <a:lnTo>
                    <a:pt x="511" y="90"/>
                  </a:lnTo>
                  <a:lnTo>
                    <a:pt x="492" y="94"/>
                  </a:lnTo>
                  <a:lnTo>
                    <a:pt x="473" y="100"/>
                  </a:lnTo>
                  <a:lnTo>
                    <a:pt x="454" y="108"/>
                  </a:lnTo>
                  <a:lnTo>
                    <a:pt x="437" y="116"/>
                  </a:lnTo>
                  <a:lnTo>
                    <a:pt x="419" y="125"/>
                  </a:lnTo>
                  <a:lnTo>
                    <a:pt x="404" y="137"/>
                  </a:lnTo>
                  <a:lnTo>
                    <a:pt x="389" y="148"/>
                  </a:lnTo>
                  <a:lnTo>
                    <a:pt x="374" y="161"/>
                  </a:lnTo>
                  <a:lnTo>
                    <a:pt x="360" y="174"/>
                  </a:lnTo>
                  <a:lnTo>
                    <a:pt x="348" y="189"/>
                  </a:lnTo>
                  <a:lnTo>
                    <a:pt x="336" y="204"/>
                  </a:lnTo>
                  <a:lnTo>
                    <a:pt x="324" y="219"/>
                  </a:lnTo>
                  <a:lnTo>
                    <a:pt x="313" y="237"/>
                  </a:lnTo>
                  <a:lnTo>
                    <a:pt x="303" y="253"/>
                  </a:lnTo>
                  <a:lnTo>
                    <a:pt x="294" y="272"/>
                  </a:lnTo>
                  <a:lnTo>
                    <a:pt x="285" y="290"/>
                  </a:lnTo>
                  <a:lnTo>
                    <a:pt x="277" y="308"/>
                  </a:lnTo>
                  <a:lnTo>
                    <a:pt x="270" y="327"/>
                  </a:lnTo>
                  <a:lnTo>
                    <a:pt x="264" y="346"/>
                  </a:lnTo>
                  <a:lnTo>
                    <a:pt x="258" y="367"/>
                  </a:lnTo>
                  <a:lnTo>
                    <a:pt x="253" y="386"/>
                  </a:lnTo>
                  <a:lnTo>
                    <a:pt x="248" y="407"/>
                  </a:lnTo>
                  <a:lnTo>
                    <a:pt x="245" y="426"/>
                  </a:lnTo>
                  <a:lnTo>
                    <a:pt x="240" y="446"/>
                  </a:lnTo>
                  <a:lnTo>
                    <a:pt x="238" y="467"/>
                  </a:lnTo>
                  <a:lnTo>
                    <a:pt x="234" y="507"/>
                  </a:lnTo>
                  <a:lnTo>
                    <a:pt x="233" y="547"/>
                  </a:lnTo>
                  <a:lnTo>
                    <a:pt x="233" y="547"/>
                  </a:lnTo>
                  <a:lnTo>
                    <a:pt x="234" y="587"/>
                  </a:lnTo>
                  <a:lnTo>
                    <a:pt x="238" y="626"/>
                  </a:lnTo>
                  <a:lnTo>
                    <a:pt x="240" y="647"/>
                  </a:lnTo>
                  <a:lnTo>
                    <a:pt x="245" y="667"/>
                  </a:lnTo>
                  <a:lnTo>
                    <a:pt x="248" y="687"/>
                  </a:lnTo>
                  <a:lnTo>
                    <a:pt x="253" y="707"/>
                  </a:lnTo>
                  <a:lnTo>
                    <a:pt x="258" y="728"/>
                  </a:lnTo>
                  <a:lnTo>
                    <a:pt x="264" y="747"/>
                  </a:lnTo>
                  <a:lnTo>
                    <a:pt x="270" y="766"/>
                  </a:lnTo>
                  <a:lnTo>
                    <a:pt x="277" y="785"/>
                  </a:lnTo>
                  <a:lnTo>
                    <a:pt x="285" y="804"/>
                  </a:lnTo>
                  <a:lnTo>
                    <a:pt x="294" y="822"/>
                  </a:lnTo>
                  <a:lnTo>
                    <a:pt x="303" y="840"/>
                  </a:lnTo>
                  <a:lnTo>
                    <a:pt x="313" y="857"/>
                  </a:lnTo>
                  <a:lnTo>
                    <a:pt x="324" y="874"/>
                  </a:lnTo>
                  <a:lnTo>
                    <a:pt x="336" y="889"/>
                  </a:lnTo>
                  <a:lnTo>
                    <a:pt x="348" y="904"/>
                  </a:lnTo>
                  <a:lnTo>
                    <a:pt x="360" y="919"/>
                  </a:lnTo>
                  <a:lnTo>
                    <a:pt x="374" y="932"/>
                  </a:lnTo>
                  <a:lnTo>
                    <a:pt x="389" y="945"/>
                  </a:lnTo>
                  <a:lnTo>
                    <a:pt x="404" y="957"/>
                  </a:lnTo>
                  <a:lnTo>
                    <a:pt x="419" y="968"/>
                  </a:lnTo>
                  <a:lnTo>
                    <a:pt x="437" y="977"/>
                  </a:lnTo>
                  <a:lnTo>
                    <a:pt x="454" y="986"/>
                  </a:lnTo>
                  <a:lnTo>
                    <a:pt x="473" y="993"/>
                  </a:lnTo>
                  <a:lnTo>
                    <a:pt x="492" y="1000"/>
                  </a:lnTo>
                  <a:lnTo>
                    <a:pt x="511" y="1005"/>
                  </a:lnTo>
                  <a:lnTo>
                    <a:pt x="533" y="1008"/>
                  </a:lnTo>
                  <a:lnTo>
                    <a:pt x="554" y="1010"/>
                  </a:lnTo>
                  <a:lnTo>
                    <a:pt x="577" y="1011"/>
                  </a:lnTo>
                  <a:lnTo>
                    <a:pt x="577" y="1011"/>
                  </a:lnTo>
                  <a:lnTo>
                    <a:pt x="599" y="1010"/>
                  </a:lnTo>
                  <a:lnTo>
                    <a:pt x="621" y="1008"/>
                  </a:lnTo>
                  <a:lnTo>
                    <a:pt x="641" y="1005"/>
                  </a:lnTo>
                  <a:lnTo>
                    <a:pt x="662" y="1000"/>
                  </a:lnTo>
                  <a:lnTo>
                    <a:pt x="680" y="993"/>
                  </a:lnTo>
                  <a:lnTo>
                    <a:pt x="699" y="986"/>
                  </a:lnTo>
                  <a:lnTo>
                    <a:pt x="716" y="977"/>
                  </a:lnTo>
                  <a:lnTo>
                    <a:pt x="733" y="968"/>
                  </a:lnTo>
                  <a:lnTo>
                    <a:pt x="749" y="957"/>
                  </a:lnTo>
                  <a:lnTo>
                    <a:pt x="764" y="945"/>
                  </a:lnTo>
                  <a:lnTo>
                    <a:pt x="778" y="932"/>
                  </a:lnTo>
                  <a:lnTo>
                    <a:pt x="793" y="919"/>
                  </a:lnTo>
                  <a:lnTo>
                    <a:pt x="805" y="904"/>
                  </a:lnTo>
                  <a:lnTo>
                    <a:pt x="817" y="889"/>
                  </a:lnTo>
                  <a:lnTo>
                    <a:pt x="828" y="874"/>
                  </a:lnTo>
                  <a:lnTo>
                    <a:pt x="840" y="857"/>
                  </a:lnTo>
                  <a:lnTo>
                    <a:pt x="850" y="840"/>
                  </a:lnTo>
                  <a:lnTo>
                    <a:pt x="859" y="822"/>
                  </a:lnTo>
                  <a:lnTo>
                    <a:pt x="867" y="804"/>
                  </a:lnTo>
                  <a:lnTo>
                    <a:pt x="875" y="785"/>
                  </a:lnTo>
                  <a:lnTo>
                    <a:pt x="883" y="766"/>
                  </a:lnTo>
                  <a:lnTo>
                    <a:pt x="890" y="747"/>
                  </a:lnTo>
                  <a:lnTo>
                    <a:pt x="895" y="728"/>
                  </a:lnTo>
                  <a:lnTo>
                    <a:pt x="901" y="707"/>
                  </a:lnTo>
                  <a:lnTo>
                    <a:pt x="905" y="687"/>
                  </a:lnTo>
                  <a:lnTo>
                    <a:pt x="909" y="667"/>
                  </a:lnTo>
                  <a:lnTo>
                    <a:pt x="912" y="647"/>
                  </a:lnTo>
                  <a:lnTo>
                    <a:pt x="915" y="626"/>
                  </a:lnTo>
                  <a:lnTo>
                    <a:pt x="918" y="587"/>
                  </a:lnTo>
                  <a:lnTo>
                    <a:pt x="920" y="547"/>
                  </a:lnTo>
                  <a:lnTo>
                    <a:pt x="920" y="547"/>
                  </a:lnTo>
                  <a:lnTo>
                    <a:pt x="918" y="507"/>
                  </a:lnTo>
                  <a:lnTo>
                    <a:pt x="915" y="467"/>
                  </a:lnTo>
                  <a:lnTo>
                    <a:pt x="912" y="446"/>
                  </a:lnTo>
                  <a:lnTo>
                    <a:pt x="909" y="426"/>
                  </a:lnTo>
                  <a:lnTo>
                    <a:pt x="905" y="407"/>
                  </a:lnTo>
                  <a:lnTo>
                    <a:pt x="901" y="386"/>
                  </a:lnTo>
                  <a:lnTo>
                    <a:pt x="895" y="367"/>
                  </a:lnTo>
                  <a:lnTo>
                    <a:pt x="890" y="346"/>
                  </a:lnTo>
                  <a:lnTo>
                    <a:pt x="883" y="327"/>
                  </a:lnTo>
                  <a:lnTo>
                    <a:pt x="875" y="308"/>
                  </a:lnTo>
                  <a:lnTo>
                    <a:pt x="867" y="290"/>
                  </a:lnTo>
                  <a:lnTo>
                    <a:pt x="859" y="272"/>
                  </a:lnTo>
                  <a:lnTo>
                    <a:pt x="850" y="253"/>
                  </a:lnTo>
                  <a:lnTo>
                    <a:pt x="840" y="237"/>
                  </a:lnTo>
                  <a:lnTo>
                    <a:pt x="828" y="219"/>
                  </a:lnTo>
                  <a:lnTo>
                    <a:pt x="817" y="204"/>
                  </a:lnTo>
                  <a:lnTo>
                    <a:pt x="805" y="189"/>
                  </a:lnTo>
                  <a:lnTo>
                    <a:pt x="793" y="174"/>
                  </a:lnTo>
                  <a:lnTo>
                    <a:pt x="778" y="161"/>
                  </a:lnTo>
                  <a:lnTo>
                    <a:pt x="764" y="148"/>
                  </a:lnTo>
                  <a:lnTo>
                    <a:pt x="749" y="137"/>
                  </a:lnTo>
                  <a:lnTo>
                    <a:pt x="733" y="125"/>
                  </a:lnTo>
                  <a:lnTo>
                    <a:pt x="716" y="116"/>
                  </a:lnTo>
                  <a:lnTo>
                    <a:pt x="699" y="108"/>
                  </a:lnTo>
                  <a:lnTo>
                    <a:pt x="680" y="100"/>
                  </a:lnTo>
                  <a:lnTo>
                    <a:pt x="662" y="94"/>
                  </a:lnTo>
                  <a:lnTo>
                    <a:pt x="641" y="90"/>
                  </a:lnTo>
                  <a:lnTo>
                    <a:pt x="621" y="86"/>
                  </a:lnTo>
                  <a:lnTo>
                    <a:pt x="599" y="83"/>
                  </a:lnTo>
                  <a:lnTo>
                    <a:pt x="577" y="82"/>
                  </a:lnTo>
                  <a:lnTo>
                    <a:pt x="577" y="8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58" name="Freeform 11"/>
            <p:cNvSpPr>
              <a:spLocks/>
            </p:cNvSpPr>
            <p:nvPr userDrawn="1"/>
          </p:nvSpPr>
          <p:spPr bwMode="auto">
            <a:xfrm>
              <a:off x="7488484" y="633580"/>
              <a:ext cx="155575" cy="141289"/>
            </a:xfrm>
            <a:custGeom>
              <a:avLst/>
              <a:gdLst>
                <a:gd name="T0" fmla="*/ 922 w 1165"/>
                <a:gd name="T1" fmla="*/ 252 h 1065"/>
                <a:gd name="T2" fmla="*/ 921 w 1165"/>
                <a:gd name="T3" fmla="*/ 194 h 1065"/>
                <a:gd name="T4" fmla="*/ 916 w 1165"/>
                <a:gd name="T5" fmla="*/ 148 h 1065"/>
                <a:gd name="T6" fmla="*/ 906 w 1165"/>
                <a:gd name="T7" fmla="*/ 113 h 1065"/>
                <a:gd name="T8" fmla="*/ 896 w 1165"/>
                <a:gd name="T9" fmla="*/ 92 h 1065"/>
                <a:gd name="T10" fmla="*/ 888 w 1165"/>
                <a:gd name="T11" fmla="*/ 81 h 1065"/>
                <a:gd name="T12" fmla="*/ 877 w 1165"/>
                <a:gd name="T13" fmla="*/ 73 h 1065"/>
                <a:gd name="T14" fmla="*/ 857 w 1165"/>
                <a:gd name="T15" fmla="*/ 63 h 1065"/>
                <a:gd name="T16" fmla="*/ 825 w 1165"/>
                <a:gd name="T17" fmla="*/ 54 h 1065"/>
                <a:gd name="T18" fmla="*/ 782 w 1165"/>
                <a:gd name="T19" fmla="*/ 50 h 1065"/>
                <a:gd name="T20" fmla="*/ 756 w 1165"/>
                <a:gd name="T21" fmla="*/ 0 h 1065"/>
                <a:gd name="T22" fmla="*/ 1165 w 1165"/>
                <a:gd name="T23" fmla="*/ 50 h 1065"/>
                <a:gd name="T24" fmla="*/ 1139 w 1165"/>
                <a:gd name="T25" fmla="*/ 50 h 1065"/>
                <a:gd name="T26" fmla="*/ 1096 w 1165"/>
                <a:gd name="T27" fmla="*/ 54 h 1065"/>
                <a:gd name="T28" fmla="*/ 1062 w 1165"/>
                <a:gd name="T29" fmla="*/ 63 h 1065"/>
                <a:gd name="T30" fmla="*/ 1042 w 1165"/>
                <a:gd name="T31" fmla="*/ 73 h 1065"/>
                <a:gd name="T32" fmla="*/ 1032 w 1165"/>
                <a:gd name="T33" fmla="*/ 81 h 1065"/>
                <a:gd name="T34" fmla="*/ 1023 w 1165"/>
                <a:gd name="T35" fmla="*/ 92 h 1065"/>
                <a:gd name="T36" fmla="*/ 1014 w 1165"/>
                <a:gd name="T37" fmla="*/ 113 h 1065"/>
                <a:gd name="T38" fmla="*/ 1005 w 1165"/>
                <a:gd name="T39" fmla="*/ 148 h 1065"/>
                <a:gd name="T40" fmla="*/ 1000 w 1165"/>
                <a:gd name="T41" fmla="*/ 194 h 1065"/>
                <a:gd name="T42" fmla="*/ 999 w 1165"/>
                <a:gd name="T43" fmla="*/ 252 h 1065"/>
                <a:gd name="T44" fmla="*/ 955 w 1165"/>
                <a:gd name="T45" fmla="*/ 1065 h 1065"/>
                <a:gd name="T46" fmla="*/ 242 w 1165"/>
                <a:gd name="T47" fmla="*/ 783 h 1065"/>
                <a:gd name="T48" fmla="*/ 242 w 1165"/>
                <a:gd name="T49" fmla="*/ 814 h 1065"/>
                <a:gd name="T50" fmla="*/ 245 w 1165"/>
                <a:gd name="T51" fmla="*/ 866 h 1065"/>
                <a:gd name="T52" fmla="*/ 251 w 1165"/>
                <a:gd name="T53" fmla="*/ 906 h 1065"/>
                <a:gd name="T54" fmla="*/ 263 w 1165"/>
                <a:gd name="T55" fmla="*/ 937 h 1065"/>
                <a:gd name="T56" fmla="*/ 271 w 1165"/>
                <a:gd name="T57" fmla="*/ 949 h 1065"/>
                <a:gd name="T58" fmla="*/ 281 w 1165"/>
                <a:gd name="T59" fmla="*/ 958 h 1065"/>
                <a:gd name="T60" fmla="*/ 292 w 1165"/>
                <a:gd name="T61" fmla="*/ 966 h 1065"/>
                <a:gd name="T62" fmla="*/ 322 w 1165"/>
                <a:gd name="T63" fmla="*/ 978 h 1065"/>
                <a:gd name="T64" fmla="*/ 359 w 1165"/>
                <a:gd name="T65" fmla="*/ 984 h 1065"/>
                <a:gd name="T66" fmla="*/ 407 w 1165"/>
                <a:gd name="T67" fmla="*/ 985 h 1065"/>
                <a:gd name="T68" fmla="*/ 0 w 1165"/>
                <a:gd name="T69" fmla="*/ 1035 h 1065"/>
                <a:gd name="T70" fmla="*/ 0 w 1165"/>
                <a:gd name="T71" fmla="*/ 985 h 1065"/>
                <a:gd name="T72" fmla="*/ 49 w 1165"/>
                <a:gd name="T73" fmla="*/ 984 h 1065"/>
                <a:gd name="T74" fmla="*/ 86 w 1165"/>
                <a:gd name="T75" fmla="*/ 978 h 1065"/>
                <a:gd name="T76" fmla="*/ 115 w 1165"/>
                <a:gd name="T77" fmla="*/ 966 h 1065"/>
                <a:gd name="T78" fmla="*/ 126 w 1165"/>
                <a:gd name="T79" fmla="*/ 958 h 1065"/>
                <a:gd name="T80" fmla="*/ 135 w 1165"/>
                <a:gd name="T81" fmla="*/ 949 h 1065"/>
                <a:gd name="T82" fmla="*/ 144 w 1165"/>
                <a:gd name="T83" fmla="*/ 937 h 1065"/>
                <a:gd name="T84" fmla="*/ 155 w 1165"/>
                <a:gd name="T85" fmla="*/ 906 h 1065"/>
                <a:gd name="T86" fmla="*/ 161 w 1165"/>
                <a:gd name="T87" fmla="*/ 866 h 1065"/>
                <a:gd name="T88" fmla="*/ 164 w 1165"/>
                <a:gd name="T89" fmla="*/ 814 h 1065"/>
                <a:gd name="T90" fmla="*/ 164 w 1165"/>
                <a:gd name="T91" fmla="*/ 252 h 1065"/>
                <a:gd name="T92" fmla="*/ 164 w 1165"/>
                <a:gd name="T93" fmla="*/ 221 h 1065"/>
                <a:gd name="T94" fmla="*/ 161 w 1165"/>
                <a:gd name="T95" fmla="*/ 169 h 1065"/>
                <a:gd name="T96" fmla="*/ 155 w 1165"/>
                <a:gd name="T97" fmla="*/ 129 h 1065"/>
                <a:gd name="T98" fmla="*/ 144 w 1165"/>
                <a:gd name="T99" fmla="*/ 98 h 1065"/>
                <a:gd name="T100" fmla="*/ 135 w 1165"/>
                <a:gd name="T101" fmla="*/ 86 h 1065"/>
                <a:gd name="T102" fmla="*/ 126 w 1165"/>
                <a:gd name="T103" fmla="*/ 77 h 1065"/>
                <a:gd name="T104" fmla="*/ 115 w 1165"/>
                <a:gd name="T105" fmla="*/ 69 h 1065"/>
                <a:gd name="T106" fmla="*/ 86 w 1165"/>
                <a:gd name="T107" fmla="*/ 58 h 1065"/>
                <a:gd name="T108" fmla="*/ 49 w 1165"/>
                <a:gd name="T109" fmla="*/ 51 h 1065"/>
                <a:gd name="T110" fmla="*/ 0 w 1165"/>
                <a:gd name="T111" fmla="*/ 50 h 1065"/>
                <a:gd name="T112" fmla="*/ 345 w 1165"/>
                <a:gd name="T113" fmla="*/ 0 h 1065"/>
                <a:gd name="T114" fmla="*/ 922 w 1165"/>
                <a:gd name="T115" fmla="*/ 252 h 10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165" h="1065">
                  <a:moveTo>
                    <a:pt x="922" y="252"/>
                  </a:moveTo>
                  <a:lnTo>
                    <a:pt x="922" y="252"/>
                  </a:lnTo>
                  <a:lnTo>
                    <a:pt x="921" y="221"/>
                  </a:lnTo>
                  <a:lnTo>
                    <a:pt x="921" y="194"/>
                  </a:lnTo>
                  <a:lnTo>
                    <a:pt x="919" y="169"/>
                  </a:lnTo>
                  <a:lnTo>
                    <a:pt x="916" y="148"/>
                  </a:lnTo>
                  <a:lnTo>
                    <a:pt x="912" y="129"/>
                  </a:lnTo>
                  <a:lnTo>
                    <a:pt x="906" y="113"/>
                  </a:lnTo>
                  <a:lnTo>
                    <a:pt x="900" y="98"/>
                  </a:lnTo>
                  <a:lnTo>
                    <a:pt x="896" y="92"/>
                  </a:lnTo>
                  <a:lnTo>
                    <a:pt x="892" y="86"/>
                  </a:lnTo>
                  <a:lnTo>
                    <a:pt x="888" y="81"/>
                  </a:lnTo>
                  <a:lnTo>
                    <a:pt x="883" y="77"/>
                  </a:lnTo>
                  <a:lnTo>
                    <a:pt x="877" y="73"/>
                  </a:lnTo>
                  <a:lnTo>
                    <a:pt x="872" y="69"/>
                  </a:lnTo>
                  <a:lnTo>
                    <a:pt x="857" y="63"/>
                  </a:lnTo>
                  <a:lnTo>
                    <a:pt x="842" y="58"/>
                  </a:lnTo>
                  <a:lnTo>
                    <a:pt x="825" y="54"/>
                  </a:lnTo>
                  <a:lnTo>
                    <a:pt x="804" y="51"/>
                  </a:lnTo>
                  <a:lnTo>
                    <a:pt x="782" y="50"/>
                  </a:lnTo>
                  <a:lnTo>
                    <a:pt x="756" y="50"/>
                  </a:lnTo>
                  <a:lnTo>
                    <a:pt x="756" y="0"/>
                  </a:lnTo>
                  <a:lnTo>
                    <a:pt x="1165" y="0"/>
                  </a:lnTo>
                  <a:lnTo>
                    <a:pt x="1165" y="50"/>
                  </a:lnTo>
                  <a:lnTo>
                    <a:pt x="1165" y="50"/>
                  </a:lnTo>
                  <a:lnTo>
                    <a:pt x="1139" y="50"/>
                  </a:lnTo>
                  <a:lnTo>
                    <a:pt x="1116" y="51"/>
                  </a:lnTo>
                  <a:lnTo>
                    <a:pt x="1096" y="54"/>
                  </a:lnTo>
                  <a:lnTo>
                    <a:pt x="1078" y="58"/>
                  </a:lnTo>
                  <a:lnTo>
                    <a:pt x="1062" y="63"/>
                  </a:lnTo>
                  <a:lnTo>
                    <a:pt x="1049" y="69"/>
                  </a:lnTo>
                  <a:lnTo>
                    <a:pt x="1042" y="73"/>
                  </a:lnTo>
                  <a:lnTo>
                    <a:pt x="1037" y="77"/>
                  </a:lnTo>
                  <a:lnTo>
                    <a:pt x="1032" y="81"/>
                  </a:lnTo>
                  <a:lnTo>
                    <a:pt x="1028" y="86"/>
                  </a:lnTo>
                  <a:lnTo>
                    <a:pt x="1023" y="92"/>
                  </a:lnTo>
                  <a:lnTo>
                    <a:pt x="1020" y="98"/>
                  </a:lnTo>
                  <a:lnTo>
                    <a:pt x="1014" y="113"/>
                  </a:lnTo>
                  <a:lnTo>
                    <a:pt x="1009" y="129"/>
                  </a:lnTo>
                  <a:lnTo>
                    <a:pt x="1005" y="148"/>
                  </a:lnTo>
                  <a:lnTo>
                    <a:pt x="1002" y="169"/>
                  </a:lnTo>
                  <a:lnTo>
                    <a:pt x="1000" y="194"/>
                  </a:lnTo>
                  <a:lnTo>
                    <a:pt x="999" y="221"/>
                  </a:lnTo>
                  <a:lnTo>
                    <a:pt x="999" y="252"/>
                  </a:lnTo>
                  <a:lnTo>
                    <a:pt x="999" y="1065"/>
                  </a:lnTo>
                  <a:lnTo>
                    <a:pt x="955" y="1065"/>
                  </a:lnTo>
                  <a:lnTo>
                    <a:pt x="242" y="212"/>
                  </a:lnTo>
                  <a:lnTo>
                    <a:pt x="242" y="783"/>
                  </a:lnTo>
                  <a:lnTo>
                    <a:pt x="242" y="783"/>
                  </a:lnTo>
                  <a:lnTo>
                    <a:pt x="242" y="814"/>
                  </a:lnTo>
                  <a:lnTo>
                    <a:pt x="243" y="842"/>
                  </a:lnTo>
                  <a:lnTo>
                    <a:pt x="245" y="866"/>
                  </a:lnTo>
                  <a:lnTo>
                    <a:pt x="248" y="888"/>
                  </a:lnTo>
                  <a:lnTo>
                    <a:pt x="251" y="906"/>
                  </a:lnTo>
                  <a:lnTo>
                    <a:pt x="256" y="923"/>
                  </a:lnTo>
                  <a:lnTo>
                    <a:pt x="263" y="937"/>
                  </a:lnTo>
                  <a:lnTo>
                    <a:pt x="266" y="943"/>
                  </a:lnTo>
                  <a:lnTo>
                    <a:pt x="271" y="949"/>
                  </a:lnTo>
                  <a:lnTo>
                    <a:pt x="276" y="954"/>
                  </a:lnTo>
                  <a:lnTo>
                    <a:pt x="281" y="958"/>
                  </a:lnTo>
                  <a:lnTo>
                    <a:pt x="286" y="963"/>
                  </a:lnTo>
                  <a:lnTo>
                    <a:pt x="292" y="966"/>
                  </a:lnTo>
                  <a:lnTo>
                    <a:pt x="305" y="973"/>
                  </a:lnTo>
                  <a:lnTo>
                    <a:pt x="322" y="978"/>
                  </a:lnTo>
                  <a:lnTo>
                    <a:pt x="339" y="982"/>
                  </a:lnTo>
                  <a:lnTo>
                    <a:pt x="359" y="984"/>
                  </a:lnTo>
                  <a:lnTo>
                    <a:pt x="382" y="985"/>
                  </a:lnTo>
                  <a:lnTo>
                    <a:pt x="407" y="985"/>
                  </a:lnTo>
                  <a:lnTo>
                    <a:pt x="407" y="1035"/>
                  </a:lnTo>
                  <a:lnTo>
                    <a:pt x="0" y="1035"/>
                  </a:lnTo>
                  <a:lnTo>
                    <a:pt x="0" y="985"/>
                  </a:lnTo>
                  <a:lnTo>
                    <a:pt x="0" y="985"/>
                  </a:lnTo>
                  <a:lnTo>
                    <a:pt x="26" y="985"/>
                  </a:lnTo>
                  <a:lnTo>
                    <a:pt x="49" y="984"/>
                  </a:lnTo>
                  <a:lnTo>
                    <a:pt x="69" y="982"/>
                  </a:lnTo>
                  <a:lnTo>
                    <a:pt x="86" y="978"/>
                  </a:lnTo>
                  <a:lnTo>
                    <a:pt x="102" y="973"/>
                  </a:lnTo>
                  <a:lnTo>
                    <a:pt x="115" y="966"/>
                  </a:lnTo>
                  <a:lnTo>
                    <a:pt x="121" y="963"/>
                  </a:lnTo>
                  <a:lnTo>
                    <a:pt x="126" y="958"/>
                  </a:lnTo>
                  <a:lnTo>
                    <a:pt x="131" y="954"/>
                  </a:lnTo>
                  <a:lnTo>
                    <a:pt x="135" y="949"/>
                  </a:lnTo>
                  <a:lnTo>
                    <a:pt x="141" y="943"/>
                  </a:lnTo>
                  <a:lnTo>
                    <a:pt x="144" y="937"/>
                  </a:lnTo>
                  <a:lnTo>
                    <a:pt x="150" y="923"/>
                  </a:lnTo>
                  <a:lnTo>
                    <a:pt x="155" y="906"/>
                  </a:lnTo>
                  <a:lnTo>
                    <a:pt x="159" y="888"/>
                  </a:lnTo>
                  <a:lnTo>
                    <a:pt x="161" y="866"/>
                  </a:lnTo>
                  <a:lnTo>
                    <a:pt x="163" y="842"/>
                  </a:lnTo>
                  <a:lnTo>
                    <a:pt x="164" y="814"/>
                  </a:lnTo>
                  <a:lnTo>
                    <a:pt x="164" y="783"/>
                  </a:lnTo>
                  <a:lnTo>
                    <a:pt x="164" y="252"/>
                  </a:lnTo>
                  <a:lnTo>
                    <a:pt x="164" y="252"/>
                  </a:lnTo>
                  <a:lnTo>
                    <a:pt x="164" y="221"/>
                  </a:lnTo>
                  <a:lnTo>
                    <a:pt x="163" y="194"/>
                  </a:lnTo>
                  <a:lnTo>
                    <a:pt x="161" y="169"/>
                  </a:lnTo>
                  <a:lnTo>
                    <a:pt x="159" y="148"/>
                  </a:lnTo>
                  <a:lnTo>
                    <a:pt x="155" y="129"/>
                  </a:lnTo>
                  <a:lnTo>
                    <a:pt x="150" y="113"/>
                  </a:lnTo>
                  <a:lnTo>
                    <a:pt x="144" y="98"/>
                  </a:lnTo>
                  <a:lnTo>
                    <a:pt x="141" y="92"/>
                  </a:lnTo>
                  <a:lnTo>
                    <a:pt x="135" y="86"/>
                  </a:lnTo>
                  <a:lnTo>
                    <a:pt x="131" y="81"/>
                  </a:lnTo>
                  <a:lnTo>
                    <a:pt x="126" y="77"/>
                  </a:lnTo>
                  <a:lnTo>
                    <a:pt x="121" y="73"/>
                  </a:lnTo>
                  <a:lnTo>
                    <a:pt x="115" y="69"/>
                  </a:lnTo>
                  <a:lnTo>
                    <a:pt x="102" y="63"/>
                  </a:lnTo>
                  <a:lnTo>
                    <a:pt x="86" y="58"/>
                  </a:lnTo>
                  <a:lnTo>
                    <a:pt x="69" y="54"/>
                  </a:lnTo>
                  <a:lnTo>
                    <a:pt x="49" y="51"/>
                  </a:lnTo>
                  <a:lnTo>
                    <a:pt x="26" y="50"/>
                  </a:lnTo>
                  <a:lnTo>
                    <a:pt x="0" y="50"/>
                  </a:lnTo>
                  <a:lnTo>
                    <a:pt x="0" y="0"/>
                  </a:lnTo>
                  <a:lnTo>
                    <a:pt x="345" y="0"/>
                  </a:lnTo>
                  <a:lnTo>
                    <a:pt x="922" y="686"/>
                  </a:lnTo>
                  <a:lnTo>
                    <a:pt x="922" y="25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59" name="Freeform 12"/>
            <p:cNvSpPr>
              <a:spLocks/>
            </p:cNvSpPr>
            <p:nvPr userDrawn="1"/>
          </p:nvSpPr>
          <p:spPr bwMode="auto">
            <a:xfrm>
              <a:off x="7677396" y="633580"/>
              <a:ext cx="127000" cy="136525"/>
            </a:xfrm>
            <a:custGeom>
              <a:avLst/>
              <a:gdLst>
                <a:gd name="T0" fmla="*/ 25 w 959"/>
                <a:gd name="T1" fmla="*/ 985 h 1035"/>
                <a:gd name="T2" fmla="*/ 86 w 959"/>
                <a:gd name="T3" fmla="*/ 978 h 1035"/>
                <a:gd name="T4" fmla="*/ 120 w 959"/>
                <a:gd name="T5" fmla="*/ 963 h 1035"/>
                <a:gd name="T6" fmla="*/ 136 w 959"/>
                <a:gd name="T7" fmla="*/ 949 h 1035"/>
                <a:gd name="T8" fmla="*/ 150 w 959"/>
                <a:gd name="T9" fmla="*/ 923 h 1035"/>
                <a:gd name="T10" fmla="*/ 161 w 959"/>
                <a:gd name="T11" fmla="*/ 866 h 1035"/>
                <a:gd name="T12" fmla="*/ 163 w 959"/>
                <a:gd name="T13" fmla="*/ 783 h 1035"/>
                <a:gd name="T14" fmla="*/ 163 w 959"/>
                <a:gd name="T15" fmla="*/ 221 h 1035"/>
                <a:gd name="T16" fmla="*/ 158 w 959"/>
                <a:gd name="T17" fmla="*/ 148 h 1035"/>
                <a:gd name="T18" fmla="*/ 143 w 959"/>
                <a:gd name="T19" fmla="*/ 98 h 1035"/>
                <a:gd name="T20" fmla="*/ 131 w 959"/>
                <a:gd name="T21" fmla="*/ 81 h 1035"/>
                <a:gd name="T22" fmla="*/ 114 w 959"/>
                <a:gd name="T23" fmla="*/ 69 h 1035"/>
                <a:gd name="T24" fmla="*/ 68 w 959"/>
                <a:gd name="T25" fmla="*/ 54 h 1035"/>
                <a:gd name="T26" fmla="*/ 0 w 959"/>
                <a:gd name="T27" fmla="*/ 50 h 1035"/>
                <a:gd name="T28" fmla="*/ 902 w 959"/>
                <a:gd name="T29" fmla="*/ 244 h 1035"/>
                <a:gd name="T30" fmla="*/ 843 w 959"/>
                <a:gd name="T31" fmla="*/ 209 h 1035"/>
                <a:gd name="T32" fmla="*/ 824 w 959"/>
                <a:gd name="T33" fmla="*/ 150 h 1035"/>
                <a:gd name="T34" fmla="*/ 803 w 959"/>
                <a:gd name="T35" fmla="*/ 118 h 1035"/>
                <a:gd name="T36" fmla="*/ 770 w 959"/>
                <a:gd name="T37" fmla="*/ 95 h 1035"/>
                <a:gd name="T38" fmla="*/ 719 w 959"/>
                <a:gd name="T39" fmla="*/ 82 h 1035"/>
                <a:gd name="T40" fmla="*/ 643 w 959"/>
                <a:gd name="T41" fmla="*/ 78 h 1035"/>
                <a:gd name="T42" fmla="*/ 474 w 959"/>
                <a:gd name="T43" fmla="*/ 449 h 1035"/>
                <a:gd name="T44" fmla="*/ 532 w 959"/>
                <a:gd name="T45" fmla="*/ 447 h 1035"/>
                <a:gd name="T46" fmla="*/ 597 w 959"/>
                <a:gd name="T47" fmla="*/ 439 h 1035"/>
                <a:gd name="T48" fmla="*/ 634 w 959"/>
                <a:gd name="T49" fmla="*/ 424 h 1035"/>
                <a:gd name="T50" fmla="*/ 649 w 959"/>
                <a:gd name="T51" fmla="*/ 410 h 1035"/>
                <a:gd name="T52" fmla="*/ 662 w 959"/>
                <a:gd name="T53" fmla="*/ 385 h 1035"/>
                <a:gd name="T54" fmla="*/ 673 w 959"/>
                <a:gd name="T55" fmla="*/ 332 h 1035"/>
                <a:gd name="T56" fmla="*/ 725 w 959"/>
                <a:gd name="T57" fmla="*/ 283 h 1035"/>
                <a:gd name="T58" fmla="*/ 675 w 959"/>
                <a:gd name="T59" fmla="*/ 691 h 1035"/>
                <a:gd name="T60" fmla="*/ 671 w 959"/>
                <a:gd name="T61" fmla="*/ 623 h 1035"/>
                <a:gd name="T62" fmla="*/ 656 w 959"/>
                <a:gd name="T63" fmla="*/ 576 h 1035"/>
                <a:gd name="T64" fmla="*/ 644 w 959"/>
                <a:gd name="T65" fmla="*/ 560 h 1035"/>
                <a:gd name="T66" fmla="*/ 628 w 959"/>
                <a:gd name="T67" fmla="*/ 547 h 1035"/>
                <a:gd name="T68" fmla="*/ 578 w 959"/>
                <a:gd name="T69" fmla="*/ 532 h 1035"/>
                <a:gd name="T70" fmla="*/ 505 w 959"/>
                <a:gd name="T71" fmla="*/ 527 h 1035"/>
                <a:gd name="T72" fmla="*/ 379 w 959"/>
                <a:gd name="T73" fmla="*/ 756 h 1035"/>
                <a:gd name="T74" fmla="*/ 380 w 959"/>
                <a:gd name="T75" fmla="*/ 814 h 1035"/>
                <a:gd name="T76" fmla="*/ 389 w 959"/>
                <a:gd name="T77" fmla="*/ 879 h 1035"/>
                <a:gd name="T78" fmla="*/ 405 w 959"/>
                <a:gd name="T79" fmla="*/ 915 h 1035"/>
                <a:gd name="T80" fmla="*/ 418 w 959"/>
                <a:gd name="T81" fmla="*/ 932 h 1035"/>
                <a:gd name="T82" fmla="*/ 444 w 959"/>
                <a:gd name="T83" fmla="*/ 946 h 1035"/>
                <a:gd name="T84" fmla="*/ 497 w 959"/>
                <a:gd name="T85" fmla="*/ 956 h 1035"/>
                <a:gd name="T86" fmla="*/ 700 w 959"/>
                <a:gd name="T87" fmla="*/ 957 h 1035"/>
                <a:gd name="T88" fmla="*/ 753 w 959"/>
                <a:gd name="T89" fmla="*/ 955 h 1035"/>
                <a:gd name="T90" fmla="*/ 813 w 959"/>
                <a:gd name="T91" fmla="*/ 946 h 1035"/>
                <a:gd name="T92" fmla="*/ 852 w 959"/>
                <a:gd name="T93" fmla="*/ 927 h 1035"/>
                <a:gd name="T94" fmla="*/ 876 w 959"/>
                <a:gd name="T95" fmla="*/ 897 h 1035"/>
                <a:gd name="T96" fmla="*/ 891 w 959"/>
                <a:gd name="T97" fmla="*/ 858 h 1035"/>
                <a:gd name="T98" fmla="*/ 959 w 959"/>
                <a:gd name="T99" fmla="*/ 792 h 1035"/>
                <a:gd name="T100" fmla="*/ 0 w 959"/>
                <a:gd name="T101" fmla="*/ 985 h 10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959" h="1035">
                  <a:moveTo>
                    <a:pt x="0" y="985"/>
                  </a:moveTo>
                  <a:lnTo>
                    <a:pt x="0" y="985"/>
                  </a:lnTo>
                  <a:lnTo>
                    <a:pt x="25" y="985"/>
                  </a:lnTo>
                  <a:lnTo>
                    <a:pt x="48" y="984"/>
                  </a:lnTo>
                  <a:lnTo>
                    <a:pt x="68" y="982"/>
                  </a:lnTo>
                  <a:lnTo>
                    <a:pt x="86" y="978"/>
                  </a:lnTo>
                  <a:lnTo>
                    <a:pt x="101" y="973"/>
                  </a:lnTo>
                  <a:lnTo>
                    <a:pt x="114" y="966"/>
                  </a:lnTo>
                  <a:lnTo>
                    <a:pt x="120" y="963"/>
                  </a:lnTo>
                  <a:lnTo>
                    <a:pt x="126" y="958"/>
                  </a:lnTo>
                  <a:lnTo>
                    <a:pt x="131" y="954"/>
                  </a:lnTo>
                  <a:lnTo>
                    <a:pt x="136" y="949"/>
                  </a:lnTo>
                  <a:lnTo>
                    <a:pt x="140" y="943"/>
                  </a:lnTo>
                  <a:lnTo>
                    <a:pt x="143" y="937"/>
                  </a:lnTo>
                  <a:lnTo>
                    <a:pt x="150" y="923"/>
                  </a:lnTo>
                  <a:lnTo>
                    <a:pt x="154" y="906"/>
                  </a:lnTo>
                  <a:lnTo>
                    <a:pt x="158" y="888"/>
                  </a:lnTo>
                  <a:lnTo>
                    <a:pt x="161" y="866"/>
                  </a:lnTo>
                  <a:lnTo>
                    <a:pt x="162" y="842"/>
                  </a:lnTo>
                  <a:lnTo>
                    <a:pt x="163" y="814"/>
                  </a:lnTo>
                  <a:lnTo>
                    <a:pt x="163" y="783"/>
                  </a:lnTo>
                  <a:lnTo>
                    <a:pt x="163" y="252"/>
                  </a:lnTo>
                  <a:lnTo>
                    <a:pt x="163" y="252"/>
                  </a:lnTo>
                  <a:lnTo>
                    <a:pt x="163" y="221"/>
                  </a:lnTo>
                  <a:lnTo>
                    <a:pt x="162" y="194"/>
                  </a:lnTo>
                  <a:lnTo>
                    <a:pt x="161" y="169"/>
                  </a:lnTo>
                  <a:lnTo>
                    <a:pt x="158" y="148"/>
                  </a:lnTo>
                  <a:lnTo>
                    <a:pt x="154" y="129"/>
                  </a:lnTo>
                  <a:lnTo>
                    <a:pt x="150" y="113"/>
                  </a:lnTo>
                  <a:lnTo>
                    <a:pt x="143" y="98"/>
                  </a:lnTo>
                  <a:lnTo>
                    <a:pt x="140" y="92"/>
                  </a:lnTo>
                  <a:lnTo>
                    <a:pt x="136" y="86"/>
                  </a:lnTo>
                  <a:lnTo>
                    <a:pt x="131" y="81"/>
                  </a:lnTo>
                  <a:lnTo>
                    <a:pt x="126" y="77"/>
                  </a:lnTo>
                  <a:lnTo>
                    <a:pt x="120" y="73"/>
                  </a:lnTo>
                  <a:lnTo>
                    <a:pt x="114" y="69"/>
                  </a:lnTo>
                  <a:lnTo>
                    <a:pt x="101" y="63"/>
                  </a:lnTo>
                  <a:lnTo>
                    <a:pt x="86" y="58"/>
                  </a:lnTo>
                  <a:lnTo>
                    <a:pt x="68" y="54"/>
                  </a:lnTo>
                  <a:lnTo>
                    <a:pt x="48" y="51"/>
                  </a:lnTo>
                  <a:lnTo>
                    <a:pt x="25" y="50"/>
                  </a:lnTo>
                  <a:lnTo>
                    <a:pt x="0" y="50"/>
                  </a:lnTo>
                  <a:lnTo>
                    <a:pt x="0" y="0"/>
                  </a:lnTo>
                  <a:lnTo>
                    <a:pt x="888" y="0"/>
                  </a:lnTo>
                  <a:lnTo>
                    <a:pt x="902" y="244"/>
                  </a:lnTo>
                  <a:lnTo>
                    <a:pt x="852" y="244"/>
                  </a:lnTo>
                  <a:lnTo>
                    <a:pt x="843" y="209"/>
                  </a:lnTo>
                  <a:lnTo>
                    <a:pt x="843" y="209"/>
                  </a:lnTo>
                  <a:lnTo>
                    <a:pt x="834" y="177"/>
                  </a:lnTo>
                  <a:lnTo>
                    <a:pt x="830" y="163"/>
                  </a:lnTo>
                  <a:lnTo>
                    <a:pt x="824" y="150"/>
                  </a:lnTo>
                  <a:lnTo>
                    <a:pt x="818" y="138"/>
                  </a:lnTo>
                  <a:lnTo>
                    <a:pt x="812" y="127"/>
                  </a:lnTo>
                  <a:lnTo>
                    <a:pt x="803" y="118"/>
                  </a:lnTo>
                  <a:lnTo>
                    <a:pt x="794" y="109"/>
                  </a:lnTo>
                  <a:lnTo>
                    <a:pt x="783" y="101"/>
                  </a:lnTo>
                  <a:lnTo>
                    <a:pt x="770" y="95"/>
                  </a:lnTo>
                  <a:lnTo>
                    <a:pt x="755" y="90"/>
                  </a:lnTo>
                  <a:lnTo>
                    <a:pt x="738" y="85"/>
                  </a:lnTo>
                  <a:lnTo>
                    <a:pt x="719" y="82"/>
                  </a:lnTo>
                  <a:lnTo>
                    <a:pt x="696" y="80"/>
                  </a:lnTo>
                  <a:lnTo>
                    <a:pt x="672" y="78"/>
                  </a:lnTo>
                  <a:lnTo>
                    <a:pt x="643" y="78"/>
                  </a:lnTo>
                  <a:lnTo>
                    <a:pt x="379" y="78"/>
                  </a:lnTo>
                  <a:lnTo>
                    <a:pt x="379" y="449"/>
                  </a:lnTo>
                  <a:lnTo>
                    <a:pt x="474" y="449"/>
                  </a:lnTo>
                  <a:lnTo>
                    <a:pt x="474" y="449"/>
                  </a:lnTo>
                  <a:lnTo>
                    <a:pt x="505" y="448"/>
                  </a:lnTo>
                  <a:lnTo>
                    <a:pt x="532" y="447"/>
                  </a:lnTo>
                  <a:lnTo>
                    <a:pt x="557" y="446"/>
                  </a:lnTo>
                  <a:lnTo>
                    <a:pt x="578" y="443"/>
                  </a:lnTo>
                  <a:lnTo>
                    <a:pt x="597" y="439"/>
                  </a:lnTo>
                  <a:lnTo>
                    <a:pt x="613" y="434"/>
                  </a:lnTo>
                  <a:lnTo>
                    <a:pt x="628" y="428"/>
                  </a:lnTo>
                  <a:lnTo>
                    <a:pt x="634" y="424"/>
                  </a:lnTo>
                  <a:lnTo>
                    <a:pt x="639" y="419"/>
                  </a:lnTo>
                  <a:lnTo>
                    <a:pt x="644" y="415"/>
                  </a:lnTo>
                  <a:lnTo>
                    <a:pt x="649" y="410"/>
                  </a:lnTo>
                  <a:lnTo>
                    <a:pt x="653" y="404"/>
                  </a:lnTo>
                  <a:lnTo>
                    <a:pt x="656" y="398"/>
                  </a:lnTo>
                  <a:lnTo>
                    <a:pt x="662" y="385"/>
                  </a:lnTo>
                  <a:lnTo>
                    <a:pt x="667" y="369"/>
                  </a:lnTo>
                  <a:lnTo>
                    <a:pt x="671" y="352"/>
                  </a:lnTo>
                  <a:lnTo>
                    <a:pt x="673" y="332"/>
                  </a:lnTo>
                  <a:lnTo>
                    <a:pt x="674" y="309"/>
                  </a:lnTo>
                  <a:lnTo>
                    <a:pt x="675" y="283"/>
                  </a:lnTo>
                  <a:lnTo>
                    <a:pt x="725" y="283"/>
                  </a:lnTo>
                  <a:lnTo>
                    <a:pt x="725" y="691"/>
                  </a:lnTo>
                  <a:lnTo>
                    <a:pt x="675" y="691"/>
                  </a:lnTo>
                  <a:lnTo>
                    <a:pt x="675" y="691"/>
                  </a:lnTo>
                  <a:lnTo>
                    <a:pt x="674" y="666"/>
                  </a:lnTo>
                  <a:lnTo>
                    <a:pt x="673" y="643"/>
                  </a:lnTo>
                  <a:lnTo>
                    <a:pt x="671" y="623"/>
                  </a:lnTo>
                  <a:lnTo>
                    <a:pt x="667" y="605"/>
                  </a:lnTo>
                  <a:lnTo>
                    <a:pt x="662" y="589"/>
                  </a:lnTo>
                  <a:lnTo>
                    <a:pt x="656" y="576"/>
                  </a:lnTo>
                  <a:lnTo>
                    <a:pt x="653" y="570"/>
                  </a:lnTo>
                  <a:lnTo>
                    <a:pt x="649" y="565"/>
                  </a:lnTo>
                  <a:lnTo>
                    <a:pt x="644" y="560"/>
                  </a:lnTo>
                  <a:lnTo>
                    <a:pt x="639" y="554"/>
                  </a:lnTo>
                  <a:lnTo>
                    <a:pt x="634" y="550"/>
                  </a:lnTo>
                  <a:lnTo>
                    <a:pt x="628" y="547"/>
                  </a:lnTo>
                  <a:lnTo>
                    <a:pt x="613" y="540"/>
                  </a:lnTo>
                  <a:lnTo>
                    <a:pt x="597" y="536"/>
                  </a:lnTo>
                  <a:lnTo>
                    <a:pt x="578" y="532"/>
                  </a:lnTo>
                  <a:lnTo>
                    <a:pt x="557" y="529"/>
                  </a:lnTo>
                  <a:lnTo>
                    <a:pt x="532" y="528"/>
                  </a:lnTo>
                  <a:lnTo>
                    <a:pt x="505" y="527"/>
                  </a:lnTo>
                  <a:lnTo>
                    <a:pt x="474" y="527"/>
                  </a:lnTo>
                  <a:lnTo>
                    <a:pt x="379" y="527"/>
                  </a:lnTo>
                  <a:lnTo>
                    <a:pt x="379" y="756"/>
                  </a:lnTo>
                  <a:lnTo>
                    <a:pt x="379" y="756"/>
                  </a:lnTo>
                  <a:lnTo>
                    <a:pt x="379" y="787"/>
                  </a:lnTo>
                  <a:lnTo>
                    <a:pt x="380" y="814"/>
                  </a:lnTo>
                  <a:lnTo>
                    <a:pt x="382" y="839"/>
                  </a:lnTo>
                  <a:lnTo>
                    <a:pt x="385" y="860"/>
                  </a:lnTo>
                  <a:lnTo>
                    <a:pt x="389" y="879"/>
                  </a:lnTo>
                  <a:lnTo>
                    <a:pt x="394" y="896"/>
                  </a:lnTo>
                  <a:lnTo>
                    <a:pt x="401" y="909"/>
                  </a:lnTo>
                  <a:lnTo>
                    <a:pt x="405" y="915"/>
                  </a:lnTo>
                  <a:lnTo>
                    <a:pt x="409" y="921"/>
                  </a:lnTo>
                  <a:lnTo>
                    <a:pt x="413" y="927"/>
                  </a:lnTo>
                  <a:lnTo>
                    <a:pt x="418" y="932"/>
                  </a:lnTo>
                  <a:lnTo>
                    <a:pt x="424" y="936"/>
                  </a:lnTo>
                  <a:lnTo>
                    <a:pt x="429" y="939"/>
                  </a:lnTo>
                  <a:lnTo>
                    <a:pt x="444" y="946"/>
                  </a:lnTo>
                  <a:lnTo>
                    <a:pt x="459" y="950"/>
                  </a:lnTo>
                  <a:lnTo>
                    <a:pt x="476" y="954"/>
                  </a:lnTo>
                  <a:lnTo>
                    <a:pt x="497" y="956"/>
                  </a:lnTo>
                  <a:lnTo>
                    <a:pt x="519" y="957"/>
                  </a:lnTo>
                  <a:lnTo>
                    <a:pt x="545" y="957"/>
                  </a:lnTo>
                  <a:lnTo>
                    <a:pt x="700" y="957"/>
                  </a:lnTo>
                  <a:lnTo>
                    <a:pt x="700" y="957"/>
                  </a:lnTo>
                  <a:lnTo>
                    <a:pt x="729" y="957"/>
                  </a:lnTo>
                  <a:lnTo>
                    <a:pt x="753" y="955"/>
                  </a:lnTo>
                  <a:lnTo>
                    <a:pt x="776" y="953"/>
                  </a:lnTo>
                  <a:lnTo>
                    <a:pt x="795" y="950"/>
                  </a:lnTo>
                  <a:lnTo>
                    <a:pt x="813" y="946"/>
                  </a:lnTo>
                  <a:lnTo>
                    <a:pt x="827" y="940"/>
                  </a:lnTo>
                  <a:lnTo>
                    <a:pt x="840" y="934"/>
                  </a:lnTo>
                  <a:lnTo>
                    <a:pt x="852" y="927"/>
                  </a:lnTo>
                  <a:lnTo>
                    <a:pt x="861" y="917"/>
                  </a:lnTo>
                  <a:lnTo>
                    <a:pt x="869" y="908"/>
                  </a:lnTo>
                  <a:lnTo>
                    <a:pt x="876" y="897"/>
                  </a:lnTo>
                  <a:lnTo>
                    <a:pt x="882" y="886"/>
                  </a:lnTo>
                  <a:lnTo>
                    <a:pt x="887" y="872"/>
                  </a:lnTo>
                  <a:lnTo>
                    <a:pt x="891" y="858"/>
                  </a:lnTo>
                  <a:lnTo>
                    <a:pt x="901" y="826"/>
                  </a:lnTo>
                  <a:lnTo>
                    <a:pt x="909" y="792"/>
                  </a:lnTo>
                  <a:lnTo>
                    <a:pt x="959" y="792"/>
                  </a:lnTo>
                  <a:lnTo>
                    <a:pt x="946" y="1035"/>
                  </a:lnTo>
                  <a:lnTo>
                    <a:pt x="0" y="1035"/>
                  </a:lnTo>
                  <a:lnTo>
                    <a:pt x="0" y="98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60" name="Freeform 13"/>
            <p:cNvSpPr>
              <a:spLocks/>
            </p:cNvSpPr>
            <p:nvPr userDrawn="1"/>
          </p:nvSpPr>
          <p:spPr bwMode="auto">
            <a:xfrm>
              <a:off x="7839321" y="633580"/>
              <a:ext cx="152400" cy="141289"/>
            </a:xfrm>
            <a:custGeom>
              <a:avLst/>
              <a:gdLst>
                <a:gd name="T0" fmla="*/ 1159 w 1159"/>
                <a:gd name="T1" fmla="*/ 50 h 1065"/>
                <a:gd name="T2" fmla="*/ 1091 w 1159"/>
                <a:gd name="T3" fmla="*/ 54 h 1065"/>
                <a:gd name="T4" fmla="*/ 1039 w 1159"/>
                <a:gd name="T5" fmla="*/ 73 h 1065"/>
                <a:gd name="T6" fmla="*/ 1019 w 1159"/>
                <a:gd name="T7" fmla="*/ 92 h 1065"/>
                <a:gd name="T8" fmla="*/ 1001 w 1159"/>
                <a:gd name="T9" fmla="*/ 148 h 1065"/>
                <a:gd name="T10" fmla="*/ 996 w 1159"/>
                <a:gd name="T11" fmla="*/ 252 h 1065"/>
                <a:gd name="T12" fmla="*/ 994 w 1159"/>
                <a:gd name="T13" fmla="*/ 700 h 1065"/>
                <a:gd name="T14" fmla="*/ 976 w 1159"/>
                <a:gd name="T15" fmla="*/ 790 h 1065"/>
                <a:gd name="T16" fmla="*/ 944 w 1159"/>
                <a:gd name="T17" fmla="*/ 866 h 1065"/>
                <a:gd name="T18" fmla="*/ 899 w 1159"/>
                <a:gd name="T19" fmla="*/ 932 h 1065"/>
                <a:gd name="T20" fmla="*/ 843 w 1159"/>
                <a:gd name="T21" fmla="*/ 984 h 1065"/>
                <a:gd name="T22" fmla="*/ 777 w 1159"/>
                <a:gd name="T23" fmla="*/ 1023 h 1065"/>
                <a:gd name="T24" fmla="*/ 702 w 1159"/>
                <a:gd name="T25" fmla="*/ 1049 h 1065"/>
                <a:gd name="T26" fmla="*/ 621 w 1159"/>
                <a:gd name="T27" fmla="*/ 1063 h 1065"/>
                <a:gd name="T28" fmla="*/ 558 w 1159"/>
                <a:gd name="T29" fmla="*/ 1065 h 1065"/>
                <a:gd name="T30" fmla="*/ 476 w 1159"/>
                <a:gd name="T31" fmla="*/ 1054 h 1065"/>
                <a:gd name="T32" fmla="*/ 399 w 1159"/>
                <a:gd name="T33" fmla="*/ 1031 h 1065"/>
                <a:gd name="T34" fmla="*/ 331 w 1159"/>
                <a:gd name="T35" fmla="*/ 995 h 1065"/>
                <a:gd name="T36" fmla="*/ 273 w 1159"/>
                <a:gd name="T37" fmla="*/ 946 h 1065"/>
                <a:gd name="T38" fmla="*/ 226 w 1159"/>
                <a:gd name="T39" fmla="*/ 884 h 1065"/>
                <a:gd name="T40" fmla="*/ 191 w 1159"/>
                <a:gd name="T41" fmla="*/ 810 h 1065"/>
                <a:gd name="T42" fmla="*/ 170 w 1159"/>
                <a:gd name="T43" fmla="*/ 723 h 1065"/>
                <a:gd name="T44" fmla="*/ 165 w 1159"/>
                <a:gd name="T45" fmla="*/ 252 h 1065"/>
                <a:gd name="T46" fmla="*/ 162 w 1159"/>
                <a:gd name="T47" fmla="*/ 169 h 1065"/>
                <a:gd name="T48" fmla="*/ 145 w 1159"/>
                <a:gd name="T49" fmla="*/ 98 h 1065"/>
                <a:gd name="T50" fmla="*/ 126 w 1159"/>
                <a:gd name="T51" fmla="*/ 77 h 1065"/>
                <a:gd name="T52" fmla="*/ 87 w 1159"/>
                <a:gd name="T53" fmla="*/ 58 h 1065"/>
                <a:gd name="T54" fmla="*/ 0 w 1159"/>
                <a:gd name="T55" fmla="*/ 50 h 1065"/>
                <a:gd name="T56" fmla="*/ 547 w 1159"/>
                <a:gd name="T57" fmla="*/ 50 h 1065"/>
                <a:gd name="T58" fmla="*/ 460 w 1159"/>
                <a:gd name="T59" fmla="*/ 58 h 1065"/>
                <a:gd name="T60" fmla="*/ 419 w 1159"/>
                <a:gd name="T61" fmla="*/ 77 h 1065"/>
                <a:gd name="T62" fmla="*/ 402 w 1159"/>
                <a:gd name="T63" fmla="*/ 98 h 1065"/>
                <a:gd name="T64" fmla="*/ 384 w 1159"/>
                <a:gd name="T65" fmla="*/ 169 h 1065"/>
                <a:gd name="T66" fmla="*/ 381 w 1159"/>
                <a:gd name="T67" fmla="*/ 631 h 1065"/>
                <a:gd name="T68" fmla="*/ 384 w 1159"/>
                <a:gd name="T69" fmla="*/ 691 h 1065"/>
                <a:gd name="T70" fmla="*/ 397 w 1159"/>
                <a:gd name="T71" fmla="*/ 761 h 1065"/>
                <a:gd name="T72" fmla="*/ 420 w 1159"/>
                <a:gd name="T73" fmla="*/ 819 h 1065"/>
                <a:gd name="T74" fmla="*/ 451 w 1159"/>
                <a:gd name="T75" fmla="*/ 867 h 1065"/>
                <a:gd name="T76" fmla="*/ 488 w 1159"/>
                <a:gd name="T77" fmla="*/ 905 h 1065"/>
                <a:gd name="T78" fmla="*/ 532 w 1159"/>
                <a:gd name="T79" fmla="*/ 933 h 1065"/>
                <a:gd name="T80" fmla="*/ 581 w 1159"/>
                <a:gd name="T81" fmla="*/ 950 h 1065"/>
                <a:gd name="T82" fmla="*/ 635 w 1159"/>
                <a:gd name="T83" fmla="*/ 957 h 1065"/>
                <a:gd name="T84" fmla="*/ 676 w 1159"/>
                <a:gd name="T85" fmla="*/ 956 h 1065"/>
                <a:gd name="T86" fmla="*/ 727 w 1159"/>
                <a:gd name="T87" fmla="*/ 947 h 1065"/>
                <a:gd name="T88" fmla="*/ 773 w 1159"/>
                <a:gd name="T89" fmla="*/ 927 h 1065"/>
                <a:gd name="T90" fmla="*/ 814 w 1159"/>
                <a:gd name="T91" fmla="*/ 897 h 1065"/>
                <a:gd name="T92" fmla="*/ 847 w 1159"/>
                <a:gd name="T93" fmla="*/ 857 h 1065"/>
                <a:gd name="T94" fmla="*/ 873 w 1159"/>
                <a:gd name="T95" fmla="*/ 806 h 1065"/>
                <a:gd name="T96" fmla="*/ 891 w 1159"/>
                <a:gd name="T97" fmla="*/ 745 h 1065"/>
                <a:gd name="T98" fmla="*/ 901 w 1159"/>
                <a:gd name="T99" fmla="*/ 672 h 1065"/>
                <a:gd name="T100" fmla="*/ 903 w 1159"/>
                <a:gd name="T101" fmla="*/ 252 h 1065"/>
                <a:gd name="T102" fmla="*/ 896 w 1159"/>
                <a:gd name="T103" fmla="*/ 148 h 1065"/>
                <a:gd name="T104" fmla="*/ 878 w 1159"/>
                <a:gd name="T105" fmla="*/ 92 h 1065"/>
                <a:gd name="T106" fmla="*/ 859 w 1159"/>
                <a:gd name="T107" fmla="*/ 73 h 1065"/>
                <a:gd name="T108" fmla="*/ 805 w 1159"/>
                <a:gd name="T109" fmla="*/ 54 h 1065"/>
                <a:gd name="T110" fmla="*/ 737 w 1159"/>
                <a:gd name="T111" fmla="*/ 50 h 10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59" h="1065">
                  <a:moveTo>
                    <a:pt x="737" y="50"/>
                  </a:moveTo>
                  <a:lnTo>
                    <a:pt x="737" y="0"/>
                  </a:lnTo>
                  <a:lnTo>
                    <a:pt x="1159" y="0"/>
                  </a:lnTo>
                  <a:lnTo>
                    <a:pt x="1159" y="50"/>
                  </a:lnTo>
                  <a:lnTo>
                    <a:pt x="1159" y="50"/>
                  </a:lnTo>
                  <a:lnTo>
                    <a:pt x="1134" y="50"/>
                  </a:lnTo>
                  <a:lnTo>
                    <a:pt x="1111" y="51"/>
                  </a:lnTo>
                  <a:lnTo>
                    <a:pt x="1091" y="54"/>
                  </a:lnTo>
                  <a:lnTo>
                    <a:pt x="1073" y="58"/>
                  </a:lnTo>
                  <a:lnTo>
                    <a:pt x="1058" y="63"/>
                  </a:lnTo>
                  <a:lnTo>
                    <a:pt x="1045" y="69"/>
                  </a:lnTo>
                  <a:lnTo>
                    <a:pt x="1039" y="73"/>
                  </a:lnTo>
                  <a:lnTo>
                    <a:pt x="1033" y="77"/>
                  </a:lnTo>
                  <a:lnTo>
                    <a:pt x="1028" y="81"/>
                  </a:lnTo>
                  <a:lnTo>
                    <a:pt x="1023" y="86"/>
                  </a:lnTo>
                  <a:lnTo>
                    <a:pt x="1019" y="92"/>
                  </a:lnTo>
                  <a:lnTo>
                    <a:pt x="1016" y="98"/>
                  </a:lnTo>
                  <a:lnTo>
                    <a:pt x="1009" y="113"/>
                  </a:lnTo>
                  <a:lnTo>
                    <a:pt x="1005" y="129"/>
                  </a:lnTo>
                  <a:lnTo>
                    <a:pt x="1001" y="148"/>
                  </a:lnTo>
                  <a:lnTo>
                    <a:pt x="998" y="169"/>
                  </a:lnTo>
                  <a:lnTo>
                    <a:pt x="997" y="194"/>
                  </a:lnTo>
                  <a:lnTo>
                    <a:pt x="996" y="221"/>
                  </a:lnTo>
                  <a:lnTo>
                    <a:pt x="996" y="252"/>
                  </a:lnTo>
                  <a:lnTo>
                    <a:pt x="996" y="651"/>
                  </a:lnTo>
                  <a:lnTo>
                    <a:pt x="996" y="651"/>
                  </a:lnTo>
                  <a:lnTo>
                    <a:pt x="995" y="675"/>
                  </a:lnTo>
                  <a:lnTo>
                    <a:pt x="994" y="700"/>
                  </a:lnTo>
                  <a:lnTo>
                    <a:pt x="990" y="723"/>
                  </a:lnTo>
                  <a:lnTo>
                    <a:pt x="986" y="746"/>
                  </a:lnTo>
                  <a:lnTo>
                    <a:pt x="982" y="768"/>
                  </a:lnTo>
                  <a:lnTo>
                    <a:pt x="976" y="790"/>
                  </a:lnTo>
                  <a:lnTo>
                    <a:pt x="970" y="810"/>
                  </a:lnTo>
                  <a:lnTo>
                    <a:pt x="962" y="829"/>
                  </a:lnTo>
                  <a:lnTo>
                    <a:pt x="954" y="849"/>
                  </a:lnTo>
                  <a:lnTo>
                    <a:pt x="944" y="866"/>
                  </a:lnTo>
                  <a:lnTo>
                    <a:pt x="934" y="884"/>
                  </a:lnTo>
                  <a:lnTo>
                    <a:pt x="924" y="901"/>
                  </a:lnTo>
                  <a:lnTo>
                    <a:pt x="912" y="916"/>
                  </a:lnTo>
                  <a:lnTo>
                    <a:pt x="899" y="932"/>
                  </a:lnTo>
                  <a:lnTo>
                    <a:pt x="886" y="946"/>
                  </a:lnTo>
                  <a:lnTo>
                    <a:pt x="873" y="959"/>
                  </a:lnTo>
                  <a:lnTo>
                    <a:pt x="859" y="972"/>
                  </a:lnTo>
                  <a:lnTo>
                    <a:pt x="843" y="984"/>
                  </a:lnTo>
                  <a:lnTo>
                    <a:pt x="828" y="995"/>
                  </a:lnTo>
                  <a:lnTo>
                    <a:pt x="812" y="1005"/>
                  </a:lnTo>
                  <a:lnTo>
                    <a:pt x="794" y="1015"/>
                  </a:lnTo>
                  <a:lnTo>
                    <a:pt x="777" y="1023"/>
                  </a:lnTo>
                  <a:lnTo>
                    <a:pt x="759" y="1031"/>
                  </a:lnTo>
                  <a:lnTo>
                    <a:pt x="741" y="1038"/>
                  </a:lnTo>
                  <a:lnTo>
                    <a:pt x="722" y="1044"/>
                  </a:lnTo>
                  <a:lnTo>
                    <a:pt x="702" y="1049"/>
                  </a:lnTo>
                  <a:lnTo>
                    <a:pt x="683" y="1054"/>
                  </a:lnTo>
                  <a:lnTo>
                    <a:pt x="662" y="1057"/>
                  </a:lnTo>
                  <a:lnTo>
                    <a:pt x="643" y="1061"/>
                  </a:lnTo>
                  <a:lnTo>
                    <a:pt x="621" y="1063"/>
                  </a:lnTo>
                  <a:lnTo>
                    <a:pt x="601" y="1065"/>
                  </a:lnTo>
                  <a:lnTo>
                    <a:pt x="579" y="1065"/>
                  </a:lnTo>
                  <a:lnTo>
                    <a:pt x="579" y="1065"/>
                  </a:lnTo>
                  <a:lnTo>
                    <a:pt x="558" y="1065"/>
                  </a:lnTo>
                  <a:lnTo>
                    <a:pt x="538" y="1063"/>
                  </a:lnTo>
                  <a:lnTo>
                    <a:pt x="516" y="1061"/>
                  </a:lnTo>
                  <a:lnTo>
                    <a:pt x="496" y="1057"/>
                  </a:lnTo>
                  <a:lnTo>
                    <a:pt x="476" y="1054"/>
                  </a:lnTo>
                  <a:lnTo>
                    <a:pt x="456" y="1049"/>
                  </a:lnTo>
                  <a:lnTo>
                    <a:pt x="437" y="1044"/>
                  </a:lnTo>
                  <a:lnTo>
                    <a:pt x="418" y="1038"/>
                  </a:lnTo>
                  <a:lnTo>
                    <a:pt x="399" y="1031"/>
                  </a:lnTo>
                  <a:lnTo>
                    <a:pt x="382" y="1023"/>
                  </a:lnTo>
                  <a:lnTo>
                    <a:pt x="365" y="1015"/>
                  </a:lnTo>
                  <a:lnTo>
                    <a:pt x="347" y="1005"/>
                  </a:lnTo>
                  <a:lnTo>
                    <a:pt x="331" y="995"/>
                  </a:lnTo>
                  <a:lnTo>
                    <a:pt x="316" y="984"/>
                  </a:lnTo>
                  <a:lnTo>
                    <a:pt x="301" y="972"/>
                  </a:lnTo>
                  <a:lnTo>
                    <a:pt x="286" y="959"/>
                  </a:lnTo>
                  <a:lnTo>
                    <a:pt x="273" y="946"/>
                  </a:lnTo>
                  <a:lnTo>
                    <a:pt x="259" y="932"/>
                  </a:lnTo>
                  <a:lnTo>
                    <a:pt x="247" y="916"/>
                  </a:lnTo>
                  <a:lnTo>
                    <a:pt x="236" y="901"/>
                  </a:lnTo>
                  <a:lnTo>
                    <a:pt x="226" y="884"/>
                  </a:lnTo>
                  <a:lnTo>
                    <a:pt x="215" y="866"/>
                  </a:lnTo>
                  <a:lnTo>
                    <a:pt x="206" y="849"/>
                  </a:lnTo>
                  <a:lnTo>
                    <a:pt x="198" y="829"/>
                  </a:lnTo>
                  <a:lnTo>
                    <a:pt x="191" y="810"/>
                  </a:lnTo>
                  <a:lnTo>
                    <a:pt x="184" y="790"/>
                  </a:lnTo>
                  <a:lnTo>
                    <a:pt x="179" y="768"/>
                  </a:lnTo>
                  <a:lnTo>
                    <a:pt x="174" y="746"/>
                  </a:lnTo>
                  <a:lnTo>
                    <a:pt x="170" y="723"/>
                  </a:lnTo>
                  <a:lnTo>
                    <a:pt x="167" y="700"/>
                  </a:lnTo>
                  <a:lnTo>
                    <a:pt x="166" y="675"/>
                  </a:lnTo>
                  <a:lnTo>
                    <a:pt x="165" y="651"/>
                  </a:lnTo>
                  <a:lnTo>
                    <a:pt x="165" y="252"/>
                  </a:lnTo>
                  <a:lnTo>
                    <a:pt x="165" y="252"/>
                  </a:lnTo>
                  <a:lnTo>
                    <a:pt x="165" y="221"/>
                  </a:lnTo>
                  <a:lnTo>
                    <a:pt x="164" y="194"/>
                  </a:lnTo>
                  <a:lnTo>
                    <a:pt x="162" y="169"/>
                  </a:lnTo>
                  <a:lnTo>
                    <a:pt x="160" y="148"/>
                  </a:lnTo>
                  <a:lnTo>
                    <a:pt x="156" y="129"/>
                  </a:lnTo>
                  <a:lnTo>
                    <a:pt x="151" y="113"/>
                  </a:lnTo>
                  <a:lnTo>
                    <a:pt x="145" y="98"/>
                  </a:lnTo>
                  <a:lnTo>
                    <a:pt x="141" y="92"/>
                  </a:lnTo>
                  <a:lnTo>
                    <a:pt x="137" y="86"/>
                  </a:lnTo>
                  <a:lnTo>
                    <a:pt x="132" y="81"/>
                  </a:lnTo>
                  <a:lnTo>
                    <a:pt x="126" y="77"/>
                  </a:lnTo>
                  <a:lnTo>
                    <a:pt x="121" y="73"/>
                  </a:lnTo>
                  <a:lnTo>
                    <a:pt x="115" y="69"/>
                  </a:lnTo>
                  <a:lnTo>
                    <a:pt x="102" y="63"/>
                  </a:lnTo>
                  <a:lnTo>
                    <a:pt x="87" y="58"/>
                  </a:lnTo>
                  <a:lnTo>
                    <a:pt x="68" y="54"/>
                  </a:lnTo>
                  <a:lnTo>
                    <a:pt x="48" y="51"/>
                  </a:lnTo>
                  <a:lnTo>
                    <a:pt x="25" y="50"/>
                  </a:lnTo>
                  <a:lnTo>
                    <a:pt x="0" y="50"/>
                  </a:lnTo>
                  <a:lnTo>
                    <a:pt x="0" y="0"/>
                  </a:lnTo>
                  <a:lnTo>
                    <a:pt x="547" y="0"/>
                  </a:lnTo>
                  <a:lnTo>
                    <a:pt x="547" y="50"/>
                  </a:lnTo>
                  <a:lnTo>
                    <a:pt x="547" y="50"/>
                  </a:lnTo>
                  <a:lnTo>
                    <a:pt x="521" y="50"/>
                  </a:lnTo>
                  <a:lnTo>
                    <a:pt x="498" y="51"/>
                  </a:lnTo>
                  <a:lnTo>
                    <a:pt x="477" y="54"/>
                  </a:lnTo>
                  <a:lnTo>
                    <a:pt x="460" y="58"/>
                  </a:lnTo>
                  <a:lnTo>
                    <a:pt x="444" y="63"/>
                  </a:lnTo>
                  <a:lnTo>
                    <a:pt x="430" y="69"/>
                  </a:lnTo>
                  <a:lnTo>
                    <a:pt x="425" y="73"/>
                  </a:lnTo>
                  <a:lnTo>
                    <a:pt x="419" y="77"/>
                  </a:lnTo>
                  <a:lnTo>
                    <a:pt x="414" y="81"/>
                  </a:lnTo>
                  <a:lnTo>
                    <a:pt x="410" y="86"/>
                  </a:lnTo>
                  <a:lnTo>
                    <a:pt x="406" y="92"/>
                  </a:lnTo>
                  <a:lnTo>
                    <a:pt x="402" y="98"/>
                  </a:lnTo>
                  <a:lnTo>
                    <a:pt x="395" y="113"/>
                  </a:lnTo>
                  <a:lnTo>
                    <a:pt x="390" y="129"/>
                  </a:lnTo>
                  <a:lnTo>
                    <a:pt x="386" y="148"/>
                  </a:lnTo>
                  <a:lnTo>
                    <a:pt x="384" y="169"/>
                  </a:lnTo>
                  <a:lnTo>
                    <a:pt x="382" y="194"/>
                  </a:lnTo>
                  <a:lnTo>
                    <a:pt x="381" y="221"/>
                  </a:lnTo>
                  <a:lnTo>
                    <a:pt x="381" y="252"/>
                  </a:lnTo>
                  <a:lnTo>
                    <a:pt x="381" y="631"/>
                  </a:lnTo>
                  <a:lnTo>
                    <a:pt x="381" y="631"/>
                  </a:lnTo>
                  <a:lnTo>
                    <a:pt x="381" y="652"/>
                  </a:lnTo>
                  <a:lnTo>
                    <a:pt x="382" y="672"/>
                  </a:lnTo>
                  <a:lnTo>
                    <a:pt x="384" y="691"/>
                  </a:lnTo>
                  <a:lnTo>
                    <a:pt x="386" y="710"/>
                  </a:lnTo>
                  <a:lnTo>
                    <a:pt x="389" y="727"/>
                  </a:lnTo>
                  <a:lnTo>
                    <a:pt x="393" y="745"/>
                  </a:lnTo>
                  <a:lnTo>
                    <a:pt x="397" y="761"/>
                  </a:lnTo>
                  <a:lnTo>
                    <a:pt x="403" y="776"/>
                  </a:lnTo>
                  <a:lnTo>
                    <a:pt x="408" y="792"/>
                  </a:lnTo>
                  <a:lnTo>
                    <a:pt x="413" y="806"/>
                  </a:lnTo>
                  <a:lnTo>
                    <a:pt x="420" y="819"/>
                  </a:lnTo>
                  <a:lnTo>
                    <a:pt x="427" y="833"/>
                  </a:lnTo>
                  <a:lnTo>
                    <a:pt x="434" y="845"/>
                  </a:lnTo>
                  <a:lnTo>
                    <a:pt x="442" y="857"/>
                  </a:lnTo>
                  <a:lnTo>
                    <a:pt x="451" y="867"/>
                  </a:lnTo>
                  <a:lnTo>
                    <a:pt x="459" y="878"/>
                  </a:lnTo>
                  <a:lnTo>
                    <a:pt x="468" y="888"/>
                  </a:lnTo>
                  <a:lnTo>
                    <a:pt x="478" y="897"/>
                  </a:lnTo>
                  <a:lnTo>
                    <a:pt x="488" y="905"/>
                  </a:lnTo>
                  <a:lnTo>
                    <a:pt x="499" y="913"/>
                  </a:lnTo>
                  <a:lnTo>
                    <a:pt x="510" y="920"/>
                  </a:lnTo>
                  <a:lnTo>
                    <a:pt x="521" y="927"/>
                  </a:lnTo>
                  <a:lnTo>
                    <a:pt x="532" y="933"/>
                  </a:lnTo>
                  <a:lnTo>
                    <a:pt x="544" y="938"/>
                  </a:lnTo>
                  <a:lnTo>
                    <a:pt x="556" y="943"/>
                  </a:lnTo>
                  <a:lnTo>
                    <a:pt x="569" y="947"/>
                  </a:lnTo>
                  <a:lnTo>
                    <a:pt x="581" y="950"/>
                  </a:lnTo>
                  <a:lnTo>
                    <a:pt x="595" y="953"/>
                  </a:lnTo>
                  <a:lnTo>
                    <a:pt x="608" y="955"/>
                  </a:lnTo>
                  <a:lnTo>
                    <a:pt x="621" y="956"/>
                  </a:lnTo>
                  <a:lnTo>
                    <a:pt x="635" y="957"/>
                  </a:lnTo>
                  <a:lnTo>
                    <a:pt x="649" y="957"/>
                  </a:lnTo>
                  <a:lnTo>
                    <a:pt x="649" y="957"/>
                  </a:lnTo>
                  <a:lnTo>
                    <a:pt x="662" y="957"/>
                  </a:lnTo>
                  <a:lnTo>
                    <a:pt x="676" y="956"/>
                  </a:lnTo>
                  <a:lnTo>
                    <a:pt x="689" y="955"/>
                  </a:lnTo>
                  <a:lnTo>
                    <a:pt x="702" y="953"/>
                  </a:lnTo>
                  <a:lnTo>
                    <a:pt x="714" y="950"/>
                  </a:lnTo>
                  <a:lnTo>
                    <a:pt x="727" y="947"/>
                  </a:lnTo>
                  <a:lnTo>
                    <a:pt x="739" y="943"/>
                  </a:lnTo>
                  <a:lnTo>
                    <a:pt x="751" y="938"/>
                  </a:lnTo>
                  <a:lnTo>
                    <a:pt x="762" y="933"/>
                  </a:lnTo>
                  <a:lnTo>
                    <a:pt x="773" y="927"/>
                  </a:lnTo>
                  <a:lnTo>
                    <a:pt x="784" y="920"/>
                  </a:lnTo>
                  <a:lnTo>
                    <a:pt x="794" y="913"/>
                  </a:lnTo>
                  <a:lnTo>
                    <a:pt x="803" y="905"/>
                  </a:lnTo>
                  <a:lnTo>
                    <a:pt x="814" y="897"/>
                  </a:lnTo>
                  <a:lnTo>
                    <a:pt x="823" y="888"/>
                  </a:lnTo>
                  <a:lnTo>
                    <a:pt x="831" y="878"/>
                  </a:lnTo>
                  <a:lnTo>
                    <a:pt x="839" y="867"/>
                  </a:lnTo>
                  <a:lnTo>
                    <a:pt x="847" y="857"/>
                  </a:lnTo>
                  <a:lnTo>
                    <a:pt x="854" y="845"/>
                  </a:lnTo>
                  <a:lnTo>
                    <a:pt x="861" y="833"/>
                  </a:lnTo>
                  <a:lnTo>
                    <a:pt x="868" y="819"/>
                  </a:lnTo>
                  <a:lnTo>
                    <a:pt x="873" y="806"/>
                  </a:lnTo>
                  <a:lnTo>
                    <a:pt x="879" y="792"/>
                  </a:lnTo>
                  <a:lnTo>
                    <a:pt x="883" y="776"/>
                  </a:lnTo>
                  <a:lnTo>
                    <a:pt x="887" y="761"/>
                  </a:lnTo>
                  <a:lnTo>
                    <a:pt x="891" y="745"/>
                  </a:lnTo>
                  <a:lnTo>
                    <a:pt x="894" y="727"/>
                  </a:lnTo>
                  <a:lnTo>
                    <a:pt x="897" y="710"/>
                  </a:lnTo>
                  <a:lnTo>
                    <a:pt x="899" y="691"/>
                  </a:lnTo>
                  <a:lnTo>
                    <a:pt x="901" y="672"/>
                  </a:lnTo>
                  <a:lnTo>
                    <a:pt x="902" y="652"/>
                  </a:lnTo>
                  <a:lnTo>
                    <a:pt x="903" y="631"/>
                  </a:lnTo>
                  <a:lnTo>
                    <a:pt x="903" y="252"/>
                  </a:lnTo>
                  <a:lnTo>
                    <a:pt x="903" y="252"/>
                  </a:lnTo>
                  <a:lnTo>
                    <a:pt x="902" y="221"/>
                  </a:lnTo>
                  <a:lnTo>
                    <a:pt x="901" y="194"/>
                  </a:lnTo>
                  <a:lnTo>
                    <a:pt x="899" y="169"/>
                  </a:lnTo>
                  <a:lnTo>
                    <a:pt x="896" y="148"/>
                  </a:lnTo>
                  <a:lnTo>
                    <a:pt x="893" y="129"/>
                  </a:lnTo>
                  <a:lnTo>
                    <a:pt x="888" y="113"/>
                  </a:lnTo>
                  <a:lnTo>
                    <a:pt x="881" y="98"/>
                  </a:lnTo>
                  <a:lnTo>
                    <a:pt x="878" y="92"/>
                  </a:lnTo>
                  <a:lnTo>
                    <a:pt x="874" y="86"/>
                  </a:lnTo>
                  <a:lnTo>
                    <a:pt x="869" y="81"/>
                  </a:lnTo>
                  <a:lnTo>
                    <a:pt x="864" y="77"/>
                  </a:lnTo>
                  <a:lnTo>
                    <a:pt x="859" y="73"/>
                  </a:lnTo>
                  <a:lnTo>
                    <a:pt x="852" y="69"/>
                  </a:lnTo>
                  <a:lnTo>
                    <a:pt x="839" y="63"/>
                  </a:lnTo>
                  <a:lnTo>
                    <a:pt x="824" y="58"/>
                  </a:lnTo>
                  <a:lnTo>
                    <a:pt x="805" y="54"/>
                  </a:lnTo>
                  <a:lnTo>
                    <a:pt x="785" y="51"/>
                  </a:lnTo>
                  <a:lnTo>
                    <a:pt x="762" y="50"/>
                  </a:lnTo>
                  <a:lnTo>
                    <a:pt x="737" y="50"/>
                  </a:lnTo>
                  <a:lnTo>
                    <a:pt x="737" y="5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61" name="Freeform 14"/>
            <p:cNvSpPr>
              <a:spLocks/>
            </p:cNvSpPr>
            <p:nvPr userDrawn="1"/>
          </p:nvSpPr>
          <p:spPr bwMode="auto">
            <a:xfrm>
              <a:off x="8002834" y="633580"/>
              <a:ext cx="160338" cy="141289"/>
            </a:xfrm>
            <a:custGeom>
              <a:avLst/>
              <a:gdLst>
                <a:gd name="T0" fmla="*/ 623 w 1210"/>
                <a:gd name="T1" fmla="*/ 1065 h 1065"/>
                <a:gd name="T2" fmla="*/ 211 w 1210"/>
                <a:gd name="T3" fmla="*/ 202 h 1065"/>
                <a:gd name="T4" fmla="*/ 193 w 1210"/>
                <a:gd name="T5" fmla="*/ 163 h 1065"/>
                <a:gd name="T6" fmla="*/ 177 w 1210"/>
                <a:gd name="T7" fmla="*/ 131 h 1065"/>
                <a:gd name="T8" fmla="*/ 159 w 1210"/>
                <a:gd name="T9" fmla="*/ 105 h 1065"/>
                <a:gd name="T10" fmla="*/ 139 w 1210"/>
                <a:gd name="T11" fmla="*/ 84 h 1065"/>
                <a:gd name="T12" fmla="*/ 114 w 1210"/>
                <a:gd name="T13" fmla="*/ 69 h 1065"/>
                <a:gd name="T14" fmla="*/ 85 w 1210"/>
                <a:gd name="T15" fmla="*/ 59 h 1065"/>
                <a:gd name="T16" fmla="*/ 47 w 1210"/>
                <a:gd name="T17" fmla="*/ 52 h 1065"/>
                <a:gd name="T18" fmla="*/ 0 w 1210"/>
                <a:gd name="T19" fmla="*/ 50 h 1065"/>
                <a:gd name="T20" fmla="*/ 566 w 1210"/>
                <a:gd name="T21" fmla="*/ 0 h 1065"/>
                <a:gd name="T22" fmla="*/ 566 w 1210"/>
                <a:gd name="T23" fmla="*/ 50 h 1065"/>
                <a:gd name="T24" fmla="*/ 515 w 1210"/>
                <a:gd name="T25" fmla="*/ 52 h 1065"/>
                <a:gd name="T26" fmla="*/ 476 w 1210"/>
                <a:gd name="T27" fmla="*/ 58 h 1065"/>
                <a:gd name="T28" fmla="*/ 448 w 1210"/>
                <a:gd name="T29" fmla="*/ 68 h 1065"/>
                <a:gd name="T30" fmla="*/ 429 w 1210"/>
                <a:gd name="T31" fmla="*/ 81 h 1065"/>
                <a:gd name="T32" fmla="*/ 420 w 1210"/>
                <a:gd name="T33" fmla="*/ 99 h 1065"/>
                <a:gd name="T34" fmla="*/ 419 w 1210"/>
                <a:gd name="T35" fmla="*/ 122 h 1065"/>
                <a:gd name="T36" fmla="*/ 424 w 1210"/>
                <a:gd name="T37" fmla="*/ 150 h 1065"/>
                <a:gd name="T38" fmla="*/ 436 w 1210"/>
                <a:gd name="T39" fmla="*/ 181 h 1065"/>
                <a:gd name="T40" fmla="*/ 921 w 1210"/>
                <a:gd name="T41" fmla="*/ 181 h 1065"/>
                <a:gd name="T42" fmla="*/ 928 w 1210"/>
                <a:gd name="T43" fmla="*/ 165 h 1065"/>
                <a:gd name="T44" fmla="*/ 936 w 1210"/>
                <a:gd name="T45" fmla="*/ 134 h 1065"/>
                <a:gd name="T46" fmla="*/ 938 w 1210"/>
                <a:gd name="T47" fmla="*/ 110 h 1065"/>
                <a:gd name="T48" fmla="*/ 931 w 1210"/>
                <a:gd name="T49" fmla="*/ 89 h 1065"/>
                <a:gd name="T50" fmla="*/ 917 w 1210"/>
                <a:gd name="T51" fmla="*/ 74 h 1065"/>
                <a:gd name="T52" fmla="*/ 894 w 1210"/>
                <a:gd name="T53" fmla="*/ 62 h 1065"/>
                <a:gd name="T54" fmla="*/ 861 w 1210"/>
                <a:gd name="T55" fmla="*/ 54 h 1065"/>
                <a:gd name="T56" fmla="*/ 817 w 1210"/>
                <a:gd name="T57" fmla="*/ 50 h 1065"/>
                <a:gd name="T58" fmla="*/ 792 w 1210"/>
                <a:gd name="T59" fmla="*/ 0 h 1065"/>
                <a:gd name="T60" fmla="*/ 1210 w 1210"/>
                <a:gd name="T61" fmla="*/ 50 h 1065"/>
                <a:gd name="T62" fmla="*/ 1188 w 1210"/>
                <a:gd name="T63" fmla="*/ 50 h 1065"/>
                <a:gd name="T64" fmla="*/ 1150 w 1210"/>
                <a:gd name="T65" fmla="*/ 53 h 1065"/>
                <a:gd name="T66" fmla="*/ 1119 w 1210"/>
                <a:gd name="T67" fmla="*/ 61 h 1065"/>
                <a:gd name="T68" fmla="*/ 1091 w 1210"/>
                <a:gd name="T69" fmla="*/ 73 h 1065"/>
                <a:gd name="T70" fmla="*/ 1067 w 1210"/>
                <a:gd name="T71" fmla="*/ 89 h 1065"/>
                <a:gd name="T72" fmla="*/ 1046 w 1210"/>
                <a:gd name="T73" fmla="*/ 113 h 1065"/>
                <a:gd name="T74" fmla="*/ 1026 w 1210"/>
                <a:gd name="T75" fmla="*/ 142 h 1065"/>
                <a:gd name="T76" fmla="*/ 1007 w 1210"/>
                <a:gd name="T77" fmla="*/ 180 h 1065"/>
                <a:gd name="T78" fmla="*/ 997 w 1210"/>
                <a:gd name="T79" fmla="*/ 202 h 10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10" h="1065">
                  <a:moveTo>
                    <a:pt x="997" y="202"/>
                  </a:moveTo>
                  <a:lnTo>
                    <a:pt x="623" y="1065"/>
                  </a:lnTo>
                  <a:lnTo>
                    <a:pt x="587" y="1065"/>
                  </a:lnTo>
                  <a:lnTo>
                    <a:pt x="211" y="202"/>
                  </a:lnTo>
                  <a:lnTo>
                    <a:pt x="211" y="202"/>
                  </a:lnTo>
                  <a:lnTo>
                    <a:pt x="193" y="163"/>
                  </a:lnTo>
                  <a:lnTo>
                    <a:pt x="185" y="146"/>
                  </a:lnTo>
                  <a:lnTo>
                    <a:pt x="177" y="131"/>
                  </a:lnTo>
                  <a:lnTo>
                    <a:pt x="169" y="117"/>
                  </a:lnTo>
                  <a:lnTo>
                    <a:pt x="159" y="105"/>
                  </a:lnTo>
                  <a:lnTo>
                    <a:pt x="149" y="93"/>
                  </a:lnTo>
                  <a:lnTo>
                    <a:pt x="139" y="84"/>
                  </a:lnTo>
                  <a:lnTo>
                    <a:pt x="128" y="76"/>
                  </a:lnTo>
                  <a:lnTo>
                    <a:pt x="114" y="69"/>
                  </a:lnTo>
                  <a:lnTo>
                    <a:pt x="100" y="63"/>
                  </a:lnTo>
                  <a:lnTo>
                    <a:pt x="85" y="59"/>
                  </a:lnTo>
                  <a:lnTo>
                    <a:pt x="66" y="54"/>
                  </a:lnTo>
                  <a:lnTo>
                    <a:pt x="47" y="52"/>
                  </a:lnTo>
                  <a:lnTo>
                    <a:pt x="24" y="50"/>
                  </a:lnTo>
                  <a:lnTo>
                    <a:pt x="0" y="50"/>
                  </a:lnTo>
                  <a:lnTo>
                    <a:pt x="0" y="0"/>
                  </a:lnTo>
                  <a:lnTo>
                    <a:pt x="566" y="0"/>
                  </a:lnTo>
                  <a:lnTo>
                    <a:pt x="566" y="50"/>
                  </a:lnTo>
                  <a:lnTo>
                    <a:pt x="566" y="50"/>
                  </a:lnTo>
                  <a:lnTo>
                    <a:pt x="539" y="50"/>
                  </a:lnTo>
                  <a:lnTo>
                    <a:pt x="515" y="52"/>
                  </a:lnTo>
                  <a:lnTo>
                    <a:pt x="494" y="54"/>
                  </a:lnTo>
                  <a:lnTo>
                    <a:pt x="476" y="58"/>
                  </a:lnTo>
                  <a:lnTo>
                    <a:pt x="461" y="63"/>
                  </a:lnTo>
                  <a:lnTo>
                    <a:pt x="448" y="68"/>
                  </a:lnTo>
                  <a:lnTo>
                    <a:pt x="438" y="74"/>
                  </a:lnTo>
                  <a:lnTo>
                    <a:pt x="429" y="81"/>
                  </a:lnTo>
                  <a:lnTo>
                    <a:pt x="423" y="90"/>
                  </a:lnTo>
                  <a:lnTo>
                    <a:pt x="420" y="99"/>
                  </a:lnTo>
                  <a:lnTo>
                    <a:pt x="418" y="111"/>
                  </a:lnTo>
                  <a:lnTo>
                    <a:pt x="419" y="122"/>
                  </a:lnTo>
                  <a:lnTo>
                    <a:pt x="421" y="135"/>
                  </a:lnTo>
                  <a:lnTo>
                    <a:pt x="424" y="150"/>
                  </a:lnTo>
                  <a:lnTo>
                    <a:pt x="429" y="165"/>
                  </a:lnTo>
                  <a:lnTo>
                    <a:pt x="436" y="181"/>
                  </a:lnTo>
                  <a:lnTo>
                    <a:pt x="678" y="742"/>
                  </a:lnTo>
                  <a:lnTo>
                    <a:pt x="921" y="181"/>
                  </a:lnTo>
                  <a:lnTo>
                    <a:pt x="921" y="181"/>
                  </a:lnTo>
                  <a:lnTo>
                    <a:pt x="928" y="165"/>
                  </a:lnTo>
                  <a:lnTo>
                    <a:pt x="933" y="149"/>
                  </a:lnTo>
                  <a:lnTo>
                    <a:pt x="936" y="134"/>
                  </a:lnTo>
                  <a:lnTo>
                    <a:pt x="938" y="122"/>
                  </a:lnTo>
                  <a:lnTo>
                    <a:pt x="938" y="110"/>
                  </a:lnTo>
                  <a:lnTo>
                    <a:pt x="935" y="98"/>
                  </a:lnTo>
                  <a:lnTo>
                    <a:pt x="931" y="89"/>
                  </a:lnTo>
                  <a:lnTo>
                    <a:pt x="925" y="81"/>
                  </a:lnTo>
                  <a:lnTo>
                    <a:pt x="917" y="74"/>
                  </a:lnTo>
                  <a:lnTo>
                    <a:pt x="906" y="67"/>
                  </a:lnTo>
                  <a:lnTo>
                    <a:pt x="894" y="62"/>
                  </a:lnTo>
                  <a:lnTo>
                    <a:pt x="878" y="58"/>
                  </a:lnTo>
                  <a:lnTo>
                    <a:pt x="861" y="54"/>
                  </a:lnTo>
                  <a:lnTo>
                    <a:pt x="840" y="52"/>
                  </a:lnTo>
                  <a:lnTo>
                    <a:pt x="817" y="50"/>
                  </a:lnTo>
                  <a:lnTo>
                    <a:pt x="792" y="50"/>
                  </a:lnTo>
                  <a:lnTo>
                    <a:pt x="792" y="0"/>
                  </a:lnTo>
                  <a:lnTo>
                    <a:pt x="1210" y="0"/>
                  </a:lnTo>
                  <a:lnTo>
                    <a:pt x="1210" y="50"/>
                  </a:lnTo>
                  <a:lnTo>
                    <a:pt x="1210" y="50"/>
                  </a:lnTo>
                  <a:lnTo>
                    <a:pt x="1188" y="50"/>
                  </a:lnTo>
                  <a:lnTo>
                    <a:pt x="1169" y="51"/>
                  </a:lnTo>
                  <a:lnTo>
                    <a:pt x="1150" y="53"/>
                  </a:lnTo>
                  <a:lnTo>
                    <a:pt x="1134" y="57"/>
                  </a:lnTo>
                  <a:lnTo>
                    <a:pt x="1119" y="61"/>
                  </a:lnTo>
                  <a:lnTo>
                    <a:pt x="1104" y="66"/>
                  </a:lnTo>
                  <a:lnTo>
                    <a:pt x="1091" y="73"/>
                  </a:lnTo>
                  <a:lnTo>
                    <a:pt x="1079" y="80"/>
                  </a:lnTo>
                  <a:lnTo>
                    <a:pt x="1067" y="89"/>
                  </a:lnTo>
                  <a:lnTo>
                    <a:pt x="1056" y="100"/>
                  </a:lnTo>
                  <a:lnTo>
                    <a:pt x="1046" y="113"/>
                  </a:lnTo>
                  <a:lnTo>
                    <a:pt x="1036" y="127"/>
                  </a:lnTo>
                  <a:lnTo>
                    <a:pt x="1026" y="142"/>
                  </a:lnTo>
                  <a:lnTo>
                    <a:pt x="1016" y="161"/>
                  </a:lnTo>
                  <a:lnTo>
                    <a:pt x="1007" y="180"/>
                  </a:lnTo>
                  <a:lnTo>
                    <a:pt x="997" y="202"/>
                  </a:lnTo>
                  <a:lnTo>
                    <a:pt x="997" y="20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62" name="Freeform 15"/>
            <p:cNvSpPr>
              <a:spLocks noEditPoints="1"/>
            </p:cNvSpPr>
            <p:nvPr userDrawn="1"/>
          </p:nvSpPr>
          <p:spPr bwMode="auto">
            <a:xfrm>
              <a:off x="8175869" y="630404"/>
              <a:ext cx="152400" cy="144463"/>
            </a:xfrm>
            <a:custGeom>
              <a:avLst/>
              <a:gdLst>
                <a:gd name="T0" fmla="*/ 489 w 1151"/>
                <a:gd name="T1" fmla="*/ 1087 h 1094"/>
                <a:gd name="T2" fmla="*/ 353 w 1151"/>
                <a:gd name="T3" fmla="*/ 1051 h 1094"/>
                <a:gd name="T4" fmla="*/ 232 w 1151"/>
                <a:gd name="T5" fmla="*/ 984 h 1094"/>
                <a:gd name="T6" fmla="*/ 132 w 1151"/>
                <a:gd name="T7" fmla="*/ 894 h 1094"/>
                <a:gd name="T8" fmla="*/ 57 w 1151"/>
                <a:gd name="T9" fmla="*/ 783 h 1094"/>
                <a:gd name="T10" fmla="*/ 12 w 1151"/>
                <a:gd name="T11" fmla="*/ 656 h 1094"/>
                <a:gd name="T12" fmla="*/ 0 w 1151"/>
                <a:gd name="T13" fmla="*/ 547 h 1094"/>
                <a:gd name="T14" fmla="*/ 18 w 1151"/>
                <a:gd name="T15" fmla="*/ 411 h 1094"/>
                <a:gd name="T16" fmla="*/ 70 w 1151"/>
                <a:gd name="T17" fmla="*/ 287 h 1094"/>
                <a:gd name="T18" fmla="*/ 150 w 1151"/>
                <a:gd name="T19" fmla="*/ 180 h 1094"/>
                <a:gd name="T20" fmla="*/ 254 w 1151"/>
                <a:gd name="T21" fmla="*/ 94 h 1094"/>
                <a:gd name="T22" fmla="*/ 379 w 1151"/>
                <a:gd name="T23" fmla="*/ 33 h 1094"/>
                <a:gd name="T24" fmla="*/ 517 w 1151"/>
                <a:gd name="T25" fmla="*/ 3 h 1094"/>
                <a:gd name="T26" fmla="*/ 635 w 1151"/>
                <a:gd name="T27" fmla="*/ 3 h 1094"/>
                <a:gd name="T28" fmla="*/ 774 w 1151"/>
                <a:gd name="T29" fmla="*/ 33 h 1094"/>
                <a:gd name="T30" fmla="*/ 897 w 1151"/>
                <a:gd name="T31" fmla="*/ 94 h 1094"/>
                <a:gd name="T32" fmla="*/ 1001 w 1151"/>
                <a:gd name="T33" fmla="*/ 180 h 1094"/>
                <a:gd name="T34" fmla="*/ 1082 w 1151"/>
                <a:gd name="T35" fmla="*/ 287 h 1094"/>
                <a:gd name="T36" fmla="*/ 1133 w 1151"/>
                <a:gd name="T37" fmla="*/ 411 h 1094"/>
                <a:gd name="T38" fmla="*/ 1151 w 1151"/>
                <a:gd name="T39" fmla="*/ 547 h 1094"/>
                <a:gd name="T40" fmla="*/ 1139 w 1151"/>
                <a:gd name="T41" fmla="*/ 656 h 1094"/>
                <a:gd name="T42" fmla="*/ 1094 w 1151"/>
                <a:gd name="T43" fmla="*/ 783 h 1094"/>
                <a:gd name="T44" fmla="*/ 1019 w 1151"/>
                <a:gd name="T45" fmla="*/ 894 h 1094"/>
                <a:gd name="T46" fmla="*/ 919 w 1151"/>
                <a:gd name="T47" fmla="*/ 984 h 1094"/>
                <a:gd name="T48" fmla="*/ 799 w 1151"/>
                <a:gd name="T49" fmla="*/ 1051 h 1094"/>
                <a:gd name="T50" fmla="*/ 663 w 1151"/>
                <a:gd name="T51" fmla="*/ 1087 h 1094"/>
                <a:gd name="T52" fmla="*/ 577 w 1151"/>
                <a:gd name="T53" fmla="*/ 82 h 1094"/>
                <a:gd name="T54" fmla="*/ 492 w 1151"/>
                <a:gd name="T55" fmla="*/ 94 h 1094"/>
                <a:gd name="T56" fmla="*/ 404 w 1151"/>
                <a:gd name="T57" fmla="*/ 137 h 1094"/>
                <a:gd name="T58" fmla="*/ 335 w 1151"/>
                <a:gd name="T59" fmla="*/ 204 h 1094"/>
                <a:gd name="T60" fmla="*/ 285 w 1151"/>
                <a:gd name="T61" fmla="*/ 290 h 1094"/>
                <a:gd name="T62" fmla="*/ 252 w 1151"/>
                <a:gd name="T63" fmla="*/ 386 h 1094"/>
                <a:gd name="T64" fmla="*/ 234 w 1151"/>
                <a:gd name="T65" fmla="*/ 507 h 1094"/>
                <a:gd name="T66" fmla="*/ 240 w 1151"/>
                <a:gd name="T67" fmla="*/ 647 h 1094"/>
                <a:gd name="T68" fmla="*/ 264 w 1151"/>
                <a:gd name="T69" fmla="*/ 747 h 1094"/>
                <a:gd name="T70" fmla="*/ 303 w 1151"/>
                <a:gd name="T71" fmla="*/ 840 h 1094"/>
                <a:gd name="T72" fmla="*/ 360 w 1151"/>
                <a:gd name="T73" fmla="*/ 919 h 1094"/>
                <a:gd name="T74" fmla="*/ 436 w 1151"/>
                <a:gd name="T75" fmla="*/ 977 h 1094"/>
                <a:gd name="T76" fmla="*/ 533 w 1151"/>
                <a:gd name="T77" fmla="*/ 1008 h 1094"/>
                <a:gd name="T78" fmla="*/ 621 w 1151"/>
                <a:gd name="T79" fmla="*/ 1008 h 1094"/>
                <a:gd name="T80" fmla="*/ 716 w 1151"/>
                <a:gd name="T81" fmla="*/ 977 h 1094"/>
                <a:gd name="T82" fmla="*/ 792 w 1151"/>
                <a:gd name="T83" fmla="*/ 919 h 1094"/>
                <a:gd name="T84" fmla="*/ 850 w 1151"/>
                <a:gd name="T85" fmla="*/ 840 h 1094"/>
                <a:gd name="T86" fmla="*/ 889 w 1151"/>
                <a:gd name="T87" fmla="*/ 747 h 1094"/>
                <a:gd name="T88" fmla="*/ 912 w 1151"/>
                <a:gd name="T89" fmla="*/ 647 h 1094"/>
                <a:gd name="T90" fmla="*/ 919 w 1151"/>
                <a:gd name="T91" fmla="*/ 507 h 1094"/>
                <a:gd name="T92" fmla="*/ 901 w 1151"/>
                <a:gd name="T93" fmla="*/ 386 h 1094"/>
                <a:gd name="T94" fmla="*/ 867 w 1151"/>
                <a:gd name="T95" fmla="*/ 290 h 1094"/>
                <a:gd name="T96" fmla="*/ 817 w 1151"/>
                <a:gd name="T97" fmla="*/ 204 h 1094"/>
                <a:gd name="T98" fmla="*/ 748 w 1151"/>
                <a:gd name="T99" fmla="*/ 137 h 1094"/>
                <a:gd name="T100" fmla="*/ 661 w 1151"/>
                <a:gd name="T101" fmla="*/ 94 h 1094"/>
                <a:gd name="T102" fmla="*/ 577 w 1151"/>
                <a:gd name="T103" fmla="*/ 82 h 10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151" h="1094">
                  <a:moveTo>
                    <a:pt x="577" y="1094"/>
                  </a:moveTo>
                  <a:lnTo>
                    <a:pt x="577" y="1094"/>
                  </a:lnTo>
                  <a:lnTo>
                    <a:pt x="547" y="1093"/>
                  </a:lnTo>
                  <a:lnTo>
                    <a:pt x="517" y="1091"/>
                  </a:lnTo>
                  <a:lnTo>
                    <a:pt x="489" y="1087"/>
                  </a:lnTo>
                  <a:lnTo>
                    <a:pt x="461" y="1082"/>
                  </a:lnTo>
                  <a:lnTo>
                    <a:pt x="432" y="1076"/>
                  </a:lnTo>
                  <a:lnTo>
                    <a:pt x="406" y="1069"/>
                  </a:lnTo>
                  <a:lnTo>
                    <a:pt x="379" y="1060"/>
                  </a:lnTo>
                  <a:lnTo>
                    <a:pt x="353" y="1051"/>
                  </a:lnTo>
                  <a:lnTo>
                    <a:pt x="327" y="1039"/>
                  </a:lnTo>
                  <a:lnTo>
                    <a:pt x="303" y="1027"/>
                  </a:lnTo>
                  <a:lnTo>
                    <a:pt x="278" y="1014"/>
                  </a:lnTo>
                  <a:lnTo>
                    <a:pt x="254" y="1000"/>
                  </a:lnTo>
                  <a:lnTo>
                    <a:pt x="232" y="984"/>
                  </a:lnTo>
                  <a:lnTo>
                    <a:pt x="210" y="968"/>
                  </a:lnTo>
                  <a:lnTo>
                    <a:pt x="189" y="950"/>
                  </a:lnTo>
                  <a:lnTo>
                    <a:pt x="170" y="933"/>
                  </a:lnTo>
                  <a:lnTo>
                    <a:pt x="150" y="914"/>
                  </a:lnTo>
                  <a:lnTo>
                    <a:pt x="132" y="894"/>
                  </a:lnTo>
                  <a:lnTo>
                    <a:pt x="115" y="873"/>
                  </a:lnTo>
                  <a:lnTo>
                    <a:pt x="99" y="851"/>
                  </a:lnTo>
                  <a:lnTo>
                    <a:pt x="84" y="830"/>
                  </a:lnTo>
                  <a:lnTo>
                    <a:pt x="70" y="806"/>
                  </a:lnTo>
                  <a:lnTo>
                    <a:pt x="57" y="783"/>
                  </a:lnTo>
                  <a:lnTo>
                    <a:pt x="46" y="758"/>
                  </a:lnTo>
                  <a:lnTo>
                    <a:pt x="36" y="734"/>
                  </a:lnTo>
                  <a:lnTo>
                    <a:pt x="26" y="708"/>
                  </a:lnTo>
                  <a:lnTo>
                    <a:pt x="18" y="683"/>
                  </a:lnTo>
                  <a:lnTo>
                    <a:pt x="12" y="656"/>
                  </a:lnTo>
                  <a:lnTo>
                    <a:pt x="7" y="629"/>
                  </a:lnTo>
                  <a:lnTo>
                    <a:pt x="3" y="602"/>
                  </a:lnTo>
                  <a:lnTo>
                    <a:pt x="1" y="574"/>
                  </a:lnTo>
                  <a:lnTo>
                    <a:pt x="0" y="547"/>
                  </a:lnTo>
                  <a:lnTo>
                    <a:pt x="0" y="547"/>
                  </a:lnTo>
                  <a:lnTo>
                    <a:pt x="1" y="519"/>
                  </a:lnTo>
                  <a:lnTo>
                    <a:pt x="3" y="491"/>
                  </a:lnTo>
                  <a:lnTo>
                    <a:pt x="7" y="464"/>
                  </a:lnTo>
                  <a:lnTo>
                    <a:pt x="12" y="437"/>
                  </a:lnTo>
                  <a:lnTo>
                    <a:pt x="18" y="411"/>
                  </a:lnTo>
                  <a:lnTo>
                    <a:pt x="26" y="385"/>
                  </a:lnTo>
                  <a:lnTo>
                    <a:pt x="36" y="360"/>
                  </a:lnTo>
                  <a:lnTo>
                    <a:pt x="46" y="335"/>
                  </a:lnTo>
                  <a:lnTo>
                    <a:pt x="57" y="310"/>
                  </a:lnTo>
                  <a:lnTo>
                    <a:pt x="70" y="287"/>
                  </a:lnTo>
                  <a:lnTo>
                    <a:pt x="84" y="264"/>
                  </a:lnTo>
                  <a:lnTo>
                    <a:pt x="99" y="242"/>
                  </a:lnTo>
                  <a:lnTo>
                    <a:pt x="115" y="220"/>
                  </a:lnTo>
                  <a:lnTo>
                    <a:pt x="132" y="200"/>
                  </a:lnTo>
                  <a:lnTo>
                    <a:pt x="150" y="180"/>
                  </a:lnTo>
                  <a:lnTo>
                    <a:pt x="170" y="161"/>
                  </a:lnTo>
                  <a:lnTo>
                    <a:pt x="189" y="143"/>
                  </a:lnTo>
                  <a:lnTo>
                    <a:pt x="210" y="125"/>
                  </a:lnTo>
                  <a:lnTo>
                    <a:pt x="232" y="109"/>
                  </a:lnTo>
                  <a:lnTo>
                    <a:pt x="254" y="94"/>
                  </a:lnTo>
                  <a:lnTo>
                    <a:pt x="278" y="79"/>
                  </a:lnTo>
                  <a:lnTo>
                    <a:pt x="303" y="66"/>
                  </a:lnTo>
                  <a:lnTo>
                    <a:pt x="327" y="54"/>
                  </a:lnTo>
                  <a:lnTo>
                    <a:pt x="353" y="44"/>
                  </a:lnTo>
                  <a:lnTo>
                    <a:pt x="379" y="33"/>
                  </a:lnTo>
                  <a:lnTo>
                    <a:pt x="406" y="24"/>
                  </a:lnTo>
                  <a:lnTo>
                    <a:pt x="432" y="17"/>
                  </a:lnTo>
                  <a:lnTo>
                    <a:pt x="461" y="11"/>
                  </a:lnTo>
                  <a:lnTo>
                    <a:pt x="489" y="6"/>
                  </a:lnTo>
                  <a:lnTo>
                    <a:pt x="517" y="3"/>
                  </a:lnTo>
                  <a:lnTo>
                    <a:pt x="547" y="1"/>
                  </a:lnTo>
                  <a:lnTo>
                    <a:pt x="577" y="0"/>
                  </a:lnTo>
                  <a:lnTo>
                    <a:pt x="577" y="0"/>
                  </a:lnTo>
                  <a:lnTo>
                    <a:pt x="606" y="1"/>
                  </a:lnTo>
                  <a:lnTo>
                    <a:pt x="635" y="3"/>
                  </a:lnTo>
                  <a:lnTo>
                    <a:pt x="663" y="6"/>
                  </a:lnTo>
                  <a:lnTo>
                    <a:pt x="692" y="11"/>
                  </a:lnTo>
                  <a:lnTo>
                    <a:pt x="720" y="17"/>
                  </a:lnTo>
                  <a:lnTo>
                    <a:pt x="746" y="24"/>
                  </a:lnTo>
                  <a:lnTo>
                    <a:pt x="774" y="33"/>
                  </a:lnTo>
                  <a:lnTo>
                    <a:pt x="799" y="44"/>
                  </a:lnTo>
                  <a:lnTo>
                    <a:pt x="825" y="54"/>
                  </a:lnTo>
                  <a:lnTo>
                    <a:pt x="850" y="66"/>
                  </a:lnTo>
                  <a:lnTo>
                    <a:pt x="874" y="79"/>
                  </a:lnTo>
                  <a:lnTo>
                    <a:pt x="897" y="94"/>
                  </a:lnTo>
                  <a:lnTo>
                    <a:pt x="919" y="109"/>
                  </a:lnTo>
                  <a:lnTo>
                    <a:pt x="942" y="125"/>
                  </a:lnTo>
                  <a:lnTo>
                    <a:pt x="962" y="143"/>
                  </a:lnTo>
                  <a:lnTo>
                    <a:pt x="982" y="161"/>
                  </a:lnTo>
                  <a:lnTo>
                    <a:pt x="1001" y="180"/>
                  </a:lnTo>
                  <a:lnTo>
                    <a:pt x="1019" y="200"/>
                  </a:lnTo>
                  <a:lnTo>
                    <a:pt x="1037" y="220"/>
                  </a:lnTo>
                  <a:lnTo>
                    <a:pt x="1052" y="242"/>
                  </a:lnTo>
                  <a:lnTo>
                    <a:pt x="1067" y="264"/>
                  </a:lnTo>
                  <a:lnTo>
                    <a:pt x="1082" y="287"/>
                  </a:lnTo>
                  <a:lnTo>
                    <a:pt x="1094" y="310"/>
                  </a:lnTo>
                  <a:lnTo>
                    <a:pt x="1105" y="335"/>
                  </a:lnTo>
                  <a:lnTo>
                    <a:pt x="1116" y="360"/>
                  </a:lnTo>
                  <a:lnTo>
                    <a:pt x="1125" y="385"/>
                  </a:lnTo>
                  <a:lnTo>
                    <a:pt x="1133" y="411"/>
                  </a:lnTo>
                  <a:lnTo>
                    <a:pt x="1139" y="437"/>
                  </a:lnTo>
                  <a:lnTo>
                    <a:pt x="1144" y="464"/>
                  </a:lnTo>
                  <a:lnTo>
                    <a:pt x="1148" y="491"/>
                  </a:lnTo>
                  <a:lnTo>
                    <a:pt x="1150" y="519"/>
                  </a:lnTo>
                  <a:lnTo>
                    <a:pt x="1151" y="547"/>
                  </a:lnTo>
                  <a:lnTo>
                    <a:pt x="1151" y="547"/>
                  </a:lnTo>
                  <a:lnTo>
                    <a:pt x="1150" y="574"/>
                  </a:lnTo>
                  <a:lnTo>
                    <a:pt x="1148" y="602"/>
                  </a:lnTo>
                  <a:lnTo>
                    <a:pt x="1144" y="629"/>
                  </a:lnTo>
                  <a:lnTo>
                    <a:pt x="1139" y="656"/>
                  </a:lnTo>
                  <a:lnTo>
                    <a:pt x="1133" y="683"/>
                  </a:lnTo>
                  <a:lnTo>
                    <a:pt x="1125" y="708"/>
                  </a:lnTo>
                  <a:lnTo>
                    <a:pt x="1116" y="734"/>
                  </a:lnTo>
                  <a:lnTo>
                    <a:pt x="1105" y="758"/>
                  </a:lnTo>
                  <a:lnTo>
                    <a:pt x="1094" y="783"/>
                  </a:lnTo>
                  <a:lnTo>
                    <a:pt x="1082" y="806"/>
                  </a:lnTo>
                  <a:lnTo>
                    <a:pt x="1067" y="830"/>
                  </a:lnTo>
                  <a:lnTo>
                    <a:pt x="1052" y="851"/>
                  </a:lnTo>
                  <a:lnTo>
                    <a:pt x="1037" y="873"/>
                  </a:lnTo>
                  <a:lnTo>
                    <a:pt x="1019" y="894"/>
                  </a:lnTo>
                  <a:lnTo>
                    <a:pt x="1001" y="914"/>
                  </a:lnTo>
                  <a:lnTo>
                    <a:pt x="982" y="933"/>
                  </a:lnTo>
                  <a:lnTo>
                    <a:pt x="962" y="950"/>
                  </a:lnTo>
                  <a:lnTo>
                    <a:pt x="942" y="968"/>
                  </a:lnTo>
                  <a:lnTo>
                    <a:pt x="919" y="984"/>
                  </a:lnTo>
                  <a:lnTo>
                    <a:pt x="897" y="1000"/>
                  </a:lnTo>
                  <a:lnTo>
                    <a:pt x="874" y="1014"/>
                  </a:lnTo>
                  <a:lnTo>
                    <a:pt x="850" y="1027"/>
                  </a:lnTo>
                  <a:lnTo>
                    <a:pt x="825" y="1039"/>
                  </a:lnTo>
                  <a:lnTo>
                    <a:pt x="799" y="1051"/>
                  </a:lnTo>
                  <a:lnTo>
                    <a:pt x="774" y="1060"/>
                  </a:lnTo>
                  <a:lnTo>
                    <a:pt x="746" y="1069"/>
                  </a:lnTo>
                  <a:lnTo>
                    <a:pt x="720" y="1076"/>
                  </a:lnTo>
                  <a:lnTo>
                    <a:pt x="692" y="1082"/>
                  </a:lnTo>
                  <a:lnTo>
                    <a:pt x="663" y="1087"/>
                  </a:lnTo>
                  <a:lnTo>
                    <a:pt x="635" y="1091"/>
                  </a:lnTo>
                  <a:lnTo>
                    <a:pt x="606" y="1093"/>
                  </a:lnTo>
                  <a:lnTo>
                    <a:pt x="577" y="1094"/>
                  </a:lnTo>
                  <a:lnTo>
                    <a:pt x="577" y="1094"/>
                  </a:lnTo>
                  <a:close/>
                  <a:moveTo>
                    <a:pt x="577" y="82"/>
                  </a:moveTo>
                  <a:lnTo>
                    <a:pt x="577" y="82"/>
                  </a:lnTo>
                  <a:lnTo>
                    <a:pt x="554" y="83"/>
                  </a:lnTo>
                  <a:lnTo>
                    <a:pt x="533" y="86"/>
                  </a:lnTo>
                  <a:lnTo>
                    <a:pt x="511" y="90"/>
                  </a:lnTo>
                  <a:lnTo>
                    <a:pt x="492" y="94"/>
                  </a:lnTo>
                  <a:lnTo>
                    <a:pt x="472" y="100"/>
                  </a:lnTo>
                  <a:lnTo>
                    <a:pt x="454" y="108"/>
                  </a:lnTo>
                  <a:lnTo>
                    <a:pt x="436" y="116"/>
                  </a:lnTo>
                  <a:lnTo>
                    <a:pt x="419" y="125"/>
                  </a:lnTo>
                  <a:lnTo>
                    <a:pt x="404" y="137"/>
                  </a:lnTo>
                  <a:lnTo>
                    <a:pt x="388" y="148"/>
                  </a:lnTo>
                  <a:lnTo>
                    <a:pt x="374" y="161"/>
                  </a:lnTo>
                  <a:lnTo>
                    <a:pt x="360" y="174"/>
                  </a:lnTo>
                  <a:lnTo>
                    <a:pt x="347" y="189"/>
                  </a:lnTo>
                  <a:lnTo>
                    <a:pt x="335" y="204"/>
                  </a:lnTo>
                  <a:lnTo>
                    <a:pt x="324" y="219"/>
                  </a:lnTo>
                  <a:lnTo>
                    <a:pt x="313" y="237"/>
                  </a:lnTo>
                  <a:lnTo>
                    <a:pt x="303" y="253"/>
                  </a:lnTo>
                  <a:lnTo>
                    <a:pt x="293" y="272"/>
                  </a:lnTo>
                  <a:lnTo>
                    <a:pt x="285" y="290"/>
                  </a:lnTo>
                  <a:lnTo>
                    <a:pt x="277" y="308"/>
                  </a:lnTo>
                  <a:lnTo>
                    <a:pt x="270" y="327"/>
                  </a:lnTo>
                  <a:lnTo>
                    <a:pt x="264" y="346"/>
                  </a:lnTo>
                  <a:lnTo>
                    <a:pt x="258" y="367"/>
                  </a:lnTo>
                  <a:lnTo>
                    <a:pt x="252" y="386"/>
                  </a:lnTo>
                  <a:lnTo>
                    <a:pt x="248" y="407"/>
                  </a:lnTo>
                  <a:lnTo>
                    <a:pt x="244" y="426"/>
                  </a:lnTo>
                  <a:lnTo>
                    <a:pt x="240" y="446"/>
                  </a:lnTo>
                  <a:lnTo>
                    <a:pt x="238" y="467"/>
                  </a:lnTo>
                  <a:lnTo>
                    <a:pt x="234" y="507"/>
                  </a:lnTo>
                  <a:lnTo>
                    <a:pt x="233" y="547"/>
                  </a:lnTo>
                  <a:lnTo>
                    <a:pt x="233" y="547"/>
                  </a:lnTo>
                  <a:lnTo>
                    <a:pt x="234" y="587"/>
                  </a:lnTo>
                  <a:lnTo>
                    <a:pt x="238" y="626"/>
                  </a:lnTo>
                  <a:lnTo>
                    <a:pt x="240" y="647"/>
                  </a:lnTo>
                  <a:lnTo>
                    <a:pt x="244" y="667"/>
                  </a:lnTo>
                  <a:lnTo>
                    <a:pt x="248" y="687"/>
                  </a:lnTo>
                  <a:lnTo>
                    <a:pt x="252" y="707"/>
                  </a:lnTo>
                  <a:lnTo>
                    <a:pt x="258" y="728"/>
                  </a:lnTo>
                  <a:lnTo>
                    <a:pt x="264" y="747"/>
                  </a:lnTo>
                  <a:lnTo>
                    <a:pt x="270" y="766"/>
                  </a:lnTo>
                  <a:lnTo>
                    <a:pt x="277" y="785"/>
                  </a:lnTo>
                  <a:lnTo>
                    <a:pt x="285" y="804"/>
                  </a:lnTo>
                  <a:lnTo>
                    <a:pt x="293" y="822"/>
                  </a:lnTo>
                  <a:lnTo>
                    <a:pt x="303" y="840"/>
                  </a:lnTo>
                  <a:lnTo>
                    <a:pt x="313" y="857"/>
                  </a:lnTo>
                  <a:lnTo>
                    <a:pt x="324" y="874"/>
                  </a:lnTo>
                  <a:lnTo>
                    <a:pt x="335" y="889"/>
                  </a:lnTo>
                  <a:lnTo>
                    <a:pt x="347" y="904"/>
                  </a:lnTo>
                  <a:lnTo>
                    <a:pt x="360" y="919"/>
                  </a:lnTo>
                  <a:lnTo>
                    <a:pt x="374" y="932"/>
                  </a:lnTo>
                  <a:lnTo>
                    <a:pt x="388" y="945"/>
                  </a:lnTo>
                  <a:lnTo>
                    <a:pt x="404" y="957"/>
                  </a:lnTo>
                  <a:lnTo>
                    <a:pt x="419" y="968"/>
                  </a:lnTo>
                  <a:lnTo>
                    <a:pt x="436" y="977"/>
                  </a:lnTo>
                  <a:lnTo>
                    <a:pt x="454" y="986"/>
                  </a:lnTo>
                  <a:lnTo>
                    <a:pt x="472" y="993"/>
                  </a:lnTo>
                  <a:lnTo>
                    <a:pt x="492" y="1000"/>
                  </a:lnTo>
                  <a:lnTo>
                    <a:pt x="511" y="1005"/>
                  </a:lnTo>
                  <a:lnTo>
                    <a:pt x="533" y="1008"/>
                  </a:lnTo>
                  <a:lnTo>
                    <a:pt x="554" y="1010"/>
                  </a:lnTo>
                  <a:lnTo>
                    <a:pt x="577" y="1011"/>
                  </a:lnTo>
                  <a:lnTo>
                    <a:pt x="577" y="1011"/>
                  </a:lnTo>
                  <a:lnTo>
                    <a:pt x="599" y="1010"/>
                  </a:lnTo>
                  <a:lnTo>
                    <a:pt x="621" y="1008"/>
                  </a:lnTo>
                  <a:lnTo>
                    <a:pt x="641" y="1005"/>
                  </a:lnTo>
                  <a:lnTo>
                    <a:pt x="661" y="1000"/>
                  </a:lnTo>
                  <a:lnTo>
                    <a:pt x="680" y="993"/>
                  </a:lnTo>
                  <a:lnTo>
                    <a:pt x="698" y="986"/>
                  </a:lnTo>
                  <a:lnTo>
                    <a:pt x="716" y="977"/>
                  </a:lnTo>
                  <a:lnTo>
                    <a:pt x="733" y="968"/>
                  </a:lnTo>
                  <a:lnTo>
                    <a:pt x="748" y="957"/>
                  </a:lnTo>
                  <a:lnTo>
                    <a:pt x="764" y="945"/>
                  </a:lnTo>
                  <a:lnTo>
                    <a:pt x="778" y="932"/>
                  </a:lnTo>
                  <a:lnTo>
                    <a:pt x="792" y="919"/>
                  </a:lnTo>
                  <a:lnTo>
                    <a:pt x="805" y="904"/>
                  </a:lnTo>
                  <a:lnTo>
                    <a:pt x="817" y="889"/>
                  </a:lnTo>
                  <a:lnTo>
                    <a:pt x="829" y="874"/>
                  </a:lnTo>
                  <a:lnTo>
                    <a:pt x="839" y="857"/>
                  </a:lnTo>
                  <a:lnTo>
                    <a:pt x="850" y="840"/>
                  </a:lnTo>
                  <a:lnTo>
                    <a:pt x="859" y="822"/>
                  </a:lnTo>
                  <a:lnTo>
                    <a:pt x="867" y="804"/>
                  </a:lnTo>
                  <a:lnTo>
                    <a:pt x="875" y="785"/>
                  </a:lnTo>
                  <a:lnTo>
                    <a:pt x="882" y="766"/>
                  </a:lnTo>
                  <a:lnTo>
                    <a:pt x="889" y="747"/>
                  </a:lnTo>
                  <a:lnTo>
                    <a:pt x="896" y="728"/>
                  </a:lnTo>
                  <a:lnTo>
                    <a:pt x="901" y="707"/>
                  </a:lnTo>
                  <a:lnTo>
                    <a:pt x="905" y="687"/>
                  </a:lnTo>
                  <a:lnTo>
                    <a:pt x="909" y="667"/>
                  </a:lnTo>
                  <a:lnTo>
                    <a:pt x="912" y="647"/>
                  </a:lnTo>
                  <a:lnTo>
                    <a:pt x="915" y="626"/>
                  </a:lnTo>
                  <a:lnTo>
                    <a:pt x="919" y="587"/>
                  </a:lnTo>
                  <a:lnTo>
                    <a:pt x="920" y="547"/>
                  </a:lnTo>
                  <a:lnTo>
                    <a:pt x="920" y="547"/>
                  </a:lnTo>
                  <a:lnTo>
                    <a:pt x="919" y="507"/>
                  </a:lnTo>
                  <a:lnTo>
                    <a:pt x="915" y="467"/>
                  </a:lnTo>
                  <a:lnTo>
                    <a:pt x="912" y="446"/>
                  </a:lnTo>
                  <a:lnTo>
                    <a:pt x="909" y="426"/>
                  </a:lnTo>
                  <a:lnTo>
                    <a:pt x="905" y="407"/>
                  </a:lnTo>
                  <a:lnTo>
                    <a:pt x="901" y="386"/>
                  </a:lnTo>
                  <a:lnTo>
                    <a:pt x="896" y="367"/>
                  </a:lnTo>
                  <a:lnTo>
                    <a:pt x="889" y="346"/>
                  </a:lnTo>
                  <a:lnTo>
                    <a:pt x="882" y="327"/>
                  </a:lnTo>
                  <a:lnTo>
                    <a:pt x="875" y="308"/>
                  </a:lnTo>
                  <a:lnTo>
                    <a:pt x="867" y="290"/>
                  </a:lnTo>
                  <a:lnTo>
                    <a:pt x="859" y="272"/>
                  </a:lnTo>
                  <a:lnTo>
                    <a:pt x="850" y="253"/>
                  </a:lnTo>
                  <a:lnTo>
                    <a:pt x="839" y="237"/>
                  </a:lnTo>
                  <a:lnTo>
                    <a:pt x="829" y="219"/>
                  </a:lnTo>
                  <a:lnTo>
                    <a:pt x="817" y="204"/>
                  </a:lnTo>
                  <a:lnTo>
                    <a:pt x="805" y="189"/>
                  </a:lnTo>
                  <a:lnTo>
                    <a:pt x="792" y="174"/>
                  </a:lnTo>
                  <a:lnTo>
                    <a:pt x="778" y="161"/>
                  </a:lnTo>
                  <a:lnTo>
                    <a:pt x="764" y="148"/>
                  </a:lnTo>
                  <a:lnTo>
                    <a:pt x="748" y="137"/>
                  </a:lnTo>
                  <a:lnTo>
                    <a:pt x="733" y="125"/>
                  </a:lnTo>
                  <a:lnTo>
                    <a:pt x="716" y="116"/>
                  </a:lnTo>
                  <a:lnTo>
                    <a:pt x="698" y="108"/>
                  </a:lnTo>
                  <a:lnTo>
                    <a:pt x="680" y="100"/>
                  </a:lnTo>
                  <a:lnTo>
                    <a:pt x="661" y="94"/>
                  </a:lnTo>
                  <a:lnTo>
                    <a:pt x="641" y="90"/>
                  </a:lnTo>
                  <a:lnTo>
                    <a:pt x="621" y="86"/>
                  </a:lnTo>
                  <a:lnTo>
                    <a:pt x="599" y="83"/>
                  </a:lnTo>
                  <a:lnTo>
                    <a:pt x="577" y="82"/>
                  </a:lnTo>
                  <a:lnTo>
                    <a:pt x="577" y="8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63" name="Freeform 16"/>
            <p:cNvSpPr>
              <a:spLocks/>
            </p:cNvSpPr>
            <p:nvPr userDrawn="1"/>
          </p:nvSpPr>
          <p:spPr bwMode="auto">
            <a:xfrm>
              <a:off x="8372721" y="628817"/>
              <a:ext cx="93663" cy="146050"/>
            </a:xfrm>
            <a:custGeom>
              <a:avLst/>
              <a:gdLst>
                <a:gd name="T0" fmla="*/ 52 w 712"/>
                <a:gd name="T1" fmla="*/ 723 h 1103"/>
                <a:gd name="T2" fmla="*/ 75 w 712"/>
                <a:gd name="T3" fmla="*/ 804 h 1103"/>
                <a:gd name="T4" fmla="*/ 112 w 712"/>
                <a:gd name="T5" fmla="*/ 875 h 1103"/>
                <a:gd name="T6" fmla="*/ 159 w 712"/>
                <a:gd name="T7" fmla="*/ 933 h 1103"/>
                <a:gd name="T8" fmla="*/ 215 w 712"/>
                <a:gd name="T9" fmla="*/ 978 h 1103"/>
                <a:gd name="T10" fmla="*/ 278 w 712"/>
                <a:gd name="T11" fmla="*/ 1009 h 1103"/>
                <a:gd name="T12" fmla="*/ 343 w 712"/>
                <a:gd name="T13" fmla="*/ 1024 h 1103"/>
                <a:gd name="T14" fmla="*/ 405 w 712"/>
                <a:gd name="T15" fmla="*/ 1022 h 1103"/>
                <a:gd name="T16" fmla="*/ 481 w 712"/>
                <a:gd name="T17" fmla="*/ 992 h 1103"/>
                <a:gd name="T18" fmla="*/ 529 w 712"/>
                <a:gd name="T19" fmla="*/ 929 h 1103"/>
                <a:gd name="T20" fmla="*/ 541 w 712"/>
                <a:gd name="T21" fmla="*/ 854 h 1103"/>
                <a:gd name="T22" fmla="*/ 528 w 712"/>
                <a:gd name="T23" fmla="*/ 795 h 1103"/>
                <a:gd name="T24" fmla="*/ 490 w 712"/>
                <a:gd name="T25" fmla="*/ 737 h 1103"/>
                <a:gd name="T26" fmla="*/ 429 w 712"/>
                <a:gd name="T27" fmla="*/ 688 h 1103"/>
                <a:gd name="T28" fmla="*/ 198 w 712"/>
                <a:gd name="T29" fmla="*/ 566 h 1103"/>
                <a:gd name="T30" fmla="*/ 94 w 712"/>
                <a:gd name="T31" fmla="*/ 485 h 1103"/>
                <a:gd name="T32" fmla="*/ 32 w 712"/>
                <a:gd name="T33" fmla="*/ 380 h 1103"/>
                <a:gd name="T34" fmla="*/ 16 w 712"/>
                <a:gd name="T35" fmla="*/ 267 h 1103"/>
                <a:gd name="T36" fmla="*/ 25 w 712"/>
                <a:gd name="T37" fmla="*/ 204 h 1103"/>
                <a:gd name="T38" fmla="*/ 52 w 712"/>
                <a:gd name="T39" fmla="*/ 145 h 1103"/>
                <a:gd name="T40" fmla="*/ 94 w 712"/>
                <a:gd name="T41" fmla="*/ 95 h 1103"/>
                <a:gd name="T42" fmla="*/ 148 w 712"/>
                <a:gd name="T43" fmla="*/ 54 h 1103"/>
                <a:gd name="T44" fmla="*/ 212 w 712"/>
                <a:gd name="T45" fmla="*/ 25 h 1103"/>
                <a:gd name="T46" fmla="*/ 285 w 712"/>
                <a:gd name="T47" fmla="*/ 11 h 1103"/>
                <a:gd name="T48" fmla="*/ 352 w 712"/>
                <a:gd name="T49" fmla="*/ 11 h 1103"/>
                <a:gd name="T50" fmla="*/ 427 w 712"/>
                <a:gd name="T51" fmla="*/ 25 h 1103"/>
                <a:gd name="T52" fmla="*/ 526 w 712"/>
                <a:gd name="T53" fmla="*/ 79 h 1103"/>
                <a:gd name="T54" fmla="*/ 556 w 712"/>
                <a:gd name="T55" fmla="*/ 47 h 1103"/>
                <a:gd name="T56" fmla="*/ 624 w 712"/>
                <a:gd name="T57" fmla="*/ 0 h 1103"/>
                <a:gd name="T58" fmla="*/ 568 w 712"/>
                <a:gd name="T59" fmla="*/ 328 h 1103"/>
                <a:gd name="T60" fmla="*/ 527 w 712"/>
                <a:gd name="T61" fmla="*/ 203 h 1103"/>
                <a:gd name="T62" fmla="*/ 481 w 712"/>
                <a:gd name="T63" fmla="*/ 142 h 1103"/>
                <a:gd name="T64" fmla="*/ 428 w 712"/>
                <a:gd name="T65" fmla="*/ 106 h 1103"/>
                <a:gd name="T66" fmla="*/ 358 w 712"/>
                <a:gd name="T67" fmla="*/ 86 h 1103"/>
                <a:gd name="T68" fmla="*/ 300 w 712"/>
                <a:gd name="T69" fmla="*/ 87 h 1103"/>
                <a:gd name="T70" fmla="*/ 240 w 712"/>
                <a:gd name="T71" fmla="*/ 113 h 1103"/>
                <a:gd name="T72" fmla="*/ 199 w 712"/>
                <a:gd name="T73" fmla="*/ 165 h 1103"/>
                <a:gd name="T74" fmla="*/ 187 w 712"/>
                <a:gd name="T75" fmla="*/ 222 h 1103"/>
                <a:gd name="T76" fmla="*/ 200 w 712"/>
                <a:gd name="T77" fmla="*/ 278 h 1103"/>
                <a:gd name="T78" fmla="*/ 241 w 712"/>
                <a:gd name="T79" fmla="*/ 336 h 1103"/>
                <a:gd name="T80" fmla="*/ 308 w 712"/>
                <a:gd name="T81" fmla="*/ 390 h 1103"/>
                <a:gd name="T82" fmla="*/ 535 w 712"/>
                <a:gd name="T83" fmla="*/ 510 h 1103"/>
                <a:gd name="T84" fmla="*/ 631 w 712"/>
                <a:gd name="T85" fmla="*/ 590 h 1103"/>
                <a:gd name="T86" fmla="*/ 695 w 712"/>
                <a:gd name="T87" fmla="*/ 693 h 1103"/>
                <a:gd name="T88" fmla="*/ 712 w 712"/>
                <a:gd name="T89" fmla="*/ 789 h 1103"/>
                <a:gd name="T90" fmla="*/ 701 w 712"/>
                <a:gd name="T91" fmla="*/ 872 h 1103"/>
                <a:gd name="T92" fmla="*/ 669 w 712"/>
                <a:gd name="T93" fmla="*/ 945 h 1103"/>
                <a:gd name="T94" fmla="*/ 619 w 712"/>
                <a:gd name="T95" fmla="*/ 1005 h 1103"/>
                <a:gd name="T96" fmla="*/ 556 w 712"/>
                <a:gd name="T97" fmla="*/ 1053 h 1103"/>
                <a:gd name="T98" fmla="*/ 483 w 712"/>
                <a:gd name="T99" fmla="*/ 1085 h 1103"/>
                <a:gd name="T100" fmla="*/ 402 w 712"/>
                <a:gd name="T101" fmla="*/ 1101 h 1103"/>
                <a:gd name="T102" fmla="*/ 323 w 712"/>
                <a:gd name="T103" fmla="*/ 1100 h 1103"/>
                <a:gd name="T104" fmla="*/ 223 w 712"/>
                <a:gd name="T105" fmla="*/ 1073 h 1103"/>
                <a:gd name="T106" fmla="*/ 111 w 712"/>
                <a:gd name="T107" fmla="*/ 1024 h 1103"/>
                <a:gd name="T108" fmla="*/ 77 w 712"/>
                <a:gd name="T109" fmla="*/ 1044 h 1103"/>
                <a:gd name="T110" fmla="*/ 51 w 712"/>
                <a:gd name="T111" fmla="*/ 1103 h 1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12" h="1103">
                  <a:moveTo>
                    <a:pt x="51" y="1103"/>
                  </a:moveTo>
                  <a:lnTo>
                    <a:pt x="0" y="1103"/>
                  </a:lnTo>
                  <a:lnTo>
                    <a:pt x="0" y="723"/>
                  </a:lnTo>
                  <a:lnTo>
                    <a:pt x="52" y="723"/>
                  </a:lnTo>
                  <a:lnTo>
                    <a:pt x="52" y="723"/>
                  </a:lnTo>
                  <a:lnTo>
                    <a:pt x="56" y="740"/>
                  </a:lnTo>
                  <a:lnTo>
                    <a:pt x="60" y="757"/>
                  </a:lnTo>
                  <a:lnTo>
                    <a:pt x="64" y="773"/>
                  </a:lnTo>
                  <a:lnTo>
                    <a:pt x="69" y="789"/>
                  </a:lnTo>
                  <a:lnTo>
                    <a:pt x="75" y="804"/>
                  </a:lnTo>
                  <a:lnTo>
                    <a:pt x="81" y="819"/>
                  </a:lnTo>
                  <a:lnTo>
                    <a:pt x="88" y="834"/>
                  </a:lnTo>
                  <a:lnTo>
                    <a:pt x="96" y="848"/>
                  </a:lnTo>
                  <a:lnTo>
                    <a:pt x="104" y="861"/>
                  </a:lnTo>
                  <a:lnTo>
                    <a:pt x="112" y="875"/>
                  </a:lnTo>
                  <a:lnTo>
                    <a:pt x="120" y="888"/>
                  </a:lnTo>
                  <a:lnTo>
                    <a:pt x="129" y="899"/>
                  </a:lnTo>
                  <a:lnTo>
                    <a:pt x="139" y="911"/>
                  </a:lnTo>
                  <a:lnTo>
                    <a:pt x="149" y="923"/>
                  </a:lnTo>
                  <a:lnTo>
                    <a:pt x="159" y="933"/>
                  </a:lnTo>
                  <a:lnTo>
                    <a:pt x="170" y="943"/>
                  </a:lnTo>
                  <a:lnTo>
                    <a:pt x="180" y="952"/>
                  </a:lnTo>
                  <a:lnTo>
                    <a:pt x="192" y="962"/>
                  </a:lnTo>
                  <a:lnTo>
                    <a:pt x="204" y="970"/>
                  </a:lnTo>
                  <a:lnTo>
                    <a:pt x="215" y="978"/>
                  </a:lnTo>
                  <a:lnTo>
                    <a:pt x="227" y="985"/>
                  </a:lnTo>
                  <a:lnTo>
                    <a:pt x="240" y="992"/>
                  </a:lnTo>
                  <a:lnTo>
                    <a:pt x="252" y="998"/>
                  </a:lnTo>
                  <a:lnTo>
                    <a:pt x="264" y="1003"/>
                  </a:lnTo>
                  <a:lnTo>
                    <a:pt x="278" y="1009"/>
                  </a:lnTo>
                  <a:lnTo>
                    <a:pt x="290" y="1013"/>
                  </a:lnTo>
                  <a:lnTo>
                    <a:pt x="303" y="1017"/>
                  </a:lnTo>
                  <a:lnTo>
                    <a:pt x="316" y="1020"/>
                  </a:lnTo>
                  <a:lnTo>
                    <a:pt x="330" y="1022"/>
                  </a:lnTo>
                  <a:lnTo>
                    <a:pt x="343" y="1024"/>
                  </a:lnTo>
                  <a:lnTo>
                    <a:pt x="356" y="1025"/>
                  </a:lnTo>
                  <a:lnTo>
                    <a:pt x="370" y="1025"/>
                  </a:lnTo>
                  <a:lnTo>
                    <a:pt x="370" y="1025"/>
                  </a:lnTo>
                  <a:lnTo>
                    <a:pt x="388" y="1024"/>
                  </a:lnTo>
                  <a:lnTo>
                    <a:pt x="405" y="1022"/>
                  </a:lnTo>
                  <a:lnTo>
                    <a:pt x="423" y="1019"/>
                  </a:lnTo>
                  <a:lnTo>
                    <a:pt x="438" y="1015"/>
                  </a:lnTo>
                  <a:lnTo>
                    <a:pt x="453" y="1009"/>
                  </a:lnTo>
                  <a:lnTo>
                    <a:pt x="468" y="1000"/>
                  </a:lnTo>
                  <a:lnTo>
                    <a:pt x="481" y="992"/>
                  </a:lnTo>
                  <a:lnTo>
                    <a:pt x="493" y="982"/>
                  </a:lnTo>
                  <a:lnTo>
                    <a:pt x="504" y="971"/>
                  </a:lnTo>
                  <a:lnTo>
                    <a:pt x="514" y="958"/>
                  </a:lnTo>
                  <a:lnTo>
                    <a:pt x="522" y="944"/>
                  </a:lnTo>
                  <a:lnTo>
                    <a:pt x="529" y="929"/>
                  </a:lnTo>
                  <a:lnTo>
                    <a:pt x="534" y="912"/>
                  </a:lnTo>
                  <a:lnTo>
                    <a:pt x="538" y="894"/>
                  </a:lnTo>
                  <a:lnTo>
                    <a:pt x="541" y="875"/>
                  </a:lnTo>
                  <a:lnTo>
                    <a:pt x="541" y="854"/>
                  </a:lnTo>
                  <a:lnTo>
                    <a:pt x="541" y="854"/>
                  </a:lnTo>
                  <a:lnTo>
                    <a:pt x="541" y="842"/>
                  </a:lnTo>
                  <a:lnTo>
                    <a:pt x="539" y="831"/>
                  </a:lnTo>
                  <a:lnTo>
                    <a:pt x="537" y="818"/>
                  </a:lnTo>
                  <a:lnTo>
                    <a:pt x="533" y="806"/>
                  </a:lnTo>
                  <a:lnTo>
                    <a:pt x="528" y="795"/>
                  </a:lnTo>
                  <a:lnTo>
                    <a:pt x="523" y="783"/>
                  </a:lnTo>
                  <a:lnTo>
                    <a:pt x="516" y="771"/>
                  </a:lnTo>
                  <a:lnTo>
                    <a:pt x="509" y="759"/>
                  </a:lnTo>
                  <a:lnTo>
                    <a:pt x="499" y="748"/>
                  </a:lnTo>
                  <a:lnTo>
                    <a:pt x="490" y="737"/>
                  </a:lnTo>
                  <a:lnTo>
                    <a:pt x="480" y="726"/>
                  </a:lnTo>
                  <a:lnTo>
                    <a:pt x="469" y="716"/>
                  </a:lnTo>
                  <a:lnTo>
                    <a:pt x="457" y="706"/>
                  </a:lnTo>
                  <a:lnTo>
                    <a:pt x="443" y="697"/>
                  </a:lnTo>
                  <a:lnTo>
                    <a:pt x="429" y="688"/>
                  </a:lnTo>
                  <a:lnTo>
                    <a:pt x="415" y="680"/>
                  </a:lnTo>
                  <a:lnTo>
                    <a:pt x="250" y="593"/>
                  </a:lnTo>
                  <a:lnTo>
                    <a:pt x="250" y="593"/>
                  </a:lnTo>
                  <a:lnTo>
                    <a:pt x="223" y="580"/>
                  </a:lnTo>
                  <a:lnTo>
                    <a:pt x="198" y="566"/>
                  </a:lnTo>
                  <a:lnTo>
                    <a:pt x="174" y="551"/>
                  </a:lnTo>
                  <a:lnTo>
                    <a:pt x="152" y="535"/>
                  </a:lnTo>
                  <a:lnTo>
                    <a:pt x="131" y="520"/>
                  </a:lnTo>
                  <a:lnTo>
                    <a:pt x="112" y="502"/>
                  </a:lnTo>
                  <a:lnTo>
                    <a:pt x="94" y="485"/>
                  </a:lnTo>
                  <a:lnTo>
                    <a:pt x="78" y="467"/>
                  </a:lnTo>
                  <a:lnTo>
                    <a:pt x="64" y="447"/>
                  </a:lnTo>
                  <a:lnTo>
                    <a:pt x="52" y="426"/>
                  </a:lnTo>
                  <a:lnTo>
                    <a:pt x="40" y="404"/>
                  </a:lnTo>
                  <a:lnTo>
                    <a:pt x="32" y="380"/>
                  </a:lnTo>
                  <a:lnTo>
                    <a:pt x="25" y="355"/>
                  </a:lnTo>
                  <a:lnTo>
                    <a:pt x="20" y="328"/>
                  </a:lnTo>
                  <a:lnTo>
                    <a:pt x="17" y="299"/>
                  </a:lnTo>
                  <a:lnTo>
                    <a:pt x="16" y="267"/>
                  </a:lnTo>
                  <a:lnTo>
                    <a:pt x="16" y="267"/>
                  </a:lnTo>
                  <a:lnTo>
                    <a:pt x="16" y="254"/>
                  </a:lnTo>
                  <a:lnTo>
                    <a:pt x="17" y="242"/>
                  </a:lnTo>
                  <a:lnTo>
                    <a:pt x="19" y="228"/>
                  </a:lnTo>
                  <a:lnTo>
                    <a:pt x="22" y="216"/>
                  </a:lnTo>
                  <a:lnTo>
                    <a:pt x="25" y="204"/>
                  </a:lnTo>
                  <a:lnTo>
                    <a:pt x="29" y="192"/>
                  </a:lnTo>
                  <a:lnTo>
                    <a:pt x="34" y="179"/>
                  </a:lnTo>
                  <a:lnTo>
                    <a:pt x="39" y="167"/>
                  </a:lnTo>
                  <a:lnTo>
                    <a:pt x="45" y="156"/>
                  </a:lnTo>
                  <a:lnTo>
                    <a:pt x="52" y="145"/>
                  </a:lnTo>
                  <a:lnTo>
                    <a:pt x="59" y="134"/>
                  </a:lnTo>
                  <a:lnTo>
                    <a:pt x="67" y="123"/>
                  </a:lnTo>
                  <a:lnTo>
                    <a:pt x="75" y="114"/>
                  </a:lnTo>
                  <a:lnTo>
                    <a:pt x="83" y="104"/>
                  </a:lnTo>
                  <a:lnTo>
                    <a:pt x="94" y="95"/>
                  </a:lnTo>
                  <a:lnTo>
                    <a:pt x="103" y="85"/>
                  </a:lnTo>
                  <a:lnTo>
                    <a:pt x="113" y="76"/>
                  </a:lnTo>
                  <a:lnTo>
                    <a:pt x="124" y="69"/>
                  </a:lnTo>
                  <a:lnTo>
                    <a:pt x="135" y="61"/>
                  </a:lnTo>
                  <a:lnTo>
                    <a:pt x="148" y="54"/>
                  </a:lnTo>
                  <a:lnTo>
                    <a:pt x="160" y="46"/>
                  </a:lnTo>
                  <a:lnTo>
                    <a:pt x="172" y="40"/>
                  </a:lnTo>
                  <a:lnTo>
                    <a:pt x="186" y="34"/>
                  </a:lnTo>
                  <a:lnTo>
                    <a:pt x="199" y="29"/>
                  </a:lnTo>
                  <a:lnTo>
                    <a:pt x="212" y="25"/>
                  </a:lnTo>
                  <a:lnTo>
                    <a:pt x="226" y="21"/>
                  </a:lnTo>
                  <a:lnTo>
                    <a:pt x="241" y="17"/>
                  </a:lnTo>
                  <a:lnTo>
                    <a:pt x="255" y="14"/>
                  </a:lnTo>
                  <a:lnTo>
                    <a:pt x="269" y="12"/>
                  </a:lnTo>
                  <a:lnTo>
                    <a:pt x="285" y="11"/>
                  </a:lnTo>
                  <a:lnTo>
                    <a:pt x="300" y="10"/>
                  </a:lnTo>
                  <a:lnTo>
                    <a:pt x="315" y="9"/>
                  </a:lnTo>
                  <a:lnTo>
                    <a:pt x="315" y="9"/>
                  </a:lnTo>
                  <a:lnTo>
                    <a:pt x="335" y="10"/>
                  </a:lnTo>
                  <a:lnTo>
                    <a:pt x="352" y="11"/>
                  </a:lnTo>
                  <a:lnTo>
                    <a:pt x="369" y="12"/>
                  </a:lnTo>
                  <a:lnTo>
                    <a:pt x="384" y="15"/>
                  </a:lnTo>
                  <a:lnTo>
                    <a:pt x="399" y="18"/>
                  </a:lnTo>
                  <a:lnTo>
                    <a:pt x="414" y="21"/>
                  </a:lnTo>
                  <a:lnTo>
                    <a:pt x="427" y="25"/>
                  </a:lnTo>
                  <a:lnTo>
                    <a:pt x="440" y="30"/>
                  </a:lnTo>
                  <a:lnTo>
                    <a:pt x="464" y="40"/>
                  </a:lnTo>
                  <a:lnTo>
                    <a:pt x="486" y="53"/>
                  </a:lnTo>
                  <a:lnTo>
                    <a:pt x="507" y="66"/>
                  </a:lnTo>
                  <a:lnTo>
                    <a:pt x="526" y="79"/>
                  </a:lnTo>
                  <a:lnTo>
                    <a:pt x="526" y="79"/>
                  </a:lnTo>
                  <a:lnTo>
                    <a:pt x="534" y="73"/>
                  </a:lnTo>
                  <a:lnTo>
                    <a:pt x="541" y="65"/>
                  </a:lnTo>
                  <a:lnTo>
                    <a:pt x="549" y="57"/>
                  </a:lnTo>
                  <a:lnTo>
                    <a:pt x="556" y="47"/>
                  </a:lnTo>
                  <a:lnTo>
                    <a:pt x="562" y="36"/>
                  </a:lnTo>
                  <a:lnTo>
                    <a:pt x="568" y="26"/>
                  </a:lnTo>
                  <a:lnTo>
                    <a:pt x="572" y="14"/>
                  </a:lnTo>
                  <a:lnTo>
                    <a:pt x="576" y="0"/>
                  </a:lnTo>
                  <a:lnTo>
                    <a:pt x="624" y="0"/>
                  </a:lnTo>
                  <a:lnTo>
                    <a:pt x="624" y="380"/>
                  </a:lnTo>
                  <a:lnTo>
                    <a:pt x="575" y="380"/>
                  </a:lnTo>
                  <a:lnTo>
                    <a:pt x="575" y="380"/>
                  </a:lnTo>
                  <a:lnTo>
                    <a:pt x="572" y="354"/>
                  </a:lnTo>
                  <a:lnTo>
                    <a:pt x="568" y="328"/>
                  </a:lnTo>
                  <a:lnTo>
                    <a:pt x="563" y="301"/>
                  </a:lnTo>
                  <a:lnTo>
                    <a:pt x="556" y="275"/>
                  </a:lnTo>
                  <a:lnTo>
                    <a:pt x="549" y="250"/>
                  </a:lnTo>
                  <a:lnTo>
                    <a:pt x="538" y="225"/>
                  </a:lnTo>
                  <a:lnTo>
                    <a:pt x="527" y="203"/>
                  </a:lnTo>
                  <a:lnTo>
                    <a:pt x="514" y="180"/>
                  </a:lnTo>
                  <a:lnTo>
                    <a:pt x="507" y="170"/>
                  </a:lnTo>
                  <a:lnTo>
                    <a:pt x="498" y="160"/>
                  </a:lnTo>
                  <a:lnTo>
                    <a:pt x="490" y="151"/>
                  </a:lnTo>
                  <a:lnTo>
                    <a:pt x="481" y="142"/>
                  </a:lnTo>
                  <a:lnTo>
                    <a:pt x="472" y="133"/>
                  </a:lnTo>
                  <a:lnTo>
                    <a:pt x="462" y="125"/>
                  </a:lnTo>
                  <a:lnTo>
                    <a:pt x="451" y="118"/>
                  </a:lnTo>
                  <a:lnTo>
                    <a:pt x="440" y="112"/>
                  </a:lnTo>
                  <a:lnTo>
                    <a:pt x="428" y="106"/>
                  </a:lnTo>
                  <a:lnTo>
                    <a:pt x="416" y="101"/>
                  </a:lnTo>
                  <a:lnTo>
                    <a:pt x="402" y="96"/>
                  </a:lnTo>
                  <a:lnTo>
                    <a:pt x="388" y="91"/>
                  </a:lnTo>
                  <a:lnTo>
                    <a:pt x="374" y="88"/>
                  </a:lnTo>
                  <a:lnTo>
                    <a:pt x="358" y="86"/>
                  </a:lnTo>
                  <a:lnTo>
                    <a:pt x="343" y="85"/>
                  </a:lnTo>
                  <a:lnTo>
                    <a:pt x="327" y="84"/>
                  </a:lnTo>
                  <a:lnTo>
                    <a:pt x="327" y="84"/>
                  </a:lnTo>
                  <a:lnTo>
                    <a:pt x="313" y="85"/>
                  </a:lnTo>
                  <a:lnTo>
                    <a:pt x="300" y="87"/>
                  </a:lnTo>
                  <a:lnTo>
                    <a:pt x="287" y="90"/>
                  </a:lnTo>
                  <a:lnTo>
                    <a:pt x="275" y="95"/>
                  </a:lnTo>
                  <a:lnTo>
                    <a:pt x="262" y="100"/>
                  </a:lnTo>
                  <a:lnTo>
                    <a:pt x="251" y="106"/>
                  </a:lnTo>
                  <a:lnTo>
                    <a:pt x="240" y="113"/>
                  </a:lnTo>
                  <a:lnTo>
                    <a:pt x="230" y="121"/>
                  </a:lnTo>
                  <a:lnTo>
                    <a:pt x="220" y="131"/>
                  </a:lnTo>
                  <a:lnTo>
                    <a:pt x="212" y="142"/>
                  </a:lnTo>
                  <a:lnTo>
                    <a:pt x="205" y="153"/>
                  </a:lnTo>
                  <a:lnTo>
                    <a:pt x="199" y="165"/>
                  </a:lnTo>
                  <a:lnTo>
                    <a:pt x="194" y="178"/>
                  </a:lnTo>
                  <a:lnTo>
                    <a:pt x="190" y="192"/>
                  </a:lnTo>
                  <a:lnTo>
                    <a:pt x="188" y="207"/>
                  </a:lnTo>
                  <a:lnTo>
                    <a:pt x="187" y="222"/>
                  </a:lnTo>
                  <a:lnTo>
                    <a:pt x="187" y="222"/>
                  </a:lnTo>
                  <a:lnTo>
                    <a:pt x="187" y="233"/>
                  </a:lnTo>
                  <a:lnTo>
                    <a:pt x="189" y="244"/>
                  </a:lnTo>
                  <a:lnTo>
                    <a:pt x="192" y="254"/>
                  </a:lnTo>
                  <a:lnTo>
                    <a:pt x="195" y="265"/>
                  </a:lnTo>
                  <a:lnTo>
                    <a:pt x="200" y="278"/>
                  </a:lnTo>
                  <a:lnTo>
                    <a:pt x="206" y="289"/>
                  </a:lnTo>
                  <a:lnTo>
                    <a:pt x="213" y="301"/>
                  </a:lnTo>
                  <a:lnTo>
                    <a:pt x="221" y="312"/>
                  </a:lnTo>
                  <a:lnTo>
                    <a:pt x="231" y="325"/>
                  </a:lnTo>
                  <a:lnTo>
                    <a:pt x="241" y="336"/>
                  </a:lnTo>
                  <a:lnTo>
                    <a:pt x="252" y="348"/>
                  </a:lnTo>
                  <a:lnTo>
                    <a:pt x="264" y="359"/>
                  </a:lnTo>
                  <a:lnTo>
                    <a:pt x="278" y="370"/>
                  </a:lnTo>
                  <a:lnTo>
                    <a:pt x="292" y="380"/>
                  </a:lnTo>
                  <a:lnTo>
                    <a:pt x="308" y="390"/>
                  </a:lnTo>
                  <a:lnTo>
                    <a:pt x="325" y="399"/>
                  </a:lnTo>
                  <a:lnTo>
                    <a:pt x="490" y="483"/>
                  </a:lnTo>
                  <a:lnTo>
                    <a:pt x="490" y="483"/>
                  </a:lnTo>
                  <a:lnTo>
                    <a:pt x="513" y="495"/>
                  </a:lnTo>
                  <a:lnTo>
                    <a:pt x="535" y="510"/>
                  </a:lnTo>
                  <a:lnTo>
                    <a:pt x="556" y="524"/>
                  </a:lnTo>
                  <a:lnTo>
                    <a:pt x="576" y="538"/>
                  </a:lnTo>
                  <a:lnTo>
                    <a:pt x="596" y="555"/>
                  </a:lnTo>
                  <a:lnTo>
                    <a:pt x="614" y="572"/>
                  </a:lnTo>
                  <a:lnTo>
                    <a:pt x="631" y="590"/>
                  </a:lnTo>
                  <a:lnTo>
                    <a:pt x="648" y="609"/>
                  </a:lnTo>
                  <a:lnTo>
                    <a:pt x="662" y="628"/>
                  </a:lnTo>
                  <a:lnTo>
                    <a:pt x="674" y="649"/>
                  </a:lnTo>
                  <a:lnTo>
                    <a:pt x="686" y="670"/>
                  </a:lnTo>
                  <a:lnTo>
                    <a:pt x="695" y="693"/>
                  </a:lnTo>
                  <a:lnTo>
                    <a:pt x="703" y="715"/>
                  </a:lnTo>
                  <a:lnTo>
                    <a:pt x="708" y="739"/>
                  </a:lnTo>
                  <a:lnTo>
                    <a:pt x="711" y="763"/>
                  </a:lnTo>
                  <a:lnTo>
                    <a:pt x="712" y="789"/>
                  </a:lnTo>
                  <a:lnTo>
                    <a:pt x="712" y="789"/>
                  </a:lnTo>
                  <a:lnTo>
                    <a:pt x="712" y="806"/>
                  </a:lnTo>
                  <a:lnTo>
                    <a:pt x="711" y="824"/>
                  </a:lnTo>
                  <a:lnTo>
                    <a:pt x="708" y="840"/>
                  </a:lnTo>
                  <a:lnTo>
                    <a:pt x="705" y="856"/>
                  </a:lnTo>
                  <a:lnTo>
                    <a:pt x="701" y="872"/>
                  </a:lnTo>
                  <a:lnTo>
                    <a:pt x="696" y="887"/>
                  </a:lnTo>
                  <a:lnTo>
                    <a:pt x="691" y="902"/>
                  </a:lnTo>
                  <a:lnTo>
                    <a:pt x="684" y="917"/>
                  </a:lnTo>
                  <a:lnTo>
                    <a:pt x="676" y="931"/>
                  </a:lnTo>
                  <a:lnTo>
                    <a:pt x="669" y="945"/>
                  </a:lnTo>
                  <a:lnTo>
                    <a:pt x="660" y="957"/>
                  </a:lnTo>
                  <a:lnTo>
                    <a:pt x="651" y="971"/>
                  </a:lnTo>
                  <a:lnTo>
                    <a:pt x="641" y="983"/>
                  </a:lnTo>
                  <a:lnTo>
                    <a:pt x="630" y="994"/>
                  </a:lnTo>
                  <a:lnTo>
                    <a:pt x="619" y="1005"/>
                  </a:lnTo>
                  <a:lnTo>
                    <a:pt x="608" y="1016"/>
                  </a:lnTo>
                  <a:lnTo>
                    <a:pt x="596" y="1026"/>
                  </a:lnTo>
                  <a:lnTo>
                    <a:pt x="582" y="1035"/>
                  </a:lnTo>
                  <a:lnTo>
                    <a:pt x="570" y="1044"/>
                  </a:lnTo>
                  <a:lnTo>
                    <a:pt x="556" y="1053"/>
                  </a:lnTo>
                  <a:lnTo>
                    <a:pt x="542" y="1061"/>
                  </a:lnTo>
                  <a:lnTo>
                    <a:pt x="528" y="1068"/>
                  </a:lnTo>
                  <a:lnTo>
                    <a:pt x="513" y="1074"/>
                  </a:lnTo>
                  <a:lnTo>
                    <a:pt x="498" y="1080"/>
                  </a:lnTo>
                  <a:lnTo>
                    <a:pt x="483" y="1085"/>
                  </a:lnTo>
                  <a:lnTo>
                    <a:pt x="467" y="1089"/>
                  </a:lnTo>
                  <a:lnTo>
                    <a:pt x="451" y="1093"/>
                  </a:lnTo>
                  <a:lnTo>
                    <a:pt x="435" y="1096"/>
                  </a:lnTo>
                  <a:lnTo>
                    <a:pt x="419" y="1100"/>
                  </a:lnTo>
                  <a:lnTo>
                    <a:pt x="402" y="1101"/>
                  </a:lnTo>
                  <a:lnTo>
                    <a:pt x="386" y="1103"/>
                  </a:lnTo>
                  <a:lnTo>
                    <a:pt x="370" y="1103"/>
                  </a:lnTo>
                  <a:lnTo>
                    <a:pt x="370" y="1103"/>
                  </a:lnTo>
                  <a:lnTo>
                    <a:pt x="345" y="1102"/>
                  </a:lnTo>
                  <a:lnTo>
                    <a:pt x="323" y="1100"/>
                  </a:lnTo>
                  <a:lnTo>
                    <a:pt x="300" y="1096"/>
                  </a:lnTo>
                  <a:lnTo>
                    <a:pt x="280" y="1091"/>
                  </a:lnTo>
                  <a:lnTo>
                    <a:pt x="260" y="1086"/>
                  </a:lnTo>
                  <a:lnTo>
                    <a:pt x="241" y="1080"/>
                  </a:lnTo>
                  <a:lnTo>
                    <a:pt x="223" y="1073"/>
                  </a:lnTo>
                  <a:lnTo>
                    <a:pt x="206" y="1067"/>
                  </a:lnTo>
                  <a:lnTo>
                    <a:pt x="175" y="1053"/>
                  </a:lnTo>
                  <a:lnTo>
                    <a:pt x="147" y="1039"/>
                  </a:lnTo>
                  <a:lnTo>
                    <a:pt x="122" y="1028"/>
                  </a:lnTo>
                  <a:lnTo>
                    <a:pt x="111" y="1024"/>
                  </a:lnTo>
                  <a:lnTo>
                    <a:pt x="101" y="1022"/>
                  </a:lnTo>
                  <a:lnTo>
                    <a:pt x="101" y="1022"/>
                  </a:lnTo>
                  <a:lnTo>
                    <a:pt x="93" y="1028"/>
                  </a:lnTo>
                  <a:lnTo>
                    <a:pt x="85" y="1036"/>
                  </a:lnTo>
                  <a:lnTo>
                    <a:pt x="77" y="1044"/>
                  </a:lnTo>
                  <a:lnTo>
                    <a:pt x="71" y="1055"/>
                  </a:lnTo>
                  <a:lnTo>
                    <a:pt x="64" y="1065"/>
                  </a:lnTo>
                  <a:lnTo>
                    <a:pt x="59" y="1076"/>
                  </a:lnTo>
                  <a:lnTo>
                    <a:pt x="54" y="1089"/>
                  </a:lnTo>
                  <a:lnTo>
                    <a:pt x="51" y="1103"/>
                  </a:lnTo>
                  <a:lnTo>
                    <a:pt x="51" y="1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64" name="Freeform 17"/>
            <p:cNvSpPr>
              <a:spLocks/>
            </p:cNvSpPr>
            <p:nvPr userDrawn="1"/>
          </p:nvSpPr>
          <p:spPr bwMode="auto">
            <a:xfrm>
              <a:off x="8496546" y="633580"/>
              <a:ext cx="142875" cy="136525"/>
            </a:xfrm>
            <a:custGeom>
              <a:avLst/>
              <a:gdLst>
                <a:gd name="T0" fmla="*/ 1028 w 1078"/>
                <a:gd name="T1" fmla="*/ 244 h 1035"/>
                <a:gd name="T2" fmla="*/ 1020 w 1078"/>
                <a:gd name="T3" fmla="*/ 209 h 1035"/>
                <a:gd name="T4" fmla="*/ 1006 w 1078"/>
                <a:gd name="T5" fmla="*/ 163 h 1035"/>
                <a:gd name="T6" fmla="*/ 995 w 1078"/>
                <a:gd name="T7" fmla="*/ 138 h 1035"/>
                <a:gd name="T8" fmla="*/ 980 w 1078"/>
                <a:gd name="T9" fmla="*/ 118 h 1035"/>
                <a:gd name="T10" fmla="*/ 959 w 1078"/>
                <a:gd name="T11" fmla="*/ 101 h 1035"/>
                <a:gd name="T12" fmla="*/ 932 w 1078"/>
                <a:gd name="T13" fmla="*/ 90 h 1035"/>
                <a:gd name="T14" fmla="*/ 895 w 1078"/>
                <a:gd name="T15" fmla="*/ 82 h 1035"/>
                <a:gd name="T16" fmla="*/ 848 w 1078"/>
                <a:gd name="T17" fmla="*/ 78 h 1035"/>
                <a:gd name="T18" fmla="*/ 646 w 1078"/>
                <a:gd name="T19" fmla="*/ 78 h 1035"/>
                <a:gd name="T20" fmla="*/ 646 w 1078"/>
                <a:gd name="T21" fmla="*/ 783 h 1035"/>
                <a:gd name="T22" fmla="*/ 648 w 1078"/>
                <a:gd name="T23" fmla="*/ 842 h 1035"/>
                <a:gd name="T24" fmla="*/ 652 w 1078"/>
                <a:gd name="T25" fmla="*/ 888 h 1035"/>
                <a:gd name="T26" fmla="*/ 662 w 1078"/>
                <a:gd name="T27" fmla="*/ 923 h 1035"/>
                <a:gd name="T28" fmla="*/ 672 w 1078"/>
                <a:gd name="T29" fmla="*/ 943 h 1035"/>
                <a:gd name="T30" fmla="*/ 680 w 1078"/>
                <a:gd name="T31" fmla="*/ 954 h 1035"/>
                <a:gd name="T32" fmla="*/ 691 w 1078"/>
                <a:gd name="T33" fmla="*/ 963 h 1035"/>
                <a:gd name="T34" fmla="*/ 711 w 1078"/>
                <a:gd name="T35" fmla="*/ 973 h 1035"/>
                <a:gd name="T36" fmla="*/ 743 w 1078"/>
                <a:gd name="T37" fmla="*/ 982 h 1035"/>
                <a:gd name="T38" fmla="*/ 787 w 1078"/>
                <a:gd name="T39" fmla="*/ 985 h 1035"/>
                <a:gd name="T40" fmla="*/ 812 w 1078"/>
                <a:gd name="T41" fmla="*/ 1035 h 1035"/>
                <a:gd name="T42" fmla="*/ 267 w 1078"/>
                <a:gd name="T43" fmla="*/ 985 h 1035"/>
                <a:gd name="T44" fmla="*/ 293 w 1078"/>
                <a:gd name="T45" fmla="*/ 985 h 1035"/>
                <a:gd name="T46" fmla="*/ 335 w 1078"/>
                <a:gd name="T47" fmla="*/ 982 h 1035"/>
                <a:gd name="T48" fmla="*/ 369 w 1078"/>
                <a:gd name="T49" fmla="*/ 973 h 1035"/>
                <a:gd name="T50" fmla="*/ 388 w 1078"/>
                <a:gd name="T51" fmla="*/ 963 h 1035"/>
                <a:gd name="T52" fmla="*/ 399 w 1078"/>
                <a:gd name="T53" fmla="*/ 954 h 1035"/>
                <a:gd name="T54" fmla="*/ 407 w 1078"/>
                <a:gd name="T55" fmla="*/ 943 h 1035"/>
                <a:gd name="T56" fmla="*/ 417 w 1078"/>
                <a:gd name="T57" fmla="*/ 923 h 1035"/>
                <a:gd name="T58" fmla="*/ 425 w 1078"/>
                <a:gd name="T59" fmla="*/ 888 h 1035"/>
                <a:gd name="T60" fmla="*/ 430 w 1078"/>
                <a:gd name="T61" fmla="*/ 842 h 1035"/>
                <a:gd name="T62" fmla="*/ 432 w 1078"/>
                <a:gd name="T63" fmla="*/ 783 h 1035"/>
                <a:gd name="T64" fmla="*/ 259 w 1078"/>
                <a:gd name="T65" fmla="*/ 78 h 1035"/>
                <a:gd name="T66" fmla="*/ 231 w 1078"/>
                <a:gd name="T67" fmla="*/ 78 h 1035"/>
                <a:gd name="T68" fmla="*/ 184 w 1078"/>
                <a:gd name="T69" fmla="*/ 82 h 1035"/>
                <a:gd name="T70" fmla="*/ 147 w 1078"/>
                <a:gd name="T71" fmla="*/ 90 h 1035"/>
                <a:gd name="T72" fmla="*/ 120 w 1078"/>
                <a:gd name="T73" fmla="*/ 101 h 1035"/>
                <a:gd name="T74" fmla="*/ 99 w 1078"/>
                <a:gd name="T75" fmla="*/ 118 h 1035"/>
                <a:gd name="T76" fmla="*/ 85 w 1078"/>
                <a:gd name="T77" fmla="*/ 138 h 1035"/>
                <a:gd name="T78" fmla="*/ 74 w 1078"/>
                <a:gd name="T79" fmla="*/ 163 h 1035"/>
                <a:gd name="T80" fmla="*/ 60 w 1078"/>
                <a:gd name="T81" fmla="*/ 209 h 1035"/>
                <a:gd name="T82" fmla="*/ 0 w 1078"/>
                <a:gd name="T83" fmla="*/ 244 h 1035"/>
                <a:gd name="T84" fmla="*/ 1065 w 1078"/>
                <a:gd name="T85" fmla="*/ 0 h 10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78" h="1035">
                  <a:moveTo>
                    <a:pt x="1078" y="244"/>
                  </a:moveTo>
                  <a:lnTo>
                    <a:pt x="1028" y="244"/>
                  </a:lnTo>
                  <a:lnTo>
                    <a:pt x="1020" y="209"/>
                  </a:lnTo>
                  <a:lnTo>
                    <a:pt x="1020" y="209"/>
                  </a:lnTo>
                  <a:lnTo>
                    <a:pt x="1011" y="177"/>
                  </a:lnTo>
                  <a:lnTo>
                    <a:pt x="1006" y="163"/>
                  </a:lnTo>
                  <a:lnTo>
                    <a:pt x="1001" y="150"/>
                  </a:lnTo>
                  <a:lnTo>
                    <a:pt x="995" y="138"/>
                  </a:lnTo>
                  <a:lnTo>
                    <a:pt x="988" y="127"/>
                  </a:lnTo>
                  <a:lnTo>
                    <a:pt x="980" y="118"/>
                  </a:lnTo>
                  <a:lnTo>
                    <a:pt x="970" y="109"/>
                  </a:lnTo>
                  <a:lnTo>
                    <a:pt x="959" y="101"/>
                  </a:lnTo>
                  <a:lnTo>
                    <a:pt x="947" y="95"/>
                  </a:lnTo>
                  <a:lnTo>
                    <a:pt x="932" y="90"/>
                  </a:lnTo>
                  <a:lnTo>
                    <a:pt x="914" y="85"/>
                  </a:lnTo>
                  <a:lnTo>
                    <a:pt x="895" y="82"/>
                  </a:lnTo>
                  <a:lnTo>
                    <a:pt x="872" y="80"/>
                  </a:lnTo>
                  <a:lnTo>
                    <a:pt x="848" y="78"/>
                  </a:lnTo>
                  <a:lnTo>
                    <a:pt x="819" y="78"/>
                  </a:lnTo>
                  <a:lnTo>
                    <a:pt x="646" y="78"/>
                  </a:lnTo>
                  <a:lnTo>
                    <a:pt x="646" y="783"/>
                  </a:lnTo>
                  <a:lnTo>
                    <a:pt x="646" y="783"/>
                  </a:lnTo>
                  <a:lnTo>
                    <a:pt x="647" y="814"/>
                  </a:lnTo>
                  <a:lnTo>
                    <a:pt x="648" y="842"/>
                  </a:lnTo>
                  <a:lnTo>
                    <a:pt x="649" y="866"/>
                  </a:lnTo>
                  <a:lnTo>
                    <a:pt x="652" y="888"/>
                  </a:lnTo>
                  <a:lnTo>
                    <a:pt x="657" y="906"/>
                  </a:lnTo>
                  <a:lnTo>
                    <a:pt x="662" y="923"/>
                  </a:lnTo>
                  <a:lnTo>
                    <a:pt x="668" y="937"/>
                  </a:lnTo>
                  <a:lnTo>
                    <a:pt x="672" y="943"/>
                  </a:lnTo>
                  <a:lnTo>
                    <a:pt x="676" y="949"/>
                  </a:lnTo>
                  <a:lnTo>
                    <a:pt x="680" y="954"/>
                  </a:lnTo>
                  <a:lnTo>
                    <a:pt x="685" y="958"/>
                  </a:lnTo>
                  <a:lnTo>
                    <a:pt x="691" y="963"/>
                  </a:lnTo>
                  <a:lnTo>
                    <a:pt x="697" y="966"/>
                  </a:lnTo>
                  <a:lnTo>
                    <a:pt x="711" y="973"/>
                  </a:lnTo>
                  <a:lnTo>
                    <a:pt x="726" y="978"/>
                  </a:lnTo>
                  <a:lnTo>
                    <a:pt x="743" y="982"/>
                  </a:lnTo>
                  <a:lnTo>
                    <a:pt x="764" y="984"/>
                  </a:lnTo>
                  <a:lnTo>
                    <a:pt x="787" y="985"/>
                  </a:lnTo>
                  <a:lnTo>
                    <a:pt x="812" y="985"/>
                  </a:lnTo>
                  <a:lnTo>
                    <a:pt x="812" y="1035"/>
                  </a:lnTo>
                  <a:lnTo>
                    <a:pt x="267" y="1035"/>
                  </a:lnTo>
                  <a:lnTo>
                    <a:pt x="267" y="985"/>
                  </a:lnTo>
                  <a:lnTo>
                    <a:pt x="267" y="985"/>
                  </a:lnTo>
                  <a:lnTo>
                    <a:pt x="293" y="985"/>
                  </a:lnTo>
                  <a:lnTo>
                    <a:pt x="315" y="984"/>
                  </a:lnTo>
                  <a:lnTo>
                    <a:pt x="335" y="982"/>
                  </a:lnTo>
                  <a:lnTo>
                    <a:pt x="353" y="978"/>
                  </a:lnTo>
                  <a:lnTo>
                    <a:pt x="369" y="973"/>
                  </a:lnTo>
                  <a:lnTo>
                    <a:pt x="383" y="966"/>
                  </a:lnTo>
                  <a:lnTo>
                    <a:pt x="388" y="963"/>
                  </a:lnTo>
                  <a:lnTo>
                    <a:pt x="394" y="958"/>
                  </a:lnTo>
                  <a:lnTo>
                    <a:pt x="399" y="954"/>
                  </a:lnTo>
                  <a:lnTo>
                    <a:pt x="403" y="949"/>
                  </a:lnTo>
                  <a:lnTo>
                    <a:pt x="407" y="943"/>
                  </a:lnTo>
                  <a:lnTo>
                    <a:pt x="411" y="937"/>
                  </a:lnTo>
                  <a:lnTo>
                    <a:pt x="417" y="923"/>
                  </a:lnTo>
                  <a:lnTo>
                    <a:pt x="422" y="906"/>
                  </a:lnTo>
                  <a:lnTo>
                    <a:pt x="425" y="888"/>
                  </a:lnTo>
                  <a:lnTo>
                    <a:pt x="429" y="866"/>
                  </a:lnTo>
                  <a:lnTo>
                    <a:pt x="430" y="842"/>
                  </a:lnTo>
                  <a:lnTo>
                    <a:pt x="431" y="814"/>
                  </a:lnTo>
                  <a:lnTo>
                    <a:pt x="432" y="783"/>
                  </a:lnTo>
                  <a:lnTo>
                    <a:pt x="432" y="78"/>
                  </a:lnTo>
                  <a:lnTo>
                    <a:pt x="259" y="78"/>
                  </a:lnTo>
                  <a:lnTo>
                    <a:pt x="259" y="78"/>
                  </a:lnTo>
                  <a:lnTo>
                    <a:pt x="231" y="78"/>
                  </a:lnTo>
                  <a:lnTo>
                    <a:pt x="206" y="80"/>
                  </a:lnTo>
                  <a:lnTo>
                    <a:pt x="184" y="82"/>
                  </a:lnTo>
                  <a:lnTo>
                    <a:pt x="165" y="85"/>
                  </a:lnTo>
                  <a:lnTo>
                    <a:pt x="147" y="90"/>
                  </a:lnTo>
                  <a:lnTo>
                    <a:pt x="133" y="95"/>
                  </a:lnTo>
                  <a:lnTo>
                    <a:pt x="120" y="101"/>
                  </a:lnTo>
                  <a:lnTo>
                    <a:pt x="110" y="109"/>
                  </a:lnTo>
                  <a:lnTo>
                    <a:pt x="99" y="118"/>
                  </a:lnTo>
                  <a:lnTo>
                    <a:pt x="91" y="127"/>
                  </a:lnTo>
                  <a:lnTo>
                    <a:pt x="85" y="138"/>
                  </a:lnTo>
                  <a:lnTo>
                    <a:pt x="79" y="150"/>
                  </a:lnTo>
                  <a:lnTo>
                    <a:pt x="74" y="163"/>
                  </a:lnTo>
                  <a:lnTo>
                    <a:pt x="69" y="177"/>
                  </a:lnTo>
                  <a:lnTo>
                    <a:pt x="60" y="209"/>
                  </a:lnTo>
                  <a:lnTo>
                    <a:pt x="51" y="244"/>
                  </a:lnTo>
                  <a:lnTo>
                    <a:pt x="0" y="244"/>
                  </a:lnTo>
                  <a:lnTo>
                    <a:pt x="15" y="0"/>
                  </a:lnTo>
                  <a:lnTo>
                    <a:pt x="1065" y="0"/>
                  </a:lnTo>
                  <a:lnTo>
                    <a:pt x="1078" y="24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65" name="Freeform 18"/>
            <p:cNvSpPr>
              <a:spLocks noEditPoints="1"/>
            </p:cNvSpPr>
            <p:nvPr userDrawn="1"/>
          </p:nvSpPr>
          <p:spPr bwMode="auto">
            <a:xfrm>
              <a:off x="8667995" y="630404"/>
              <a:ext cx="152400" cy="144463"/>
            </a:xfrm>
            <a:custGeom>
              <a:avLst/>
              <a:gdLst>
                <a:gd name="T0" fmla="*/ 487 w 1150"/>
                <a:gd name="T1" fmla="*/ 1087 h 1094"/>
                <a:gd name="T2" fmla="*/ 351 w 1150"/>
                <a:gd name="T3" fmla="*/ 1051 h 1094"/>
                <a:gd name="T4" fmla="*/ 231 w 1150"/>
                <a:gd name="T5" fmla="*/ 984 h 1094"/>
                <a:gd name="T6" fmla="*/ 131 w 1150"/>
                <a:gd name="T7" fmla="*/ 894 h 1094"/>
                <a:gd name="T8" fmla="*/ 56 w 1150"/>
                <a:gd name="T9" fmla="*/ 783 h 1094"/>
                <a:gd name="T10" fmla="*/ 11 w 1150"/>
                <a:gd name="T11" fmla="*/ 656 h 1094"/>
                <a:gd name="T12" fmla="*/ 0 w 1150"/>
                <a:gd name="T13" fmla="*/ 547 h 1094"/>
                <a:gd name="T14" fmla="*/ 17 w 1150"/>
                <a:gd name="T15" fmla="*/ 411 h 1094"/>
                <a:gd name="T16" fmla="*/ 69 w 1150"/>
                <a:gd name="T17" fmla="*/ 287 h 1094"/>
                <a:gd name="T18" fmla="*/ 149 w 1150"/>
                <a:gd name="T19" fmla="*/ 180 h 1094"/>
                <a:gd name="T20" fmla="*/ 253 w 1150"/>
                <a:gd name="T21" fmla="*/ 94 h 1094"/>
                <a:gd name="T22" fmla="*/ 378 w 1150"/>
                <a:gd name="T23" fmla="*/ 33 h 1094"/>
                <a:gd name="T24" fmla="*/ 517 w 1150"/>
                <a:gd name="T25" fmla="*/ 3 h 1094"/>
                <a:gd name="T26" fmla="*/ 634 w 1150"/>
                <a:gd name="T27" fmla="*/ 3 h 1094"/>
                <a:gd name="T28" fmla="*/ 773 w 1150"/>
                <a:gd name="T29" fmla="*/ 33 h 1094"/>
                <a:gd name="T30" fmla="*/ 895 w 1150"/>
                <a:gd name="T31" fmla="*/ 94 h 1094"/>
                <a:gd name="T32" fmla="*/ 1000 w 1150"/>
                <a:gd name="T33" fmla="*/ 180 h 1094"/>
                <a:gd name="T34" fmla="*/ 1080 w 1150"/>
                <a:gd name="T35" fmla="*/ 287 h 1094"/>
                <a:gd name="T36" fmla="*/ 1132 w 1150"/>
                <a:gd name="T37" fmla="*/ 411 h 1094"/>
                <a:gd name="T38" fmla="*/ 1150 w 1150"/>
                <a:gd name="T39" fmla="*/ 547 h 1094"/>
                <a:gd name="T40" fmla="*/ 1138 w 1150"/>
                <a:gd name="T41" fmla="*/ 656 h 1094"/>
                <a:gd name="T42" fmla="*/ 1093 w 1150"/>
                <a:gd name="T43" fmla="*/ 783 h 1094"/>
                <a:gd name="T44" fmla="*/ 1018 w 1150"/>
                <a:gd name="T45" fmla="*/ 894 h 1094"/>
                <a:gd name="T46" fmla="*/ 919 w 1150"/>
                <a:gd name="T47" fmla="*/ 984 h 1094"/>
                <a:gd name="T48" fmla="*/ 798 w 1150"/>
                <a:gd name="T49" fmla="*/ 1051 h 1094"/>
                <a:gd name="T50" fmla="*/ 662 w 1150"/>
                <a:gd name="T51" fmla="*/ 1087 h 1094"/>
                <a:gd name="T52" fmla="*/ 575 w 1150"/>
                <a:gd name="T53" fmla="*/ 82 h 1094"/>
                <a:gd name="T54" fmla="*/ 490 w 1150"/>
                <a:gd name="T55" fmla="*/ 94 h 1094"/>
                <a:gd name="T56" fmla="*/ 403 w 1150"/>
                <a:gd name="T57" fmla="*/ 137 h 1094"/>
                <a:gd name="T58" fmla="*/ 334 w 1150"/>
                <a:gd name="T59" fmla="*/ 204 h 1094"/>
                <a:gd name="T60" fmla="*/ 284 w 1150"/>
                <a:gd name="T61" fmla="*/ 290 h 1094"/>
                <a:gd name="T62" fmla="*/ 251 w 1150"/>
                <a:gd name="T63" fmla="*/ 386 h 1094"/>
                <a:gd name="T64" fmla="*/ 233 w 1150"/>
                <a:gd name="T65" fmla="*/ 507 h 1094"/>
                <a:gd name="T66" fmla="*/ 240 w 1150"/>
                <a:gd name="T67" fmla="*/ 647 h 1094"/>
                <a:gd name="T68" fmla="*/ 262 w 1150"/>
                <a:gd name="T69" fmla="*/ 747 h 1094"/>
                <a:gd name="T70" fmla="*/ 302 w 1150"/>
                <a:gd name="T71" fmla="*/ 840 h 1094"/>
                <a:gd name="T72" fmla="*/ 360 w 1150"/>
                <a:gd name="T73" fmla="*/ 919 h 1094"/>
                <a:gd name="T74" fmla="*/ 435 w 1150"/>
                <a:gd name="T75" fmla="*/ 977 h 1094"/>
                <a:gd name="T76" fmla="*/ 531 w 1150"/>
                <a:gd name="T77" fmla="*/ 1008 h 1094"/>
                <a:gd name="T78" fmla="*/ 619 w 1150"/>
                <a:gd name="T79" fmla="*/ 1008 h 1094"/>
                <a:gd name="T80" fmla="*/ 715 w 1150"/>
                <a:gd name="T81" fmla="*/ 977 h 1094"/>
                <a:gd name="T82" fmla="*/ 791 w 1150"/>
                <a:gd name="T83" fmla="*/ 919 h 1094"/>
                <a:gd name="T84" fmla="*/ 848 w 1150"/>
                <a:gd name="T85" fmla="*/ 840 h 1094"/>
                <a:gd name="T86" fmla="*/ 888 w 1150"/>
                <a:gd name="T87" fmla="*/ 747 h 1094"/>
                <a:gd name="T88" fmla="*/ 911 w 1150"/>
                <a:gd name="T89" fmla="*/ 647 h 1094"/>
                <a:gd name="T90" fmla="*/ 918 w 1150"/>
                <a:gd name="T91" fmla="*/ 507 h 1094"/>
                <a:gd name="T92" fmla="*/ 899 w 1150"/>
                <a:gd name="T93" fmla="*/ 386 h 1094"/>
                <a:gd name="T94" fmla="*/ 867 w 1150"/>
                <a:gd name="T95" fmla="*/ 290 h 1094"/>
                <a:gd name="T96" fmla="*/ 816 w 1150"/>
                <a:gd name="T97" fmla="*/ 204 h 1094"/>
                <a:gd name="T98" fmla="*/ 747 w 1150"/>
                <a:gd name="T99" fmla="*/ 137 h 1094"/>
                <a:gd name="T100" fmla="*/ 660 w 1150"/>
                <a:gd name="T101" fmla="*/ 94 h 1094"/>
                <a:gd name="T102" fmla="*/ 575 w 1150"/>
                <a:gd name="T103" fmla="*/ 82 h 10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150" h="1094">
                  <a:moveTo>
                    <a:pt x="575" y="1094"/>
                  </a:moveTo>
                  <a:lnTo>
                    <a:pt x="575" y="1094"/>
                  </a:lnTo>
                  <a:lnTo>
                    <a:pt x="546" y="1093"/>
                  </a:lnTo>
                  <a:lnTo>
                    <a:pt x="517" y="1091"/>
                  </a:lnTo>
                  <a:lnTo>
                    <a:pt x="487" y="1087"/>
                  </a:lnTo>
                  <a:lnTo>
                    <a:pt x="460" y="1082"/>
                  </a:lnTo>
                  <a:lnTo>
                    <a:pt x="431" y="1076"/>
                  </a:lnTo>
                  <a:lnTo>
                    <a:pt x="405" y="1069"/>
                  </a:lnTo>
                  <a:lnTo>
                    <a:pt x="378" y="1060"/>
                  </a:lnTo>
                  <a:lnTo>
                    <a:pt x="351" y="1051"/>
                  </a:lnTo>
                  <a:lnTo>
                    <a:pt x="326" y="1039"/>
                  </a:lnTo>
                  <a:lnTo>
                    <a:pt x="301" y="1027"/>
                  </a:lnTo>
                  <a:lnTo>
                    <a:pt x="277" y="1014"/>
                  </a:lnTo>
                  <a:lnTo>
                    <a:pt x="253" y="1000"/>
                  </a:lnTo>
                  <a:lnTo>
                    <a:pt x="231" y="984"/>
                  </a:lnTo>
                  <a:lnTo>
                    <a:pt x="209" y="968"/>
                  </a:lnTo>
                  <a:lnTo>
                    <a:pt x="188" y="950"/>
                  </a:lnTo>
                  <a:lnTo>
                    <a:pt x="168" y="933"/>
                  </a:lnTo>
                  <a:lnTo>
                    <a:pt x="149" y="914"/>
                  </a:lnTo>
                  <a:lnTo>
                    <a:pt x="131" y="894"/>
                  </a:lnTo>
                  <a:lnTo>
                    <a:pt x="114" y="873"/>
                  </a:lnTo>
                  <a:lnTo>
                    <a:pt x="98" y="851"/>
                  </a:lnTo>
                  <a:lnTo>
                    <a:pt x="82" y="830"/>
                  </a:lnTo>
                  <a:lnTo>
                    <a:pt x="69" y="806"/>
                  </a:lnTo>
                  <a:lnTo>
                    <a:pt x="56" y="783"/>
                  </a:lnTo>
                  <a:lnTo>
                    <a:pt x="45" y="758"/>
                  </a:lnTo>
                  <a:lnTo>
                    <a:pt x="34" y="734"/>
                  </a:lnTo>
                  <a:lnTo>
                    <a:pt x="25" y="708"/>
                  </a:lnTo>
                  <a:lnTo>
                    <a:pt x="17" y="683"/>
                  </a:lnTo>
                  <a:lnTo>
                    <a:pt x="11" y="656"/>
                  </a:lnTo>
                  <a:lnTo>
                    <a:pt x="6" y="629"/>
                  </a:lnTo>
                  <a:lnTo>
                    <a:pt x="2" y="602"/>
                  </a:lnTo>
                  <a:lnTo>
                    <a:pt x="0" y="574"/>
                  </a:lnTo>
                  <a:lnTo>
                    <a:pt x="0" y="547"/>
                  </a:lnTo>
                  <a:lnTo>
                    <a:pt x="0" y="547"/>
                  </a:lnTo>
                  <a:lnTo>
                    <a:pt x="0" y="519"/>
                  </a:lnTo>
                  <a:lnTo>
                    <a:pt x="2" y="491"/>
                  </a:lnTo>
                  <a:lnTo>
                    <a:pt x="6" y="464"/>
                  </a:lnTo>
                  <a:lnTo>
                    <a:pt x="11" y="437"/>
                  </a:lnTo>
                  <a:lnTo>
                    <a:pt x="17" y="411"/>
                  </a:lnTo>
                  <a:lnTo>
                    <a:pt x="25" y="385"/>
                  </a:lnTo>
                  <a:lnTo>
                    <a:pt x="34" y="360"/>
                  </a:lnTo>
                  <a:lnTo>
                    <a:pt x="45" y="335"/>
                  </a:lnTo>
                  <a:lnTo>
                    <a:pt x="56" y="310"/>
                  </a:lnTo>
                  <a:lnTo>
                    <a:pt x="69" y="287"/>
                  </a:lnTo>
                  <a:lnTo>
                    <a:pt x="82" y="264"/>
                  </a:lnTo>
                  <a:lnTo>
                    <a:pt x="98" y="242"/>
                  </a:lnTo>
                  <a:lnTo>
                    <a:pt x="114" y="220"/>
                  </a:lnTo>
                  <a:lnTo>
                    <a:pt x="131" y="200"/>
                  </a:lnTo>
                  <a:lnTo>
                    <a:pt x="149" y="180"/>
                  </a:lnTo>
                  <a:lnTo>
                    <a:pt x="168" y="161"/>
                  </a:lnTo>
                  <a:lnTo>
                    <a:pt x="188" y="143"/>
                  </a:lnTo>
                  <a:lnTo>
                    <a:pt x="209" y="125"/>
                  </a:lnTo>
                  <a:lnTo>
                    <a:pt x="231" y="109"/>
                  </a:lnTo>
                  <a:lnTo>
                    <a:pt x="253" y="94"/>
                  </a:lnTo>
                  <a:lnTo>
                    <a:pt x="277" y="79"/>
                  </a:lnTo>
                  <a:lnTo>
                    <a:pt x="301" y="66"/>
                  </a:lnTo>
                  <a:lnTo>
                    <a:pt x="326" y="54"/>
                  </a:lnTo>
                  <a:lnTo>
                    <a:pt x="351" y="44"/>
                  </a:lnTo>
                  <a:lnTo>
                    <a:pt x="378" y="33"/>
                  </a:lnTo>
                  <a:lnTo>
                    <a:pt x="405" y="24"/>
                  </a:lnTo>
                  <a:lnTo>
                    <a:pt x="431" y="17"/>
                  </a:lnTo>
                  <a:lnTo>
                    <a:pt x="460" y="11"/>
                  </a:lnTo>
                  <a:lnTo>
                    <a:pt x="487" y="6"/>
                  </a:lnTo>
                  <a:lnTo>
                    <a:pt x="517" y="3"/>
                  </a:lnTo>
                  <a:lnTo>
                    <a:pt x="546" y="1"/>
                  </a:lnTo>
                  <a:lnTo>
                    <a:pt x="575" y="0"/>
                  </a:lnTo>
                  <a:lnTo>
                    <a:pt x="575" y="0"/>
                  </a:lnTo>
                  <a:lnTo>
                    <a:pt x="605" y="1"/>
                  </a:lnTo>
                  <a:lnTo>
                    <a:pt x="634" y="3"/>
                  </a:lnTo>
                  <a:lnTo>
                    <a:pt x="662" y="6"/>
                  </a:lnTo>
                  <a:lnTo>
                    <a:pt x="691" y="11"/>
                  </a:lnTo>
                  <a:lnTo>
                    <a:pt x="719" y="17"/>
                  </a:lnTo>
                  <a:lnTo>
                    <a:pt x="746" y="24"/>
                  </a:lnTo>
                  <a:lnTo>
                    <a:pt x="773" y="33"/>
                  </a:lnTo>
                  <a:lnTo>
                    <a:pt x="798" y="44"/>
                  </a:lnTo>
                  <a:lnTo>
                    <a:pt x="824" y="54"/>
                  </a:lnTo>
                  <a:lnTo>
                    <a:pt x="848" y="66"/>
                  </a:lnTo>
                  <a:lnTo>
                    <a:pt x="873" y="79"/>
                  </a:lnTo>
                  <a:lnTo>
                    <a:pt x="895" y="94"/>
                  </a:lnTo>
                  <a:lnTo>
                    <a:pt x="919" y="109"/>
                  </a:lnTo>
                  <a:lnTo>
                    <a:pt x="940" y="125"/>
                  </a:lnTo>
                  <a:lnTo>
                    <a:pt x="961" y="143"/>
                  </a:lnTo>
                  <a:lnTo>
                    <a:pt x="981" y="161"/>
                  </a:lnTo>
                  <a:lnTo>
                    <a:pt x="1000" y="180"/>
                  </a:lnTo>
                  <a:lnTo>
                    <a:pt x="1018" y="200"/>
                  </a:lnTo>
                  <a:lnTo>
                    <a:pt x="1035" y="220"/>
                  </a:lnTo>
                  <a:lnTo>
                    <a:pt x="1052" y="242"/>
                  </a:lnTo>
                  <a:lnTo>
                    <a:pt x="1066" y="264"/>
                  </a:lnTo>
                  <a:lnTo>
                    <a:pt x="1080" y="287"/>
                  </a:lnTo>
                  <a:lnTo>
                    <a:pt x="1093" y="310"/>
                  </a:lnTo>
                  <a:lnTo>
                    <a:pt x="1104" y="335"/>
                  </a:lnTo>
                  <a:lnTo>
                    <a:pt x="1115" y="360"/>
                  </a:lnTo>
                  <a:lnTo>
                    <a:pt x="1123" y="385"/>
                  </a:lnTo>
                  <a:lnTo>
                    <a:pt x="1132" y="411"/>
                  </a:lnTo>
                  <a:lnTo>
                    <a:pt x="1138" y="437"/>
                  </a:lnTo>
                  <a:lnTo>
                    <a:pt x="1143" y="464"/>
                  </a:lnTo>
                  <a:lnTo>
                    <a:pt x="1147" y="491"/>
                  </a:lnTo>
                  <a:lnTo>
                    <a:pt x="1149" y="519"/>
                  </a:lnTo>
                  <a:lnTo>
                    <a:pt x="1150" y="547"/>
                  </a:lnTo>
                  <a:lnTo>
                    <a:pt x="1150" y="547"/>
                  </a:lnTo>
                  <a:lnTo>
                    <a:pt x="1149" y="574"/>
                  </a:lnTo>
                  <a:lnTo>
                    <a:pt x="1147" y="602"/>
                  </a:lnTo>
                  <a:lnTo>
                    <a:pt x="1143" y="629"/>
                  </a:lnTo>
                  <a:lnTo>
                    <a:pt x="1138" y="656"/>
                  </a:lnTo>
                  <a:lnTo>
                    <a:pt x="1132" y="683"/>
                  </a:lnTo>
                  <a:lnTo>
                    <a:pt x="1123" y="708"/>
                  </a:lnTo>
                  <a:lnTo>
                    <a:pt x="1115" y="734"/>
                  </a:lnTo>
                  <a:lnTo>
                    <a:pt x="1104" y="758"/>
                  </a:lnTo>
                  <a:lnTo>
                    <a:pt x="1093" y="783"/>
                  </a:lnTo>
                  <a:lnTo>
                    <a:pt x="1080" y="806"/>
                  </a:lnTo>
                  <a:lnTo>
                    <a:pt x="1066" y="830"/>
                  </a:lnTo>
                  <a:lnTo>
                    <a:pt x="1052" y="851"/>
                  </a:lnTo>
                  <a:lnTo>
                    <a:pt x="1035" y="873"/>
                  </a:lnTo>
                  <a:lnTo>
                    <a:pt x="1018" y="894"/>
                  </a:lnTo>
                  <a:lnTo>
                    <a:pt x="1000" y="914"/>
                  </a:lnTo>
                  <a:lnTo>
                    <a:pt x="981" y="933"/>
                  </a:lnTo>
                  <a:lnTo>
                    <a:pt x="961" y="950"/>
                  </a:lnTo>
                  <a:lnTo>
                    <a:pt x="940" y="968"/>
                  </a:lnTo>
                  <a:lnTo>
                    <a:pt x="919" y="984"/>
                  </a:lnTo>
                  <a:lnTo>
                    <a:pt x="895" y="1000"/>
                  </a:lnTo>
                  <a:lnTo>
                    <a:pt x="873" y="1014"/>
                  </a:lnTo>
                  <a:lnTo>
                    <a:pt x="848" y="1027"/>
                  </a:lnTo>
                  <a:lnTo>
                    <a:pt x="824" y="1039"/>
                  </a:lnTo>
                  <a:lnTo>
                    <a:pt x="798" y="1051"/>
                  </a:lnTo>
                  <a:lnTo>
                    <a:pt x="773" y="1060"/>
                  </a:lnTo>
                  <a:lnTo>
                    <a:pt x="746" y="1069"/>
                  </a:lnTo>
                  <a:lnTo>
                    <a:pt x="719" y="1076"/>
                  </a:lnTo>
                  <a:lnTo>
                    <a:pt x="691" y="1082"/>
                  </a:lnTo>
                  <a:lnTo>
                    <a:pt x="662" y="1087"/>
                  </a:lnTo>
                  <a:lnTo>
                    <a:pt x="634" y="1091"/>
                  </a:lnTo>
                  <a:lnTo>
                    <a:pt x="605" y="1093"/>
                  </a:lnTo>
                  <a:lnTo>
                    <a:pt x="575" y="1094"/>
                  </a:lnTo>
                  <a:lnTo>
                    <a:pt x="575" y="1094"/>
                  </a:lnTo>
                  <a:close/>
                  <a:moveTo>
                    <a:pt x="575" y="82"/>
                  </a:moveTo>
                  <a:lnTo>
                    <a:pt x="575" y="82"/>
                  </a:lnTo>
                  <a:lnTo>
                    <a:pt x="553" y="83"/>
                  </a:lnTo>
                  <a:lnTo>
                    <a:pt x="531" y="86"/>
                  </a:lnTo>
                  <a:lnTo>
                    <a:pt x="510" y="90"/>
                  </a:lnTo>
                  <a:lnTo>
                    <a:pt x="490" y="94"/>
                  </a:lnTo>
                  <a:lnTo>
                    <a:pt x="471" y="100"/>
                  </a:lnTo>
                  <a:lnTo>
                    <a:pt x="453" y="108"/>
                  </a:lnTo>
                  <a:lnTo>
                    <a:pt x="435" y="116"/>
                  </a:lnTo>
                  <a:lnTo>
                    <a:pt x="419" y="125"/>
                  </a:lnTo>
                  <a:lnTo>
                    <a:pt x="403" y="137"/>
                  </a:lnTo>
                  <a:lnTo>
                    <a:pt x="387" y="148"/>
                  </a:lnTo>
                  <a:lnTo>
                    <a:pt x="373" y="161"/>
                  </a:lnTo>
                  <a:lnTo>
                    <a:pt x="360" y="174"/>
                  </a:lnTo>
                  <a:lnTo>
                    <a:pt x="346" y="189"/>
                  </a:lnTo>
                  <a:lnTo>
                    <a:pt x="334" y="204"/>
                  </a:lnTo>
                  <a:lnTo>
                    <a:pt x="323" y="219"/>
                  </a:lnTo>
                  <a:lnTo>
                    <a:pt x="312" y="237"/>
                  </a:lnTo>
                  <a:lnTo>
                    <a:pt x="302" y="253"/>
                  </a:lnTo>
                  <a:lnTo>
                    <a:pt x="292" y="272"/>
                  </a:lnTo>
                  <a:lnTo>
                    <a:pt x="284" y="290"/>
                  </a:lnTo>
                  <a:lnTo>
                    <a:pt x="276" y="308"/>
                  </a:lnTo>
                  <a:lnTo>
                    <a:pt x="269" y="327"/>
                  </a:lnTo>
                  <a:lnTo>
                    <a:pt x="262" y="346"/>
                  </a:lnTo>
                  <a:lnTo>
                    <a:pt x="256" y="367"/>
                  </a:lnTo>
                  <a:lnTo>
                    <a:pt x="251" y="386"/>
                  </a:lnTo>
                  <a:lnTo>
                    <a:pt x="247" y="407"/>
                  </a:lnTo>
                  <a:lnTo>
                    <a:pt x="243" y="426"/>
                  </a:lnTo>
                  <a:lnTo>
                    <a:pt x="240" y="446"/>
                  </a:lnTo>
                  <a:lnTo>
                    <a:pt x="237" y="467"/>
                  </a:lnTo>
                  <a:lnTo>
                    <a:pt x="233" y="507"/>
                  </a:lnTo>
                  <a:lnTo>
                    <a:pt x="232" y="547"/>
                  </a:lnTo>
                  <a:lnTo>
                    <a:pt x="232" y="547"/>
                  </a:lnTo>
                  <a:lnTo>
                    <a:pt x="233" y="587"/>
                  </a:lnTo>
                  <a:lnTo>
                    <a:pt x="237" y="626"/>
                  </a:lnTo>
                  <a:lnTo>
                    <a:pt x="240" y="647"/>
                  </a:lnTo>
                  <a:lnTo>
                    <a:pt x="243" y="667"/>
                  </a:lnTo>
                  <a:lnTo>
                    <a:pt x="247" y="687"/>
                  </a:lnTo>
                  <a:lnTo>
                    <a:pt x="251" y="707"/>
                  </a:lnTo>
                  <a:lnTo>
                    <a:pt x="256" y="728"/>
                  </a:lnTo>
                  <a:lnTo>
                    <a:pt x="262" y="747"/>
                  </a:lnTo>
                  <a:lnTo>
                    <a:pt x="269" y="766"/>
                  </a:lnTo>
                  <a:lnTo>
                    <a:pt x="276" y="785"/>
                  </a:lnTo>
                  <a:lnTo>
                    <a:pt x="284" y="804"/>
                  </a:lnTo>
                  <a:lnTo>
                    <a:pt x="292" y="822"/>
                  </a:lnTo>
                  <a:lnTo>
                    <a:pt x="302" y="840"/>
                  </a:lnTo>
                  <a:lnTo>
                    <a:pt x="312" y="857"/>
                  </a:lnTo>
                  <a:lnTo>
                    <a:pt x="323" y="874"/>
                  </a:lnTo>
                  <a:lnTo>
                    <a:pt x="334" y="889"/>
                  </a:lnTo>
                  <a:lnTo>
                    <a:pt x="346" y="904"/>
                  </a:lnTo>
                  <a:lnTo>
                    <a:pt x="360" y="919"/>
                  </a:lnTo>
                  <a:lnTo>
                    <a:pt x="373" y="932"/>
                  </a:lnTo>
                  <a:lnTo>
                    <a:pt x="387" y="945"/>
                  </a:lnTo>
                  <a:lnTo>
                    <a:pt x="403" y="957"/>
                  </a:lnTo>
                  <a:lnTo>
                    <a:pt x="419" y="968"/>
                  </a:lnTo>
                  <a:lnTo>
                    <a:pt x="435" y="977"/>
                  </a:lnTo>
                  <a:lnTo>
                    <a:pt x="453" y="986"/>
                  </a:lnTo>
                  <a:lnTo>
                    <a:pt x="471" y="993"/>
                  </a:lnTo>
                  <a:lnTo>
                    <a:pt x="490" y="1000"/>
                  </a:lnTo>
                  <a:lnTo>
                    <a:pt x="510" y="1005"/>
                  </a:lnTo>
                  <a:lnTo>
                    <a:pt x="531" y="1008"/>
                  </a:lnTo>
                  <a:lnTo>
                    <a:pt x="553" y="1010"/>
                  </a:lnTo>
                  <a:lnTo>
                    <a:pt x="575" y="1011"/>
                  </a:lnTo>
                  <a:lnTo>
                    <a:pt x="575" y="1011"/>
                  </a:lnTo>
                  <a:lnTo>
                    <a:pt x="598" y="1010"/>
                  </a:lnTo>
                  <a:lnTo>
                    <a:pt x="619" y="1008"/>
                  </a:lnTo>
                  <a:lnTo>
                    <a:pt x="640" y="1005"/>
                  </a:lnTo>
                  <a:lnTo>
                    <a:pt x="660" y="1000"/>
                  </a:lnTo>
                  <a:lnTo>
                    <a:pt x="679" y="993"/>
                  </a:lnTo>
                  <a:lnTo>
                    <a:pt x="697" y="986"/>
                  </a:lnTo>
                  <a:lnTo>
                    <a:pt x="715" y="977"/>
                  </a:lnTo>
                  <a:lnTo>
                    <a:pt x="732" y="968"/>
                  </a:lnTo>
                  <a:lnTo>
                    <a:pt x="747" y="957"/>
                  </a:lnTo>
                  <a:lnTo>
                    <a:pt x="762" y="945"/>
                  </a:lnTo>
                  <a:lnTo>
                    <a:pt x="777" y="932"/>
                  </a:lnTo>
                  <a:lnTo>
                    <a:pt x="791" y="919"/>
                  </a:lnTo>
                  <a:lnTo>
                    <a:pt x="803" y="904"/>
                  </a:lnTo>
                  <a:lnTo>
                    <a:pt x="816" y="889"/>
                  </a:lnTo>
                  <a:lnTo>
                    <a:pt x="828" y="874"/>
                  </a:lnTo>
                  <a:lnTo>
                    <a:pt x="838" y="857"/>
                  </a:lnTo>
                  <a:lnTo>
                    <a:pt x="848" y="840"/>
                  </a:lnTo>
                  <a:lnTo>
                    <a:pt x="858" y="822"/>
                  </a:lnTo>
                  <a:lnTo>
                    <a:pt x="867" y="804"/>
                  </a:lnTo>
                  <a:lnTo>
                    <a:pt x="874" y="785"/>
                  </a:lnTo>
                  <a:lnTo>
                    <a:pt x="881" y="766"/>
                  </a:lnTo>
                  <a:lnTo>
                    <a:pt x="888" y="747"/>
                  </a:lnTo>
                  <a:lnTo>
                    <a:pt x="894" y="728"/>
                  </a:lnTo>
                  <a:lnTo>
                    <a:pt x="899" y="707"/>
                  </a:lnTo>
                  <a:lnTo>
                    <a:pt x="904" y="687"/>
                  </a:lnTo>
                  <a:lnTo>
                    <a:pt x="908" y="667"/>
                  </a:lnTo>
                  <a:lnTo>
                    <a:pt x="911" y="647"/>
                  </a:lnTo>
                  <a:lnTo>
                    <a:pt x="914" y="626"/>
                  </a:lnTo>
                  <a:lnTo>
                    <a:pt x="918" y="587"/>
                  </a:lnTo>
                  <a:lnTo>
                    <a:pt x="919" y="547"/>
                  </a:lnTo>
                  <a:lnTo>
                    <a:pt x="919" y="547"/>
                  </a:lnTo>
                  <a:lnTo>
                    <a:pt x="918" y="507"/>
                  </a:lnTo>
                  <a:lnTo>
                    <a:pt x="914" y="467"/>
                  </a:lnTo>
                  <a:lnTo>
                    <a:pt x="911" y="446"/>
                  </a:lnTo>
                  <a:lnTo>
                    <a:pt x="908" y="426"/>
                  </a:lnTo>
                  <a:lnTo>
                    <a:pt x="904" y="407"/>
                  </a:lnTo>
                  <a:lnTo>
                    <a:pt x="899" y="386"/>
                  </a:lnTo>
                  <a:lnTo>
                    <a:pt x="894" y="367"/>
                  </a:lnTo>
                  <a:lnTo>
                    <a:pt x="888" y="346"/>
                  </a:lnTo>
                  <a:lnTo>
                    <a:pt x="881" y="327"/>
                  </a:lnTo>
                  <a:lnTo>
                    <a:pt x="874" y="308"/>
                  </a:lnTo>
                  <a:lnTo>
                    <a:pt x="867" y="290"/>
                  </a:lnTo>
                  <a:lnTo>
                    <a:pt x="858" y="272"/>
                  </a:lnTo>
                  <a:lnTo>
                    <a:pt x="848" y="253"/>
                  </a:lnTo>
                  <a:lnTo>
                    <a:pt x="838" y="237"/>
                  </a:lnTo>
                  <a:lnTo>
                    <a:pt x="828" y="219"/>
                  </a:lnTo>
                  <a:lnTo>
                    <a:pt x="816" y="204"/>
                  </a:lnTo>
                  <a:lnTo>
                    <a:pt x="803" y="189"/>
                  </a:lnTo>
                  <a:lnTo>
                    <a:pt x="791" y="174"/>
                  </a:lnTo>
                  <a:lnTo>
                    <a:pt x="777" y="161"/>
                  </a:lnTo>
                  <a:lnTo>
                    <a:pt x="762" y="148"/>
                  </a:lnTo>
                  <a:lnTo>
                    <a:pt x="747" y="137"/>
                  </a:lnTo>
                  <a:lnTo>
                    <a:pt x="732" y="125"/>
                  </a:lnTo>
                  <a:lnTo>
                    <a:pt x="715" y="116"/>
                  </a:lnTo>
                  <a:lnTo>
                    <a:pt x="697" y="108"/>
                  </a:lnTo>
                  <a:lnTo>
                    <a:pt x="679" y="100"/>
                  </a:lnTo>
                  <a:lnTo>
                    <a:pt x="660" y="94"/>
                  </a:lnTo>
                  <a:lnTo>
                    <a:pt x="640" y="90"/>
                  </a:lnTo>
                  <a:lnTo>
                    <a:pt x="619" y="86"/>
                  </a:lnTo>
                  <a:lnTo>
                    <a:pt x="598" y="83"/>
                  </a:lnTo>
                  <a:lnTo>
                    <a:pt x="575" y="82"/>
                  </a:lnTo>
                  <a:lnTo>
                    <a:pt x="575" y="8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66" name="Freeform 19"/>
            <p:cNvSpPr>
              <a:spLocks/>
            </p:cNvSpPr>
            <p:nvPr userDrawn="1"/>
          </p:nvSpPr>
          <p:spPr bwMode="auto">
            <a:xfrm>
              <a:off x="6593134" y="893931"/>
              <a:ext cx="90489" cy="144463"/>
            </a:xfrm>
            <a:custGeom>
              <a:avLst/>
              <a:gdLst>
                <a:gd name="T0" fmla="*/ 38 w 683"/>
                <a:gd name="T1" fmla="*/ 752 h 1102"/>
                <a:gd name="T2" fmla="*/ 64 w 683"/>
                <a:gd name="T3" fmla="*/ 849 h 1102"/>
                <a:gd name="T4" fmla="*/ 104 w 683"/>
                <a:gd name="T5" fmla="*/ 921 h 1102"/>
                <a:gd name="T6" fmla="*/ 171 w 683"/>
                <a:gd name="T7" fmla="*/ 985 h 1102"/>
                <a:gd name="T8" fmla="*/ 273 w 683"/>
                <a:gd name="T9" fmla="*/ 1026 h 1102"/>
                <a:gd name="T10" fmla="*/ 377 w 683"/>
                <a:gd name="T11" fmla="*/ 1032 h 1102"/>
                <a:gd name="T12" fmla="*/ 476 w 683"/>
                <a:gd name="T13" fmla="*/ 1002 h 1102"/>
                <a:gd name="T14" fmla="*/ 544 w 683"/>
                <a:gd name="T15" fmla="*/ 937 h 1102"/>
                <a:gd name="T16" fmla="*/ 570 w 683"/>
                <a:gd name="T17" fmla="*/ 844 h 1102"/>
                <a:gd name="T18" fmla="*/ 556 w 683"/>
                <a:gd name="T19" fmla="*/ 787 h 1102"/>
                <a:gd name="T20" fmla="*/ 501 w 683"/>
                <a:gd name="T21" fmla="*/ 720 h 1102"/>
                <a:gd name="T22" fmla="*/ 413 w 683"/>
                <a:gd name="T23" fmla="*/ 659 h 1102"/>
                <a:gd name="T24" fmla="*/ 168 w 683"/>
                <a:gd name="T25" fmla="*/ 529 h 1102"/>
                <a:gd name="T26" fmla="*/ 86 w 683"/>
                <a:gd name="T27" fmla="*/ 455 h 1102"/>
                <a:gd name="T28" fmla="*/ 30 w 683"/>
                <a:gd name="T29" fmla="*/ 358 h 1102"/>
                <a:gd name="T30" fmla="*/ 14 w 683"/>
                <a:gd name="T31" fmla="*/ 265 h 1102"/>
                <a:gd name="T32" fmla="*/ 23 w 683"/>
                <a:gd name="T33" fmla="*/ 201 h 1102"/>
                <a:gd name="T34" fmla="*/ 46 w 683"/>
                <a:gd name="T35" fmla="*/ 142 h 1102"/>
                <a:gd name="T36" fmla="*/ 85 w 683"/>
                <a:gd name="T37" fmla="*/ 92 h 1102"/>
                <a:gd name="T38" fmla="*/ 136 w 683"/>
                <a:gd name="T39" fmla="*/ 52 h 1102"/>
                <a:gd name="T40" fmla="*/ 199 w 683"/>
                <a:gd name="T41" fmla="*/ 24 h 1102"/>
                <a:gd name="T42" fmla="*/ 269 w 683"/>
                <a:gd name="T43" fmla="*/ 9 h 1102"/>
                <a:gd name="T44" fmla="*/ 337 w 683"/>
                <a:gd name="T45" fmla="*/ 10 h 1102"/>
                <a:gd name="T46" fmla="*/ 411 w 683"/>
                <a:gd name="T47" fmla="*/ 25 h 1102"/>
                <a:gd name="T48" fmla="*/ 511 w 683"/>
                <a:gd name="T49" fmla="*/ 79 h 1102"/>
                <a:gd name="T50" fmla="*/ 540 w 683"/>
                <a:gd name="T51" fmla="*/ 46 h 1102"/>
                <a:gd name="T52" fmla="*/ 595 w 683"/>
                <a:gd name="T53" fmla="*/ 0 h 1102"/>
                <a:gd name="T54" fmla="*/ 553 w 683"/>
                <a:gd name="T55" fmla="*/ 326 h 1102"/>
                <a:gd name="T56" fmla="*/ 512 w 683"/>
                <a:gd name="T57" fmla="*/ 200 h 1102"/>
                <a:gd name="T58" fmla="*/ 473 w 683"/>
                <a:gd name="T59" fmla="*/ 145 h 1102"/>
                <a:gd name="T60" fmla="*/ 420 w 683"/>
                <a:gd name="T61" fmla="*/ 106 h 1102"/>
                <a:gd name="T62" fmla="*/ 348 w 683"/>
                <a:gd name="T63" fmla="*/ 82 h 1102"/>
                <a:gd name="T64" fmla="*/ 277 w 683"/>
                <a:gd name="T65" fmla="*/ 78 h 1102"/>
                <a:gd name="T66" fmla="*/ 200 w 683"/>
                <a:gd name="T67" fmla="*/ 104 h 1102"/>
                <a:gd name="T68" fmla="*/ 148 w 683"/>
                <a:gd name="T69" fmla="*/ 158 h 1102"/>
                <a:gd name="T70" fmla="*/ 128 w 683"/>
                <a:gd name="T71" fmla="*/ 231 h 1102"/>
                <a:gd name="T72" fmla="*/ 139 w 683"/>
                <a:gd name="T73" fmla="*/ 292 h 1102"/>
                <a:gd name="T74" fmla="*/ 191 w 683"/>
                <a:gd name="T75" fmla="*/ 355 h 1102"/>
                <a:gd name="T76" fmla="*/ 287 w 683"/>
                <a:gd name="T77" fmla="*/ 417 h 1102"/>
                <a:gd name="T78" fmla="*/ 548 w 683"/>
                <a:gd name="T79" fmla="*/ 556 h 1102"/>
                <a:gd name="T80" fmla="*/ 631 w 683"/>
                <a:gd name="T81" fmla="*/ 633 h 1102"/>
                <a:gd name="T82" fmla="*/ 674 w 683"/>
                <a:gd name="T83" fmla="*/ 720 h 1102"/>
                <a:gd name="T84" fmla="*/ 683 w 683"/>
                <a:gd name="T85" fmla="*/ 792 h 1102"/>
                <a:gd name="T86" fmla="*/ 673 w 683"/>
                <a:gd name="T87" fmla="*/ 874 h 1102"/>
                <a:gd name="T88" fmla="*/ 643 w 683"/>
                <a:gd name="T89" fmla="*/ 947 h 1102"/>
                <a:gd name="T90" fmla="*/ 597 w 683"/>
                <a:gd name="T91" fmla="*/ 1007 h 1102"/>
                <a:gd name="T92" fmla="*/ 536 w 683"/>
                <a:gd name="T93" fmla="*/ 1053 h 1102"/>
                <a:gd name="T94" fmla="*/ 466 w 683"/>
                <a:gd name="T95" fmla="*/ 1085 h 1102"/>
                <a:gd name="T96" fmla="*/ 387 w 683"/>
                <a:gd name="T97" fmla="*/ 1100 h 1102"/>
                <a:gd name="T98" fmla="*/ 307 w 683"/>
                <a:gd name="T99" fmla="*/ 1099 h 1102"/>
                <a:gd name="T100" fmla="*/ 208 w 683"/>
                <a:gd name="T101" fmla="*/ 1073 h 1102"/>
                <a:gd name="T102" fmla="*/ 95 w 683"/>
                <a:gd name="T103" fmla="*/ 1024 h 1102"/>
                <a:gd name="T104" fmla="*/ 62 w 683"/>
                <a:gd name="T105" fmla="*/ 1044 h 1102"/>
                <a:gd name="T106" fmla="*/ 35 w 683"/>
                <a:gd name="T107" fmla="*/ 1102 h 1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83" h="1102">
                  <a:moveTo>
                    <a:pt x="0" y="723"/>
                  </a:moveTo>
                  <a:lnTo>
                    <a:pt x="36" y="723"/>
                  </a:lnTo>
                  <a:lnTo>
                    <a:pt x="36" y="723"/>
                  </a:lnTo>
                  <a:lnTo>
                    <a:pt x="37" y="736"/>
                  </a:lnTo>
                  <a:lnTo>
                    <a:pt x="38" y="752"/>
                  </a:lnTo>
                  <a:lnTo>
                    <a:pt x="41" y="771"/>
                  </a:lnTo>
                  <a:lnTo>
                    <a:pt x="46" y="795"/>
                  </a:lnTo>
                  <a:lnTo>
                    <a:pt x="54" y="821"/>
                  </a:lnTo>
                  <a:lnTo>
                    <a:pt x="59" y="835"/>
                  </a:lnTo>
                  <a:lnTo>
                    <a:pt x="64" y="849"/>
                  </a:lnTo>
                  <a:lnTo>
                    <a:pt x="70" y="863"/>
                  </a:lnTo>
                  <a:lnTo>
                    <a:pt x="77" y="878"/>
                  </a:lnTo>
                  <a:lnTo>
                    <a:pt x="84" y="893"/>
                  </a:lnTo>
                  <a:lnTo>
                    <a:pt x="93" y="907"/>
                  </a:lnTo>
                  <a:lnTo>
                    <a:pt x="104" y="921"/>
                  </a:lnTo>
                  <a:lnTo>
                    <a:pt x="115" y="935"/>
                  </a:lnTo>
                  <a:lnTo>
                    <a:pt x="127" y="948"/>
                  </a:lnTo>
                  <a:lnTo>
                    <a:pt x="140" y="961"/>
                  </a:lnTo>
                  <a:lnTo>
                    <a:pt x="155" y="974"/>
                  </a:lnTo>
                  <a:lnTo>
                    <a:pt x="171" y="985"/>
                  </a:lnTo>
                  <a:lnTo>
                    <a:pt x="189" y="995"/>
                  </a:lnTo>
                  <a:lnTo>
                    <a:pt x="207" y="1004"/>
                  </a:lnTo>
                  <a:lnTo>
                    <a:pt x="227" y="1012"/>
                  </a:lnTo>
                  <a:lnTo>
                    <a:pt x="250" y="1020"/>
                  </a:lnTo>
                  <a:lnTo>
                    <a:pt x="273" y="1026"/>
                  </a:lnTo>
                  <a:lnTo>
                    <a:pt x="298" y="1030"/>
                  </a:lnTo>
                  <a:lnTo>
                    <a:pt x="326" y="1032"/>
                  </a:lnTo>
                  <a:lnTo>
                    <a:pt x="354" y="1033"/>
                  </a:lnTo>
                  <a:lnTo>
                    <a:pt x="354" y="1033"/>
                  </a:lnTo>
                  <a:lnTo>
                    <a:pt x="377" y="1032"/>
                  </a:lnTo>
                  <a:lnTo>
                    <a:pt x="398" y="1030"/>
                  </a:lnTo>
                  <a:lnTo>
                    <a:pt x="420" y="1025"/>
                  </a:lnTo>
                  <a:lnTo>
                    <a:pt x="439" y="1019"/>
                  </a:lnTo>
                  <a:lnTo>
                    <a:pt x="458" y="1011"/>
                  </a:lnTo>
                  <a:lnTo>
                    <a:pt x="476" y="1002"/>
                  </a:lnTo>
                  <a:lnTo>
                    <a:pt x="492" y="992"/>
                  </a:lnTo>
                  <a:lnTo>
                    <a:pt x="508" y="980"/>
                  </a:lnTo>
                  <a:lnTo>
                    <a:pt x="522" y="966"/>
                  </a:lnTo>
                  <a:lnTo>
                    <a:pt x="533" y="952"/>
                  </a:lnTo>
                  <a:lnTo>
                    <a:pt x="544" y="937"/>
                  </a:lnTo>
                  <a:lnTo>
                    <a:pt x="553" y="919"/>
                  </a:lnTo>
                  <a:lnTo>
                    <a:pt x="560" y="902"/>
                  </a:lnTo>
                  <a:lnTo>
                    <a:pt x="565" y="884"/>
                  </a:lnTo>
                  <a:lnTo>
                    <a:pt x="569" y="864"/>
                  </a:lnTo>
                  <a:lnTo>
                    <a:pt x="570" y="844"/>
                  </a:lnTo>
                  <a:lnTo>
                    <a:pt x="570" y="844"/>
                  </a:lnTo>
                  <a:lnTo>
                    <a:pt x="569" y="828"/>
                  </a:lnTo>
                  <a:lnTo>
                    <a:pt x="566" y="814"/>
                  </a:lnTo>
                  <a:lnTo>
                    <a:pt x="562" y="800"/>
                  </a:lnTo>
                  <a:lnTo>
                    <a:pt x="556" y="787"/>
                  </a:lnTo>
                  <a:lnTo>
                    <a:pt x="547" y="772"/>
                  </a:lnTo>
                  <a:lnTo>
                    <a:pt x="538" y="759"/>
                  </a:lnTo>
                  <a:lnTo>
                    <a:pt x="527" y="746"/>
                  </a:lnTo>
                  <a:lnTo>
                    <a:pt x="515" y="732"/>
                  </a:lnTo>
                  <a:lnTo>
                    <a:pt x="501" y="720"/>
                  </a:lnTo>
                  <a:lnTo>
                    <a:pt x="486" y="707"/>
                  </a:lnTo>
                  <a:lnTo>
                    <a:pt x="470" y="695"/>
                  </a:lnTo>
                  <a:lnTo>
                    <a:pt x="452" y="682"/>
                  </a:lnTo>
                  <a:lnTo>
                    <a:pt x="434" y="670"/>
                  </a:lnTo>
                  <a:lnTo>
                    <a:pt x="413" y="659"/>
                  </a:lnTo>
                  <a:lnTo>
                    <a:pt x="372" y="634"/>
                  </a:lnTo>
                  <a:lnTo>
                    <a:pt x="206" y="550"/>
                  </a:lnTo>
                  <a:lnTo>
                    <a:pt x="206" y="550"/>
                  </a:lnTo>
                  <a:lnTo>
                    <a:pt x="186" y="540"/>
                  </a:lnTo>
                  <a:lnTo>
                    <a:pt x="168" y="529"/>
                  </a:lnTo>
                  <a:lnTo>
                    <a:pt x="151" y="516"/>
                  </a:lnTo>
                  <a:lnTo>
                    <a:pt x="133" y="502"/>
                  </a:lnTo>
                  <a:lnTo>
                    <a:pt x="117" y="488"/>
                  </a:lnTo>
                  <a:lnTo>
                    <a:pt x="101" y="472"/>
                  </a:lnTo>
                  <a:lnTo>
                    <a:pt x="86" y="455"/>
                  </a:lnTo>
                  <a:lnTo>
                    <a:pt x="72" y="438"/>
                  </a:lnTo>
                  <a:lnTo>
                    <a:pt x="60" y="419"/>
                  </a:lnTo>
                  <a:lnTo>
                    <a:pt x="48" y="400"/>
                  </a:lnTo>
                  <a:lnTo>
                    <a:pt x="38" y="380"/>
                  </a:lnTo>
                  <a:lnTo>
                    <a:pt x="30" y="358"/>
                  </a:lnTo>
                  <a:lnTo>
                    <a:pt x="23" y="336"/>
                  </a:lnTo>
                  <a:lnTo>
                    <a:pt x="18" y="313"/>
                  </a:lnTo>
                  <a:lnTo>
                    <a:pt x="15" y="290"/>
                  </a:lnTo>
                  <a:lnTo>
                    <a:pt x="14" y="265"/>
                  </a:lnTo>
                  <a:lnTo>
                    <a:pt x="14" y="265"/>
                  </a:lnTo>
                  <a:lnTo>
                    <a:pt x="15" y="252"/>
                  </a:lnTo>
                  <a:lnTo>
                    <a:pt x="16" y="240"/>
                  </a:lnTo>
                  <a:lnTo>
                    <a:pt x="17" y="226"/>
                  </a:lnTo>
                  <a:lnTo>
                    <a:pt x="20" y="213"/>
                  </a:lnTo>
                  <a:lnTo>
                    <a:pt x="23" y="201"/>
                  </a:lnTo>
                  <a:lnTo>
                    <a:pt x="26" y="188"/>
                  </a:lnTo>
                  <a:lnTo>
                    <a:pt x="30" y="177"/>
                  </a:lnTo>
                  <a:lnTo>
                    <a:pt x="35" y="165"/>
                  </a:lnTo>
                  <a:lnTo>
                    <a:pt x="40" y="154"/>
                  </a:lnTo>
                  <a:lnTo>
                    <a:pt x="46" y="142"/>
                  </a:lnTo>
                  <a:lnTo>
                    <a:pt x="54" y="132"/>
                  </a:lnTo>
                  <a:lnTo>
                    <a:pt x="61" y="121"/>
                  </a:lnTo>
                  <a:lnTo>
                    <a:pt x="68" y="112"/>
                  </a:lnTo>
                  <a:lnTo>
                    <a:pt x="76" y="101"/>
                  </a:lnTo>
                  <a:lnTo>
                    <a:pt x="85" y="92"/>
                  </a:lnTo>
                  <a:lnTo>
                    <a:pt x="94" y="83"/>
                  </a:lnTo>
                  <a:lnTo>
                    <a:pt x="105" y="75"/>
                  </a:lnTo>
                  <a:lnTo>
                    <a:pt x="115" y="67"/>
                  </a:lnTo>
                  <a:lnTo>
                    <a:pt x="125" y="60"/>
                  </a:lnTo>
                  <a:lnTo>
                    <a:pt x="136" y="52"/>
                  </a:lnTo>
                  <a:lnTo>
                    <a:pt x="148" y="45"/>
                  </a:lnTo>
                  <a:lnTo>
                    <a:pt x="160" y="39"/>
                  </a:lnTo>
                  <a:lnTo>
                    <a:pt x="172" y="34"/>
                  </a:lnTo>
                  <a:lnTo>
                    <a:pt x="185" y="29"/>
                  </a:lnTo>
                  <a:lnTo>
                    <a:pt x="199" y="24"/>
                  </a:lnTo>
                  <a:lnTo>
                    <a:pt x="212" y="20"/>
                  </a:lnTo>
                  <a:lnTo>
                    <a:pt x="225" y="17"/>
                  </a:lnTo>
                  <a:lnTo>
                    <a:pt x="240" y="14"/>
                  </a:lnTo>
                  <a:lnTo>
                    <a:pt x="255" y="12"/>
                  </a:lnTo>
                  <a:lnTo>
                    <a:pt x="269" y="9"/>
                  </a:lnTo>
                  <a:lnTo>
                    <a:pt x="285" y="8"/>
                  </a:lnTo>
                  <a:lnTo>
                    <a:pt x="300" y="8"/>
                  </a:lnTo>
                  <a:lnTo>
                    <a:pt x="300" y="8"/>
                  </a:lnTo>
                  <a:lnTo>
                    <a:pt x="319" y="8"/>
                  </a:lnTo>
                  <a:lnTo>
                    <a:pt x="337" y="10"/>
                  </a:lnTo>
                  <a:lnTo>
                    <a:pt x="353" y="12"/>
                  </a:lnTo>
                  <a:lnTo>
                    <a:pt x="368" y="15"/>
                  </a:lnTo>
                  <a:lnTo>
                    <a:pt x="384" y="18"/>
                  </a:lnTo>
                  <a:lnTo>
                    <a:pt x="398" y="21"/>
                  </a:lnTo>
                  <a:lnTo>
                    <a:pt x="411" y="25"/>
                  </a:lnTo>
                  <a:lnTo>
                    <a:pt x="425" y="30"/>
                  </a:lnTo>
                  <a:lnTo>
                    <a:pt x="448" y="40"/>
                  </a:lnTo>
                  <a:lnTo>
                    <a:pt x="471" y="52"/>
                  </a:lnTo>
                  <a:lnTo>
                    <a:pt x="491" y="66"/>
                  </a:lnTo>
                  <a:lnTo>
                    <a:pt x="511" y="79"/>
                  </a:lnTo>
                  <a:lnTo>
                    <a:pt x="511" y="79"/>
                  </a:lnTo>
                  <a:lnTo>
                    <a:pt x="519" y="73"/>
                  </a:lnTo>
                  <a:lnTo>
                    <a:pt x="526" y="65"/>
                  </a:lnTo>
                  <a:lnTo>
                    <a:pt x="533" y="57"/>
                  </a:lnTo>
                  <a:lnTo>
                    <a:pt x="540" y="46"/>
                  </a:lnTo>
                  <a:lnTo>
                    <a:pt x="546" y="36"/>
                  </a:lnTo>
                  <a:lnTo>
                    <a:pt x="553" y="25"/>
                  </a:lnTo>
                  <a:lnTo>
                    <a:pt x="557" y="13"/>
                  </a:lnTo>
                  <a:lnTo>
                    <a:pt x="561" y="0"/>
                  </a:lnTo>
                  <a:lnTo>
                    <a:pt x="595" y="0"/>
                  </a:lnTo>
                  <a:lnTo>
                    <a:pt x="595" y="380"/>
                  </a:lnTo>
                  <a:lnTo>
                    <a:pt x="559" y="380"/>
                  </a:lnTo>
                  <a:lnTo>
                    <a:pt x="559" y="380"/>
                  </a:lnTo>
                  <a:lnTo>
                    <a:pt x="557" y="353"/>
                  </a:lnTo>
                  <a:lnTo>
                    <a:pt x="553" y="326"/>
                  </a:lnTo>
                  <a:lnTo>
                    <a:pt x="547" y="300"/>
                  </a:lnTo>
                  <a:lnTo>
                    <a:pt x="541" y="274"/>
                  </a:lnTo>
                  <a:lnTo>
                    <a:pt x="533" y="249"/>
                  </a:lnTo>
                  <a:lnTo>
                    <a:pt x="523" y="223"/>
                  </a:lnTo>
                  <a:lnTo>
                    <a:pt x="512" y="200"/>
                  </a:lnTo>
                  <a:lnTo>
                    <a:pt x="504" y="187"/>
                  </a:lnTo>
                  <a:lnTo>
                    <a:pt x="497" y="177"/>
                  </a:lnTo>
                  <a:lnTo>
                    <a:pt x="490" y="166"/>
                  </a:lnTo>
                  <a:lnTo>
                    <a:pt x="482" y="156"/>
                  </a:lnTo>
                  <a:lnTo>
                    <a:pt x="473" y="145"/>
                  </a:lnTo>
                  <a:lnTo>
                    <a:pt x="464" y="136"/>
                  </a:lnTo>
                  <a:lnTo>
                    <a:pt x="453" y="128"/>
                  </a:lnTo>
                  <a:lnTo>
                    <a:pt x="443" y="120"/>
                  </a:lnTo>
                  <a:lnTo>
                    <a:pt x="431" y="112"/>
                  </a:lnTo>
                  <a:lnTo>
                    <a:pt x="420" y="106"/>
                  </a:lnTo>
                  <a:lnTo>
                    <a:pt x="406" y="99"/>
                  </a:lnTo>
                  <a:lnTo>
                    <a:pt x="393" y="93"/>
                  </a:lnTo>
                  <a:lnTo>
                    <a:pt x="379" y="89"/>
                  </a:lnTo>
                  <a:lnTo>
                    <a:pt x="363" y="85"/>
                  </a:lnTo>
                  <a:lnTo>
                    <a:pt x="348" y="82"/>
                  </a:lnTo>
                  <a:lnTo>
                    <a:pt x="331" y="79"/>
                  </a:lnTo>
                  <a:lnTo>
                    <a:pt x="313" y="78"/>
                  </a:lnTo>
                  <a:lnTo>
                    <a:pt x="295" y="78"/>
                  </a:lnTo>
                  <a:lnTo>
                    <a:pt x="295" y="78"/>
                  </a:lnTo>
                  <a:lnTo>
                    <a:pt x="277" y="78"/>
                  </a:lnTo>
                  <a:lnTo>
                    <a:pt x="260" y="81"/>
                  </a:lnTo>
                  <a:lnTo>
                    <a:pt x="244" y="84"/>
                  </a:lnTo>
                  <a:lnTo>
                    <a:pt x="228" y="89"/>
                  </a:lnTo>
                  <a:lnTo>
                    <a:pt x="214" y="95"/>
                  </a:lnTo>
                  <a:lnTo>
                    <a:pt x="200" y="104"/>
                  </a:lnTo>
                  <a:lnTo>
                    <a:pt x="188" y="112"/>
                  </a:lnTo>
                  <a:lnTo>
                    <a:pt x="175" y="122"/>
                  </a:lnTo>
                  <a:lnTo>
                    <a:pt x="165" y="133"/>
                  </a:lnTo>
                  <a:lnTo>
                    <a:pt x="156" y="144"/>
                  </a:lnTo>
                  <a:lnTo>
                    <a:pt x="148" y="158"/>
                  </a:lnTo>
                  <a:lnTo>
                    <a:pt x="140" y="171"/>
                  </a:lnTo>
                  <a:lnTo>
                    <a:pt x="135" y="185"/>
                  </a:lnTo>
                  <a:lnTo>
                    <a:pt x="131" y="200"/>
                  </a:lnTo>
                  <a:lnTo>
                    <a:pt x="128" y="215"/>
                  </a:lnTo>
                  <a:lnTo>
                    <a:pt x="128" y="231"/>
                  </a:lnTo>
                  <a:lnTo>
                    <a:pt x="128" y="231"/>
                  </a:lnTo>
                  <a:lnTo>
                    <a:pt x="128" y="248"/>
                  </a:lnTo>
                  <a:lnTo>
                    <a:pt x="131" y="263"/>
                  </a:lnTo>
                  <a:lnTo>
                    <a:pt x="134" y="277"/>
                  </a:lnTo>
                  <a:lnTo>
                    <a:pt x="139" y="292"/>
                  </a:lnTo>
                  <a:lnTo>
                    <a:pt x="147" y="305"/>
                  </a:lnTo>
                  <a:lnTo>
                    <a:pt x="155" y="317"/>
                  </a:lnTo>
                  <a:lnTo>
                    <a:pt x="165" y="331"/>
                  </a:lnTo>
                  <a:lnTo>
                    <a:pt x="177" y="343"/>
                  </a:lnTo>
                  <a:lnTo>
                    <a:pt x="191" y="355"/>
                  </a:lnTo>
                  <a:lnTo>
                    <a:pt x="206" y="366"/>
                  </a:lnTo>
                  <a:lnTo>
                    <a:pt x="223" y="379"/>
                  </a:lnTo>
                  <a:lnTo>
                    <a:pt x="242" y="392"/>
                  </a:lnTo>
                  <a:lnTo>
                    <a:pt x="263" y="404"/>
                  </a:lnTo>
                  <a:lnTo>
                    <a:pt x="287" y="417"/>
                  </a:lnTo>
                  <a:lnTo>
                    <a:pt x="339" y="445"/>
                  </a:lnTo>
                  <a:lnTo>
                    <a:pt x="502" y="530"/>
                  </a:lnTo>
                  <a:lnTo>
                    <a:pt x="502" y="530"/>
                  </a:lnTo>
                  <a:lnTo>
                    <a:pt x="526" y="542"/>
                  </a:lnTo>
                  <a:lnTo>
                    <a:pt x="548" y="556"/>
                  </a:lnTo>
                  <a:lnTo>
                    <a:pt x="568" y="571"/>
                  </a:lnTo>
                  <a:lnTo>
                    <a:pt x="586" y="585"/>
                  </a:lnTo>
                  <a:lnTo>
                    <a:pt x="603" y="601"/>
                  </a:lnTo>
                  <a:lnTo>
                    <a:pt x="618" y="617"/>
                  </a:lnTo>
                  <a:lnTo>
                    <a:pt x="631" y="633"/>
                  </a:lnTo>
                  <a:lnTo>
                    <a:pt x="643" y="651"/>
                  </a:lnTo>
                  <a:lnTo>
                    <a:pt x="653" y="667"/>
                  </a:lnTo>
                  <a:lnTo>
                    <a:pt x="661" y="684"/>
                  </a:lnTo>
                  <a:lnTo>
                    <a:pt x="668" y="703"/>
                  </a:lnTo>
                  <a:lnTo>
                    <a:pt x="674" y="720"/>
                  </a:lnTo>
                  <a:lnTo>
                    <a:pt x="678" y="738"/>
                  </a:lnTo>
                  <a:lnTo>
                    <a:pt x="681" y="756"/>
                  </a:lnTo>
                  <a:lnTo>
                    <a:pt x="682" y="774"/>
                  </a:lnTo>
                  <a:lnTo>
                    <a:pt x="683" y="792"/>
                  </a:lnTo>
                  <a:lnTo>
                    <a:pt x="683" y="792"/>
                  </a:lnTo>
                  <a:lnTo>
                    <a:pt x="683" y="809"/>
                  </a:lnTo>
                  <a:lnTo>
                    <a:pt x="681" y="826"/>
                  </a:lnTo>
                  <a:lnTo>
                    <a:pt x="679" y="843"/>
                  </a:lnTo>
                  <a:lnTo>
                    <a:pt x="676" y="859"/>
                  </a:lnTo>
                  <a:lnTo>
                    <a:pt x="673" y="874"/>
                  </a:lnTo>
                  <a:lnTo>
                    <a:pt x="668" y="890"/>
                  </a:lnTo>
                  <a:lnTo>
                    <a:pt x="663" y="905"/>
                  </a:lnTo>
                  <a:lnTo>
                    <a:pt x="657" y="919"/>
                  </a:lnTo>
                  <a:lnTo>
                    <a:pt x="650" y="934"/>
                  </a:lnTo>
                  <a:lnTo>
                    <a:pt x="643" y="947"/>
                  </a:lnTo>
                  <a:lnTo>
                    <a:pt x="634" y="960"/>
                  </a:lnTo>
                  <a:lnTo>
                    <a:pt x="626" y="973"/>
                  </a:lnTo>
                  <a:lnTo>
                    <a:pt x="617" y="985"/>
                  </a:lnTo>
                  <a:lnTo>
                    <a:pt x="607" y="996"/>
                  </a:lnTo>
                  <a:lnTo>
                    <a:pt x="597" y="1007"/>
                  </a:lnTo>
                  <a:lnTo>
                    <a:pt x="585" y="1018"/>
                  </a:lnTo>
                  <a:lnTo>
                    <a:pt x="574" y="1028"/>
                  </a:lnTo>
                  <a:lnTo>
                    <a:pt x="562" y="1037"/>
                  </a:lnTo>
                  <a:lnTo>
                    <a:pt x="549" y="1045"/>
                  </a:lnTo>
                  <a:lnTo>
                    <a:pt x="536" y="1053"/>
                  </a:lnTo>
                  <a:lnTo>
                    <a:pt x="523" y="1062"/>
                  </a:lnTo>
                  <a:lnTo>
                    <a:pt x="509" y="1068"/>
                  </a:lnTo>
                  <a:lnTo>
                    <a:pt x="495" y="1075"/>
                  </a:lnTo>
                  <a:lnTo>
                    <a:pt x="480" y="1080"/>
                  </a:lnTo>
                  <a:lnTo>
                    <a:pt x="466" y="1085"/>
                  </a:lnTo>
                  <a:lnTo>
                    <a:pt x="450" y="1089"/>
                  </a:lnTo>
                  <a:lnTo>
                    <a:pt x="435" y="1093"/>
                  </a:lnTo>
                  <a:lnTo>
                    <a:pt x="419" y="1096"/>
                  </a:lnTo>
                  <a:lnTo>
                    <a:pt x="403" y="1099"/>
                  </a:lnTo>
                  <a:lnTo>
                    <a:pt x="387" y="1100"/>
                  </a:lnTo>
                  <a:lnTo>
                    <a:pt x="371" y="1101"/>
                  </a:lnTo>
                  <a:lnTo>
                    <a:pt x="354" y="1102"/>
                  </a:lnTo>
                  <a:lnTo>
                    <a:pt x="354" y="1102"/>
                  </a:lnTo>
                  <a:lnTo>
                    <a:pt x="330" y="1101"/>
                  </a:lnTo>
                  <a:lnTo>
                    <a:pt x="307" y="1099"/>
                  </a:lnTo>
                  <a:lnTo>
                    <a:pt x="285" y="1095"/>
                  </a:lnTo>
                  <a:lnTo>
                    <a:pt x="264" y="1091"/>
                  </a:lnTo>
                  <a:lnTo>
                    <a:pt x="245" y="1086"/>
                  </a:lnTo>
                  <a:lnTo>
                    <a:pt x="225" y="1080"/>
                  </a:lnTo>
                  <a:lnTo>
                    <a:pt x="208" y="1073"/>
                  </a:lnTo>
                  <a:lnTo>
                    <a:pt x="191" y="1067"/>
                  </a:lnTo>
                  <a:lnTo>
                    <a:pt x="160" y="1052"/>
                  </a:lnTo>
                  <a:lnTo>
                    <a:pt x="131" y="1039"/>
                  </a:lnTo>
                  <a:lnTo>
                    <a:pt x="107" y="1028"/>
                  </a:lnTo>
                  <a:lnTo>
                    <a:pt x="95" y="1024"/>
                  </a:lnTo>
                  <a:lnTo>
                    <a:pt x="85" y="1021"/>
                  </a:lnTo>
                  <a:lnTo>
                    <a:pt x="85" y="1021"/>
                  </a:lnTo>
                  <a:lnTo>
                    <a:pt x="77" y="1028"/>
                  </a:lnTo>
                  <a:lnTo>
                    <a:pt x="70" y="1036"/>
                  </a:lnTo>
                  <a:lnTo>
                    <a:pt x="62" y="1044"/>
                  </a:lnTo>
                  <a:lnTo>
                    <a:pt x="56" y="1053"/>
                  </a:lnTo>
                  <a:lnTo>
                    <a:pt x="48" y="1065"/>
                  </a:lnTo>
                  <a:lnTo>
                    <a:pt x="43" y="1076"/>
                  </a:lnTo>
                  <a:lnTo>
                    <a:pt x="38" y="1088"/>
                  </a:lnTo>
                  <a:lnTo>
                    <a:pt x="35" y="1102"/>
                  </a:lnTo>
                  <a:lnTo>
                    <a:pt x="0" y="1102"/>
                  </a:lnTo>
                  <a:lnTo>
                    <a:pt x="0" y="7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67" name="Freeform 20"/>
            <p:cNvSpPr>
              <a:spLocks/>
            </p:cNvSpPr>
            <p:nvPr userDrawn="1"/>
          </p:nvSpPr>
          <p:spPr bwMode="auto">
            <a:xfrm>
              <a:off x="6712196" y="898693"/>
              <a:ext cx="141288" cy="136525"/>
            </a:xfrm>
            <a:custGeom>
              <a:avLst/>
              <a:gdLst>
                <a:gd name="T0" fmla="*/ 304 w 1077"/>
                <a:gd name="T1" fmla="*/ 999 h 1035"/>
                <a:gd name="T2" fmla="*/ 352 w 1077"/>
                <a:gd name="T3" fmla="*/ 997 h 1035"/>
                <a:gd name="T4" fmla="*/ 390 w 1077"/>
                <a:gd name="T5" fmla="*/ 991 h 1035"/>
                <a:gd name="T6" fmla="*/ 419 w 1077"/>
                <a:gd name="T7" fmla="*/ 981 h 1035"/>
                <a:gd name="T8" fmla="*/ 431 w 1077"/>
                <a:gd name="T9" fmla="*/ 972 h 1035"/>
                <a:gd name="T10" fmla="*/ 441 w 1077"/>
                <a:gd name="T11" fmla="*/ 962 h 1035"/>
                <a:gd name="T12" fmla="*/ 448 w 1077"/>
                <a:gd name="T13" fmla="*/ 951 h 1035"/>
                <a:gd name="T14" fmla="*/ 460 w 1077"/>
                <a:gd name="T15" fmla="*/ 920 h 1035"/>
                <a:gd name="T16" fmla="*/ 466 w 1077"/>
                <a:gd name="T17" fmla="*/ 879 h 1035"/>
                <a:gd name="T18" fmla="*/ 469 w 1077"/>
                <a:gd name="T19" fmla="*/ 827 h 1035"/>
                <a:gd name="T20" fmla="*/ 469 w 1077"/>
                <a:gd name="T21" fmla="*/ 68 h 1035"/>
                <a:gd name="T22" fmla="*/ 245 w 1077"/>
                <a:gd name="T23" fmla="*/ 68 h 1035"/>
                <a:gd name="T24" fmla="*/ 192 w 1077"/>
                <a:gd name="T25" fmla="*/ 69 h 1035"/>
                <a:gd name="T26" fmla="*/ 150 w 1077"/>
                <a:gd name="T27" fmla="*/ 75 h 1035"/>
                <a:gd name="T28" fmla="*/ 119 w 1077"/>
                <a:gd name="T29" fmla="*/ 85 h 1035"/>
                <a:gd name="T30" fmla="*/ 94 w 1077"/>
                <a:gd name="T31" fmla="*/ 98 h 1035"/>
                <a:gd name="T32" fmla="*/ 77 w 1077"/>
                <a:gd name="T33" fmla="*/ 117 h 1035"/>
                <a:gd name="T34" fmla="*/ 64 w 1077"/>
                <a:gd name="T35" fmla="*/ 139 h 1035"/>
                <a:gd name="T36" fmla="*/ 54 w 1077"/>
                <a:gd name="T37" fmla="*/ 167 h 1035"/>
                <a:gd name="T38" fmla="*/ 37 w 1077"/>
                <a:gd name="T39" fmla="*/ 233 h 1035"/>
                <a:gd name="T40" fmla="*/ 15 w 1077"/>
                <a:gd name="T41" fmla="*/ 0 h 1035"/>
                <a:gd name="T42" fmla="*/ 1077 w 1077"/>
                <a:gd name="T43" fmla="*/ 233 h 1035"/>
                <a:gd name="T44" fmla="*/ 1032 w 1077"/>
                <a:gd name="T45" fmla="*/ 198 h 1035"/>
                <a:gd name="T46" fmla="*/ 1023 w 1077"/>
                <a:gd name="T47" fmla="*/ 167 h 1035"/>
                <a:gd name="T48" fmla="*/ 1012 w 1077"/>
                <a:gd name="T49" fmla="*/ 139 h 1035"/>
                <a:gd name="T50" fmla="*/ 1000 w 1077"/>
                <a:gd name="T51" fmla="*/ 117 h 1035"/>
                <a:gd name="T52" fmla="*/ 983 w 1077"/>
                <a:gd name="T53" fmla="*/ 98 h 1035"/>
                <a:gd name="T54" fmla="*/ 958 w 1077"/>
                <a:gd name="T55" fmla="*/ 85 h 1035"/>
                <a:gd name="T56" fmla="*/ 926 w 1077"/>
                <a:gd name="T57" fmla="*/ 75 h 1035"/>
                <a:gd name="T58" fmla="*/ 884 w 1077"/>
                <a:gd name="T59" fmla="*/ 69 h 1035"/>
                <a:gd name="T60" fmla="*/ 831 w 1077"/>
                <a:gd name="T61" fmla="*/ 68 h 1035"/>
                <a:gd name="T62" fmla="*/ 607 w 1077"/>
                <a:gd name="T63" fmla="*/ 797 h 1035"/>
                <a:gd name="T64" fmla="*/ 607 w 1077"/>
                <a:gd name="T65" fmla="*/ 827 h 1035"/>
                <a:gd name="T66" fmla="*/ 610 w 1077"/>
                <a:gd name="T67" fmla="*/ 879 h 1035"/>
                <a:gd name="T68" fmla="*/ 617 w 1077"/>
                <a:gd name="T69" fmla="*/ 920 h 1035"/>
                <a:gd name="T70" fmla="*/ 629 w 1077"/>
                <a:gd name="T71" fmla="*/ 951 h 1035"/>
                <a:gd name="T72" fmla="*/ 636 w 1077"/>
                <a:gd name="T73" fmla="*/ 962 h 1035"/>
                <a:gd name="T74" fmla="*/ 646 w 1077"/>
                <a:gd name="T75" fmla="*/ 972 h 1035"/>
                <a:gd name="T76" fmla="*/ 657 w 1077"/>
                <a:gd name="T77" fmla="*/ 981 h 1035"/>
                <a:gd name="T78" fmla="*/ 687 w 1077"/>
                <a:gd name="T79" fmla="*/ 991 h 1035"/>
                <a:gd name="T80" fmla="*/ 725 w 1077"/>
                <a:gd name="T81" fmla="*/ 997 h 1035"/>
                <a:gd name="T82" fmla="*/ 773 w 1077"/>
                <a:gd name="T83" fmla="*/ 999 h 1035"/>
                <a:gd name="T84" fmla="*/ 304 w 1077"/>
                <a:gd name="T85" fmla="*/ 1035 h 10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77" h="1035">
                  <a:moveTo>
                    <a:pt x="304" y="999"/>
                  </a:moveTo>
                  <a:lnTo>
                    <a:pt x="304" y="999"/>
                  </a:lnTo>
                  <a:lnTo>
                    <a:pt x="329" y="998"/>
                  </a:lnTo>
                  <a:lnTo>
                    <a:pt x="352" y="997"/>
                  </a:lnTo>
                  <a:lnTo>
                    <a:pt x="372" y="995"/>
                  </a:lnTo>
                  <a:lnTo>
                    <a:pt x="390" y="991"/>
                  </a:lnTo>
                  <a:lnTo>
                    <a:pt x="406" y="987"/>
                  </a:lnTo>
                  <a:lnTo>
                    <a:pt x="419" y="981"/>
                  </a:lnTo>
                  <a:lnTo>
                    <a:pt x="425" y="977"/>
                  </a:lnTo>
                  <a:lnTo>
                    <a:pt x="431" y="972"/>
                  </a:lnTo>
                  <a:lnTo>
                    <a:pt x="436" y="967"/>
                  </a:lnTo>
                  <a:lnTo>
                    <a:pt x="441" y="962"/>
                  </a:lnTo>
                  <a:lnTo>
                    <a:pt x="445" y="957"/>
                  </a:lnTo>
                  <a:lnTo>
                    <a:pt x="448" y="951"/>
                  </a:lnTo>
                  <a:lnTo>
                    <a:pt x="455" y="937"/>
                  </a:lnTo>
                  <a:lnTo>
                    <a:pt x="460" y="920"/>
                  </a:lnTo>
                  <a:lnTo>
                    <a:pt x="463" y="901"/>
                  </a:lnTo>
                  <a:lnTo>
                    <a:pt x="466" y="879"/>
                  </a:lnTo>
                  <a:lnTo>
                    <a:pt x="468" y="855"/>
                  </a:lnTo>
                  <a:lnTo>
                    <a:pt x="469" y="827"/>
                  </a:lnTo>
                  <a:lnTo>
                    <a:pt x="469" y="797"/>
                  </a:lnTo>
                  <a:lnTo>
                    <a:pt x="469" y="68"/>
                  </a:lnTo>
                  <a:lnTo>
                    <a:pt x="245" y="68"/>
                  </a:lnTo>
                  <a:lnTo>
                    <a:pt x="245" y="68"/>
                  </a:lnTo>
                  <a:lnTo>
                    <a:pt x="217" y="68"/>
                  </a:lnTo>
                  <a:lnTo>
                    <a:pt x="192" y="69"/>
                  </a:lnTo>
                  <a:lnTo>
                    <a:pt x="170" y="72"/>
                  </a:lnTo>
                  <a:lnTo>
                    <a:pt x="150" y="75"/>
                  </a:lnTo>
                  <a:lnTo>
                    <a:pt x="133" y="79"/>
                  </a:lnTo>
                  <a:lnTo>
                    <a:pt x="119" y="85"/>
                  </a:lnTo>
                  <a:lnTo>
                    <a:pt x="105" y="91"/>
                  </a:lnTo>
                  <a:lnTo>
                    <a:pt x="94" y="98"/>
                  </a:lnTo>
                  <a:lnTo>
                    <a:pt x="85" y="106"/>
                  </a:lnTo>
                  <a:lnTo>
                    <a:pt x="77" y="117"/>
                  </a:lnTo>
                  <a:lnTo>
                    <a:pt x="71" y="127"/>
                  </a:lnTo>
                  <a:lnTo>
                    <a:pt x="64" y="139"/>
                  </a:lnTo>
                  <a:lnTo>
                    <a:pt x="59" y="152"/>
                  </a:lnTo>
                  <a:lnTo>
                    <a:pt x="54" y="167"/>
                  </a:lnTo>
                  <a:lnTo>
                    <a:pt x="45" y="198"/>
                  </a:lnTo>
                  <a:lnTo>
                    <a:pt x="37" y="233"/>
                  </a:lnTo>
                  <a:lnTo>
                    <a:pt x="0" y="233"/>
                  </a:lnTo>
                  <a:lnTo>
                    <a:pt x="15" y="0"/>
                  </a:lnTo>
                  <a:lnTo>
                    <a:pt x="1061" y="0"/>
                  </a:lnTo>
                  <a:lnTo>
                    <a:pt x="1077" y="233"/>
                  </a:lnTo>
                  <a:lnTo>
                    <a:pt x="1040" y="233"/>
                  </a:lnTo>
                  <a:lnTo>
                    <a:pt x="1032" y="198"/>
                  </a:lnTo>
                  <a:lnTo>
                    <a:pt x="1032" y="198"/>
                  </a:lnTo>
                  <a:lnTo>
                    <a:pt x="1023" y="167"/>
                  </a:lnTo>
                  <a:lnTo>
                    <a:pt x="1017" y="152"/>
                  </a:lnTo>
                  <a:lnTo>
                    <a:pt x="1012" y="139"/>
                  </a:lnTo>
                  <a:lnTo>
                    <a:pt x="1006" y="127"/>
                  </a:lnTo>
                  <a:lnTo>
                    <a:pt x="1000" y="117"/>
                  </a:lnTo>
                  <a:lnTo>
                    <a:pt x="992" y="106"/>
                  </a:lnTo>
                  <a:lnTo>
                    <a:pt x="983" y="98"/>
                  </a:lnTo>
                  <a:lnTo>
                    <a:pt x="971" y="91"/>
                  </a:lnTo>
                  <a:lnTo>
                    <a:pt x="958" y="85"/>
                  </a:lnTo>
                  <a:lnTo>
                    <a:pt x="944" y="79"/>
                  </a:lnTo>
                  <a:lnTo>
                    <a:pt x="926" y="75"/>
                  </a:lnTo>
                  <a:lnTo>
                    <a:pt x="907" y="72"/>
                  </a:lnTo>
                  <a:lnTo>
                    <a:pt x="884" y="69"/>
                  </a:lnTo>
                  <a:lnTo>
                    <a:pt x="860" y="68"/>
                  </a:lnTo>
                  <a:lnTo>
                    <a:pt x="831" y="68"/>
                  </a:lnTo>
                  <a:lnTo>
                    <a:pt x="607" y="68"/>
                  </a:lnTo>
                  <a:lnTo>
                    <a:pt x="607" y="797"/>
                  </a:lnTo>
                  <a:lnTo>
                    <a:pt x="607" y="797"/>
                  </a:lnTo>
                  <a:lnTo>
                    <a:pt x="607" y="827"/>
                  </a:lnTo>
                  <a:lnTo>
                    <a:pt x="608" y="855"/>
                  </a:lnTo>
                  <a:lnTo>
                    <a:pt x="610" y="879"/>
                  </a:lnTo>
                  <a:lnTo>
                    <a:pt x="614" y="901"/>
                  </a:lnTo>
                  <a:lnTo>
                    <a:pt x="617" y="920"/>
                  </a:lnTo>
                  <a:lnTo>
                    <a:pt x="622" y="937"/>
                  </a:lnTo>
                  <a:lnTo>
                    <a:pt x="629" y="951"/>
                  </a:lnTo>
                  <a:lnTo>
                    <a:pt x="632" y="957"/>
                  </a:lnTo>
                  <a:lnTo>
                    <a:pt x="636" y="962"/>
                  </a:lnTo>
                  <a:lnTo>
                    <a:pt x="641" y="967"/>
                  </a:lnTo>
                  <a:lnTo>
                    <a:pt x="646" y="972"/>
                  </a:lnTo>
                  <a:lnTo>
                    <a:pt x="651" y="977"/>
                  </a:lnTo>
                  <a:lnTo>
                    <a:pt x="657" y="981"/>
                  </a:lnTo>
                  <a:lnTo>
                    <a:pt x="671" y="987"/>
                  </a:lnTo>
                  <a:lnTo>
                    <a:pt x="687" y="991"/>
                  </a:lnTo>
                  <a:lnTo>
                    <a:pt x="705" y="995"/>
                  </a:lnTo>
                  <a:lnTo>
                    <a:pt x="725" y="997"/>
                  </a:lnTo>
                  <a:lnTo>
                    <a:pt x="747" y="998"/>
                  </a:lnTo>
                  <a:lnTo>
                    <a:pt x="773" y="999"/>
                  </a:lnTo>
                  <a:lnTo>
                    <a:pt x="773" y="1035"/>
                  </a:lnTo>
                  <a:lnTo>
                    <a:pt x="304" y="1035"/>
                  </a:lnTo>
                  <a:lnTo>
                    <a:pt x="304" y="99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68" name="Freeform 21"/>
            <p:cNvSpPr>
              <a:spLocks noEditPoints="1"/>
            </p:cNvSpPr>
            <p:nvPr userDrawn="1"/>
          </p:nvSpPr>
          <p:spPr bwMode="auto">
            <a:xfrm>
              <a:off x="6851897" y="893931"/>
              <a:ext cx="157162" cy="141289"/>
            </a:xfrm>
            <a:custGeom>
              <a:avLst/>
              <a:gdLst>
                <a:gd name="T0" fmla="*/ 0 w 1196"/>
                <a:gd name="T1" fmla="*/ 1029 h 1065"/>
                <a:gd name="T2" fmla="*/ 48 w 1196"/>
                <a:gd name="T3" fmla="*/ 1027 h 1065"/>
                <a:gd name="T4" fmla="*/ 86 w 1196"/>
                <a:gd name="T5" fmla="*/ 1022 h 1065"/>
                <a:gd name="T6" fmla="*/ 115 w 1196"/>
                <a:gd name="T7" fmla="*/ 1013 h 1065"/>
                <a:gd name="T8" fmla="*/ 137 w 1196"/>
                <a:gd name="T9" fmla="*/ 999 h 1065"/>
                <a:gd name="T10" fmla="*/ 156 w 1196"/>
                <a:gd name="T11" fmla="*/ 979 h 1065"/>
                <a:gd name="T12" fmla="*/ 172 w 1196"/>
                <a:gd name="T13" fmla="*/ 953 h 1065"/>
                <a:gd name="T14" fmla="*/ 188 w 1196"/>
                <a:gd name="T15" fmla="*/ 920 h 1065"/>
                <a:gd name="T16" fmla="*/ 586 w 1196"/>
                <a:gd name="T17" fmla="*/ 0 h 1065"/>
                <a:gd name="T18" fmla="*/ 990 w 1196"/>
                <a:gd name="T19" fmla="*/ 879 h 1065"/>
                <a:gd name="T20" fmla="*/ 1008 w 1196"/>
                <a:gd name="T21" fmla="*/ 920 h 1065"/>
                <a:gd name="T22" fmla="*/ 1025 w 1196"/>
                <a:gd name="T23" fmla="*/ 953 h 1065"/>
                <a:gd name="T24" fmla="*/ 1041 w 1196"/>
                <a:gd name="T25" fmla="*/ 979 h 1065"/>
                <a:gd name="T26" fmla="*/ 1060 w 1196"/>
                <a:gd name="T27" fmla="*/ 999 h 1065"/>
                <a:gd name="T28" fmla="*/ 1082 w 1196"/>
                <a:gd name="T29" fmla="*/ 1013 h 1065"/>
                <a:gd name="T30" fmla="*/ 1111 w 1196"/>
                <a:gd name="T31" fmla="*/ 1022 h 1065"/>
                <a:gd name="T32" fmla="*/ 1148 w 1196"/>
                <a:gd name="T33" fmla="*/ 1027 h 1065"/>
                <a:gd name="T34" fmla="*/ 1196 w 1196"/>
                <a:gd name="T35" fmla="*/ 1029 h 1065"/>
                <a:gd name="T36" fmla="*/ 717 w 1196"/>
                <a:gd name="T37" fmla="*/ 1065 h 1065"/>
                <a:gd name="T38" fmla="*/ 717 w 1196"/>
                <a:gd name="T39" fmla="*/ 1029 h 1065"/>
                <a:gd name="T40" fmla="*/ 766 w 1196"/>
                <a:gd name="T41" fmla="*/ 1027 h 1065"/>
                <a:gd name="T42" fmla="*/ 805 w 1196"/>
                <a:gd name="T43" fmla="*/ 1022 h 1065"/>
                <a:gd name="T44" fmla="*/ 834 w 1196"/>
                <a:gd name="T45" fmla="*/ 1013 h 1065"/>
                <a:gd name="T46" fmla="*/ 854 w 1196"/>
                <a:gd name="T47" fmla="*/ 998 h 1065"/>
                <a:gd name="T48" fmla="*/ 865 w 1196"/>
                <a:gd name="T49" fmla="*/ 981 h 1065"/>
                <a:gd name="T50" fmla="*/ 868 w 1196"/>
                <a:gd name="T51" fmla="*/ 958 h 1065"/>
                <a:gd name="T52" fmla="*/ 864 w 1196"/>
                <a:gd name="T53" fmla="*/ 931 h 1065"/>
                <a:gd name="T54" fmla="*/ 852 w 1196"/>
                <a:gd name="T55" fmla="*/ 897 h 1065"/>
                <a:gd name="T56" fmla="*/ 352 w 1196"/>
                <a:gd name="T57" fmla="*/ 706 h 1065"/>
                <a:gd name="T58" fmla="*/ 269 w 1196"/>
                <a:gd name="T59" fmla="*/ 897 h 1065"/>
                <a:gd name="T60" fmla="*/ 257 w 1196"/>
                <a:gd name="T61" fmla="*/ 930 h 1065"/>
                <a:gd name="T62" fmla="*/ 253 w 1196"/>
                <a:gd name="T63" fmla="*/ 957 h 1065"/>
                <a:gd name="T64" fmla="*/ 256 w 1196"/>
                <a:gd name="T65" fmla="*/ 980 h 1065"/>
                <a:gd name="T66" fmla="*/ 267 w 1196"/>
                <a:gd name="T67" fmla="*/ 998 h 1065"/>
                <a:gd name="T68" fmla="*/ 288 w 1196"/>
                <a:gd name="T69" fmla="*/ 1012 h 1065"/>
                <a:gd name="T70" fmla="*/ 316 w 1196"/>
                <a:gd name="T71" fmla="*/ 1021 h 1065"/>
                <a:gd name="T72" fmla="*/ 355 w 1196"/>
                <a:gd name="T73" fmla="*/ 1027 h 1065"/>
                <a:gd name="T74" fmla="*/ 403 w 1196"/>
                <a:gd name="T75" fmla="*/ 1029 h 1065"/>
                <a:gd name="T76" fmla="*/ 0 w 1196"/>
                <a:gd name="T77" fmla="*/ 1065 h 1065"/>
                <a:gd name="T78" fmla="*/ 740 w 1196"/>
                <a:gd name="T79" fmla="*/ 643 h 1065"/>
                <a:gd name="T80" fmla="*/ 380 w 1196"/>
                <a:gd name="T81" fmla="*/ 643 h 10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196" h="1065">
                  <a:moveTo>
                    <a:pt x="0" y="1029"/>
                  </a:moveTo>
                  <a:lnTo>
                    <a:pt x="0" y="1029"/>
                  </a:lnTo>
                  <a:lnTo>
                    <a:pt x="26" y="1028"/>
                  </a:lnTo>
                  <a:lnTo>
                    <a:pt x="48" y="1027"/>
                  </a:lnTo>
                  <a:lnTo>
                    <a:pt x="68" y="1025"/>
                  </a:lnTo>
                  <a:lnTo>
                    <a:pt x="86" y="1022"/>
                  </a:lnTo>
                  <a:lnTo>
                    <a:pt x="102" y="1018"/>
                  </a:lnTo>
                  <a:lnTo>
                    <a:pt x="115" y="1013"/>
                  </a:lnTo>
                  <a:lnTo>
                    <a:pt x="127" y="1007"/>
                  </a:lnTo>
                  <a:lnTo>
                    <a:pt x="137" y="999"/>
                  </a:lnTo>
                  <a:lnTo>
                    <a:pt x="148" y="990"/>
                  </a:lnTo>
                  <a:lnTo>
                    <a:pt x="156" y="979"/>
                  </a:lnTo>
                  <a:lnTo>
                    <a:pt x="164" y="967"/>
                  </a:lnTo>
                  <a:lnTo>
                    <a:pt x="172" y="953"/>
                  </a:lnTo>
                  <a:lnTo>
                    <a:pt x="180" y="937"/>
                  </a:lnTo>
                  <a:lnTo>
                    <a:pt x="188" y="920"/>
                  </a:lnTo>
                  <a:lnTo>
                    <a:pt x="207" y="879"/>
                  </a:lnTo>
                  <a:lnTo>
                    <a:pt x="586" y="0"/>
                  </a:lnTo>
                  <a:lnTo>
                    <a:pt x="609" y="0"/>
                  </a:lnTo>
                  <a:lnTo>
                    <a:pt x="990" y="879"/>
                  </a:lnTo>
                  <a:lnTo>
                    <a:pt x="990" y="879"/>
                  </a:lnTo>
                  <a:lnTo>
                    <a:pt x="1008" y="920"/>
                  </a:lnTo>
                  <a:lnTo>
                    <a:pt x="1017" y="937"/>
                  </a:lnTo>
                  <a:lnTo>
                    <a:pt x="1025" y="953"/>
                  </a:lnTo>
                  <a:lnTo>
                    <a:pt x="1033" y="967"/>
                  </a:lnTo>
                  <a:lnTo>
                    <a:pt x="1041" y="979"/>
                  </a:lnTo>
                  <a:lnTo>
                    <a:pt x="1049" y="990"/>
                  </a:lnTo>
                  <a:lnTo>
                    <a:pt x="1060" y="999"/>
                  </a:lnTo>
                  <a:lnTo>
                    <a:pt x="1070" y="1007"/>
                  </a:lnTo>
                  <a:lnTo>
                    <a:pt x="1082" y="1013"/>
                  </a:lnTo>
                  <a:lnTo>
                    <a:pt x="1095" y="1018"/>
                  </a:lnTo>
                  <a:lnTo>
                    <a:pt x="1111" y="1022"/>
                  </a:lnTo>
                  <a:lnTo>
                    <a:pt x="1128" y="1025"/>
                  </a:lnTo>
                  <a:lnTo>
                    <a:pt x="1148" y="1027"/>
                  </a:lnTo>
                  <a:lnTo>
                    <a:pt x="1170" y="1028"/>
                  </a:lnTo>
                  <a:lnTo>
                    <a:pt x="1196" y="1029"/>
                  </a:lnTo>
                  <a:lnTo>
                    <a:pt x="1196" y="1065"/>
                  </a:lnTo>
                  <a:lnTo>
                    <a:pt x="717" y="1065"/>
                  </a:lnTo>
                  <a:lnTo>
                    <a:pt x="717" y="1029"/>
                  </a:lnTo>
                  <a:lnTo>
                    <a:pt x="717" y="1029"/>
                  </a:lnTo>
                  <a:lnTo>
                    <a:pt x="743" y="1028"/>
                  </a:lnTo>
                  <a:lnTo>
                    <a:pt x="766" y="1027"/>
                  </a:lnTo>
                  <a:lnTo>
                    <a:pt x="787" y="1025"/>
                  </a:lnTo>
                  <a:lnTo>
                    <a:pt x="805" y="1022"/>
                  </a:lnTo>
                  <a:lnTo>
                    <a:pt x="820" y="1018"/>
                  </a:lnTo>
                  <a:lnTo>
                    <a:pt x="834" y="1013"/>
                  </a:lnTo>
                  <a:lnTo>
                    <a:pt x="845" y="1006"/>
                  </a:lnTo>
                  <a:lnTo>
                    <a:pt x="854" y="998"/>
                  </a:lnTo>
                  <a:lnTo>
                    <a:pt x="861" y="990"/>
                  </a:lnTo>
                  <a:lnTo>
                    <a:pt x="865" y="981"/>
                  </a:lnTo>
                  <a:lnTo>
                    <a:pt x="868" y="970"/>
                  </a:lnTo>
                  <a:lnTo>
                    <a:pt x="868" y="958"/>
                  </a:lnTo>
                  <a:lnTo>
                    <a:pt x="867" y="945"/>
                  </a:lnTo>
                  <a:lnTo>
                    <a:pt x="864" y="931"/>
                  </a:lnTo>
                  <a:lnTo>
                    <a:pt x="859" y="915"/>
                  </a:lnTo>
                  <a:lnTo>
                    <a:pt x="852" y="897"/>
                  </a:lnTo>
                  <a:lnTo>
                    <a:pt x="769" y="706"/>
                  </a:lnTo>
                  <a:lnTo>
                    <a:pt x="352" y="706"/>
                  </a:lnTo>
                  <a:lnTo>
                    <a:pt x="269" y="897"/>
                  </a:lnTo>
                  <a:lnTo>
                    <a:pt x="269" y="897"/>
                  </a:lnTo>
                  <a:lnTo>
                    <a:pt x="262" y="915"/>
                  </a:lnTo>
                  <a:lnTo>
                    <a:pt x="257" y="930"/>
                  </a:lnTo>
                  <a:lnTo>
                    <a:pt x="254" y="944"/>
                  </a:lnTo>
                  <a:lnTo>
                    <a:pt x="253" y="957"/>
                  </a:lnTo>
                  <a:lnTo>
                    <a:pt x="253" y="969"/>
                  </a:lnTo>
                  <a:lnTo>
                    <a:pt x="256" y="980"/>
                  </a:lnTo>
                  <a:lnTo>
                    <a:pt x="260" y="989"/>
                  </a:lnTo>
                  <a:lnTo>
                    <a:pt x="267" y="998"/>
                  </a:lnTo>
                  <a:lnTo>
                    <a:pt x="276" y="1006"/>
                  </a:lnTo>
                  <a:lnTo>
                    <a:pt x="288" y="1012"/>
                  </a:lnTo>
                  <a:lnTo>
                    <a:pt x="301" y="1017"/>
                  </a:lnTo>
                  <a:lnTo>
                    <a:pt x="316" y="1021"/>
                  </a:lnTo>
                  <a:lnTo>
                    <a:pt x="335" y="1025"/>
                  </a:lnTo>
                  <a:lnTo>
                    <a:pt x="355" y="1027"/>
                  </a:lnTo>
                  <a:lnTo>
                    <a:pt x="378" y="1028"/>
                  </a:lnTo>
                  <a:lnTo>
                    <a:pt x="403" y="1029"/>
                  </a:lnTo>
                  <a:lnTo>
                    <a:pt x="403" y="1065"/>
                  </a:lnTo>
                  <a:lnTo>
                    <a:pt x="0" y="1065"/>
                  </a:lnTo>
                  <a:lnTo>
                    <a:pt x="0" y="1029"/>
                  </a:lnTo>
                  <a:close/>
                  <a:moveTo>
                    <a:pt x="740" y="643"/>
                  </a:moveTo>
                  <a:lnTo>
                    <a:pt x="559" y="226"/>
                  </a:lnTo>
                  <a:lnTo>
                    <a:pt x="380" y="643"/>
                  </a:lnTo>
                  <a:lnTo>
                    <a:pt x="740" y="64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69" name="Freeform 22"/>
            <p:cNvSpPr>
              <a:spLocks/>
            </p:cNvSpPr>
            <p:nvPr userDrawn="1"/>
          </p:nvSpPr>
          <p:spPr bwMode="auto">
            <a:xfrm>
              <a:off x="7007471" y="898693"/>
              <a:ext cx="142875" cy="136525"/>
            </a:xfrm>
            <a:custGeom>
              <a:avLst/>
              <a:gdLst>
                <a:gd name="T0" fmla="*/ 304 w 1077"/>
                <a:gd name="T1" fmla="*/ 999 h 1035"/>
                <a:gd name="T2" fmla="*/ 353 w 1077"/>
                <a:gd name="T3" fmla="*/ 997 h 1035"/>
                <a:gd name="T4" fmla="*/ 391 w 1077"/>
                <a:gd name="T5" fmla="*/ 991 h 1035"/>
                <a:gd name="T6" fmla="*/ 420 w 1077"/>
                <a:gd name="T7" fmla="*/ 981 h 1035"/>
                <a:gd name="T8" fmla="*/ 431 w 1077"/>
                <a:gd name="T9" fmla="*/ 972 h 1035"/>
                <a:gd name="T10" fmla="*/ 441 w 1077"/>
                <a:gd name="T11" fmla="*/ 962 h 1035"/>
                <a:gd name="T12" fmla="*/ 449 w 1077"/>
                <a:gd name="T13" fmla="*/ 951 h 1035"/>
                <a:gd name="T14" fmla="*/ 461 w 1077"/>
                <a:gd name="T15" fmla="*/ 920 h 1035"/>
                <a:gd name="T16" fmla="*/ 467 w 1077"/>
                <a:gd name="T17" fmla="*/ 879 h 1035"/>
                <a:gd name="T18" fmla="*/ 470 w 1077"/>
                <a:gd name="T19" fmla="*/ 827 h 1035"/>
                <a:gd name="T20" fmla="*/ 470 w 1077"/>
                <a:gd name="T21" fmla="*/ 68 h 1035"/>
                <a:gd name="T22" fmla="*/ 246 w 1077"/>
                <a:gd name="T23" fmla="*/ 68 h 1035"/>
                <a:gd name="T24" fmla="*/ 193 w 1077"/>
                <a:gd name="T25" fmla="*/ 69 h 1035"/>
                <a:gd name="T26" fmla="*/ 151 w 1077"/>
                <a:gd name="T27" fmla="*/ 75 h 1035"/>
                <a:gd name="T28" fmla="*/ 119 w 1077"/>
                <a:gd name="T29" fmla="*/ 85 h 1035"/>
                <a:gd name="T30" fmla="*/ 95 w 1077"/>
                <a:gd name="T31" fmla="*/ 98 h 1035"/>
                <a:gd name="T32" fmla="*/ 78 w 1077"/>
                <a:gd name="T33" fmla="*/ 117 h 1035"/>
                <a:gd name="T34" fmla="*/ 65 w 1077"/>
                <a:gd name="T35" fmla="*/ 139 h 1035"/>
                <a:gd name="T36" fmla="*/ 55 w 1077"/>
                <a:gd name="T37" fmla="*/ 167 h 1035"/>
                <a:gd name="T38" fmla="*/ 37 w 1077"/>
                <a:gd name="T39" fmla="*/ 233 h 1035"/>
                <a:gd name="T40" fmla="*/ 17 w 1077"/>
                <a:gd name="T41" fmla="*/ 0 h 1035"/>
                <a:gd name="T42" fmla="*/ 1077 w 1077"/>
                <a:gd name="T43" fmla="*/ 233 h 1035"/>
                <a:gd name="T44" fmla="*/ 1032 w 1077"/>
                <a:gd name="T45" fmla="*/ 198 h 1035"/>
                <a:gd name="T46" fmla="*/ 1024 w 1077"/>
                <a:gd name="T47" fmla="*/ 167 h 1035"/>
                <a:gd name="T48" fmla="*/ 1014 w 1077"/>
                <a:gd name="T49" fmla="*/ 139 h 1035"/>
                <a:gd name="T50" fmla="*/ 1000 w 1077"/>
                <a:gd name="T51" fmla="*/ 117 h 1035"/>
                <a:gd name="T52" fmla="*/ 983 w 1077"/>
                <a:gd name="T53" fmla="*/ 98 h 1035"/>
                <a:gd name="T54" fmla="*/ 960 w 1077"/>
                <a:gd name="T55" fmla="*/ 85 h 1035"/>
                <a:gd name="T56" fmla="*/ 927 w 1077"/>
                <a:gd name="T57" fmla="*/ 75 h 1035"/>
                <a:gd name="T58" fmla="*/ 886 w 1077"/>
                <a:gd name="T59" fmla="*/ 69 h 1035"/>
                <a:gd name="T60" fmla="*/ 833 w 1077"/>
                <a:gd name="T61" fmla="*/ 68 h 1035"/>
                <a:gd name="T62" fmla="*/ 608 w 1077"/>
                <a:gd name="T63" fmla="*/ 797 h 1035"/>
                <a:gd name="T64" fmla="*/ 609 w 1077"/>
                <a:gd name="T65" fmla="*/ 827 h 1035"/>
                <a:gd name="T66" fmla="*/ 611 w 1077"/>
                <a:gd name="T67" fmla="*/ 879 h 1035"/>
                <a:gd name="T68" fmla="*/ 618 w 1077"/>
                <a:gd name="T69" fmla="*/ 920 h 1035"/>
                <a:gd name="T70" fmla="*/ 629 w 1077"/>
                <a:gd name="T71" fmla="*/ 951 h 1035"/>
                <a:gd name="T72" fmla="*/ 637 w 1077"/>
                <a:gd name="T73" fmla="*/ 962 h 1035"/>
                <a:gd name="T74" fmla="*/ 647 w 1077"/>
                <a:gd name="T75" fmla="*/ 972 h 1035"/>
                <a:gd name="T76" fmla="*/ 658 w 1077"/>
                <a:gd name="T77" fmla="*/ 981 h 1035"/>
                <a:gd name="T78" fmla="*/ 688 w 1077"/>
                <a:gd name="T79" fmla="*/ 991 h 1035"/>
                <a:gd name="T80" fmla="*/ 725 w 1077"/>
                <a:gd name="T81" fmla="*/ 997 h 1035"/>
                <a:gd name="T82" fmla="*/ 773 w 1077"/>
                <a:gd name="T83" fmla="*/ 999 h 1035"/>
                <a:gd name="T84" fmla="*/ 304 w 1077"/>
                <a:gd name="T85" fmla="*/ 1035 h 10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77" h="1035">
                  <a:moveTo>
                    <a:pt x="304" y="999"/>
                  </a:moveTo>
                  <a:lnTo>
                    <a:pt x="304" y="999"/>
                  </a:lnTo>
                  <a:lnTo>
                    <a:pt x="330" y="998"/>
                  </a:lnTo>
                  <a:lnTo>
                    <a:pt x="353" y="997"/>
                  </a:lnTo>
                  <a:lnTo>
                    <a:pt x="373" y="995"/>
                  </a:lnTo>
                  <a:lnTo>
                    <a:pt x="391" y="991"/>
                  </a:lnTo>
                  <a:lnTo>
                    <a:pt x="406" y="987"/>
                  </a:lnTo>
                  <a:lnTo>
                    <a:pt x="420" y="981"/>
                  </a:lnTo>
                  <a:lnTo>
                    <a:pt x="426" y="977"/>
                  </a:lnTo>
                  <a:lnTo>
                    <a:pt x="431" y="972"/>
                  </a:lnTo>
                  <a:lnTo>
                    <a:pt x="436" y="967"/>
                  </a:lnTo>
                  <a:lnTo>
                    <a:pt x="441" y="962"/>
                  </a:lnTo>
                  <a:lnTo>
                    <a:pt x="445" y="957"/>
                  </a:lnTo>
                  <a:lnTo>
                    <a:pt x="449" y="951"/>
                  </a:lnTo>
                  <a:lnTo>
                    <a:pt x="455" y="937"/>
                  </a:lnTo>
                  <a:lnTo>
                    <a:pt x="461" y="920"/>
                  </a:lnTo>
                  <a:lnTo>
                    <a:pt x="465" y="901"/>
                  </a:lnTo>
                  <a:lnTo>
                    <a:pt x="467" y="879"/>
                  </a:lnTo>
                  <a:lnTo>
                    <a:pt x="469" y="855"/>
                  </a:lnTo>
                  <a:lnTo>
                    <a:pt x="470" y="827"/>
                  </a:lnTo>
                  <a:lnTo>
                    <a:pt x="470" y="797"/>
                  </a:lnTo>
                  <a:lnTo>
                    <a:pt x="470" y="68"/>
                  </a:lnTo>
                  <a:lnTo>
                    <a:pt x="246" y="68"/>
                  </a:lnTo>
                  <a:lnTo>
                    <a:pt x="246" y="68"/>
                  </a:lnTo>
                  <a:lnTo>
                    <a:pt x="217" y="68"/>
                  </a:lnTo>
                  <a:lnTo>
                    <a:pt x="193" y="69"/>
                  </a:lnTo>
                  <a:lnTo>
                    <a:pt x="170" y="72"/>
                  </a:lnTo>
                  <a:lnTo>
                    <a:pt x="151" y="75"/>
                  </a:lnTo>
                  <a:lnTo>
                    <a:pt x="134" y="79"/>
                  </a:lnTo>
                  <a:lnTo>
                    <a:pt x="119" y="85"/>
                  </a:lnTo>
                  <a:lnTo>
                    <a:pt x="107" y="91"/>
                  </a:lnTo>
                  <a:lnTo>
                    <a:pt x="95" y="98"/>
                  </a:lnTo>
                  <a:lnTo>
                    <a:pt x="86" y="106"/>
                  </a:lnTo>
                  <a:lnTo>
                    <a:pt x="78" y="117"/>
                  </a:lnTo>
                  <a:lnTo>
                    <a:pt x="71" y="127"/>
                  </a:lnTo>
                  <a:lnTo>
                    <a:pt x="65" y="139"/>
                  </a:lnTo>
                  <a:lnTo>
                    <a:pt x="60" y="152"/>
                  </a:lnTo>
                  <a:lnTo>
                    <a:pt x="55" y="167"/>
                  </a:lnTo>
                  <a:lnTo>
                    <a:pt x="45" y="198"/>
                  </a:lnTo>
                  <a:lnTo>
                    <a:pt x="37" y="233"/>
                  </a:lnTo>
                  <a:lnTo>
                    <a:pt x="0" y="233"/>
                  </a:lnTo>
                  <a:lnTo>
                    <a:pt x="17" y="0"/>
                  </a:lnTo>
                  <a:lnTo>
                    <a:pt x="1062" y="0"/>
                  </a:lnTo>
                  <a:lnTo>
                    <a:pt x="1077" y="233"/>
                  </a:lnTo>
                  <a:lnTo>
                    <a:pt x="1041" y="233"/>
                  </a:lnTo>
                  <a:lnTo>
                    <a:pt x="1032" y="198"/>
                  </a:lnTo>
                  <a:lnTo>
                    <a:pt x="1032" y="198"/>
                  </a:lnTo>
                  <a:lnTo>
                    <a:pt x="1024" y="167"/>
                  </a:lnTo>
                  <a:lnTo>
                    <a:pt x="1019" y="152"/>
                  </a:lnTo>
                  <a:lnTo>
                    <a:pt x="1014" y="139"/>
                  </a:lnTo>
                  <a:lnTo>
                    <a:pt x="1008" y="127"/>
                  </a:lnTo>
                  <a:lnTo>
                    <a:pt x="1000" y="117"/>
                  </a:lnTo>
                  <a:lnTo>
                    <a:pt x="992" y="106"/>
                  </a:lnTo>
                  <a:lnTo>
                    <a:pt x="983" y="98"/>
                  </a:lnTo>
                  <a:lnTo>
                    <a:pt x="972" y="91"/>
                  </a:lnTo>
                  <a:lnTo>
                    <a:pt x="960" y="85"/>
                  </a:lnTo>
                  <a:lnTo>
                    <a:pt x="944" y="79"/>
                  </a:lnTo>
                  <a:lnTo>
                    <a:pt x="927" y="75"/>
                  </a:lnTo>
                  <a:lnTo>
                    <a:pt x="907" y="72"/>
                  </a:lnTo>
                  <a:lnTo>
                    <a:pt x="886" y="69"/>
                  </a:lnTo>
                  <a:lnTo>
                    <a:pt x="860" y="68"/>
                  </a:lnTo>
                  <a:lnTo>
                    <a:pt x="833" y="68"/>
                  </a:lnTo>
                  <a:lnTo>
                    <a:pt x="608" y="68"/>
                  </a:lnTo>
                  <a:lnTo>
                    <a:pt x="608" y="797"/>
                  </a:lnTo>
                  <a:lnTo>
                    <a:pt x="608" y="797"/>
                  </a:lnTo>
                  <a:lnTo>
                    <a:pt x="609" y="827"/>
                  </a:lnTo>
                  <a:lnTo>
                    <a:pt x="609" y="855"/>
                  </a:lnTo>
                  <a:lnTo>
                    <a:pt x="611" y="879"/>
                  </a:lnTo>
                  <a:lnTo>
                    <a:pt x="614" y="901"/>
                  </a:lnTo>
                  <a:lnTo>
                    <a:pt x="618" y="920"/>
                  </a:lnTo>
                  <a:lnTo>
                    <a:pt x="623" y="937"/>
                  </a:lnTo>
                  <a:lnTo>
                    <a:pt x="629" y="951"/>
                  </a:lnTo>
                  <a:lnTo>
                    <a:pt x="633" y="957"/>
                  </a:lnTo>
                  <a:lnTo>
                    <a:pt x="637" y="962"/>
                  </a:lnTo>
                  <a:lnTo>
                    <a:pt x="642" y="967"/>
                  </a:lnTo>
                  <a:lnTo>
                    <a:pt x="647" y="972"/>
                  </a:lnTo>
                  <a:lnTo>
                    <a:pt x="653" y="977"/>
                  </a:lnTo>
                  <a:lnTo>
                    <a:pt x="658" y="981"/>
                  </a:lnTo>
                  <a:lnTo>
                    <a:pt x="672" y="987"/>
                  </a:lnTo>
                  <a:lnTo>
                    <a:pt x="688" y="991"/>
                  </a:lnTo>
                  <a:lnTo>
                    <a:pt x="705" y="995"/>
                  </a:lnTo>
                  <a:lnTo>
                    <a:pt x="725" y="997"/>
                  </a:lnTo>
                  <a:lnTo>
                    <a:pt x="748" y="998"/>
                  </a:lnTo>
                  <a:lnTo>
                    <a:pt x="773" y="999"/>
                  </a:lnTo>
                  <a:lnTo>
                    <a:pt x="773" y="1035"/>
                  </a:lnTo>
                  <a:lnTo>
                    <a:pt x="304" y="1035"/>
                  </a:lnTo>
                  <a:lnTo>
                    <a:pt x="304" y="99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70" name="Freeform 23"/>
            <p:cNvSpPr>
              <a:spLocks/>
            </p:cNvSpPr>
            <p:nvPr userDrawn="1"/>
          </p:nvSpPr>
          <p:spPr bwMode="auto">
            <a:xfrm>
              <a:off x="7182096" y="893931"/>
              <a:ext cx="88900" cy="144463"/>
            </a:xfrm>
            <a:custGeom>
              <a:avLst/>
              <a:gdLst>
                <a:gd name="T0" fmla="*/ 39 w 683"/>
                <a:gd name="T1" fmla="*/ 752 h 1102"/>
                <a:gd name="T2" fmla="*/ 64 w 683"/>
                <a:gd name="T3" fmla="*/ 849 h 1102"/>
                <a:gd name="T4" fmla="*/ 104 w 683"/>
                <a:gd name="T5" fmla="*/ 921 h 1102"/>
                <a:gd name="T6" fmla="*/ 171 w 683"/>
                <a:gd name="T7" fmla="*/ 985 h 1102"/>
                <a:gd name="T8" fmla="*/ 273 w 683"/>
                <a:gd name="T9" fmla="*/ 1026 h 1102"/>
                <a:gd name="T10" fmla="*/ 377 w 683"/>
                <a:gd name="T11" fmla="*/ 1032 h 1102"/>
                <a:gd name="T12" fmla="*/ 476 w 683"/>
                <a:gd name="T13" fmla="*/ 1002 h 1102"/>
                <a:gd name="T14" fmla="*/ 544 w 683"/>
                <a:gd name="T15" fmla="*/ 937 h 1102"/>
                <a:gd name="T16" fmla="*/ 570 w 683"/>
                <a:gd name="T17" fmla="*/ 844 h 1102"/>
                <a:gd name="T18" fmla="*/ 555 w 683"/>
                <a:gd name="T19" fmla="*/ 787 h 1102"/>
                <a:gd name="T20" fmla="*/ 501 w 683"/>
                <a:gd name="T21" fmla="*/ 720 h 1102"/>
                <a:gd name="T22" fmla="*/ 413 w 683"/>
                <a:gd name="T23" fmla="*/ 659 h 1102"/>
                <a:gd name="T24" fmla="*/ 169 w 683"/>
                <a:gd name="T25" fmla="*/ 529 h 1102"/>
                <a:gd name="T26" fmla="*/ 86 w 683"/>
                <a:gd name="T27" fmla="*/ 455 h 1102"/>
                <a:gd name="T28" fmla="*/ 30 w 683"/>
                <a:gd name="T29" fmla="*/ 358 h 1102"/>
                <a:gd name="T30" fmla="*/ 14 w 683"/>
                <a:gd name="T31" fmla="*/ 265 h 1102"/>
                <a:gd name="T32" fmla="*/ 23 w 683"/>
                <a:gd name="T33" fmla="*/ 201 h 1102"/>
                <a:gd name="T34" fmla="*/ 46 w 683"/>
                <a:gd name="T35" fmla="*/ 142 h 1102"/>
                <a:gd name="T36" fmla="*/ 85 w 683"/>
                <a:gd name="T37" fmla="*/ 92 h 1102"/>
                <a:gd name="T38" fmla="*/ 136 w 683"/>
                <a:gd name="T39" fmla="*/ 52 h 1102"/>
                <a:gd name="T40" fmla="*/ 199 w 683"/>
                <a:gd name="T41" fmla="*/ 24 h 1102"/>
                <a:gd name="T42" fmla="*/ 269 w 683"/>
                <a:gd name="T43" fmla="*/ 9 h 1102"/>
                <a:gd name="T44" fmla="*/ 337 w 683"/>
                <a:gd name="T45" fmla="*/ 10 h 1102"/>
                <a:gd name="T46" fmla="*/ 411 w 683"/>
                <a:gd name="T47" fmla="*/ 25 h 1102"/>
                <a:gd name="T48" fmla="*/ 510 w 683"/>
                <a:gd name="T49" fmla="*/ 79 h 1102"/>
                <a:gd name="T50" fmla="*/ 540 w 683"/>
                <a:gd name="T51" fmla="*/ 46 h 1102"/>
                <a:gd name="T52" fmla="*/ 595 w 683"/>
                <a:gd name="T53" fmla="*/ 0 h 1102"/>
                <a:gd name="T54" fmla="*/ 552 w 683"/>
                <a:gd name="T55" fmla="*/ 326 h 1102"/>
                <a:gd name="T56" fmla="*/ 511 w 683"/>
                <a:gd name="T57" fmla="*/ 200 h 1102"/>
                <a:gd name="T58" fmla="*/ 473 w 683"/>
                <a:gd name="T59" fmla="*/ 145 h 1102"/>
                <a:gd name="T60" fmla="*/ 419 w 683"/>
                <a:gd name="T61" fmla="*/ 106 h 1102"/>
                <a:gd name="T62" fmla="*/ 348 w 683"/>
                <a:gd name="T63" fmla="*/ 82 h 1102"/>
                <a:gd name="T64" fmla="*/ 277 w 683"/>
                <a:gd name="T65" fmla="*/ 78 h 1102"/>
                <a:gd name="T66" fmla="*/ 200 w 683"/>
                <a:gd name="T67" fmla="*/ 104 h 1102"/>
                <a:gd name="T68" fmla="*/ 147 w 683"/>
                <a:gd name="T69" fmla="*/ 158 h 1102"/>
                <a:gd name="T70" fmla="*/ 128 w 683"/>
                <a:gd name="T71" fmla="*/ 231 h 1102"/>
                <a:gd name="T72" fmla="*/ 139 w 683"/>
                <a:gd name="T73" fmla="*/ 292 h 1102"/>
                <a:gd name="T74" fmla="*/ 190 w 683"/>
                <a:gd name="T75" fmla="*/ 355 h 1102"/>
                <a:gd name="T76" fmla="*/ 287 w 683"/>
                <a:gd name="T77" fmla="*/ 417 h 1102"/>
                <a:gd name="T78" fmla="*/ 548 w 683"/>
                <a:gd name="T79" fmla="*/ 556 h 1102"/>
                <a:gd name="T80" fmla="*/ 631 w 683"/>
                <a:gd name="T81" fmla="*/ 633 h 1102"/>
                <a:gd name="T82" fmla="*/ 674 w 683"/>
                <a:gd name="T83" fmla="*/ 720 h 1102"/>
                <a:gd name="T84" fmla="*/ 683 w 683"/>
                <a:gd name="T85" fmla="*/ 792 h 1102"/>
                <a:gd name="T86" fmla="*/ 673 w 683"/>
                <a:gd name="T87" fmla="*/ 874 h 1102"/>
                <a:gd name="T88" fmla="*/ 642 w 683"/>
                <a:gd name="T89" fmla="*/ 947 h 1102"/>
                <a:gd name="T90" fmla="*/ 596 w 683"/>
                <a:gd name="T91" fmla="*/ 1007 h 1102"/>
                <a:gd name="T92" fmla="*/ 536 w 683"/>
                <a:gd name="T93" fmla="*/ 1053 h 1102"/>
                <a:gd name="T94" fmla="*/ 465 w 683"/>
                <a:gd name="T95" fmla="*/ 1085 h 1102"/>
                <a:gd name="T96" fmla="*/ 387 w 683"/>
                <a:gd name="T97" fmla="*/ 1100 h 1102"/>
                <a:gd name="T98" fmla="*/ 307 w 683"/>
                <a:gd name="T99" fmla="*/ 1099 h 1102"/>
                <a:gd name="T100" fmla="*/ 208 w 683"/>
                <a:gd name="T101" fmla="*/ 1073 h 1102"/>
                <a:gd name="T102" fmla="*/ 95 w 683"/>
                <a:gd name="T103" fmla="*/ 1024 h 1102"/>
                <a:gd name="T104" fmla="*/ 62 w 683"/>
                <a:gd name="T105" fmla="*/ 1044 h 1102"/>
                <a:gd name="T106" fmla="*/ 35 w 683"/>
                <a:gd name="T107" fmla="*/ 1102 h 1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83" h="1102">
                  <a:moveTo>
                    <a:pt x="0" y="723"/>
                  </a:moveTo>
                  <a:lnTo>
                    <a:pt x="36" y="723"/>
                  </a:lnTo>
                  <a:lnTo>
                    <a:pt x="36" y="723"/>
                  </a:lnTo>
                  <a:lnTo>
                    <a:pt x="37" y="736"/>
                  </a:lnTo>
                  <a:lnTo>
                    <a:pt x="39" y="752"/>
                  </a:lnTo>
                  <a:lnTo>
                    <a:pt x="41" y="771"/>
                  </a:lnTo>
                  <a:lnTo>
                    <a:pt x="46" y="795"/>
                  </a:lnTo>
                  <a:lnTo>
                    <a:pt x="53" y="821"/>
                  </a:lnTo>
                  <a:lnTo>
                    <a:pt x="59" y="835"/>
                  </a:lnTo>
                  <a:lnTo>
                    <a:pt x="64" y="849"/>
                  </a:lnTo>
                  <a:lnTo>
                    <a:pt x="70" y="863"/>
                  </a:lnTo>
                  <a:lnTo>
                    <a:pt x="77" y="878"/>
                  </a:lnTo>
                  <a:lnTo>
                    <a:pt x="85" y="893"/>
                  </a:lnTo>
                  <a:lnTo>
                    <a:pt x="93" y="907"/>
                  </a:lnTo>
                  <a:lnTo>
                    <a:pt x="104" y="921"/>
                  </a:lnTo>
                  <a:lnTo>
                    <a:pt x="115" y="935"/>
                  </a:lnTo>
                  <a:lnTo>
                    <a:pt x="127" y="948"/>
                  </a:lnTo>
                  <a:lnTo>
                    <a:pt x="140" y="961"/>
                  </a:lnTo>
                  <a:lnTo>
                    <a:pt x="155" y="974"/>
                  </a:lnTo>
                  <a:lnTo>
                    <a:pt x="171" y="985"/>
                  </a:lnTo>
                  <a:lnTo>
                    <a:pt x="188" y="995"/>
                  </a:lnTo>
                  <a:lnTo>
                    <a:pt x="207" y="1004"/>
                  </a:lnTo>
                  <a:lnTo>
                    <a:pt x="227" y="1012"/>
                  </a:lnTo>
                  <a:lnTo>
                    <a:pt x="250" y="1020"/>
                  </a:lnTo>
                  <a:lnTo>
                    <a:pt x="273" y="1026"/>
                  </a:lnTo>
                  <a:lnTo>
                    <a:pt x="298" y="1030"/>
                  </a:lnTo>
                  <a:lnTo>
                    <a:pt x="325" y="1032"/>
                  </a:lnTo>
                  <a:lnTo>
                    <a:pt x="354" y="1033"/>
                  </a:lnTo>
                  <a:lnTo>
                    <a:pt x="354" y="1033"/>
                  </a:lnTo>
                  <a:lnTo>
                    <a:pt x="377" y="1032"/>
                  </a:lnTo>
                  <a:lnTo>
                    <a:pt x="398" y="1030"/>
                  </a:lnTo>
                  <a:lnTo>
                    <a:pt x="419" y="1025"/>
                  </a:lnTo>
                  <a:lnTo>
                    <a:pt x="439" y="1019"/>
                  </a:lnTo>
                  <a:lnTo>
                    <a:pt x="458" y="1011"/>
                  </a:lnTo>
                  <a:lnTo>
                    <a:pt x="476" y="1002"/>
                  </a:lnTo>
                  <a:lnTo>
                    <a:pt x="492" y="992"/>
                  </a:lnTo>
                  <a:lnTo>
                    <a:pt x="507" y="980"/>
                  </a:lnTo>
                  <a:lnTo>
                    <a:pt x="522" y="966"/>
                  </a:lnTo>
                  <a:lnTo>
                    <a:pt x="534" y="952"/>
                  </a:lnTo>
                  <a:lnTo>
                    <a:pt x="544" y="937"/>
                  </a:lnTo>
                  <a:lnTo>
                    <a:pt x="553" y="919"/>
                  </a:lnTo>
                  <a:lnTo>
                    <a:pt x="560" y="902"/>
                  </a:lnTo>
                  <a:lnTo>
                    <a:pt x="566" y="884"/>
                  </a:lnTo>
                  <a:lnTo>
                    <a:pt x="569" y="864"/>
                  </a:lnTo>
                  <a:lnTo>
                    <a:pt x="570" y="844"/>
                  </a:lnTo>
                  <a:lnTo>
                    <a:pt x="570" y="844"/>
                  </a:lnTo>
                  <a:lnTo>
                    <a:pt x="569" y="828"/>
                  </a:lnTo>
                  <a:lnTo>
                    <a:pt x="566" y="814"/>
                  </a:lnTo>
                  <a:lnTo>
                    <a:pt x="562" y="800"/>
                  </a:lnTo>
                  <a:lnTo>
                    <a:pt x="555" y="787"/>
                  </a:lnTo>
                  <a:lnTo>
                    <a:pt x="547" y="772"/>
                  </a:lnTo>
                  <a:lnTo>
                    <a:pt x="538" y="759"/>
                  </a:lnTo>
                  <a:lnTo>
                    <a:pt x="527" y="746"/>
                  </a:lnTo>
                  <a:lnTo>
                    <a:pt x="515" y="732"/>
                  </a:lnTo>
                  <a:lnTo>
                    <a:pt x="501" y="720"/>
                  </a:lnTo>
                  <a:lnTo>
                    <a:pt x="486" y="707"/>
                  </a:lnTo>
                  <a:lnTo>
                    <a:pt x="470" y="695"/>
                  </a:lnTo>
                  <a:lnTo>
                    <a:pt x="452" y="682"/>
                  </a:lnTo>
                  <a:lnTo>
                    <a:pt x="434" y="670"/>
                  </a:lnTo>
                  <a:lnTo>
                    <a:pt x="413" y="659"/>
                  </a:lnTo>
                  <a:lnTo>
                    <a:pt x="371" y="634"/>
                  </a:lnTo>
                  <a:lnTo>
                    <a:pt x="206" y="550"/>
                  </a:lnTo>
                  <a:lnTo>
                    <a:pt x="206" y="550"/>
                  </a:lnTo>
                  <a:lnTo>
                    <a:pt x="186" y="540"/>
                  </a:lnTo>
                  <a:lnTo>
                    <a:pt x="169" y="529"/>
                  </a:lnTo>
                  <a:lnTo>
                    <a:pt x="151" y="516"/>
                  </a:lnTo>
                  <a:lnTo>
                    <a:pt x="133" y="502"/>
                  </a:lnTo>
                  <a:lnTo>
                    <a:pt x="117" y="488"/>
                  </a:lnTo>
                  <a:lnTo>
                    <a:pt x="100" y="472"/>
                  </a:lnTo>
                  <a:lnTo>
                    <a:pt x="86" y="455"/>
                  </a:lnTo>
                  <a:lnTo>
                    <a:pt x="72" y="438"/>
                  </a:lnTo>
                  <a:lnTo>
                    <a:pt x="60" y="419"/>
                  </a:lnTo>
                  <a:lnTo>
                    <a:pt x="48" y="400"/>
                  </a:lnTo>
                  <a:lnTo>
                    <a:pt x="38" y="380"/>
                  </a:lnTo>
                  <a:lnTo>
                    <a:pt x="30" y="358"/>
                  </a:lnTo>
                  <a:lnTo>
                    <a:pt x="23" y="336"/>
                  </a:lnTo>
                  <a:lnTo>
                    <a:pt x="18" y="313"/>
                  </a:lnTo>
                  <a:lnTo>
                    <a:pt x="15" y="290"/>
                  </a:lnTo>
                  <a:lnTo>
                    <a:pt x="14" y="265"/>
                  </a:lnTo>
                  <a:lnTo>
                    <a:pt x="14" y="265"/>
                  </a:lnTo>
                  <a:lnTo>
                    <a:pt x="15" y="252"/>
                  </a:lnTo>
                  <a:lnTo>
                    <a:pt x="16" y="240"/>
                  </a:lnTo>
                  <a:lnTo>
                    <a:pt x="17" y="226"/>
                  </a:lnTo>
                  <a:lnTo>
                    <a:pt x="20" y="213"/>
                  </a:lnTo>
                  <a:lnTo>
                    <a:pt x="23" y="201"/>
                  </a:lnTo>
                  <a:lnTo>
                    <a:pt x="26" y="188"/>
                  </a:lnTo>
                  <a:lnTo>
                    <a:pt x="30" y="177"/>
                  </a:lnTo>
                  <a:lnTo>
                    <a:pt x="35" y="165"/>
                  </a:lnTo>
                  <a:lnTo>
                    <a:pt x="41" y="154"/>
                  </a:lnTo>
                  <a:lnTo>
                    <a:pt x="46" y="142"/>
                  </a:lnTo>
                  <a:lnTo>
                    <a:pt x="53" y="132"/>
                  </a:lnTo>
                  <a:lnTo>
                    <a:pt x="61" y="121"/>
                  </a:lnTo>
                  <a:lnTo>
                    <a:pt x="68" y="112"/>
                  </a:lnTo>
                  <a:lnTo>
                    <a:pt x="76" y="101"/>
                  </a:lnTo>
                  <a:lnTo>
                    <a:pt x="85" y="92"/>
                  </a:lnTo>
                  <a:lnTo>
                    <a:pt x="94" y="83"/>
                  </a:lnTo>
                  <a:lnTo>
                    <a:pt x="105" y="75"/>
                  </a:lnTo>
                  <a:lnTo>
                    <a:pt x="115" y="67"/>
                  </a:lnTo>
                  <a:lnTo>
                    <a:pt x="125" y="60"/>
                  </a:lnTo>
                  <a:lnTo>
                    <a:pt x="136" y="52"/>
                  </a:lnTo>
                  <a:lnTo>
                    <a:pt x="147" y="45"/>
                  </a:lnTo>
                  <a:lnTo>
                    <a:pt x="160" y="39"/>
                  </a:lnTo>
                  <a:lnTo>
                    <a:pt x="172" y="34"/>
                  </a:lnTo>
                  <a:lnTo>
                    <a:pt x="185" y="29"/>
                  </a:lnTo>
                  <a:lnTo>
                    <a:pt x="199" y="24"/>
                  </a:lnTo>
                  <a:lnTo>
                    <a:pt x="212" y="20"/>
                  </a:lnTo>
                  <a:lnTo>
                    <a:pt x="226" y="17"/>
                  </a:lnTo>
                  <a:lnTo>
                    <a:pt x="239" y="14"/>
                  </a:lnTo>
                  <a:lnTo>
                    <a:pt x="255" y="12"/>
                  </a:lnTo>
                  <a:lnTo>
                    <a:pt x="269" y="9"/>
                  </a:lnTo>
                  <a:lnTo>
                    <a:pt x="284" y="8"/>
                  </a:lnTo>
                  <a:lnTo>
                    <a:pt x="300" y="8"/>
                  </a:lnTo>
                  <a:lnTo>
                    <a:pt x="300" y="8"/>
                  </a:lnTo>
                  <a:lnTo>
                    <a:pt x="319" y="8"/>
                  </a:lnTo>
                  <a:lnTo>
                    <a:pt x="337" y="10"/>
                  </a:lnTo>
                  <a:lnTo>
                    <a:pt x="353" y="12"/>
                  </a:lnTo>
                  <a:lnTo>
                    <a:pt x="369" y="15"/>
                  </a:lnTo>
                  <a:lnTo>
                    <a:pt x="384" y="18"/>
                  </a:lnTo>
                  <a:lnTo>
                    <a:pt x="398" y="21"/>
                  </a:lnTo>
                  <a:lnTo>
                    <a:pt x="411" y="25"/>
                  </a:lnTo>
                  <a:lnTo>
                    <a:pt x="425" y="30"/>
                  </a:lnTo>
                  <a:lnTo>
                    <a:pt x="448" y="40"/>
                  </a:lnTo>
                  <a:lnTo>
                    <a:pt x="471" y="52"/>
                  </a:lnTo>
                  <a:lnTo>
                    <a:pt x="491" y="66"/>
                  </a:lnTo>
                  <a:lnTo>
                    <a:pt x="510" y="79"/>
                  </a:lnTo>
                  <a:lnTo>
                    <a:pt x="510" y="79"/>
                  </a:lnTo>
                  <a:lnTo>
                    <a:pt x="519" y="73"/>
                  </a:lnTo>
                  <a:lnTo>
                    <a:pt x="526" y="65"/>
                  </a:lnTo>
                  <a:lnTo>
                    <a:pt x="533" y="57"/>
                  </a:lnTo>
                  <a:lnTo>
                    <a:pt x="540" y="46"/>
                  </a:lnTo>
                  <a:lnTo>
                    <a:pt x="546" y="36"/>
                  </a:lnTo>
                  <a:lnTo>
                    <a:pt x="552" y="25"/>
                  </a:lnTo>
                  <a:lnTo>
                    <a:pt x="557" y="13"/>
                  </a:lnTo>
                  <a:lnTo>
                    <a:pt x="561" y="0"/>
                  </a:lnTo>
                  <a:lnTo>
                    <a:pt x="595" y="0"/>
                  </a:lnTo>
                  <a:lnTo>
                    <a:pt x="595" y="380"/>
                  </a:lnTo>
                  <a:lnTo>
                    <a:pt x="560" y="380"/>
                  </a:lnTo>
                  <a:lnTo>
                    <a:pt x="560" y="380"/>
                  </a:lnTo>
                  <a:lnTo>
                    <a:pt x="556" y="353"/>
                  </a:lnTo>
                  <a:lnTo>
                    <a:pt x="552" y="326"/>
                  </a:lnTo>
                  <a:lnTo>
                    <a:pt x="547" y="300"/>
                  </a:lnTo>
                  <a:lnTo>
                    <a:pt x="541" y="274"/>
                  </a:lnTo>
                  <a:lnTo>
                    <a:pt x="533" y="249"/>
                  </a:lnTo>
                  <a:lnTo>
                    <a:pt x="523" y="223"/>
                  </a:lnTo>
                  <a:lnTo>
                    <a:pt x="511" y="200"/>
                  </a:lnTo>
                  <a:lnTo>
                    <a:pt x="504" y="187"/>
                  </a:lnTo>
                  <a:lnTo>
                    <a:pt x="497" y="177"/>
                  </a:lnTo>
                  <a:lnTo>
                    <a:pt x="490" y="166"/>
                  </a:lnTo>
                  <a:lnTo>
                    <a:pt x="482" y="156"/>
                  </a:lnTo>
                  <a:lnTo>
                    <a:pt x="473" y="145"/>
                  </a:lnTo>
                  <a:lnTo>
                    <a:pt x="463" y="136"/>
                  </a:lnTo>
                  <a:lnTo>
                    <a:pt x="453" y="128"/>
                  </a:lnTo>
                  <a:lnTo>
                    <a:pt x="443" y="120"/>
                  </a:lnTo>
                  <a:lnTo>
                    <a:pt x="431" y="112"/>
                  </a:lnTo>
                  <a:lnTo>
                    <a:pt x="419" y="106"/>
                  </a:lnTo>
                  <a:lnTo>
                    <a:pt x="406" y="99"/>
                  </a:lnTo>
                  <a:lnTo>
                    <a:pt x="393" y="93"/>
                  </a:lnTo>
                  <a:lnTo>
                    <a:pt x="379" y="89"/>
                  </a:lnTo>
                  <a:lnTo>
                    <a:pt x="363" y="85"/>
                  </a:lnTo>
                  <a:lnTo>
                    <a:pt x="348" y="82"/>
                  </a:lnTo>
                  <a:lnTo>
                    <a:pt x="331" y="79"/>
                  </a:lnTo>
                  <a:lnTo>
                    <a:pt x="313" y="78"/>
                  </a:lnTo>
                  <a:lnTo>
                    <a:pt x="295" y="78"/>
                  </a:lnTo>
                  <a:lnTo>
                    <a:pt x="295" y="78"/>
                  </a:lnTo>
                  <a:lnTo>
                    <a:pt x="277" y="78"/>
                  </a:lnTo>
                  <a:lnTo>
                    <a:pt x="260" y="81"/>
                  </a:lnTo>
                  <a:lnTo>
                    <a:pt x="244" y="84"/>
                  </a:lnTo>
                  <a:lnTo>
                    <a:pt x="228" y="89"/>
                  </a:lnTo>
                  <a:lnTo>
                    <a:pt x="214" y="95"/>
                  </a:lnTo>
                  <a:lnTo>
                    <a:pt x="200" y="104"/>
                  </a:lnTo>
                  <a:lnTo>
                    <a:pt x="187" y="112"/>
                  </a:lnTo>
                  <a:lnTo>
                    <a:pt x="175" y="122"/>
                  </a:lnTo>
                  <a:lnTo>
                    <a:pt x="165" y="133"/>
                  </a:lnTo>
                  <a:lnTo>
                    <a:pt x="156" y="144"/>
                  </a:lnTo>
                  <a:lnTo>
                    <a:pt x="147" y="158"/>
                  </a:lnTo>
                  <a:lnTo>
                    <a:pt x="140" y="171"/>
                  </a:lnTo>
                  <a:lnTo>
                    <a:pt x="135" y="185"/>
                  </a:lnTo>
                  <a:lnTo>
                    <a:pt x="131" y="200"/>
                  </a:lnTo>
                  <a:lnTo>
                    <a:pt x="129" y="215"/>
                  </a:lnTo>
                  <a:lnTo>
                    <a:pt x="128" y="231"/>
                  </a:lnTo>
                  <a:lnTo>
                    <a:pt x="128" y="231"/>
                  </a:lnTo>
                  <a:lnTo>
                    <a:pt x="128" y="248"/>
                  </a:lnTo>
                  <a:lnTo>
                    <a:pt x="131" y="263"/>
                  </a:lnTo>
                  <a:lnTo>
                    <a:pt x="134" y="277"/>
                  </a:lnTo>
                  <a:lnTo>
                    <a:pt x="139" y="292"/>
                  </a:lnTo>
                  <a:lnTo>
                    <a:pt x="146" y="305"/>
                  </a:lnTo>
                  <a:lnTo>
                    <a:pt x="155" y="317"/>
                  </a:lnTo>
                  <a:lnTo>
                    <a:pt x="165" y="331"/>
                  </a:lnTo>
                  <a:lnTo>
                    <a:pt x="177" y="343"/>
                  </a:lnTo>
                  <a:lnTo>
                    <a:pt x="190" y="355"/>
                  </a:lnTo>
                  <a:lnTo>
                    <a:pt x="206" y="366"/>
                  </a:lnTo>
                  <a:lnTo>
                    <a:pt x="223" y="379"/>
                  </a:lnTo>
                  <a:lnTo>
                    <a:pt x="243" y="392"/>
                  </a:lnTo>
                  <a:lnTo>
                    <a:pt x="263" y="404"/>
                  </a:lnTo>
                  <a:lnTo>
                    <a:pt x="287" y="417"/>
                  </a:lnTo>
                  <a:lnTo>
                    <a:pt x="339" y="445"/>
                  </a:lnTo>
                  <a:lnTo>
                    <a:pt x="502" y="530"/>
                  </a:lnTo>
                  <a:lnTo>
                    <a:pt x="502" y="530"/>
                  </a:lnTo>
                  <a:lnTo>
                    <a:pt x="526" y="542"/>
                  </a:lnTo>
                  <a:lnTo>
                    <a:pt x="548" y="556"/>
                  </a:lnTo>
                  <a:lnTo>
                    <a:pt x="568" y="571"/>
                  </a:lnTo>
                  <a:lnTo>
                    <a:pt x="586" y="585"/>
                  </a:lnTo>
                  <a:lnTo>
                    <a:pt x="604" y="601"/>
                  </a:lnTo>
                  <a:lnTo>
                    <a:pt x="618" y="617"/>
                  </a:lnTo>
                  <a:lnTo>
                    <a:pt x="631" y="633"/>
                  </a:lnTo>
                  <a:lnTo>
                    <a:pt x="642" y="651"/>
                  </a:lnTo>
                  <a:lnTo>
                    <a:pt x="653" y="667"/>
                  </a:lnTo>
                  <a:lnTo>
                    <a:pt x="661" y="684"/>
                  </a:lnTo>
                  <a:lnTo>
                    <a:pt x="668" y="703"/>
                  </a:lnTo>
                  <a:lnTo>
                    <a:pt x="674" y="720"/>
                  </a:lnTo>
                  <a:lnTo>
                    <a:pt x="678" y="738"/>
                  </a:lnTo>
                  <a:lnTo>
                    <a:pt x="681" y="756"/>
                  </a:lnTo>
                  <a:lnTo>
                    <a:pt x="682" y="774"/>
                  </a:lnTo>
                  <a:lnTo>
                    <a:pt x="683" y="792"/>
                  </a:lnTo>
                  <a:lnTo>
                    <a:pt x="683" y="792"/>
                  </a:lnTo>
                  <a:lnTo>
                    <a:pt x="683" y="809"/>
                  </a:lnTo>
                  <a:lnTo>
                    <a:pt x="681" y="826"/>
                  </a:lnTo>
                  <a:lnTo>
                    <a:pt x="679" y="843"/>
                  </a:lnTo>
                  <a:lnTo>
                    <a:pt x="676" y="859"/>
                  </a:lnTo>
                  <a:lnTo>
                    <a:pt x="673" y="874"/>
                  </a:lnTo>
                  <a:lnTo>
                    <a:pt x="668" y="890"/>
                  </a:lnTo>
                  <a:lnTo>
                    <a:pt x="663" y="905"/>
                  </a:lnTo>
                  <a:lnTo>
                    <a:pt x="657" y="919"/>
                  </a:lnTo>
                  <a:lnTo>
                    <a:pt x="651" y="934"/>
                  </a:lnTo>
                  <a:lnTo>
                    <a:pt x="642" y="947"/>
                  </a:lnTo>
                  <a:lnTo>
                    <a:pt x="634" y="960"/>
                  </a:lnTo>
                  <a:lnTo>
                    <a:pt x="626" y="973"/>
                  </a:lnTo>
                  <a:lnTo>
                    <a:pt x="617" y="985"/>
                  </a:lnTo>
                  <a:lnTo>
                    <a:pt x="607" y="996"/>
                  </a:lnTo>
                  <a:lnTo>
                    <a:pt x="596" y="1007"/>
                  </a:lnTo>
                  <a:lnTo>
                    <a:pt x="585" y="1018"/>
                  </a:lnTo>
                  <a:lnTo>
                    <a:pt x="574" y="1028"/>
                  </a:lnTo>
                  <a:lnTo>
                    <a:pt x="562" y="1037"/>
                  </a:lnTo>
                  <a:lnTo>
                    <a:pt x="549" y="1045"/>
                  </a:lnTo>
                  <a:lnTo>
                    <a:pt x="536" y="1053"/>
                  </a:lnTo>
                  <a:lnTo>
                    <a:pt x="523" y="1062"/>
                  </a:lnTo>
                  <a:lnTo>
                    <a:pt x="509" y="1068"/>
                  </a:lnTo>
                  <a:lnTo>
                    <a:pt x="495" y="1075"/>
                  </a:lnTo>
                  <a:lnTo>
                    <a:pt x="480" y="1080"/>
                  </a:lnTo>
                  <a:lnTo>
                    <a:pt x="465" y="1085"/>
                  </a:lnTo>
                  <a:lnTo>
                    <a:pt x="450" y="1089"/>
                  </a:lnTo>
                  <a:lnTo>
                    <a:pt x="435" y="1093"/>
                  </a:lnTo>
                  <a:lnTo>
                    <a:pt x="419" y="1096"/>
                  </a:lnTo>
                  <a:lnTo>
                    <a:pt x="403" y="1099"/>
                  </a:lnTo>
                  <a:lnTo>
                    <a:pt x="387" y="1100"/>
                  </a:lnTo>
                  <a:lnTo>
                    <a:pt x="370" y="1101"/>
                  </a:lnTo>
                  <a:lnTo>
                    <a:pt x="354" y="1102"/>
                  </a:lnTo>
                  <a:lnTo>
                    <a:pt x="354" y="1102"/>
                  </a:lnTo>
                  <a:lnTo>
                    <a:pt x="329" y="1101"/>
                  </a:lnTo>
                  <a:lnTo>
                    <a:pt x="307" y="1099"/>
                  </a:lnTo>
                  <a:lnTo>
                    <a:pt x="286" y="1095"/>
                  </a:lnTo>
                  <a:lnTo>
                    <a:pt x="264" y="1091"/>
                  </a:lnTo>
                  <a:lnTo>
                    <a:pt x="245" y="1086"/>
                  </a:lnTo>
                  <a:lnTo>
                    <a:pt x="225" y="1080"/>
                  </a:lnTo>
                  <a:lnTo>
                    <a:pt x="208" y="1073"/>
                  </a:lnTo>
                  <a:lnTo>
                    <a:pt x="190" y="1067"/>
                  </a:lnTo>
                  <a:lnTo>
                    <a:pt x="160" y="1052"/>
                  </a:lnTo>
                  <a:lnTo>
                    <a:pt x="131" y="1039"/>
                  </a:lnTo>
                  <a:lnTo>
                    <a:pt x="107" y="1028"/>
                  </a:lnTo>
                  <a:lnTo>
                    <a:pt x="95" y="1024"/>
                  </a:lnTo>
                  <a:lnTo>
                    <a:pt x="85" y="1021"/>
                  </a:lnTo>
                  <a:lnTo>
                    <a:pt x="85" y="1021"/>
                  </a:lnTo>
                  <a:lnTo>
                    <a:pt x="77" y="1028"/>
                  </a:lnTo>
                  <a:lnTo>
                    <a:pt x="70" y="1036"/>
                  </a:lnTo>
                  <a:lnTo>
                    <a:pt x="62" y="1044"/>
                  </a:lnTo>
                  <a:lnTo>
                    <a:pt x="55" y="1053"/>
                  </a:lnTo>
                  <a:lnTo>
                    <a:pt x="49" y="1065"/>
                  </a:lnTo>
                  <a:lnTo>
                    <a:pt x="43" y="1076"/>
                  </a:lnTo>
                  <a:lnTo>
                    <a:pt x="38" y="1088"/>
                  </a:lnTo>
                  <a:lnTo>
                    <a:pt x="35" y="1102"/>
                  </a:lnTo>
                  <a:lnTo>
                    <a:pt x="0" y="1102"/>
                  </a:lnTo>
                  <a:lnTo>
                    <a:pt x="0" y="7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71" name="Freeform 24"/>
            <p:cNvSpPr>
              <a:spLocks noEditPoints="1"/>
            </p:cNvSpPr>
            <p:nvPr userDrawn="1"/>
          </p:nvSpPr>
          <p:spPr bwMode="auto">
            <a:xfrm>
              <a:off x="7310683" y="898693"/>
              <a:ext cx="133350" cy="136525"/>
            </a:xfrm>
            <a:custGeom>
              <a:avLst/>
              <a:gdLst>
                <a:gd name="T0" fmla="*/ 49 w 1009"/>
                <a:gd name="T1" fmla="*/ 997 h 1035"/>
                <a:gd name="T2" fmla="*/ 115 w 1009"/>
                <a:gd name="T3" fmla="*/ 981 h 1035"/>
                <a:gd name="T4" fmla="*/ 136 w 1009"/>
                <a:gd name="T5" fmla="*/ 962 h 1035"/>
                <a:gd name="T6" fmla="*/ 155 w 1009"/>
                <a:gd name="T7" fmla="*/ 920 h 1035"/>
                <a:gd name="T8" fmla="*/ 163 w 1009"/>
                <a:gd name="T9" fmla="*/ 827 h 1035"/>
                <a:gd name="T10" fmla="*/ 163 w 1009"/>
                <a:gd name="T11" fmla="*/ 206 h 1035"/>
                <a:gd name="T12" fmla="*/ 155 w 1009"/>
                <a:gd name="T13" fmla="*/ 114 h 1035"/>
                <a:gd name="T14" fmla="*/ 136 w 1009"/>
                <a:gd name="T15" fmla="*/ 72 h 1035"/>
                <a:gd name="T16" fmla="*/ 115 w 1009"/>
                <a:gd name="T17" fmla="*/ 54 h 1035"/>
                <a:gd name="T18" fmla="*/ 49 w 1009"/>
                <a:gd name="T19" fmla="*/ 38 h 1035"/>
                <a:gd name="T20" fmla="*/ 456 w 1009"/>
                <a:gd name="T21" fmla="*/ 0 h 1035"/>
                <a:gd name="T22" fmla="*/ 520 w 1009"/>
                <a:gd name="T23" fmla="*/ 3 h 1035"/>
                <a:gd name="T24" fmla="*/ 597 w 1009"/>
                <a:gd name="T25" fmla="*/ 17 h 1035"/>
                <a:gd name="T26" fmla="*/ 663 w 1009"/>
                <a:gd name="T27" fmla="*/ 42 h 1035"/>
                <a:gd name="T28" fmla="*/ 718 w 1009"/>
                <a:gd name="T29" fmla="*/ 76 h 1035"/>
                <a:gd name="T30" fmla="*/ 763 w 1009"/>
                <a:gd name="T31" fmla="*/ 118 h 1035"/>
                <a:gd name="T32" fmla="*/ 796 w 1009"/>
                <a:gd name="T33" fmla="*/ 166 h 1035"/>
                <a:gd name="T34" fmla="*/ 817 w 1009"/>
                <a:gd name="T35" fmla="*/ 219 h 1035"/>
                <a:gd name="T36" fmla="*/ 826 w 1009"/>
                <a:gd name="T37" fmla="*/ 276 h 1035"/>
                <a:gd name="T38" fmla="*/ 825 w 1009"/>
                <a:gd name="T39" fmla="*/ 319 h 1035"/>
                <a:gd name="T40" fmla="*/ 815 w 1009"/>
                <a:gd name="T41" fmla="*/ 372 h 1035"/>
                <a:gd name="T42" fmla="*/ 794 w 1009"/>
                <a:gd name="T43" fmla="*/ 421 h 1035"/>
                <a:gd name="T44" fmla="*/ 764 w 1009"/>
                <a:gd name="T45" fmla="*/ 465 h 1035"/>
                <a:gd name="T46" fmla="*/ 726 w 1009"/>
                <a:gd name="T47" fmla="*/ 503 h 1035"/>
                <a:gd name="T48" fmla="*/ 677 w 1009"/>
                <a:gd name="T49" fmla="*/ 535 h 1035"/>
                <a:gd name="T50" fmla="*/ 620 w 1009"/>
                <a:gd name="T51" fmla="*/ 559 h 1035"/>
                <a:gd name="T52" fmla="*/ 555 w 1009"/>
                <a:gd name="T53" fmla="*/ 576 h 1035"/>
                <a:gd name="T54" fmla="*/ 689 w 1009"/>
                <a:gd name="T55" fmla="*/ 779 h 1035"/>
                <a:gd name="T56" fmla="*/ 767 w 1009"/>
                <a:gd name="T57" fmla="*/ 863 h 1035"/>
                <a:gd name="T58" fmla="*/ 848 w 1009"/>
                <a:gd name="T59" fmla="*/ 929 h 1035"/>
                <a:gd name="T60" fmla="*/ 930 w 1009"/>
                <a:gd name="T61" fmla="*/ 977 h 1035"/>
                <a:gd name="T62" fmla="*/ 1009 w 1009"/>
                <a:gd name="T63" fmla="*/ 999 h 1035"/>
                <a:gd name="T64" fmla="*/ 302 w 1009"/>
                <a:gd name="T65" fmla="*/ 581 h 1035"/>
                <a:gd name="T66" fmla="*/ 303 w 1009"/>
                <a:gd name="T67" fmla="*/ 855 h 1035"/>
                <a:gd name="T68" fmla="*/ 316 w 1009"/>
                <a:gd name="T69" fmla="*/ 937 h 1035"/>
                <a:gd name="T70" fmla="*/ 335 w 1009"/>
                <a:gd name="T71" fmla="*/ 967 h 1035"/>
                <a:gd name="T72" fmla="*/ 365 w 1009"/>
                <a:gd name="T73" fmla="*/ 987 h 1035"/>
                <a:gd name="T74" fmla="*/ 440 w 1009"/>
                <a:gd name="T75" fmla="*/ 998 h 1035"/>
                <a:gd name="T76" fmla="*/ 0 w 1009"/>
                <a:gd name="T77" fmla="*/ 999 h 1035"/>
                <a:gd name="T78" fmla="*/ 494 w 1009"/>
                <a:gd name="T79" fmla="*/ 516 h 1035"/>
                <a:gd name="T80" fmla="*/ 541 w 1009"/>
                <a:gd name="T81" fmla="*/ 505 h 1035"/>
                <a:gd name="T82" fmla="*/ 580 w 1009"/>
                <a:gd name="T83" fmla="*/ 486 h 1035"/>
                <a:gd name="T84" fmla="*/ 633 w 1009"/>
                <a:gd name="T85" fmla="*/ 437 h 1035"/>
                <a:gd name="T86" fmla="*/ 665 w 1009"/>
                <a:gd name="T87" fmla="*/ 359 h 1035"/>
                <a:gd name="T88" fmla="*/ 672 w 1009"/>
                <a:gd name="T89" fmla="*/ 291 h 1035"/>
                <a:gd name="T90" fmla="*/ 660 w 1009"/>
                <a:gd name="T91" fmla="*/ 204 h 1035"/>
                <a:gd name="T92" fmla="*/ 619 w 1009"/>
                <a:gd name="T93" fmla="*/ 131 h 1035"/>
                <a:gd name="T94" fmla="*/ 571 w 1009"/>
                <a:gd name="T95" fmla="*/ 91 h 1035"/>
                <a:gd name="T96" fmla="*/ 529 w 1009"/>
                <a:gd name="T97" fmla="*/ 74 h 1035"/>
                <a:gd name="T98" fmla="*/ 481 w 1009"/>
                <a:gd name="T99" fmla="*/ 65 h 1035"/>
                <a:gd name="T100" fmla="*/ 302 w 1009"/>
                <a:gd name="T101" fmla="*/ 519 h 10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009" h="1035">
                  <a:moveTo>
                    <a:pt x="0" y="999"/>
                  </a:moveTo>
                  <a:lnTo>
                    <a:pt x="0" y="999"/>
                  </a:lnTo>
                  <a:lnTo>
                    <a:pt x="25" y="998"/>
                  </a:lnTo>
                  <a:lnTo>
                    <a:pt x="49" y="997"/>
                  </a:lnTo>
                  <a:lnTo>
                    <a:pt x="68" y="995"/>
                  </a:lnTo>
                  <a:lnTo>
                    <a:pt x="87" y="991"/>
                  </a:lnTo>
                  <a:lnTo>
                    <a:pt x="102" y="987"/>
                  </a:lnTo>
                  <a:lnTo>
                    <a:pt x="115" y="981"/>
                  </a:lnTo>
                  <a:lnTo>
                    <a:pt x="120" y="977"/>
                  </a:lnTo>
                  <a:lnTo>
                    <a:pt x="126" y="972"/>
                  </a:lnTo>
                  <a:lnTo>
                    <a:pt x="132" y="967"/>
                  </a:lnTo>
                  <a:lnTo>
                    <a:pt x="136" y="962"/>
                  </a:lnTo>
                  <a:lnTo>
                    <a:pt x="140" y="957"/>
                  </a:lnTo>
                  <a:lnTo>
                    <a:pt x="144" y="951"/>
                  </a:lnTo>
                  <a:lnTo>
                    <a:pt x="150" y="937"/>
                  </a:lnTo>
                  <a:lnTo>
                    <a:pt x="155" y="920"/>
                  </a:lnTo>
                  <a:lnTo>
                    <a:pt x="158" y="901"/>
                  </a:lnTo>
                  <a:lnTo>
                    <a:pt x="161" y="879"/>
                  </a:lnTo>
                  <a:lnTo>
                    <a:pt x="163" y="855"/>
                  </a:lnTo>
                  <a:lnTo>
                    <a:pt x="163" y="827"/>
                  </a:lnTo>
                  <a:lnTo>
                    <a:pt x="164" y="797"/>
                  </a:lnTo>
                  <a:lnTo>
                    <a:pt x="164" y="236"/>
                  </a:lnTo>
                  <a:lnTo>
                    <a:pt x="164" y="236"/>
                  </a:lnTo>
                  <a:lnTo>
                    <a:pt x="163" y="206"/>
                  </a:lnTo>
                  <a:lnTo>
                    <a:pt x="163" y="178"/>
                  </a:lnTo>
                  <a:lnTo>
                    <a:pt x="161" y="153"/>
                  </a:lnTo>
                  <a:lnTo>
                    <a:pt x="158" y="132"/>
                  </a:lnTo>
                  <a:lnTo>
                    <a:pt x="155" y="114"/>
                  </a:lnTo>
                  <a:lnTo>
                    <a:pt x="150" y="97"/>
                  </a:lnTo>
                  <a:lnTo>
                    <a:pt x="144" y="83"/>
                  </a:lnTo>
                  <a:lnTo>
                    <a:pt x="140" y="77"/>
                  </a:lnTo>
                  <a:lnTo>
                    <a:pt x="136" y="72"/>
                  </a:lnTo>
                  <a:lnTo>
                    <a:pt x="132" y="67"/>
                  </a:lnTo>
                  <a:lnTo>
                    <a:pt x="126" y="61"/>
                  </a:lnTo>
                  <a:lnTo>
                    <a:pt x="120" y="57"/>
                  </a:lnTo>
                  <a:lnTo>
                    <a:pt x="115" y="54"/>
                  </a:lnTo>
                  <a:lnTo>
                    <a:pt x="102" y="48"/>
                  </a:lnTo>
                  <a:lnTo>
                    <a:pt x="87" y="43"/>
                  </a:lnTo>
                  <a:lnTo>
                    <a:pt x="68" y="40"/>
                  </a:lnTo>
                  <a:lnTo>
                    <a:pt x="49" y="38"/>
                  </a:lnTo>
                  <a:lnTo>
                    <a:pt x="25" y="37"/>
                  </a:lnTo>
                  <a:lnTo>
                    <a:pt x="0" y="36"/>
                  </a:lnTo>
                  <a:lnTo>
                    <a:pt x="0" y="0"/>
                  </a:lnTo>
                  <a:lnTo>
                    <a:pt x="456" y="0"/>
                  </a:lnTo>
                  <a:lnTo>
                    <a:pt x="456" y="0"/>
                  </a:lnTo>
                  <a:lnTo>
                    <a:pt x="478" y="0"/>
                  </a:lnTo>
                  <a:lnTo>
                    <a:pt x="500" y="1"/>
                  </a:lnTo>
                  <a:lnTo>
                    <a:pt x="520" y="3"/>
                  </a:lnTo>
                  <a:lnTo>
                    <a:pt x="541" y="6"/>
                  </a:lnTo>
                  <a:lnTo>
                    <a:pt x="560" y="9"/>
                  </a:lnTo>
                  <a:lnTo>
                    <a:pt x="578" y="13"/>
                  </a:lnTo>
                  <a:lnTo>
                    <a:pt x="597" y="17"/>
                  </a:lnTo>
                  <a:lnTo>
                    <a:pt x="614" y="23"/>
                  </a:lnTo>
                  <a:lnTo>
                    <a:pt x="632" y="29"/>
                  </a:lnTo>
                  <a:lnTo>
                    <a:pt x="648" y="35"/>
                  </a:lnTo>
                  <a:lnTo>
                    <a:pt x="663" y="42"/>
                  </a:lnTo>
                  <a:lnTo>
                    <a:pt x="679" y="50"/>
                  </a:lnTo>
                  <a:lnTo>
                    <a:pt x="693" y="58"/>
                  </a:lnTo>
                  <a:lnTo>
                    <a:pt x="706" y="67"/>
                  </a:lnTo>
                  <a:lnTo>
                    <a:pt x="718" y="76"/>
                  </a:lnTo>
                  <a:lnTo>
                    <a:pt x="731" y="85"/>
                  </a:lnTo>
                  <a:lnTo>
                    <a:pt x="742" y="95"/>
                  </a:lnTo>
                  <a:lnTo>
                    <a:pt x="753" y="106"/>
                  </a:lnTo>
                  <a:lnTo>
                    <a:pt x="763" y="118"/>
                  </a:lnTo>
                  <a:lnTo>
                    <a:pt x="773" y="129"/>
                  </a:lnTo>
                  <a:lnTo>
                    <a:pt x="781" y="140"/>
                  </a:lnTo>
                  <a:lnTo>
                    <a:pt x="789" y="152"/>
                  </a:lnTo>
                  <a:lnTo>
                    <a:pt x="796" y="166"/>
                  </a:lnTo>
                  <a:lnTo>
                    <a:pt x="802" y="178"/>
                  </a:lnTo>
                  <a:lnTo>
                    <a:pt x="807" y="191"/>
                  </a:lnTo>
                  <a:lnTo>
                    <a:pt x="813" y="205"/>
                  </a:lnTo>
                  <a:lnTo>
                    <a:pt x="817" y="219"/>
                  </a:lnTo>
                  <a:lnTo>
                    <a:pt x="821" y="233"/>
                  </a:lnTo>
                  <a:lnTo>
                    <a:pt x="823" y="248"/>
                  </a:lnTo>
                  <a:lnTo>
                    <a:pt x="825" y="262"/>
                  </a:lnTo>
                  <a:lnTo>
                    <a:pt x="826" y="276"/>
                  </a:lnTo>
                  <a:lnTo>
                    <a:pt x="827" y="291"/>
                  </a:lnTo>
                  <a:lnTo>
                    <a:pt x="827" y="291"/>
                  </a:lnTo>
                  <a:lnTo>
                    <a:pt x="826" y="306"/>
                  </a:lnTo>
                  <a:lnTo>
                    <a:pt x="825" y="319"/>
                  </a:lnTo>
                  <a:lnTo>
                    <a:pt x="824" y="332"/>
                  </a:lnTo>
                  <a:lnTo>
                    <a:pt x="822" y="346"/>
                  </a:lnTo>
                  <a:lnTo>
                    <a:pt x="819" y="359"/>
                  </a:lnTo>
                  <a:lnTo>
                    <a:pt x="815" y="372"/>
                  </a:lnTo>
                  <a:lnTo>
                    <a:pt x="810" y="385"/>
                  </a:lnTo>
                  <a:lnTo>
                    <a:pt x="805" y="397"/>
                  </a:lnTo>
                  <a:lnTo>
                    <a:pt x="800" y="409"/>
                  </a:lnTo>
                  <a:lnTo>
                    <a:pt x="794" y="421"/>
                  </a:lnTo>
                  <a:lnTo>
                    <a:pt x="788" y="433"/>
                  </a:lnTo>
                  <a:lnTo>
                    <a:pt x="781" y="444"/>
                  </a:lnTo>
                  <a:lnTo>
                    <a:pt x="773" y="454"/>
                  </a:lnTo>
                  <a:lnTo>
                    <a:pt x="764" y="465"/>
                  </a:lnTo>
                  <a:lnTo>
                    <a:pt x="755" y="475"/>
                  </a:lnTo>
                  <a:lnTo>
                    <a:pt x="746" y="485"/>
                  </a:lnTo>
                  <a:lnTo>
                    <a:pt x="736" y="494"/>
                  </a:lnTo>
                  <a:lnTo>
                    <a:pt x="726" y="503"/>
                  </a:lnTo>
                  <a:lnTo>
                    <a:pt x="714" y="511"/>
                  </a:lnTo>
                  <a:lnTo>
                    <a:pt x="702" y="519"/>
                  </a:lnTo>
                  <a:lnTo>
                    <a:pt x="690" y="528"/>
                  </a:lnTo>
                  <a:lnTo>
                    <a:pt x="677" y="535"/>
                  </a:lnTo>
                  <a:lnTo>
                    <a:pt x="663" y="542"/>
                  </a:lnTo>
                  <a:lnTo>
                    <a:pt x="650" y="548"/>
                  </a:lnTo>
                  <a:lnTo>
                    <a:pt x="635" y="554"/>
                  </a:lnTo>
                  <a:lnTo>
                    <a:pt x="620" y="559"/>
                  </a:lnTo>
                  <a:lnTo>
                    <a:pt x="605" y="564"/>
                  </a:lnTo>
                  <a:lnTo>
                    <a:pt x="589" y="569"/>
                  </a:lnTo>
                  <a:lnTo>
                    <a:pt x="572" y="573"/>
                  </a:lnTo>
                  <a:lnTo>
                    <a:pt x="555" y="576"/>
                  </a:lnTo>
                  <a:lnTo>
                    <a:pt x="537" y="579"/>
                  </a:lnTo>
                  <a:lnTo>
                    <a:pt x="519" y="581"/>
                  </a:lnTo>
                  <a:lnTo>
                    <a:pt x="689" y="779"/>
                  </a:lnTo>
                  <a:lnTo>
                    <a:pt x="689" y="779"/>
                  </a:lnTo>
                  <a:lnTo>
                    <a:pt x="707" y="802"/>
                  </a:lnTo>
                  <a:lnTo>
                    <a:pt x="728" y="823"/>
                  </a:lnTo>
                  <a:lnTo>
                    <a:pt x="747" y="844"/>
                  </a:lnTo>
                  <a:lnTo>
                    <a:pt x="767" y="863"/>
                  </a:lnTo>
                  <a:lnTo>
                    <a:pt x="787" y="881"/>
                  </a:lnTo>
                  <a:lnTo>
                    <a:pt x="807" y="899"/>
                  </a:lnTo>
                  <a:lnTo>
                    <a:pt x="828" y="915"/>
                  </a:lnTo>
                  <a:lnTo>
                    <a:pt x="848" y="929"/>
                  </a:lnTo>
                  <a:lnTo>
                    <a:pt x="869" y="944"/>
                  </a:lnTo>
                  <a:lnTo>
                    <a:pt x="889" y="956"/>
                  </a:lnTo>
                  <a:lnTo>
                    <a:pt x="910" y="966"/>
                  </a:lnTo>
                  <a:lnTo>
                    <a:pt x="930" y="977"/>
                  </a:lnTo>
                  <a:lnTo>
                    <a:pt x="950" y="985"/>
                  </a:lnTo>
                  <a:lnTo>
                    <a:pt x="970" y="991"/>
                  </a:lnTo>
                  <a:lnTo>
                    <a:pt x="989" y="996"/>
                  </a:lnTo>
                  <a:lnTo>
                    <a:pt x="1009" y="999"/>
                  </a:lnTo>
                  <a:lnTo>
                    <a:pt x="1009" y="1035"/>
                  </a:lnTo>
                  <a:lnTo>
                    <a:pt x="725" y="1035"/>
                  </a:lnTo>
                  <a:lnTo>
                    <a:pt x="383" y="581"/>
                  </a:lnTo>
                  <a:lnTo>
                    <a:pt x="302" y="581"/>
                  </a:lnTo>
                  <a:lnTo>
                    <a:pt x="302" y="797"/>
                  </a:lnTo>
                  <a:lnTo>
                    <a:pt x="302" y="797"/>
                  </a:lnTo>
                  <a:lnTo>
                    <a:pt x="302" y="827"/>
                  </a:lnTo>
                  <a:lnTo>
                    <a:pt x="303" y="855"/>
                  </a:lnTo>
                  <a:lnTo>
                    <a:pt x="304" y="879"/>
                  </a:lnTo>
                  <a:lnTo>
                    <a:pt x="307" y="901"/>
                  </a:lnTo>
                  <a:lnTo>
                    <a:pt x="312" y="920"/>
                  </a:lnTo>
                  <a:lnTo>
                    <a:pt x="316" y="937"/>
                  </a:lnTo>
                  <a:lnTo>
                    <a:pt x="323" y="951"/>
                  </a:lnTo>
                  <a:lnTo>
                    <a:pt x="326" y="957"/>
                  </a:lnTo>
                  <a:lnTo>
                    <a:pt x="330" y="962"/>
                  </a:lnTo>
                  <a:lnTo>
                    <a:pt x="335" y="967"/>
                  </a:lnTo>
                  <a:lnTo>
                    <a:pt x="340" y="972"/>
                  </a:lnTo>
                  <a:lnTo>
                    <a:pt x="345" y="977"/>
                  </a:lnTo>
                  <a:lnTo>
                    <a:pt x="351" y="981"/>
                  </a:lnTo>
                  <a:lnTo>
                    <a:pt x="365" y="987"/>
                  </a:lnTo>
                  <a:lnTo>
                    <a:pt x="380" y="991"/>
                  </a:lnTo>
                  <a:lnTo>
                    <a:pt x="397" y="995"/>
                  </a:lnTo>
                  <a:lnTo>
                    <a:pt x="418" y="997"/>
                  </a:lnTo>
                  <a:lnTo>
                    <a:pt x="440" y="998"/>
                  </a:lnTo>
                  <a:lnTo>
                    <a:pt x="466" y="999"/>
                  </a:lnTo>
                  <a:lnTo>
                    <a:pt x="466" y="1035"/>
                  </a:lnTo>
                  <a:lnTo>
                    <a:pt x="0" y="1035"/>
                  </a:lnTo>
                  <a:lnTo>
                    <a:pt x="0" y="999"/>
                  </a:lnTo>
                  <a:close/>
                  <a:moveTo>
                    <a:pt x="454" y="519"/>
                  </a:moveTo>
                  <a:lnTo>
                    <a:pt x="454" y="519"/>
                  </a:lnTo>
                  <a:lnTo>
                    <a:pt x="481" y="517"/>
                  </a:lnTo>
                  <a:lnTo>
                    <a:pt x="494" y="516"/>
                  </a:lnTo>
                  <a:lnTo>
                    <a:pt x="507" y="514"/>
                  </a:lnTo>
                  <a:lnTo>
                    <a:pt x="518" y="512"/>
                  </a:lnTo>
                  <a:lnTo>
                    <a:pt x="529" y="509"/>
                  </a:lnTo>
                  <a:lnTo>
                    <a:pt x="541" y="505"/>
                  </a:lnTo>
                  <a:lnTo>
                    <a:pt x="552" y="501"/>
                  </a:lnTo>
                  <a:lnTo>
                    <a:pt x="561" y="497"/>
                  </a:lnTo>
                  <a:lnTo>
                    <a:pt x="571" y="492"/>
                  </a:lnTo>
                  <a:lnTo>
                    <a:pt x="580" y="486"/>
                  </a:lnTo>
                  <a:lnTo>
                    <a:pt x="589" y="481"/>
                  </a:lnTo>
                  <a:lnTo>
                    <a:pt x="605" y="467"/>
                  </a:lnTo>
                  <a:lnTo>
                    <a:pt x="619" y="452"/>
                  </a:lnTo>
                  <a:lnTo>
                    <a:pt x="633" y="437"/>
                  </a:lnTo>
                  <a:lnTo>
                    <a:pt x="643" y="418"/>
                  </a:lnTo>
                  <a:lnTo>
                    <a:pt x="652" y="400"/>
                  </a:lnTo>
                  <a:lnTo>
                    <a:pt x="660" y="380"/>
                  </a:lnTo>
                  <a:lnTo>
                    <a:pt x="665" y="359"/>
                  </a:lnTo>
                  <a:lnTo>
                    <a:pt x="669" y="338"/>
                  </a:lnTo>
                  <a:lnTo>
                    <a:pt x="672" y="315"/>
                  </a:lnTo>
                  <a:lnTo>
                    <a:pt x="672" y="291"/>
                  </a:lnTo>
                  <a:lnTo>
                    <a:pt x="672" y="291"/>
                  </a:lnTo>
                  <a:lnTo>
                    <a:pt x="672" y="268"/>
                  </a:lnTo>
                  <a:lnTo>
                    <a:pt x="669" y="245"/>
                  </a:lnTo>
                  <a:lnTo>
                    <a:pt x="665" y="224"/>
                  </a:lnTo>
                  <a:lnTo>
                    <a:pt x="660" y="204"/>
                  </a:lnTo>
                  <a:lnTo>
                    <a:pt x="652" y="183"/>
                  </a:lnTo>
                  <a:lnTo>
                    <a:pt x="643" y="165"/>
                  </a:lnTo>
                  <a:lnTo>
                    <a:pt x="633" y="147"/>
                  </a:lnTo>
                  <a:lnTo>
                    <a:pt x="619" y="131"/>
                  </a:lnTo>
                  <a:lnTo>
                    <a:pt x="605" y="117"/>
                  </a:lnTo>
                  <a:lnTo>
                    <a:pt x="589" y="103"/>
                  </a:lnTo>
                  <a:lnTo>
                    <a:pt x="580" y="97"/>
                  </a:lnTo>
                  <a:lnTo>
                    <a:pt x="571" y="91"/>
                  </a:lnTo>
                  <a:lnTo>
                    <a:pt x="561" y="86"/>
                  </a:lnTo>
                  <a:lnTo>
                    <a:pt x="552" y="82"/>
                  </a:lnTo>
                  <a:lnTo>
                    <a:pt x="541" y="78"/>
                  </a:lnTo>
                  <a:lnTo>
                    <a:pt x="529" y="74"/>
                  </a:lnTo>
                  <a:lnTo>
                    <a:pt x="518" y="71"/>
                  </a:lnTo>
                  <a:lnTo>
                    <a:pt x="507" y="69"/>
                  </a:lnTo>
                  <a:lnTo>
                    <a:pt x="494" y="67"/>
                  </a:lnTo>
                  <a:lnTo>
                    <a:pt x="481" y="65"/>
                  </a:lnTo>
                  <a:lnTo>
                    <a:pt x="468" y="63"/>
                  </a:lnTo>
                  <a:lnTo>
                    <a:pt x="454" y="63"/>
                  </a:lnTo>
                  <a:lnTo>
                    <a:pt x="302" y="63"/>
                  </a:lnTo>
                  <a:lnTo>
                    <a:pt x="302" y="519"/>
                  </a:lnTo>
                  <a:lnTo>
                    <a:pt x="454" y="5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72" name="Freeform 25"/>
            <p:cNvSpPr>
              <a:spLocks noEditPoints="1"/>
            </p:cNvSpPr>
            <p:nvPr userDrawn="1"/>
          </p:nvSpPr>
          <p:spPr bwMode="auto">
            <a:xfrm>
              <a:off x="7451971" y="843129"/>
              <a:ext cx="157162" cy="192088"/>
            </a:xfrm>
            <a:custGeom>
              <a:avLst/>
              <a:gdLst>
                <a:gd name="T0" fmla="*/ 48 w 1195"/>
                <a:gd name="T1" fmla="*/ 1411 h 1449"/>
                <a:gd name="T2" fmla="*/ 115 w 1195"/>
                <a:gd name="T3" fmla="*/ 1397 h 1449"/>
                <a:gd name="T4" fmla="*/ 157 w 1195"/>
                <a:gd name="T5" fmla="*/ 1363 h 1449"/>
                <a:gd name="T6" fmla="*/ 188 w 1195"/>
                <a:gd name="T7" fmla="*/ 1304 h 1449"/>
                <a:gd name="T8" fmla="*/ 990 w 1195"/>
                <a:gd name="T9" fmla="*/ 1263 h 1449"/>
                <a:gd name="T10" fmla="*/ 1025 w 1195"/>
                <a:gd name="T11" fmla="*/ 1337 h 1449"/>
                <a:gd name="T12" fmla="*/ 1059 w 1195"/>
                <a:gd name="T13" fmla="*/ 1383 h 1449"/>
                <a:gd name="T14" fmla="*/ 1111 w 1195"/>
                <a:gd name="T15" fmla="*/ 1406 h 1449"/>
                <a:gd name="T16" fmla="*/ 1195 w 1195"/>
                <a:gd name="T17" fmla="*/ 1413 h 1449"/>
                <a:gd name="T18" fmla="*/ 718 w 1195"/>
                <a:gd name="T19" fmla="*/ 1413 h 1449"/>
                <a:gd name="T20" fmla="*/ 805 w 1195"/>
                <a:gd name="T21" fmla="*/ 1406 h 1449"/>
                <a:gd name="T22" fmla="*/ 854 w 1195"/>
                <a:gd name="T23" fmla="*/ 1382 h 1449"/>
                <a:gd name="T24" fmla="*/ 868 w 1195"/>
                <a:gd name="T25" fmla="*/ 1342 h 1449"/>
                <a:gd name="T26" fmla="*/ 852 w 1195"/>
                <a:gd name="T27" fmla="*/ 1281 h 1449"/>
                <a:gd name="T28" fmla="*/ 269 w 1195"/>
                <a:gd name="T29" fmla="*/ 1281 h 1449"/>
                <a:gd name="T30" fmla="*/ 253 w 1195"/>
                <a:gd name="T31" fmla="*/ 1341 h 1449"/>
                <a:gd name="T32" fmla="*/ 267 w 1195"/>
                <a:gd name="T33" fmla="*/ 1382 h 1449"/>
                <a:gd name="T34" fmla="*/ 316 w 1195"/>
                <a:gd name="T35" fmla="*/ 1405 h 1449"/>
                <a:gd name="T36" fmla="*/ 404 w 1195"/>
                <a:gd name="T37" fmla="*/ 1413 h 1449"/>
                <a:gd name="T38" fmla="*/ 740 w 1195"/>
                <a:gd name="T39" fmla="*/ 1027 h 1449"/>
                <a:gd name="T40" fmla="*/ 450 w 1195"/>
                <a:gd name="T41" fmla="*/ 141 h 1449"/>
                <a:gd name="T42" fmla="*/ 456 w 1195"/>
                <a:gd name="T43" fmla="*/ 99 h 1449"/>
                <a:gd name="T44" fmla="*/ 482 w 1195"/>
                <a:gd name="T45" fmla="*/ 51 h 1449"/>
                <a:gd name="T46" fmla="*/ 524 w 1195"/>
                <a:gd name="T47" fmla="*/ 17 h 1449"/>
                <a:gd name="T48" fmla="*/ 577 w 1195"/>
                <a:gd name="T49" fmla="*/ 1 h 1449"/>
                <a:gd name="T50" fmla="*/ 621 w 1195"/>
                <a:gd name="T51" fmla="*/ 3 h 1449"/>
                <a:gd name="T52" fmla="*/ 672 w 1195"/>
                <a:gd name="T53" fmla="*/ 25 h 1449"/>
                <a:gd name="T54" fmla="*/ 711 w 1195"/>
                <a:gd name="T55" fmla="*/ 62 h 1449"/>
                <a:gd name="T56" fmla="*/ 732 w 1195"/>
                <a:gd name="T57" fmla="*/ 112 h 1449"/>
                <a:gd name="T58" fmla="*/ 734 w 1195"/>
                <a:gd name="T59" fmla="*/ 156 h 1449"/>
                <a:gd name="T60" fmla="*/ 718 w 1195"/>
                <a:gd name="T61" fmla="*/ 210 h 1449"/>
                <a:gd name="T62" fmla="*/ 683 w 1195"/>
                <a:gd name="T63" fmla="*/ 252 h 1449"/>
                <a:gd name="T64" fmla="*/ 634 w 1195"/>
                <a:gd name="T65" fmla="*/ 278 h 1449"/>
                <a:gd name="T66" fmla="*/ 591 w 1195"/>
                <a:gd name="T67" fmla="*/ 284 h 1449"/>
                <a:gd name="T68" fmla="*/ 536 w 1195"/>
                <a:gd name="T69" fmla="*/ 273 h 1449"/>
                <a:gd name="T70" fmla="*/ 491 w 1195"/>
                <a:gd name="T71" fmla="*/ 242 h 1449"/>
                <a:gd name="T72" fmla="*/ 461 w 1195"/>
                <a:gd name="T73" fmla="*/ 197 h 1449"/>
                <a:gd name="T74" fmla="*/ 450 w 1195"/>
                <a:gd name="T75" fmla="*/ 141 h 1449"/>
                <a:gd name="T76" fmla="*/ 671 w 1195"/>
                <a:gd name="T77" fmla="*/ 133 h 1449"/>
                <a:gd name="T78" fmla="*/ 662 w 1195"/>
                <a:gd name="T79" fmla="*/ 104 h 1449"/>
                <a:gd name="T80" fmla="*/ 642 w 1195"/>
                <a:gd name="T81" fmla="*/ 82 h 1449"/>
                <a:gd name="T82" fmla="*/ 615 w 1195"/>
                <a:gd name="T83" fmla="*/ 67 h 1449"/>
                <a:gd name="T84" fmla="*/ 591 w 1195"/>
                <a:gd name="T85" fmla="*/ 63 h 1449"/>
                <a:gd name="T86" fmla="*/ 562 w 1195"/>
                <a:gd name="T87" fmla="*/ 70 h 1449"/>
                <a:gd name="T88" fmla="*/ 536 w 1195"/>
                <a:gd name="T89" fmla="*/ 86 h 1449"/>
                <a:gd name="T90" fmla="*/ 519 w 1195"/>
                <a:gd name="T91" fmla="*/ 111 h 1449"/>
                <a:gd name="T92" fmla="*/ 512 w 1195"/>
                <a:gd name="T93" fmla="*/ 141 h 1449"/>
                <a:gd name="T94" fmla="*/ 516 w 1195"/>
                <a:gd name="T95" fmla="*/ 165 h 1449"/>
                <a:gd name="T96" fmla="*/ 531 w 1195"/>
                <a:gd name="T97" fmla="*/ 191 h 1449"/>
                <a:gd name="T98" fmla="*/ 554 w 1195"/>
                <a:gd name="T99" fmla="*/ 211 h 1449"/>
                <a:gd name="T100" fmla="*/ 584 w 1195"/>
                <a:gd name="T101" fmla="*/ 220 h 1449"/>
                <a:gd name="T102" fmla="*/ 608 w 1195"/>
                <a:gd name="T103" fmla="*/ 219 h 1449"/>
                <a:gd name="T104" fmla="*/ 636 w 1195"/>
                <a:gd name="T105" fmla="*/ 207 h 1449"/>
                <a:gd name="T106" fmla="*/ 658 w 1195"/>
                <a:gd name="T107" fmla="*/ 185 h 1449"/>
                <a:gd name="T108" fmla="*/ 669 w 1195"/>
                <a:gd name="T109" fmla="*/ 157 h 1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195" h="1449">
                  <a:moveTo>
                    <a:pt x="0" y="1413"/>
                  </a:moveTo>
                  <a:lnTo>
                    <a:pt x="0" y="1413"/>
                  </a:lnTo>
                  <a:lnTo>
                    <a:pt x="26" y="1412"/>
                  </a:lnTo>
                  <a:lnTo>
                    <a:pt x="48" y="1411"/>
                  </a:lnTo>
                  <a:lnTo>
                    <a:pt x="69" y="1409"/>
                  </a:lnTo>
                  <a:lnTo>
                    <a:pt x="86" y="1406"/>
                  </a:lnTo>
                  <a:lnTo>
                    <a:pt x="101" y="1402"/>
                  </a:lnTo>
                  <a:lnTo>
                    <a:pt x="115" y="1397"/>
                  </a:lnTo>
                  <a:lnTo>
                    <a:pt x="127" y="1391"/>
                  </a:lnTo>
                  <a:lnTo>
                    <a:pt x="138" y="1383"/>
                  </a:lnTo>
                  <a:lnTo>
                    <a:pt x="147" y="1374"/>
                  </a:lnTo>
                  <a:lnTo>
                    <a:pt x="157" y="1363"/>
                  </a:lnTo>
                  <a:lnTo>
                    <a:pt x="165" y="1351"/>
                  </a:lnTo>
                  <a:lnTo>
                    <a:pt x="172" y="1337"/>
                  </a:lnTo>
                  <a:lnTo>
                    <a:pt x="180" y="1321"/>
                  </a:lnTo>
                  <a:lnTo>
                    <a:pt x="188" y="1304"/>
                  </a:lnTo>
                  <a:lnTo>
                    <a:pt x="207" y="1263"/>
                  </a:lnTo>
                  <a:lnTo>
                    <a:pt x="586" y="384"/>
                  </a:lnTo>
                  <a:lnTo>
                    <a:pt x="609" y="384"/>
                  </a:lnTo>
                  <a:lnTo>
                    <a:pt x="990" y="1263"/>
                  </a:lnTo>
                  <a:lnTo>
                    <a:pt x="990" y="1263"/>
                  </a:lnTo>
                  <a:lnTo>
                    <a:pt x="1008" y="1304"/>
                  </a:lnTo>
                  <a:lnTo>
                    <a:pt x="1017" y="1321"/>
                  </a:lnTo>
                  <a:lnTo>
                    <a:pt x="1025" y="1337"/>
                  </a:lnTo>
                  <a:lnTo>
                    <a:pt x="1033" y="1351"/>
                  </a:lnTo>
                  <a:lnTo>
                    <a:pt x="1041" y="1363"/>
                  </a:lnTo>
                  <a:lnTo>
                    <a:pt x="1049" y="1374"/>
                  </a:lnTo>
                  <a:lnTo>
                    <a:pt x="1059" y="1383"/>
                  </a:lnTo>
                  <a:lnTo>
                    <a:pt x="1070" y="1391"/>
                  </a:lnTo>
                  <a:lnTo>
                    <a:pt x="1082" y="1397"/>
                  </a:lnTo>
                  <a:lnTo>
                    <a:pt x="1095" y="1402"/>
                  </a:lnTo>
                  <a:lnTo>
                    <a:pt x="1111" y="1406"/>
                  </a:lnTo>
                  <a:lnTo>
                    <a:pt x="1128" y="1409"/>
                  </a:lnTo>
                  <a:lnTo>
                    <a:pt x="1147" y="1411"/>
                  </a:lnTo>
                  <a:lnTo>
                    <a:pt x="1170" y="1412"/>
                  </a:lnTo>
                  <a:lnTo>
                    <a:pt x="1195" y="1413"/>
                  </a:lnTo>
                  <a:lnTo>
                    <a:pt x="1195" y="1449"/>
                  </a:lnTo>
                  <a:lnTo>
                    <a:pt x="718" y="1449"/>
                  </a:lnTo>
                  <a:lnTo>
                    <a:pt x="718" y="1413"/>
                  </a:lnTo>
                  <a:lnTo>
                    <a:pt x="718" y="1413"/>
                  </a:lnTo>
                  <a:lnTo>
                    <a:pt x="744" y="1412"/>
                  </a:lnTo>
                  <a:lnTo>
                    <a:pt x="766" y="1411"/>
                  </a:lnTo>
                  <a:lnTo>
                    <a:pt x="786" y="1409"/>
                  </a:lnTo>
                  <a:lnTo>
                    <a:pt x="805" y="1406"/>
                  </a:lnTo>
                  <a:lnTo>
                    <a:pt x="820" y="1402"/>
                  </a:lnTo>
                  <a:lnTo>
                    <a:pt x="834" y="1397"/>
                  </a:lnTo>
                  <a:lnTo>
                    <a:pt x="845" y="1390"/>
                  </a:lnTo>
                  <a:lnTo>
                    <a:pt x="854" y="1382"/>
                  </a:lnTo>
                  <a:lnTo>
                    <a:pt x="861" y="1374"/>
                  </a:lnTo>
                  <a:lnTo>
                    <a:pt x="865" y="1365"/>
                  </a:lnTo>
                  <a:lnTo>
                    <a:pt x="868" y="1354"/>
                  </a:lnTo>
                  <a:lnTo>
                    <a:pt x="868" y="1342"/>
                  </a:lnTo>
                  <a:lnTo>
                    <a:pt x="867" y="1329"/>
                  </a:lnTo>
                  <a:lnTo>
                    <a:pt x="864" y="1315"/>
                  </a:lnTo>
                  <a:lnTo>
                    <a:pt x="859" y="1299"/>
                  </a:lnTo>
                  <a:lnTo>
                    <a:pt x="852" y="1281"/>
                  </a:lnTo>
                  <a:lnTo>
                    <a:pt x="769" y="1090"/>
                  </a:lnTo>
                  <a:lnTo>
                    <a:pt x="352" y="1090"/>
                  </a:lnTo>
                  <a:lnTo>
                    <a:pt x="269" y="1281"/>
                  </a:lnTo>
                  <a:lnTo>
                    <a:pt x="269" y="1281"/>
                  </a:lnTo>
                  <a:lnTo>
                    <a:pt x="262" y="1299"/>
                  </a:lnTo>
                  <a:lnTo>
                    <a:pt x="257" y="1314"/>
                  </a:lnTo>
                  <a:lnTo>
                    <a:pt x="254" y="1328"/>
                  </a:lnTo>
                  <a:lnTo>
                    <a:pt x="253" y="1341"/>
                  </a:lnTo>
                  <a:lnTo>
                    <a:pt x="253" y="1353"/>
                  </a:lnTo>
                  <a:lnTo>
                    <a:pt x="256" y="1364"/>
                  </a:lnTo>
                  <a:lnTo>
                    <a:pt x="260" y="1373"/>
                  </a:lnTo>
                  <a:lnTo>
                    <a:pt x="267" y="1382"/>
                  </a:lnTo>
                  <a:lnTo>
                    <a:pt x="276" y="1390"/>
                  </a:lnTo>
                  <a:lnTo>
                    <a:pt x="287" y="1396"/>
                  </a:lnTo>
                  <a:lnTo>
                    <a:pt x="301" y="1401"/>
                  </a:lnTo>
                  <a:lnTo>
                    <a:pt x="316" y="1405"/>
                  </a:lnTo>
                  <a:lnTo>
                    <a:pt x="335" y="1409"/>
                  </a:lnTo>
                  <a:lnTo>
                    <a:pt x="355" y="1411"/>
                  </a:lnTo>
                  <a:lnTo>
                    <a:pt x="378" y="1412"/>
                  </a:lnTo>
                  <a:lnTo>
                    <a:pt x="404" y="1413"/>
                  </a:lnTo>
                  <a:lnTo>
                    <a:pt x="404" y="1449"/>
                  </a:lnTo>
                  <a:lnTo>
                    <a:pt x="0" y="1449"/>
                  </a:lnTo>
                  <a:lnTo>
                    <a:pt x="0" y="1413"/>
                  </a:lnTo>
                  <a:close/>
                  <a:moveTo>
                    <a:pt x="740" y="1027"/>
                  </a:moveTo>
                  <a:lnTo>
                    <a:pt x="558" y="610"/>
                  </a:lnTo>
                  <a:lnTo>
                    <a:pt x="380" y="1027"/>
                  </a:lnTo>
                  <a:lnTo>
                    <a:pt x="740" y="1027"/>
                  </a:lnTo>
                  <a:close/>
                  <a:moveTo>
                    <a:pt x="450" y="141"/>
                  </a:moveTo>
                  <a:lnTo>
                    <a:pt x="450" y="141"/>
                  </a:lnTo>
                  <a:lnTo>
                    <a:pt x="451" y="127"/>
                  </a:lnTo>
                  <a:lnTo>
                    <a:pt x="453" y="112"/>
                  </a:lnTo>
                  <a:lnTo>
                    <a:pt x="456" y="99"/>
                  </a:lnTo>
                  <a:lnTo>
                    <a:pt x="461" y="87"/>
                  </a:lnTo>
                  <a:lnTo>
                    <a:pt x="467" y="74"/>
                  </a:lnTo>
                  <a:lnTo>
                    <a:pt x="474" y="62"/>
                  </a:lnTo>
                  <a:lnTo>
                    <a:pt x="482" y="51"/>
                  </a:lnTo>
                  <a:lnTo>
                    <a:pt x="491" y="42"/>
                  </a:lnTo>
                  <a:lnTo>
                    <a:pt x="501" y="33"/>
                  </a:lnTo>
                  <a:lnTo>
                    <a:pt x="512" y="25"/>
                  </a:lnTo>
                  <a:lnTo>
                    <a:pt x="524" y="17"/>
                  </a:lnTo>
                  <a:lnTo>
                    <a:pt x="536" y="11"/>
                  </a:lnTo>
                  <a:lnTo>
                    <a:pt x="549" y="6"/>
                  </a:lnTo>
                  <a:lnTo>
                    <a:pt x="563" y="3"/>
                  </a:lnTo>
                  <a:lnTo>
                    <a:pt x="577" y="1"/>
                  </a:lnTo>
                  <a:lnTo>
                    <a:pt x="591" y="0"/>
                  </a:lnTo>
                  <a:lnTo>
                    <a:pt x="591" y="0"/>
                  </a:lnTo>
                  <a:lnTo>
                    <a:pt x="607" y="1"/>
                  </a:lnTo>
                  <a:lnTo>
                    <a:pt x="621" y="3"/>
                  </a:lnTo>
                  <a:lnTo>
                    <a:pt x="634" y="6"/>
                  </a:lnTo>
                  <a:lnTo>
                    <a:pt x="647" y="11"/>
                  </a:lnTo>
                  <a:lnTo>
                    <a:pt x="660" y="17"/>
                  </a:lnTo>
                  <a:lnTo>
                    <a:pt x="672" y="25"/>
                  </a:lnTo>
                  <a:lnTo>
                    <a:pt x="683" y="33"/>
                  </a:lnTo>
                  <a:lnTo>
                    <a:pt x="693" y="42"/>
                  </a:lnTo>
                  <a:lnTo>
                    <a:pt x="703" y="51"/>
                  </a:lnTo>
                  <a:lnTo>
                    <a:pt x="711" y="62"/>
                  </a:lnTo>
                  <a:lnTo>
                    <a:pt x="718" y="74"/>
                  </a:lnTo>
                  <a:lnTo>
                    <a:pt x="724" y="87"/>
                  </a:lnTo>
                  <a:lnTo>
                    <a:pt x="728" y="99"/>
                  </a:lnTo>
                  <a:lnTo>
                    <a:pt x="732" y="112"/>
                  </a:lnTo>
                  <a:lnTo>
                    <a:pt x="734" y="127"/>
                  </a:lnTo>
                  <a:lnTo>
                    <a:pt x="735" y="141"/>
                  </a:lnTo>
                  <a:lnTo>
                    <a:pt x="735" y="141"/>
                  </a:lnTo>
                  <a:lnTo>
                    <a:pt x="734" y="156"/>
                  </a:lnTo>
                  <a:lnTo>
                    <a:pt x="732" y="170"/>
                  </a:lnTo>
                  <a:lnTo>
                    <a:pt x="728" y="184"/>
                  </a:lnTo>
                  <a:lnTo>
                    <a:pt x="724" y="197"/>
                  </a:lnTo>
                  <a:lnTo>
                    <a:pt x="718" y="210"/>
                  </a:lnTo>
                  <a:lnTo>
                    <a:pt x="711" y="222"/>
                  </a:lnTo>
                  <a:lnTo>
                    <a:pt x="703" y="232"/>
                  </a:lnTo>
                  <a:lnTo>
                    <a:pt x="693" y="242"/>
                  </a:lnTo>
                  <a:lnTo>
                    <a:pt x="683" y="252"/>
                  </a:lnTo>
                  <a:lnTo>
                    <a:pt x="672" y="260"/>
                  </a:lnTo>
                  <a:lnTo>
                    <a:pt x="660" y="267"/>
                  </a:lnTo>
                  <a:lnTo>
                    <a:pt x="647" y="273"/>
                  </a:lnTo>
                  <a:lnTo>
                    <a:pt x="634" y="278"/>
                  </a:lnTo>
                  <a:lnTo>
                    <a:pt x="621" y="281"/>
                  </a:lnTo>
                  <a:lnTo>
                    <a:pt x="607" y="284"/>
                  </a:lnTo>
                  <a:lnTo>
                    <a:pt x="591" y="284"/>
                  </a:lnTo>
                  <a:lnTo>
                    <a:pt x="591" y="284"/>
                  </a:lnTo>
                  <a:lnTo>
                    <a:pt x="577" y="284"/>
                  </a:lnTo>
                  <a:lnTo>
                    <a:pt x="563" y="281"/>
                  </a:lnTo>
                  <a:lnTo>
                    <a:pt x="549" y="278"/>
                  </a:lnTo>
                  <a:lnTo>
                    <a:pt x="536" y="273"/>
                  </a:lnTo>
                  <a:lnTo>
                    <a:pt x="524" y="267"/>
                  </a:lnTo>
                  <a:lnTo>
                    <a:pt x="512" y="260"/>
                  </a:lnTo>
                  <a:lnTo>
                    <a:pt x="501" y="252"/>
                  </a:lnTo>
                  <a:lnTo>
                    <a:pt x="491" y="242"/>
                  </a:lnTo>
                  <a:lnTo>
                    <a:pt x="482" y="232"/>
                  </a:lnTo>
                  <a:lnTo>
                    <a:pt x="474" y="222"/>
                  </a:lnTo>
                  <a:lnTo>
                    <a:pt x="467" y="210"/>
                  </a:lnTo>
                  <a:lnTo>
                    <a:pt x="461" y="197"/>
                  </a:lnTo>
                  <a:lnTo>
                    <a:pt x="456" y="184"/>
                  </a:lnTo>
                  <a:lnTo>
                    <a:pt x="453" y="170"/>
                  </a:lnTo>
                  <a:lnTo>
                    <a:pt x="451" y="156"/>
                  </a:lnTo>
                  <a:lnTo>
                    <a:pt x="450" y="141"/>
                  </a:lnTo>
                  <a:lnTo>
                    <a:pt x="450" y="141"/>
                  </a:lnTo>
                  <a:close/>
                  <a:moveTo>
                    <a:pt x="671" y="141"/>
                  </a:moveTo>
                  <a:lnTo>
                    <a:pt x="671" y="141"/>
                  </a:lnTo>
                  <a:lnTo>
                    <a:pt x="671" y="133"/>
                  </a:lnTo>
                  <a:lnTo>
                    <a:pt x="669" y="126"/>
                  </a:lnTo>
                  <a:lnTo>
                    <a:pt x="668" y="119"/>
                  </a:lnTo>
                  <a:lnTo>
                    <a:pt x="665" y="111"/>
                  </a:lnTo>
                  <a:lnTo>
                    <a:pt x="662" y="104"/>
                  </a:lnTo>
                  <a:lnTo>
                    <a:pt x="658" y="98"/>
                  </a:lnTo>
                  <a:lnTo>
                    <a:pt x="653" y="92"/>
                  </a:lnTo>
                  <a:lnTo>
                    <a:pt x="647" y="86"/>
                  </a:lnTo>
                  <a:lnTo>
                    <a:pt x="642" y="82"/>
                  </a:lnTo>
                  <a:lnTo>
                    <a:pt x="636" y="77"/>
                  </a:lnTo>
                  <a:lnTo>
                    <a:pt x="629" y="73"/>
                  </a:lnTo>
                  <a:lnTo>
                    <a:pt x="622" y="70"/>
                  </a:lnTo>
                  <a:lnTo>
                    <a:pt x="615" y="67"/>
                  </a:lnTo>
                  <a:lnTo>
                    <a:pt x="608" y="65"/>
                  </a:lnTo>
                  <a:lnTo>
                    <a:pt x="599" y="64"/>
                  </a:lnTo>
                  <a:lnTo>
                    <a:pt x="591" y="63"/>
                  </a:lnTo>
                  <a:lnTo>
                    <a:pt x="591" y="63"/>
                  </a:lnTo>
                  <a:lnTo>
                    <a:pt x="584" y="64"/>
                  </a:lnTo>
                  <a:lnTo>
                    <a:pt x="576" y="65"/>
                  </a:lnTo>
                  <a:lnTo>
                    <a:pt x="569" y="67"/>
                  </a:lnTo>
                  <a:lnTo>
                    <a:pt x="562" y="70"/>
                  </a:lnTo>
                  <a:lnTo>
                    <a:pt x="554" y="73"/>
                  </a:lnTo>
                  <a:lnTo>
                    <a:pt x="547" y="77"/>
                  </a:lnTo>
                  <a:lnTo>
                    <a:pt x="541" y="82"/>
                  </a:lnTo>
                  <a:lnTo>
                    <a:pt x="536" y="86"/>
                  </a:lnTo>
                  <a:lnTo>
                    <a:pt x="531" y="92"/>
                  </a:lnTo>
                  <a:lnTo>
                    <a:pt x="526" y="98"/>
                  </a:lnTo>
                  <a:lnTo>
                    <a:pt x="522" y="104"/>
                  </a:lnTo>
                  <a:lnTo>
                    <a:pt x="519" y="111"/>
                  </a:lnTo>
                  <a:lnTo>
                    <a:pt x="516" y="119"/>
                  </a:lnTo>
                  <a:lnTo>
                    <a:pt x="513" y="126"/>
                  </a:lnTo>
                  <a:lnTo>
                    <a:pt x="512" y="133"/>
                  </a:lnTo>
                  <a:lnTo>
                    <a:pt x="512" y="141"/>
                  </a:lnTo>
                  <a:lnTo>
                    <a:pt x="512" y="141"/>
                  </a:lnTo>
                  <a:lnTo>
                    <a:pt x="512" y="149"/>
                  </a:lnTo>
                  <a:lnTo>
                    <a:pt x="513" y="157"/>
                  </a:lnTo>
                  <a:lnTo>
                    <a:pt x="516" y="165"/>
                  </a:lnTo>
                  <a:lnTo>
                    <a:pt x="519" y="172"/>
                  </a:lnTo>
                  <a:lnTo>
                    <a:pt x="522" y="179"/>
                  </a:lnTo>
                  <a:lnTo>
                    <a:pt x="526" y="185"/>
                  </a:lnTo>
                  <a:lnTo>
                    <a:pt x="531" y="191"/>
                  </a:lnTo>
                  <a:lnTo>
                    <a:pt x="536" y="197"/>
                  </a:lnTo>
                  <a:lnTo>
                    <a:pt x="541" y="202"/>
                  </a:lnTo>
                  <a:lnTo>
                    <a:pt x="547" y="207"/>
                  </a:lnTo>
                  <a:lnTo>
                    <a:pt x="554" y="211"/>
                  </a:lnTo>
                  <a:lnTo>
                    <a:pt x="562" y="215"/>
                  </a:lnTo>
                  <a:lnTo>
                    <a:pt x="569" y="217"/>
                  </a:lnTo>
                  <a:lnTo>
                    <a:pt x="576" y="219"/>
                  </a:lnTo>
                  <a:lnTo>
                    <a:pt x="584" y="220"/>
                  </a:lnTo>
                  <a:lnTo>
                    <a:pt x="591" y="221"/>
                  </a:lnTo>
                  <a:lnTo>
                    <a:pt x="591" y="221"/>
                  </a:lnTo>
                  <a:lnTo>
                    <a:pt x="599" y="220"/>
                  </a:lnTo>
                  <a:lnTo>
                    <a:pt x="608" y="219"/>
                  </a:lnTo>
                  <a:lnTo>
                    <a:pt x="615" y="217"/>
                  </a:lnTo>
                  <a:lnTo>
                    <a:pt x="622" y="215"/>
                  </a:lnTo>
                  <a:lnTo>
                    <a:pt x="629" y="211"/>
                  </a:lnTo>
                  <a:lnTo>
                    <a:pt x="636" y="207"/>
                  </a:lnTo>
                  <a:lnTo>
                    <a:pt x="642" y="202"/>
                  </a:lnTo>
                  <a:lnTo>
                    <a:pt x="647" y="197"/>
                  </a:lnTo>
                  <a:lnTo>
                    <a:pt x="653" y="191"/>
                  </a:lnTo>
                  <a:lnTo>
                    <a:pt x="658" y="185"/>
                  </a:lnTo>
                  <a:lnTo>
                    <a:pt x="662" y="179"/>
                  </a:lnTo>
                  <a:lnTo>
                    <a:pt x="665" y="172"/>
                  </a:lnTo>
                  <a:lnTo>
                    <a:pt x="668" y="165"/>
                  </a:lnTo>
                  <a:lnTo>
                    <a:pt x="669" y="157"/>
                  </a:lnTo>
                  <a:lnTo>
                    <a:pt x="671" y="149"/>
                  </a:lnTo>
                  <a:lnTo>
                    <a:pt x="671" y="141"/>
                  </a:lnTo>
                  <a:lnTo>
                    <a:pt x="671" y="1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73" name="Freeform 26"/>
            <p:cNvSpPr>
              <a:spLocks noEditPoints="1"/>
            </p:cNvSpPr>
            <p:nvPr userDrawn="1"/>
          </p:nvSpPr>
          <p:spPr bwMode="auto">
            <a:xfrm>
              <a:off x="7626596" y="898693"/>
              <a:ext cx="138114" cy="136525"/>
            </a:xfrm>
            <a:custGeom>
              <a:avLst/>
              <a:gdLst>
                <a:gd name="T0" fmla="*/ 48 w 1043"/>
                <a:gd name="T1" fmla="*/ 997 h 1035"/>
                <a:gd name="T2" fmla="*/ 115 w 1043"/>
                <a:gd name="T3" fmla="*/ 981 h 1035"/>
                <a:gd name="T4" fmla="*/ 135 w 1043"/>
                <a:gd name="T5" fmla="*/ 962 h 1035"/>
                <a:gd name="T6" fmla="*/ 155 w 1043"/>
                <a:gd name="T7" fmla="*/ 920 h 1035"/>
                <a:gd name="T8" fmla="*/ 164 w 1043"/>
                <a:gd name="T9" fmla="*/ 827 h 1035"/>
                <a:gd name="T10" fmla="*/ 164 w 1043"/>
                <a:gd name="T11" fmla="*/ 206 h 1035"/>
                <a:gd name="T12" fmla="*/ 155 w 1043"/>
                <a:gd name="T13" fmla="*/ 114 h 1035"/>
                <a:gd name="T14" fmla="*/ 135 w 1043"/>
                <a:gd name="T15" fmla="*/ 72 h 1035"/>
                <a:gd name="T16" fmla="*/ 115 w 1043"/>
                <a:gd name="T17" fmla="*/ 54 h 1035"/>
                <a:gd name="T18" fmla="*/ 48 w 1043"/>
                <a:gd name="T19" fmla="*/ 38 h 1035"/>
                <a:gd name="T20" fmla="*/ 468 w 1043"/>
                <a:gd name="T21" fmla="*/ 0 h 1035"/>
                <a:gd name="T22" fmla="*/ 574 w 1043"/>
                <a:gd name="T23" fmla="*/ 6 h 1035"/>
                <a:gd name="T24" fmla="*/ 699 w 1043"/>
                <a:gd name="T25" fmla="*/ 32 h 1035"/>
                <a:gd name="T26" fmla="*/ 803 w 1043"/>
                <a:gd name="T27" fmla="*/ 75 h 1035"/>
                <a:gd name="T28" fmla="*/ 888 w 1043"/>
                <a:gd name="T29" fmla="*/ 135 h 1035"/>
                <a:gd name="T30" fmla="*/ 953 w 1043"/>
                <a:gd name="T31" fmla="*/ 209 h 1035"/>
                <a:gd name="T32" fmla="*/ 1001 w 1043"/>
                <a:gd name="T33" fmla="*/ 294 h 1035"/>
                <a:gd name="T34" fmla="*/ 1031 w 1043"/>
                <a:gd name="T35" fmla="*/ 389 h 1035"/>
                <a:gd name="T36" fmla="*/ 1043 w 1043"/>
                <a:gd name="T37" fmla="*/ 491 h 1035"/>
                <a:gd name="T38" fmla="*/ 1041 w 1043"/>
                <a:gd name="T39" fmla="*/ 570 h 1035"/>
                <a:gd name="T40" fmla="*/ 1025 w 1043"/>
                <a:gd name="T41" fmla="*/ 671 h 1035"/>
                <a:gd name="T42" fmla="*/ 991 w 1043"/>
                <a:gd name="T43" fmla="*/ 764 h 1035"/>
                <a:gd name="T44" fmla="*/ 939 w 1043"/>
                <a:gd name="T45" fmla="*/ 846 h 1035"/>
                <a:gd name="T46" fmla="*/ 868 w 1043"/>
                <a:gd name="T47" fmla="*/ 916 h 1035"/>
                <a:gd name="T48" fmla="*/ 779 w 1043"/>
                <a:gd name="T49" fmla="*/ 972 h 1035"/>
                <a:gd name="T50" fmla="*/ 670 w 1043"/>
                <a:gd name="T51" fmla="*/ 1011 h 1035"/>
                <a:gd name="T52" fmla="*/ 540 w 1043"/>
                <a:gd name="T53" fmla="*/ 1032 h 1035"/>
                <a:gd name="T54" fmla="*/ 0 w 1043"/>
                <a:gd name="T55" fmla="*/ 999 h 1035"/>
                <a:gd name="T56" fmla="*/ 529 w 1043"/>
                <a:gd name="T57" fmla="*/ 968 h 1035"/>
                <a:gd name="T58" fmla="*/ 631 w 1043"/>
                <a:gd name="T59" fmla="*/ 947 h 1035"/>
                <a:gd name="T60" fmla="*/ 713 w 1043"/>
                <a:gd name="T61" fmla="*/ 906 h 1035"/>
                <a:gd name="T62" fmla="*/ 775 w 1043"/>
                <a:gd name="T63" fmla="*/ 852 h 1035"/>
                <a:gd name="T64" fmla="*/ 820 w 1043"/>
                <a:gd name="T65" fmla="*/ 785 h 1035"/>
                <a:gd name="T66" fmla="*/ 851 w 1043"/>
                <a:gd name="T67" fmla="*/ 712 h 1035"/>
                <a:gd name="T68" fmla="*/ 869 w 1043"/>
                <a:gd name="T69" fmla="*/ 634 h 1035"/>
                <a:gd name="T70" fmla="*/ 878 w 1043"/>
                <a:gd name="T71" fmla="*/ 517 h 1035"/>
                <a:gd name="T72" fmla="*/ 865 w 1043"/>
                <a:gd name="T73" fmla="*/ 380 h 1035"/>
                <a:gd name="T74" fmla="*/ 845 w 1043"/>
                <a:gd name="T75" fmla="*/ 304 h 1035"/>
                <a:gd name="T76" fmla="*/ 810 w 1043"/>
                <a:gd name="T77" fmla="*/ 231 h 1035"/>
                <a:gd name="T78" fmla="*/ 761 w 1043"/>
                <a:gd name="T79" fmla="*/ 168 h 1035"/>
                <a:gd name="T80" fmla="*/ 695 w 1043"/>
                <a:gd name="T81" fmla="*/ 117 h 1035"/>
                <a:gd name="T82" fmla="*/ 608 w 1043"/>
                <a:gd name="T83" fmla="*/ 81 h 1035"/>
                <a:gd name="T84" fmla="*/ 500 w 1043"/>
                <a:gd name="T85" fmla="*/ 65 h 1035"/>
                <a:gd name="T86" fmla="*/ 302 w 1043"/>
                <a:gd name="T87" fmla="*/ 771 h 1035"/>
                <a:gd name="T88" fmla="*/ 307 w 1043"/>
                <a:gd name="T89" fmla="*/ 875 h 1035"/>
                <a:gd name="T90" fmla="*/ 324 w 1043"/>
                <a:gd name="T91" fmla="*/ 931 h 1035"/>
                <a:gd name="T92" fmla="*/ 344 w 1043"/>
                <a:gd name="T93" fmla="*/ 950 h 1035"/>
                <a:gd name="T94" fmla="*/ 395 w 1043"/>
                <a:gd name="T95" fmla="*/ 967 h 1035"/>
                <a:gd name="T96" fmla="*/ 469 w 1043"/>
                <a:gd name="T97" fmla="*/ 971 h 10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043" h="1035">
                  <a:moveTo>
                    <a:pt x="0" y="999"/>
                  </a:moveTo>
                  <a:lnTo>
                    <a:pt x="0" y="999"/>
                  </a:lnTo>
                  <a:lnTo>
                    <a:pt x="25" y="998"/>
                  </a:lnTo>
                  <a:lnTo>
                    <a:pt x="48" y="997"/>
                  </a:lnTo>
                  <a:lnTo>
                    <a:pt x="68" y="995"/>
                  </a:lnTo>
                  <a:lnTo>
                    <a:pt x="86" y="991"/>
                  </a:lnTo>
                  <a:lnTo>
                    <a:pt x="102" y="987"/>
                  </a:lnTo>
                  <a:lnTo>
                    <a:pt x="115" y="981"/>
                  </a:lnTo>
                  <a:lnTo>
                    <a:pt x="121" y="977"/>
                  </a:lnTo>
                  <a:lnTo>
                    <a:pt x="126" y="972"/>
                  </a:lnTo>
                  <a:lnTo>
                    <a:pt x="131" y="967"/>
                  </a:lnTo>
                  <a:lnTo>
                    <a:pt x="135" y="962"/>
                  </a:lnTo>
                  <a:lnTo>
                    <a:pt x="139" y="957"/>
                  </a:lnTo>
                  <a:lnTo>
                    <a:pt x="143" y="951"/>
                  </a:lnTo>
                  <a:lnTo>
                    <a:pt x="150" y="937"/>
                  </a:lnTo>
                  <a:lnTo>
                    <a:pt x="155" y="920"/>
                  </a:lnTo>
                  <a:lnTo>
                    <a:pt x="158" y="901"/>
                  </a:lnTo>
                  <a:lnTo>
                    <a:pt x="161" y="879"/>
                  </a:lnTo>
                  <a:lnTo>
                    <a:pt x="163" y="855"/>
                  </a:lnTo>
                  <a:lnTo>
                    <a:pt x="164" y="827"/>
                  </a:lnTo>
                  <a:lnTo>
                    <a:pt x="164" y="797"/>
                  </a:lnTo>
                  <a:lnTo>
                    <a:pt x="164" y="236"/>
                  </a:lnTo>
                  <a:lnTo>
                    <a:pt x="164" y="236"/>
                  </a:lnTo>
                  <a:lnTo>
                    <a:pt x="164" y="206"/>
                  </a:lnTo>
                  <a:lnTo>
                    <a:pt x="163" y="178"/>
                  </a:lnTo>
                  <a:lnTo>
                    <a:pt x="161" y="153"/>
                  </a:lnTo>
                  <a:lnTo>
                    <a:pt x="158" y="132"/>
                  </a:lnTo>
                  <a:lnTo>
                    <a:pt x="155" y="114"/>
                  </a:lnTo>
                  <a:lnTo>
                    <a:pt x="150" y="97"/>
                  </a:lnTo>
                  <a:lnTo>
                    <a:pt x="143" y="83"/>
                  </a:lnTo>
                  <a:lnTo>
                    <a:pt x="139" y="77"/>
                  </a:lnTo>
                  <a:lnTo>
                    <a:pt x="135" y="72"/>
                  </a:lnTo>
                  <a:lnTo>
                    <a:pt x="131" y="67"/>
                  </a:lnTo>
                  <a:lnTo>
                    <a:pt x="126" y="61"/>
                  </a:lnTo>
                  <a:lnTo>
                    <a:pt x="121" y="57"/>
                  </a:lnTo>
                  <a:lnTo>
                    <a:pt x="115" y="54"/>
                  </a:lnTo>
                  <a:lnTo>
                    <a:pt x="102" y="48"/>
                  </a:lnTo>
                  <a:lnTo>
                    <a:pt x="86" y="43"/>
                  </a:lnTo>
                  <a:lnTo>
                    <a:pt x="68" y="40"/>
                  </a:lnTo>
                  <a:lnTo>
                    <a:pt x="48" y="38"/>
                  </a:lnTo>
                  <a:lnTo>
                    <a:pt x="25" y="37"/>
                  </a:lnTo>
                  <a:lnTo>
                    <a:pt x="0" y="36"/>
                  </a:lnTo>
                  <a:lnTo>
                    <a:pt x="0" y="0"/>
                  </a:lnTo>
                  <a:lnTo>
                    <a:pt x="468" y="0"/>
                  </a:lnTo>
                  <a:lnTo>
                    <a:pt x="468" y="0"/>
                  </a:lnTo>
                  <a:lnTo>
                    <a:pt x="504" y="0"/>
                  </a:lnTo>
                  <a:lnTo>
                    <a:pt x="540" y="2"/>
                  </a:lnTo>
                  <a:lnTo>
                    <a:pt x="574" y="6"/>
                  </a:lnTo>
                  <a:lnTo>
                    <a:pt x="608" y="10"/>
                  </a:lnTo>
                  <a:lnTo>
                    <a:pt x="639" y="16"/>
                  </a:lnTo>
                  <a:lnTo>
                    <a:pt x="670" y="24"/>
                  </a:lnTo>
                  <a:lnTo>
                    <a:pt x="699" y="32"/>
                  </a:lnTo>
                  <a:lnTo>
                    <a:pt x="727" y="41"/>
                  </a:lnTo>
                  <a:lnTo>
                    <a:pt x="754" y="51"/>
                  </a:lnTo>
                  <a:lnTo>
                    <a:pt x="779" y="62"/>
                  </a:lnTo>
                  <a:lnTo>
                    <a:pt x="803" y="75"/>
                  </a:lnTo>
                  <a:lnTo>
                    <a:pt x="827" y="88"/>
                  </a:lnTo>
                  <a:lnTo>
                    <a:pt x="848" y="103"/>
                  </a:lnTo>
                  <a:lnTo>
                    <a:pt x="868" y="119"/>
                  </a:lnTo>
                  <a:lnTo>
                    <a:pt x="888" y="135"/>
                  </a:lnTo>
                  <a:lnTo>
                    <a:pt x="906" y="151"/>
                  </a:lnTo>
                  <a:lnTo>
                    <a:pt x="924" y="170"/>
                  </a:lnTo>
                  <a:lnTo>
                    <a:pt x="939" y="188"/>
                  </a:lnTo>
                  <a:lnTo>
                    <a:pt x="953" y="209"/>
                  </a:lnTo>
                  <a:lnTo>
                    <a:pt x="968" y="228"/>
                  </a:lnTo>
                  <a:lnTo>
                    <a:pt x="980" y="250"/>
                  </a:lnTo>
                  <a:lnTo>
                    <a:pt x="991" y="271"/>
                  </a:lnTo>
                  <a:lnTo>
                    <a:pt x="1001" y="294"/>
                  </a:lnTo>
                  <a:lnTo>
                    <a:pt x="1010" y="316"/>
                  </a:lnTo>
                  <a:lnTo>
                    <a:pt x="1018" y="340"/>
                  </a:lnTo>
                  <a:lnTo>
                    <a:pt x="1025" y="364"/>
                  </a:lnTo>
                  <a:lnTo>
                    <a:pt x="1031" y="389"/>
                  </a:lnTo>
                  <a:lnTo>
                    <a:pt x="1035" y="413"/>
                  </a:lnTo>
                  <a:lnTo>
                    <a:pt x="1039" y="439"/>
                  </a:lnTo>
                  <a:lnTo>
                    <a:pt x="1041" y="464"/>
                  </a:lnTo>
                  <a:lnTo>
                    <a:pt x="1043" y="491"/>
                  </a:lnTo>
                  <a:lnTo>
                    <a:pt x="1043" y="517"/>
                  </a:lnTo>
                  <a:lnTo>
                    <a:pt x="1043" y="517"/>
                  </a:lnTo>
                  <a:lnTo>
                    <a:pt x="1043" y="544"/>
                  </a:lnTo>
                  <a:lnTo>
                    <a:pt x="1041" y="570"/>
                  </a:lnTo>
                  <a:lnTo>
                    <a:pt x="1039" y="596"/>
                  </a:lnTo>
                  <a:lnTo>
                    <a:pt x="1035" y="622"/>
                  </a:lnTo>
                  <a:lnTo>
                    <a:pt x="1031" y="646"/>
                  </a:lnTo>
                  <a:lnTo>
                    <a:pt x="1025" y="671"/>
                  </a:lnTo>
                  <a:lnTo>
                    <a:pt x="1018" y="694"/>
                  </a:lnTo>
                  <a:lnTo>
                    <a:pt x="1010" y="718"/>
                  </a:lnTo>
                  <a:lnTo>
                    <a:pt x="1001" y="741"/>
                  </a:lnTo>
                  <a:lnTo>
                    <a:pt x="991" y="764"/>
                  </a:lnTo>
                  <a:lnTo>
                    <a:pt x="980" y="785"/>
                  </a:lnTo>
                  <a:lnTo>
                    <a:pt x="968" y="806"/>
                  </a:lnTo>
                  <a:lnTo>
                    <a:pt x="953" y="826"/>
                  </a:lnTo>
                  <a:lnTo>
                    <a:pt x="939" y="846"/>
                  </a:lnTo>
                  <a:lnTo>
                    <a:pt x="924" y="865"/>
                  </a:lnTo>
                  <a:lnTo>
                    <a:pt x="906" y="882"/>
                  </a:lnTo>
                  <a:lnTo>
                    <a:pt x="888" y="900"/>
                  </a:lnTo>
                  <a:lnTo>
                    <a:pt x="868" y="916"/>
                  </a:lnTo>
                  <a:lnTo>
                    <a:pt x="848" y="932"/>
                  </a:lnTo>
                  <a:lnTo>
                    <a:pt x="827" y="946"/>
                  </a:lnTo>
                  <a:lnTo>
                    <a:pt x="803" y="959"/>
                  </a:lnTo>
                  <a:lnTo>
                    <a:pt x="779" y="972"/>
                  </a:lnTo>
                  <a:lnTo>
                    <a:pt x="754" y="984"/>
                  </a:lnTo>
                  <a:lnTo>
                    <a:pt x="727" y="994"/>
                  </a:lnTo>
                  <a:lnTo>
                    <a:pt x="699" y="1003"/>
                  </a:lnTo>
                  <a:lnTo>
                    <a:pt x="670" y="1011"/>
                  </a:lnTo>
                  <a:lnTo>
                    <a:pt x="639" y="1018"/>
                  </a:lnTo>
                  <a:lnTo>
                    <a:pt x="608" y="1025"/>
                  </a:lnTo>
                  <a:lnTo>
                    <a:pt x="574" y="1029"/>
                  </a:lnTo>
                  <a:lnTo>
                    <a:pt x="540" y="1032"/>
                  </a:lnTo>
                  <a:lnTo>
                    <a:pt x="504" y="1034"/>
                  </a:lnTo>
                  <a:lnTo>
                    <a:pt x="468" y="1035"/>
                  </a:lnTo>
                  <a:lnTo>
                    <a:pt x="0" y="1035"/>
                  </a:lnTo>
                  <a:lnTo>
                    <a:pt x="0" y="999"/>
                  </a:lnTo>
                  <a:close/>
                  <a:moveTo>
                    <a:pt x="469" y="971"/>
                  </a:moveTo>
                  <a:lnTo>
                    <a:pt x="469" y="971"/>
                  </a:lnTo>
                  <a:lnTo>
                    <a:pt x="500" y="970"/>
                  </a:lnTo>
                  <a:lnTo>
                    <a:pt x="529" y="968"/>
                  </a:lnTo>
                  <a:lnTo>
                    <a:pt x="557" y="964"/>
                  </a:lnTo>
                  <a:lnTo>
                    <a:pt x="583" y="960"/>
                  </a:lnTo>
                  <a:lnTo>
                    <a:pt x="608" y="954"/>
                  </a:lnTo>
                  <a:lnTo>
                    <a:pt x="631" y="947"/>
                  </a:lnTo>
                  <a:lnTo>
                    <a:pt x="654" y="938"/>
                  </a:lnTo>
                  <a:lnTo>
                    <a:pt x="675" y="928"/>
                  </a:lnTo>
                  <a:lnTo>
                    <a:pt x="695" y="918"/>
                  </a:lnTo>
                  <a:lnTo>
                    <a:pt x="713" y="906"/>
                  </a:lnTo>
                  <a:lnTo>
                    <a:pt x="730" y="894"/>
                  </a:lnTo>
                  <a:lnTo>
                    <a:pt x="747" y="880"/>
                  </a:lnTo>
                  <a:lnTo>
                    <a:pt x="761" y="866"/>
                  </a:lnTo>
                  <a:lnTo>
                    <a:pt x="775" y="852"/>
                  </a:lnTo>
                  <a:lnTo>
                    <a:pt x="788" y="836"/>
                  </a:lnTo>
                  <a:lnTo>
                    <a:pt x="800" y="820"/>
                  </a:lnTo>
                  <a:lnTo>
                    <a:pt x="810" y="803"/>
                  </a:lnTo>
                  <a:lnTo>
                    <a:pt x="820" y="785"/>
                  </a:lnTo>
                  <a:lnTo>
                    <a:pt x="830" y="768"/>
                  </a:lnTo>
                  <a:lnTo>
                    <a:pt x="838" y="750"/>
                  </a:lnTo>
                  <a:lnTo>
                    <a:pt x="845" y="731"/>
                  </a:lnTo>
                  <a:lnTo>
                    <a:pt x="851" y="712"/>
                  </a:lnTo>
                  <a:lnTo>
                    <a:pt x="856" y="692"/>
                  </a:lnTo>
                  <a:lnTo>
                    <a:pt x="861" y="673"/>
                  </a:lnTo>
                  <a:lnTo>
                    <a:pt x="865" y="653"/>
                  </a:lnTo>
                  <a:lnTo>
                    <a:pt x="869" y="634"/>
                  </a:lnTo>
                  <a:lnTo>
                    <a:pt x="875" y="595"/>
                  </a:lnTo>
                  <a:lnTo>
                    <a:pt x="877" y="555"/>
                  </a:lnTo>
                  <a:lnTo>
                    <a:pt x="878" y="517"/>
                  </a:lnTo>
                  <a:lnTo>
                    <a:pt x="878" y="517"/>
                  </a:lnTo>
                  <a:lnTo>
                    <a:pt x="877" y="479"/>
                  </a:lnTo>
                  <a:lnTo>
                    <a:pt x="875" y="440"/>
                  </a:lnTo>
                  <a:lnTo>
                    <a:pt x="869" y="401"/>
                  </a:lnTo>
                  <a:lnTo>
                    <a:pt x="865" y="380"/>
                  </a:lnTo>
                  <a:lnTo>
                    <a:pt x="861" y="361"/>
                  </a:lnTo>
                  <a:lnTo>
                    <a:pt x="856" y="342"/>
                  </a:lnTo>
                  <a:lnTo>
                    <a:pt x="851" y="323"/>
                  </a:lnTo>
                  <a:lnTo>
                    <a:pt x="845" y="304"/>
                  </a:lnTo>
                  <a:lnTo>
                    <a:pt x="838" y="285"/>
                  </a:lnTo>
                  <a:lnTo>
                    <a:pt x="830" y="267"/>
                  </a:lnTo>
                  <a:lnTo>
                    <a:pt x="820" y="249"/>
                  </a:lnTo>
                  <a:lnTo>
                    <a:pt x="810" y="231"/>
                  </a:lnTo>
                  <a:lnTo>
                    <a:pt x="800" y="215"/>
                  </a:lnTo>
                  <a:lnTo>
                    <a:pt x="788" y="198"/>
                  </a:lnTo>
                  <a:lnTo>
                    <a:pt x="775" y="183"/>
                  </a:lnTo>
                  <a:lnTo>
                    <a:pt x="761" y="168"/>
                  </a:lnTo>
                  <a:lnTo>
                    <a:pt x="747" y="154"/>
                  </a:lnTo>
                  <a:lnTo>
                    <a:pt x="730" y="140"/>
                  </a:lnTo>
                  <a:lnTo>
                    <a:pt x="713" y="128"/>
                  </a:lnTo>
                  <a:lnTo>
                    <a:pt x="695" y="117"/>
                  </a:lnTo>
                  <a:lnTo>
                    <a:pt x="675" y="106"/>
                  </a:lnTo>
                  <a:lnTo>
                    <a:pt x="654" y="96"/>
                  </a:lnTo>
                  <a:lnTo>
                    <a:pt x="631" y="88"/>
                  </a:lnTo>
                  <a:lnTo>
                    <a:pt x="608" y="81"/>
                  </a:lnTo>
                  <a:lnTo>
                    <a:pt x="583" y="75"/>
                  </a:lnTo>
                  <a:lnTo>
                    <a:pt x="557" y="70"/>
                  </a:lnTo>
                  <a:lnTo>
                    <a:pt x="529" y="67"/>
                  </a:lnTo>
                  <a:lnTo>
                    <a:pt x="500" y="65"/>
                  </a:lnTo>
                  <a:lnTo>
                    <a:pt x="469" y="63"/>
                  </a:lnTo>
                  <a:lnTo>
                    <a:pt x="302" y="63"/>
                  </a:lnTo>
                  <a:lnTo>
                    <a:pt x="302" y="771"/>
                  </a:lnTo>
                  <a:lnTo>
                    <a:pt x="302" y="771"/>
                  </a:lnTo>
                  <a:lnTo>
                    <a:pt x="302" y="802"/>
                  </a:lnTo>
                  <a:lnTo>
                    <a:pt x="303" y="829"/>
                  </a:lnTo>
                  <a:lnTo>
                    <a:pt x="304" y="854"/>
                  </a:lnTo>
                  <a:lnTo>
                    <a:pt x="307" y="875"/>
                  </a:lnTo>
                  <a:lnTo>
                    <a:pt x="310" y="894"/>
                  </a:lnTo>
                  <a:lnTo>
                    <a:pt x="315" y="910"/>
                  </a:lnTo>
                  <a:lnTo>
                    <a:pt x="321" y="924"/>
                  </a:lnTo>
                  <a:lnTo>
                    <a:pt x="324" y="931"/>
                  </a:lnTo>
                  <a:lnTo>
                    <a:pt x="329" y="936"/>
                  </a:lnTo>
                  <a:lnTo>
                    <a:pt x="334" y="941"/>
                  </a:lnTo>
                  <a:lnTo>
                    <a:pt x="338" y="946"/>
                  </a:lnTo>
                  <a:lnTo>
                    <a:pt x="344" y="950"/>
                  </a:lnTo>
                  <a:lnTo>
                    <a:pt x="349" y="953"/>
                  </a:lnTo>
                  <a:lnTo>
                    <a:pt x="362" y="959"/>
                  </a:lnTo>
                  <a:lnTo>
                    <a:pt x="378" y="964"/>
                  </a:lnTo>
                  <a:lnTo>
                    <a:pt x="395" y="967"/>
                  </a:lnTo>
                  <a:lnTo>
                    <a:pt x="414" y="969"/>
                  </a:lnTo>
                  <a:lnTo>
                    <a:pt x="437" y="970"/>
                  </a:lnTo>
                  <a:lnTo>
                    <a:pt x="463" y="971"/>
                  </a:lnTo>
                  <a:lnTo>
                    <a:pt x="469" y="97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74" name="Freeform 27"/>
            <p:cNvSpPr>
              <a:spLocks/>
            </p:cNvSpPr>
            <p:nvPr userDrawn="1"/>
          </p:nvSpPr>
          <p:spPr bwMode="auto">
            <a:xfrm>
              <a:off x="7801221" y="898693"/>
              <a:ext cx="112713" cy="136525"/>
            </a:xfrm>
            <a:custGeom>
              <a:avLst/>
              <a:gdLst>
                <a:gd name="T0" fmla="*/ 26 w 859"/>
                <a:gd name="T1" fmla="*/ 998 h 1035"/>
                <a:gd name="T2" fmla="*/ 86 w 859"/>
                <a:gd name="T3" fmla="*/ 991 h 1035"/>
                <a:gd name="T4" fmla="*/ 121 w 859"/>
                <a:gd name="T5" fmla="*/ 977 h 1035"/>
                <a:gd name="T6" fmla="*/ 135 w 859"/>
                <a:gd name="T7" fmla="*/ 962 h 1035"/>
                <a:gd name="T8" fmla="*/ 150 w 859"/>
                <a:gd name="T9" fmla="*/ 937 h 1035"/>
                <a:gd name="T10" fmla="*/ 161 w 859"/>
                <a:gd name="T11" fmla="*/ 879 h 1035"/>
                <a:gd name="T12" fmla="*/ 164 w 859"/>
                <a:gd name="T13" fmla="*/ 797 h 1035"/>
                <a:gd name="T14" fmla="*/ 164 w 859"/>
                <a:gd name="T15" fmla="*/ 206 h 1035"/>
                <a:gd name="T16" fmla="*/ 159 w 859"/>
                <a:gd name="T17" fmla="*/ 132 h 1035"/>
                <a:gd name="T18" fmla="*/ 143 w 859"/>
                <a:gd name="T19" fmla="*/ 83 h 1035"/>
                <a:gd name="T20" fmla="*/ 131 w 859"/>
                <a:gd name="T21" fmla="*/ 67 h 1035"/>
                <a:gd name="T22" fmla="*/ 115 w 859"/>
                <a:gd name="T23" fmla="*/ 54 h 1035"/>
                <a:gd name="T24" fmla="*/ 69 w 859"/>
                <a:gd name="T25" fmla="*/ 40 h 1035"/>
                <a:gd name="T26" fmla="*/ 0 w 859"/>
                <a:gd name="T27" fmla="*/ 36 h 1035"/>
                <a:gd name="T28" fmla="*/ 802 w 859"/>
                <a:gd name="T29" fmla="*/ 227 h 1035"/>
                <a:gd name="T30" fmla="*/ 757 w 859"/>
                <a:gd name="T31" fmla="*/ 193 h 1035"/>
                <a:gd name="T32" fmla="*/ 739 w 859"/>
                <a:gd name="T33" fmla="*/ 135 h 1035"/>
                <a:gd name="T34" fmla="*/ 717 w 859"/>
                <a:gd name="T35" fmla="*/ 103 h 1035"/>
                <a:gd name="T36" fmla="*/ 684 w 859"/>
                <a:gd name="T37" fmla="*/ 81 h 1035"/>
                <a:gd name="T38" fmla="*/ 632 w 859"/>
                <a:gd name="T39" fmla="*/ 68 h 1035"/>
                <a:gd name="T40" fmla="*/ 558 w 859"/>
                <a:gd name="T41" fmla="*/ 63 h 1035"/>
                <a:gd name="T42" fmla="*/ 388 w 859"/>
                <a:gd name="T43" fmla="*/ 455 h 1035"/>
                <a:gd name="T44" fmla="*/ 446 w 859"/>
                <a:gd name="T45" fmla="*/ 454 h 1035"/>
                <a:gd name="T46" fmla="*/ 512 w 859"/>
                <a:gd name="T47" fmla="*/ 446 h 1035"/>
                <a:gd name="T48" fmla="*/ 547 w 859"/>
                <a:gd name="T49" fmla="*/ 431 h 1035"/>
                <a:gd name="T50" fmla="*/ 563 w 859"/>
                <a:gd name="T51" fmla="*/ 417 h 1035"/>
                <a:gd name="T52" fmla="*/ 577 w 859"/>
                <a:gd name="T53" fmla="*/ 393 h 1035"/>
                <a:gd name="T54" fmla="*/ 587 w 859"/>
                <a:gd name="T55" fmla="*/ 339 h 1035"/>
                <a:gd name="T56" fmla="*/ 625 w 859"/>
                <a:gd name="T57" fmla="*/ 289 h 1035"/>
                <a:gd name="T58" fmla="*/ 588 w 859"/>
                <a:gd name="T59" fmla="*/ 685 h 1035"/>
                <a:gd name="T60" fmla="*/ 585 w 859"/>
                <a:gd name="T61" fmla="*/ 616 h 1035"/>
                <a:gd name="T62" fmla="*/ 571 w 859"/>
                <a:gd name="T63" fmla="*/ 569 h 1035"/>
                <a:gd name="T64" fmla="*/ 559 w 859"/>
                <a:gd name="T65" fmla="*/ 552 h 1035"/>
                <a:gd name="T66" fmla="*/ 541 w 859"/>
                <a:gd name="T67" fmla="*/ 540 h 1035"/>
                <a:gd name="T68" fmla="*/ 492 w 859"/>
                <a:gd name="T69" fmla="*/ 525 h 1035"/>
                <a:gd name="T70" fmla="*/ 419 w 859"/>
                <a:gd name="T71" fmla="*/ 519 h 1035"/>
                <a:gd name="T72" fmla="*/ 302 w 859"/>
                <a:gd name="T73" fmla="*/ 771 h 1035"/>
                <a:gd name="T74" fmla="*/ 303 w 859"/>
                <a:gd name="T75" fmla="*/ 829 h 1035"/>
                <a:gd name="T76" fmla="*/ 311 w 859"/>
                <a:gd name="T77" fmla="*/ 894 h 1035"/>
                <a:gd name="T78" fmla="*/ 326 w 859"/>
                <a:gd name="T79" fmla="*/ 931 h 1035"/>
                <a:gd name="T80" fmla="*/ 340 w 859"/>
                <a:gd name="T81" fmla="*/ 946 h 1035"/>
                <a:gd name="T82" fmla="*/ 364 w 859"/>
                <a:gd name="T83" fmla="*/ 959 h 1035"/>
                <a:gd name="T84" fmla="*/ 417 w 859"/>
                <a:gd name="T85" fmla="*/ 969 h 1035"/>
                <a:gd name="T86" fmla="*/ 614 w 859"/>
                <a:gd name="T87" fmla="*/ 971 h 1035"/>
                <a:gd name="T88" fmla="*/ 668 w 859"/>
                <a:gd name="T89" fmla="*/ 969 h 1035"/>
                <a:gd name="T90" fmla="*/ 726 w 859"/>
                <a:gd name="T91" fmla="*/ 959 h 1035"/>
                <a:gd name="T92" fmla="*/ 765 w 859"/>
                <a:gd name="T93" fmla="*/ 940 h 1035"/>
                <a:gd name="T94" fmla="*/ 790 w 859"/>
                <a:gd name="T95" fmla="*/ 911 h 1035"/>
                <a:gd name="T96" fmla="*/ 806 w 859"/>
                <a:gd name="T97" fmla="*/ 872 h 1035"/>
                <a:gd name="T98" fmla="*/ 859 w 859"/>
                <a:gd name="T99" fmla="*/ 806 h 1035"/>
                <a:gd name="T100" fmla="*/ 0 w 859"/>
                <a:gd name="T101" fmla="*/ 999 h 10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59" h="1035">
                  <a:moveTo>
                    <a:pt x="0" y="999"/>
                  </a:moveTo>
                  <a:lnTo>
                    <a:pt x="0" y="999"/>
                  </a:lnTo>
                  <a:lnTo>
                    <a:pt x="26" y="998"/>
                  </a:lnTo>
                  <a:lnTo>
                    <a:pt x="48" y="997"/>
                  </a:lnTo>
                  <a:lnTo>
                    <a:pt x="69" y="995"/>
                  </a:lnTo>
                  <a:lnTo>
                    <a:pt x="86" y="991"/>
                  </a:lnTo>
                  <a:lnTo>
                    <a:pt x="102" y="987"/>
                  </a:lnTo>
                  <a:lnTo>
                    <a:pt x="115" y="981"/>
                  </a:lnTo>
                  <a:lnTo>
                    <a:pt x="121" y="977"/>
                  </a:lnTo>
                  <a:lnTo>
                    <a:pt x="126" y="972"/>
                  </a:lnTo>
                  <a:lnTo>
                    <a:pt x="131" y="967"/>
                  </a:lnTo>
                  <a:lnTo>
                    <a:pt x="135" y="962"/>
                  </a:lnTo>
                  <a:lnTo>
                    <a:pt x="140" y="957"/>
                  </a:lnTo>
                  <a:lnTo>
                    <a:pt x="143" y="951"/>
                  </a:lnTo>
                  <a:lnTo>
                    <a:pt x="150" y="937"/>
                  </a:lnTo>
                  <a:lnTo>
                    <a:pt x="155" y="920"/>
                  </a:lnTo>
                  <a:lnTo>
                    <a:pt x="159" y="901"/>
                  </a:lnTo>
                  <a:lnTo>
                    <a:pt x="161" y="879"/>
                  </a:lnTo>
                  <a:lnTo>
                    <a:pt x="163" y="855"/>
                  </a:lnTo>
                  <a:lnTo>
                    <a:pt x="164" y="827"/>
                  </a:lnTo>
                  <a:lnTo>
                    <a:pt x="164" y="797"/>
                  </a:lnTo>
                  <a:lnTo>
                    <a:pt x="164" y="236"/>
                  </a:lnTo>
                  <a:lnTo>
                    <a:pt x="164" y="236"/>
                  </a:lnTo>
                  <a:lnTo>
                    <a:pt x="164" y="206"/>
                  </a:lnTo>
                  <a:lnTo>
                    <a:pt x="163" y="178"/>
                  </a:lnTo>
                  <a:lnTo>
                    <a:pt x="161" y="153"/>
                  </a:lnTo>
                  <a:lnTo>
                    <a:pt x="159" y="132"/>
                  </a:lnTo>
                  <a:lnTo>
                    <a:pt x="155" y="114"/>
                  </a:lnTo>
                  <a:lnTo>
                    <a:pt x="150" y="97"/>
                  </a:lnTo>
                  <a:lnTo>
                    <a:pt x="143" y="83"/>
                  </a:lnTo>
                  <a:lnTo>
                    <a:pt x="140" y="77"/>
                  </a:lnTo>
                  <a:lnTo>
                    <a:pt x="135" y="72"/>
                  </a:lnTo>
                  <a:lnTo>
                    <a:pt x="131" y="67"/>
                  </a:lnTo>
                  <a:lnTo>
                    <a:pt x="126" y="61"/>
                  </a:lnTo>
                  <a:lnTo>
                    <a:pt x="121" y="57"/>
                  </a:lnTo>
                  <a:lnTo>
                    <a:pt x="115" y="54"/>
                  </a:lnTo>
                  <a:lnTo>
                    <a:pt x="102" y="48"/>
                  </a:lnTo>
                  <a:lnTo>
                    <a:pt x="86" y="43"/>
                  </a:lnTo>
                  <a:lnTo>
                    <a:pt x="69" y="40"/>
                  </a:lnTo>
                  <a:lnTo>
                    <a:pt x="48" y="38"/>
                  </a:lnTo>
                  <a:lnTo>
                    <a:pt x="26" y="37"/>
                  </a:lnTo>
                  <a:lnTo>
                    <a:pt x="0" y="36"/>
                  </a:lnTo>
                  <a:lnTo>
                    <a:pt x="0" y="0"/>
                  </a:lnTo>
                  <a:lnTo>
                    <a:pt x="787" y="0"/>
                  </a:lnTo>
                  <a:lnTo>
                    <a:pt x="802" y="227"/>
                  </a:lnTo>
                  <a:lnTo>
                    <a:pt x="766" y="227"/>
                  </a:lnTo>
                  <a:lnTo>
                    <a:pt x="757" y="193"/>
                  </a:lnTo>
                  <a:lnTo>
                    <a:pt x="757" y="193"/>
                  </a:lnTo>
                  <a:lnTo>
                    <a:pt x="749" y="162"/>
                  </a:lnTo>
                  <a:lnTo>
                    <a:pt x="744" y="147"/>
                  </a:lnTo>
                  <a:lnTo>
                    <a:pt x="739" y="135"/>
                  </a:lnTo>
                  <a:lnTo>
                    <a:pt x="732" y="123"/>
                  </a:lnTo>
                  <a:lnTo>
                    <a:pt x="725" y="113"/>
                  </a:lnTo>
                  <a:lnTo>
                    <a:pt x="717" y="103"/>
                  </a:lnTo>
                  <a:lnTo>
                    <a:pt x="708" y="95"/>
                  </a:lnTo>
                  <a:lnTo>
                    <a:pt x="697" y="87"/>
                  </a:lnTo>
                  <a:lnTo>
                    <a:pt x="684" y="81"/>
                  </a:lnTo>
                  <a:lnTo>
                    <a:pt x="669" y="76"/>
                  </a:lnTo>
                  <a:lnTo>
                    <a:pt x="653" y="72"/>
                  </a:lnTo>
                  <a:lnTo>
                    <a:pt x="632" y="68"/>
                  </a:lnTo>
                  <a:lnTo>
                    <a:pt x="611" y="66"/>
                  </a:lnTo>
                  <a:lnTo>
                    <a:pt x="585" y="65"/>
                  </a:lnTo>
                  <a:lnTo>
                    <a:pt x="558" y="63"/>
                  </a:lnTo>
                  <a:lnTo>
                    <a:pt x="302" y="63"/>
                  </a:lnTo>
                  <a:lnTo>
                    <a:pt x="302" y="455"/>
                  </a:lnTo>
                  <a:lnTo>
                    <a:pt x="388" y="455"/>
                  </a:lnTo>
                  <a:lnTo>
                    <a:pt x="388" y="455"/>
                  </a:lnTo>
                  <a:lnTo>
                    <a:pt x="419" y="455"/>
                  </a:lnTo>
                  <a:lnTo>
                    <a:pt x="446" y="454"/>
                  </a:lnTo>
                  <a:lnTo>
                    <a:pt x="471" y="452"/>
                  </a:lnTo>
                  <a:lnTo>
                    <a:pt x="492" y="450"/>
                  </a:lnTo>
                  <a:lnTo>
                    <a:pt x="512" y="446"/>
                  </a:lnTo>
                  <a:lnTo>
                    <a:pt x="527" y="441"/>
                  </a:lnTo>
                  <a:lnTo>
                    <a:pt x="541" y="435"/>
                  </a:lnTo>
                  <a:lnTo>
                    <a:pt x="547" y="431"/>
                  </a:lnTo>
                  <a:lnTo>
                    <a:pt x="553" y="426"/>
                  </a:lnTo>
                  <a:lnTo>
                    <a:pt x="559" y="422"/>
                  </a:lnTo>
                  <a:lnTo>
                    <a:pt x="563" y="417"/>
                  </a:lnTo>
                  <a:lnTo>
                    <a:pt x="567" y="412"/>
                  </a:lnTo>
                  <a:lnTo>
                    <a:pt x="571" y="406"/>
                  </a:lnTo>
                  <a:lnTo>
                    <a:pt x="577" y="393"/>
                  </a:lnTo>
                  <a:lnTo>
                    <a:pt x="581" y="376"/>
                  </a:lnTo>
                  <a:lnTo>
                    <a:pt x="585" y="359"/>
                  </a:lnTo>
                  <a:lnTo>
                    <a:pt x="587" y="339"/>
                  </a:lnTo>
                  <a:lnTo>
                    <a:pt x="588" y="315"/>
                  </a:lnTo>
                  <a:lnTo>
                    <a:pt x="588" y="289"/>
                  </a:lnTo>
                  <a:lnTo>
                    <a:pt x="625" y="289"/>
                  </a:lnTo>
                  <a:lnTo>
                    <a:pt x="625" y="685"/>
                  </a:lnTo>
                  <a:lnTo>
                    <a:pt x="588" y="685"/>
                  </a:lnTo>
                  <a:lnTo>
                    <a:pt x="588" y="685"/>
                  </a:lnTo>
                  <a:lnTo>
                    <a:pt x="588" y="659"/>
                  </a:lnTo>
                  <a:lnTo>
                    <a:pt x="587" y="636"/>
                  </a:lnTo>
                  <a:lnTo>
                    <a:pt x="585" y="616"/>
                  </a:lnTo>
                  <a:lnTo>
                    <a:pt x="581" y="597"/>
                  </a:lnTo>
                  <a:lnTo>
                    <a:pt x="577" y="582"/>
                  </a:lnTo>
                  <a:lnTo>
                    <a:pt x="571" y="569"/>
                  </a:lnTo>
                  <a:lnTo>
                    <a:pt x="567" y="562"/>
                  </a:lnTo>
                  <a:lnTo>
                    <a:pt x="563" y="557"/>
                  </a:lnTo>
                  <a:lnTo>
                    <a:pt x="559" y="552"/>
                  </a:lnTo>
                  <a:lnTo>
                    <a:pt x="553" y="547"/>
                  </a:lnTo>
                  <a:lnTo>
                    <a:pt x="547" y="543"/>
                  </a:lnTo>
                  <a:lnTo>
                    <a:pt x="541" y="540"/>
                  </a:lnTo>
                  <a:lnTo>
                    <a:pt x="527" y="533"/>
                  </a:lnTo>
                  <a:lnTo>
                    <a:pt x="512" y="529"/>
                  </a:lnTo>
                  <a:lnTo>
                    <a:pt x="492" y="525"/>
                  </a:lnTo>
                  <a:lnTo>
                    <a:pt x="471" y="522"/>
                  </a:lnTo>
                  <a:lnTo>
                    <a:pt x="446" y="521"/>
                  </a:lnTo>
                  <a:lnTo>
                    <a:pt x="419" y="519"/>
                  </a:lnTo>
                  <a:lnTo>
                    <a:pt x="388" y="519"/>
                  </a:lnTo>
                  <a:lnTo>
                    <a:pt x="302" y="519"/>
                  </a:lnTo>
                  <a:lnTo>
                    <a:pt x="302" y="771"/>
                  </a:lnTo>
                  <a:lnTo>
                    <a:pt x="302" y="771"/>
                  </a:lnTo>
                  <a:lnTo>
                    <a:pt x="302" y="802"/>
                  </a:lnTo>
                  <a:lnTo>
                    <a:pt x="303" y="829"/>
                  </a:lnTo>
                  <a:lnTo>
                    <a:pt x="305" y="854"/>
                  </a:lnTo>
                  <a:lnTo>
                    <a:pt x="307" y="875"/>
                  </a:lnTo>
                  <a:lnTo>
                    <a:pt x="311" y="894"/>
                  </a:lnTo>
                  <a:lnTo>
                    <a:pt x="316" y="910"/>
                  </a:lnTo>
                  <a:lnTo>
                    <a:pt x="322" y="924"/>
                  </a:lnTo>
                  <a:lnTo>
                    <a:pt x="326" y="931"/>
                  </a:lnTo>
                  <a:lnTo>
                    <a:pt x="331" y="936"/>
                  </a:lnTo>
                  <a:lnTo>
                    <a:pt x="335" y="941"/>
                  </a:lnTo>
                  <a:lnTo>
                    <a:pt x="340" y="946"/>
                  </a:lnTo>
                  <a:lnTo>
                    <a:pt x="345" y="950"/>
                  </a:lnTo>
                  <a:lnTo>
                    <a:pt x="351" y="953"/>
                  </a:lnTo>
                  <a:lnTo>
                    <a:pt x="364" y="959"/>
                  </a:lnTo>
                  <a:lnTo>
                    <a:pt x="380" y="964"/>
                  </a:lnTo>
                  <a:lnTo>
                    <a:pt x="398" y="967"/>
                  </a:lnTo>
                  <a:lnTo>
                    <a:pt x="417" y="969"/>
                  </a:lnTo>
                  <a:lnTo>
                    <a:pt x="440" y="970"/>
                  </a:lnTo>
                  <a:lnTo>
                    <a:pt x="466" y="971"/>
                  </a:lnTo>
                  <a:lnTo>
                    <a:pt x="614" y="971"/>
                  </a:lnTo>
                  <a:lnTo>
                    <a:pt x="614" y="971"/>
                  </a:lnTo>
                  <a:lnTo>
                    <a:pt x="642" y="970"/>
                  </a:lnTo>
                  <a:lnTo>
                    <a:pt x="668" y="969"/>
                  </a:lnTo>
                  <a:lnTo>
                    <a:pt x="689" y="966"/>
                  </a:lnTo>
                  <a:lnTo>
                    <a:pt x="709" y="963"/>
                  </a:lnTo>
                  <a:lnTo>
                    <a:pt x="726" y="959"/>
                  </a:lnTo>
                  <a:lnTo>
                    <a:pt x="742" y="954"/>
                  </a:lnTo>
                  <a:lnTo>
                    <a:pt x="754" y="947"/>
                  </a:lnTo>
                  <a:lnTo>
                    <a:pt x="765" y="940"/>
                  </a:lnTo>
                  <a:lnTo>
                    <a:pt x="775" y="932"/>
                  </a:lnTo>
                  <a:lnTo>
                    <a:pt x="784" y="921"/>
                  </a:lnTo>
                  <a:lnTo>
                    <a:pt x="790" y="911"/>
                  </a:lnTo>
                  <a:lnTo>
                    <a:pt x="796" y="899"/>
                  </a:lnTo>
                  <a:lnTo>
                    <a:pt x="801" y="886"/>
                  </a:lnTo>
                  <a:lnTo>
                    <a:pt x="806" y="872"/>
                  </a:lnTo>
                  <a:lnTo>
                    <a:pt x="814" y="840"/>
                  </a:lnTo>
                  <a:lnTo>
                    <a:pt x="823" y="806"/>
                  </a:lnTo>
                  <a:lnTo>
                    <a:pt x="859" y="806"/>
                  </a:lnTo>
                  <a:lnTo>
                    <a:pt x="846" y="1035"/>
                  </a:lnTo>
                  <a:lnTo>
                    <a:pt x="0" y="1035"/>
                  </a:lnTo>
                  <a:lnTo>
                    <a:pt x="0" y="99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75" name="Freeform 28"/>
            <p:cNvSpPr>
              <a:spLocks/>
            </p:cNvSpPr>
            <p:nvPr userDrawn="1"/>
          </p:nvSpPr>
          <p:spPr bwMode="auto">
            <a:xfrm>
              <a:off x="7944095" y="898693"/>
              <a:ext cx="142875" cy="136525"/>
            </a:xfrm>
            <a:custGeom>
              <a:avLst/>
              <a:gdLst>
                <a:gd name="T0" fmla="*/ 304 w 1077"/>
                <a:gd name="T1" fmla="*/ 999 h 1035"/>
                <a:gd name="T2" fmla="*/ 352 w 1077"/>
                <a:gd name="T3" fmla="*/ 997 h 1035"/>
                <a:gd name="T4" fmla="*/ 391 w 1077"/>
                <a:gd name="T5" fmla="*/ 991 h 1035"/>
                <a:gd name="T6" fmla="*/ 419 w 1077"/>
                <a:gd name="T7" fmla="*/ 981 h 1035"/>
                <a:gd name="T8" fmla="*/ 431 w 1077"/>
                <a:gd name="T9" fmla="*/ 972 h 1035"/>
                <a:gd name="T10" fmla="*/ 441 w 1077"/>
                <a:gd name="T11" fmla="*/ 962 h 1035"/>
                <a:gd name="T12" fmla="*/ 449 w 1077"/>
                <a:gd name="T13" fmla="*/ 951 h 1035"/>
                <a:gd name="T14" fmla="*/ 460 w 1077"/>
                <a:gd name="T15" fmla="*/ 920 h 1035"/>
                <a:gd name="T16" fmla="*/ 466 w 1077"/>
                <a:gd name="T17" fmla="*/ 879 h 1035"/>
                <a:gd name="T18" fmla="*/ 469 w 1077"/>
                <a:gd name="T19" fmla="*/ 827 h 1035"/>
                <a:gd name="T20" fmla="*/ 469 w 1077"/>
                <a:gd name="T21" fmla="*/ 68 h 1035"/>
                <a:gd name="T22" fmla="*/ 246 w 1077"/>
                <a:gd name="T23" fmla="*/ 68 h 1035"/>
                <a:gd name="T24" fmla="*/ 192 w 1077"/>
                <a:gd name="T25" fmla="*/ 69 h 1035"/>
                <a:gd name="T26" fmla="*/ 150 w 1077"/>
                <a:gd name="T27" fmla="*/ 75 h 1035"/>
                <a:gd name="T28" fmla="*/ 119 w 1077"/>
                <a:gd name="T29" fmla="*/ 85 h 1035"/>
                <a:gd name="T30" fmla="*/ 95 w 1077"/>
                <a:gd name="T31" fmla="*/ 98 h 1035"/>
                <a:gd name="T32" fmla="*/ 78 w 1077"/>
                <a:gd name="T33" fmla="*/ 117 h 1035"/>
                <a:gd name="T34" fmla="*/ 65 w 1077"/>
                <a:gd name="T35" fmla="*/ 139 h 1035"/>
                <a:gd name="T36" fmla="*/ 54 w 1077"/>
                <a:gd name="T37" fmla="*/ 167 h 1035"/>
                <a:gd name="T38" fmla="*/ 37 w 1077"/>
                <a:gd name="T39" fmla="*/ 233 h 1035"/>
                <a:gd name="T40" fmla="*/ 15 w 1077"/>
                <a:gd name="T41" fmla="*/ 0 h 1035"/>
                <a:gd name="T42" fmla="*/ 1077 w 1077"/>
                <a:gd name="T43" fmla="*/ 233 h 1035"/>
                <a:gd name="T44" fmla="*/ 1032 w 1077"/>
                <a:gd name="T45" fmla="*/ 198 h 1035"/>
                <a:gd name="T46" fmla="*/ 1023 w 1077"/>
                <a:gd name="T47" fmla="*/ 167 h 1035"/>
                <a:gd name="T48" fmla="*/ 1013 w 1077"/>
                <a:gd name="T49" fmla="*/ 139 h 1035"/>
                <a:gd name="T50" fmla="*/ 1000 w 1077"/>
                <a:gd name="T51" fmla="*/ 117 h 1035"/>
                <a:gd name="T52" fmla="*/ 983 w 1077"/>
                <a:gd name="T53" fmla="*/ 98 h 1035"/>
                <a:gd name="T54" fmla="*/ 958 w 1077"/>
                <a:gd name="T55" fmla="*/ 85 h 1035"/>
                <a:gd name="T56" fmla="*/ 927 w 1077"/>
                <a:gd name="T57" fmla="*/ 75 h 1035"/>
                <a:gd name="T58" fmla="*/ 886 w 1077"/>
                <a:gd name="T59" fmla="*/ 69 h 1035"/>
                <a:gd name="T60" fmla="*/ 832 w 1077"/>
                <a:gd name="T61" fmla="*/ 68 h 1035"/>
                <a:gd name="T62" fmla="*/ 608 w 1077"/>
                <a:gd name="T63" fmla="*/ 797 h 1035"/>
                <a:gd name="T64" fmla="*/ 608 w 1077"/>
                <a:gd name="T65" fmla="*/ 827 h 1035"/>
                <a:gd name="T66" fmla="*/ 611 w 1077"/>
                <a:gd name="T67" fmla="*/ 879 h 1035"/>
                <a:gd name="T68" fmla="*/ 618 w 1077"/>
                <a:gd name="T69" fmla="*/ 920 h 1035"/>
                <a:gd name="T70" fmla="*/ 629 w 1077"/>
                <a:gd name="T71" fmla="*/ 951 h 1035"/>
                <a:gd name="T72" fmla="*/ 637 w 1077"/>
                <a:gd name="T73" fmla="*/ 962 h 1035"/>
                <a:gd name="T74" fmla="*/ 646 w 1077"/>
                <a:gd name="T75" fmla="*/ 972 h 1035"/>
                <a:gd name="T76" fmla="*/ 658 w 1077"/>
                <a:gd name="T77" fmla="*/ 981 h 1035"/>
                <a:gd name="T78" fmla="*/ 687 w 1077"/>
                <a:gd name="T79" fmla="*/ 991 h 1035"/>
                <a:gd name="T80" fmla="*/ 725 w 1077"/>
                <a:gd name="T81" fmla="*/ 997 h 1035"/>
                <a:gd name="T82" fmla="*/ 773 w 1077"/>
                <a:gd name="T83" fmla="*/ 999 h 1035"/>
                <a:gd name="T84" fmla="*/ 304 w 1077"/>
                <a:gd name="T85" fmla="*/ 1035 h 10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77" h="1035">
                  <a:moveTo>
                    <a:pt x="304" y="999"/>
                  </a:moveTo>
                  <a:lnTo>
                    <a:pt x="304" y="999"/>
                  </a:lnTo>
                  <a:lnTo>
                    <a:pt x="329" y="998"/>
                  </a:lnTo>
                  <a:lnTo>
                    <a:pt x="352" y="997"/>
                  </a:lnTo>
                  <a:lnTo>
                    <a:pt x="372" y="995"/>
                  </a:lnTo>
                  <a:lnTo>
                    <a:pt x="391" y="991"/>
                  </a:lnTo>
                  <a:lnTo>
                    <a:pt x="406" y="987"/>
                  </a:lnTo>
                  <a:lnTo>
                    <a:pt x="419" y="981"/>
                  </a:lnTo>
                  <a:lnTo>
                    <a:pt x="426" y="977"/>
                  </a:lnTo>
                  <a:lnTo>
                    <a:pt x="431" y="972"/>
                  </a:lnTo>
                  <a:lnTo>
                    <a:pt x="436" y="967"/>
                  </a:lnTo>
                  <a:lnTo>
                    <a:pt x="441" y="962"/>
                  </a:lnTo>
                  <a:lnTo>
                    <a:pt x="445" y="957"/>
                  </a:lnTo>
                  <a:lnTo>
                    <a:pt x="449" y="951"/>
                  </a:lnTo>
                  <a:lnTo>
                    <a:pt x="455" y="937"/>
                  </a:lnTo>
                  <a:lnTo>
                    <a:pt x="460" y="920"/>
                  </a:lnTo>
                  <a:lnTo>
                    <a:pt x="464" y="901"/>
                  </a:lnTo>
                  <a:lnTo>
                    <a:pt x="466" y="879"/>
                  </a:lnTo>
                  <a:lnTo>
                    <a:pt x="468" y="855"/>
                  </a:lnTo>
                  <a:lnTo>
                    <a:pt x="469" y="827"/>
                  </a:lnTo>
                  <a:lnTo>
                    <a:pt x="469" y="797"/>
                  </a:lnTo>
                  <a:lnTo>
                    <a:pt x="469" y="68"/>
                  </a:lnTo>
                  <a:lnTo>
                    <a:pt x="246" y="68"/>
                  </a:lnTo>
                  <a:lnTo>
                    <a:pt x="246" y="68"/>
                  </a:lnTo>
                  <a:lnTo>
                    <a:pt x="217" y="68"/>
                  </a:lnTo>
                  <a:lnTo>
                    <a:pt x="192" y="69"/>
                  </a:lnTo>
                  <a:lnTo>
                    <a:pt x="170" y="72"/>
                  </a:lnTo>
                  <a:lnTo>
                    <a:pt x="150" y="75"/>
                  </a:lnTo>
                  <a:lnTo>
                    <a:pt x="133" y="79"/>
                  </a:lnTo>
                  <a:lnTo>
                    <a:pt x="119" y="85"/>
                  </a:lnTo>
                  <a:lnTo>
                    <a:pt x="105" y="91"/>
                  </a:lnTo>
                  <a:lnTo>
                    <a:pt x="95" y="98"/>
                  </a:lnTo>
                  <a:lnTo>
                    <a:pt x="85" y="106"/>
                  </a:lnTo>
                  <a:lnTo>
                    <a:pt x="78" y="117"/>
                  </a:lnTo>
                  <a:lnTo>
                    <a:pt x="71" y="127"/>
                  </a:lnTo>
                  <a:lnTo>
                    <a:pt x="65" y="139"/>
                  </a:lnTo>
                  <a:lnTo>
                    <a:pt x="59" y="152"/>
                  </a:lnTo>
                  <a:lnTo>
                    <a:pt x="54" y="167"/>
                  </a:lnTo>
                  <a:lnTo>
                    <a:pt x="45" y="198"/>
                  </a:lnTo>
                  <a:lnTo>
                    <a:pt x="37" y="233"/>
                  </a:lnTo>
                  <a:lnTo>
                    <a:pt x="0" y="233"/>
                  </a:lnTo>
                  <a:lnTo>
                    <a:pt x="15" y="0"/>
                  </a:lnTo>
                  <a:lnTo>
                    <a:pt x="1062" y="0"/>
                  </a:lnTo>
                  <a:lnTo>
                    <a:pt x="1077" y="233"/>
                  </a:lnTo>
                  <a:lnTo>
                    <a:pt x="1041" y="233"/>
                  </a:lnTo>
                  <a:lnTo>
                    <a:pt x="1032" y="198"/>
                  </a:lnTo>
                  <a:lnTo>
                    <a:pt x="1032" y="198"/>
                  </a:lnTo>
                  <a:lnTo>
                    <a:pt x="1023" y="167"/>
                  </a:lnTo>
                  <a:lnTo>
                    <a:pt x="1019" y="152"/>
                  </a:lnTo>
                  <a:lnTo>
                    <a:pt x="1013" y="139"/>
                  </a:lnTo>
                  <a:lnTo>
                    <a:pt x="1007" y="127"/>
                  </a:lnTo>
                  <a:lnTo>
                    <a:pt x="1000" y="117"/>
                  </a:lnTo>
                  <a:lnTo>
                    <a:pt x="992" y="106"/>
                  </a:lnTo>
                  <a:lnTo>
                    <a:pt x="983" y="98"/>
                  </a:lnTo>
                  <a:lnTo>
                    <a:pt x="972" y="91"/>
                  </a:lnTo>
                  <a:lnTo>
                    <a:pt x="958" y="85"/>
                  </a:lnTo>
                  <a:lnTo>
                    <a:pt x="944" y="79"/>
                  </a:lnTo>
                  <a:lnTo>
                    <a:pt x="927" y="75"/>
                  </a:lnTo>
                  <a:lnTo>
                    <a:pt x="907" y="72"/>
                  </a:lnTo>
                  <a:lnTo>
                    <a:pt x="886" y="69"/>
                  </a:lnTo>
                  <a:lnTo>
                    <a:pt x="860" y="68"/>
                  </a:lnTo>
                  <a:lnTo>
                    <a:pt x="832" y="68"/>
                  </a:lnTo>
                  <a:lnTo>
                    <a:pt x="608" y="68"/>
                  </a:lnTo>
                  <a:lnTo>
                    <a:pt x="608" y="797"/>
                  </a:lnTo>
                  <a:lnTo>
                    <a:pt x="608" y="797"/>
                  </a:lnTo>
                  <a:lnTo>
                    <a:pt x="608" y="827"/>
                  </a:lnTo>
                  <a:lnTo>
                    <a:pt x="609" y="855"/>
                  </a:lnTo>
                  <a:lnTo>
                    <a:pt x="611" y="879"/>
                  </a:lnTo>
                  <a:lnTo>
                    <a:pt x="614" y="901"/>
                  </a:lnTo>
                  <a:lnTo>
                    <a:pt x="618" y="920"/>
                  </a:lnTo>
                  <a:lnTo>
                    <a:pt x="622" y="937"/>
                  </a:lnTo>
                  <a:lnTo>
                    <a:pt x="629" y="951"/>
                  </a:lnTo>
                  <a:lnTo>
                    <a:pt x="633" y="957"/>
                  </a:lnTo>
                  <a:lnTo>
                    <a:pt x="637" y="962"/>
                  </a:lnTo>
                  <a:lnTo>
                    <a:pt x="641" y="967"/>
                  </a:lnTo>
                  <a:lnTo>
                    <a:pt x="646" y="972"/>
                  </a:lnTo>
                  <a:lnTo>
                    <a:pt x="651" y="977"/>
                  </a:lnTo>
                  <a:lnTo>
                    <a:pt x="658" y="981"/>
                  </a:lnTo>
                  <a:lnTo>
                    <a:pt x="672" y="987"/>
                  </a:lnTo>
                  <a:lnTo>
                    <a:pt x="687" y="991"/>
                  </a:lnTo>
                  <a:lnTo>
                    <a:pt x="705" y="995"/>
                  </a:lnTo>
                  <a:lnTo>
                    <a:pt x="725" y="997"/>
                  </a:lnTo>
                  <a:lnTo>
                    <a:pt x="748" y="998"/>
                  </a:lnTo>
                  <a:lnTo>
                    <a:pt x="773" y="999"/>
                  </a:lnTo>
                  <a:lnTo>
                    <a:pt x="773" y="1035"/>
                  </a:lnTo>
                  <a:lnTo>
                    <a:pt x="304" y="1035"/>
                  </a:lnTo>
                  <a:lnTo>
                    <a:pt x="304" y="99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76" name="Freeform 29"/>
            <p:cNvSpPr>
              <a:spLocks noEditPoints="1"/>
            </p:cNvSpPr>
            <p:nvPr userDrawn="1"/>
          </p:nvSpPr>
          <p:spPr bwMode="auto">
            <a:xfrm>
              <a:off x="5743821" y="366879"/>
              <a:ext cx="657225" cy="898527"/>
            </a:xfrm>
            <a:custGeom>
              <a:avLst/>
              <a:gdLst>
                <a:gd name="T0" fmla="*/ 3944 w 4973"/>
                <a:gd name="T1" fmla="*/ 6352 h 6792"/>
                <a:gd name="T2" fmla="*/ 1694 w 4973"/>
                <a:gd name="T3" fmla="*/ 6143 h 6792"/>
                <a:gd name="T4" fmla="*/ 2984 w 4973"/>
                <a:gd name="T5" fmla="*/ 3784 h 6792"/>
                <a:gd name="T6" fmla="*/ 2316 w 4973"/>
                <a:gd name="T7" fmla="*/ 4454 h 6792"/>
                <a:gd name="T8" fmla="*/ 1155 w 4973"/>
                <a:gd name="T9" fmla="*/ 4705 h 6792"/>
                <a:gd name="T10" fmla="*/ 1077 w 4973"/>
                <a:gd name="T11" fmla="*/ 4988 h 6792"/>
                <a:gd name="T12" fmla="*/ 910 w 4973"/>
                <a:gd name="T13" fmla="*/ 5245 h 6792"/>
                <a:gd name="T14" fmla="*/ 961 w 4973"/>
                <a:gd name="T15" fmla="*/ 5618 h 6792"/>
                <a:gd name="T16" fmla="*/ 1600 w 4973"/>
                <a:gd name="T17" fmla="*/ 5369 h 6792"/>
                <a:gd name="T18" fmla="*/ 1886 w 4973"/>
                <a:gd name="T19" fmla="*/ 5421 h 6792"/>
                <a:gd name="T20" fmla="*/ 2617 w 4973"/>
                <a:gd name="T21" fmla="*/ 5123 h 6792"/>
                <a:gd name="T22" fmla="*/ 2857 w 4973"/>
                <a:gd name="T23" fmla="*/ 4678 h 6792"/>
                <a:gd name="T24" fmla="*/ 489 w 4973"/>
                <a:gd name="T25" fmla="*/ 5877 h 6792"/>
                <a:gd name="T26" fmla="*/ 1233 w 4973"/>
                <a:gd name="T27" fmla="*/ 6668 h 6792"/>
                <a:gd name="T28" fmla="*/ 1527 w 4973"/>
                <a:gd name="T29" fmla="*/ 5749 h 6792"/>
                <a:gd name="T30" fmla="*/ 927 w 4973"/>
                <a:gd name="T31" fmla="*/ 5758 h 6792"/>
                <a:gd name="T32" fmla="*/ 429 w 4973"/>
                <a:gd name="T33" fmla="*/ 621 h 6792"/>
                <a:gd name="T34" fmla="*/ 914 w 4973"/>
                <a:gd name="T35" fmla="*/ 547 h 6792"/>
                <a:gd name="T36" fmla="*/ 829 w 4973"/>
                <a:gd name="T37" fmla="*/ 957 h 6792"/>
                <a:gd name="T38" fmla="*/ 1232 w 4973"/>
                <a:gd name="T39" fmla="*/ 762 h 6792"/>
                <a:gd name="T40" fmla="*/ 780 w 4973"/>
                <a:gd name="T41" fmla="*/ 1976 h 6792"/>
                <a:gd name="T42" fmla="*/ 1297 w 4973"/>
                <a:gd name="T43" fmla="*/ 319 h 6792"/>
                <a:gd name="T44" fmla="*/ 1481 w 4973"/>
                <a:gd name="T45" fmla="*/ 731 h 6792"/>
                <a:gd name="T46" fmla="*/ 3458 w 4973"/>
                <a:gd name="T47" fmla="*/ 480 h 6792"/>
                <a:gd name="T48" fmla="*/ 3084 w 4973"/>
                <a:gd name="T49" fmla="*/ 643 h 6792"/>
                <a:gd name="T50" fmla="*/ 2947 w 4973"/>
                <a:gd name="T51" fmla="*/ 214 h 6792"/>
                <a:gd name="T52" fmla="*/ 2541 w 4973"/>
                <a:gd name="T53" fmla="*/ 417 h 6792"/>
                <a:gd name="T54" fmla="*/ 2413 w 4973"/>
                <a:gd name="T55" fmla="*/ 28 h 6792"/>
                <a:gd name="T56" fmla="*/ 3900 w 4973"/>
                <a:gd name="T57" fmla="*/ 1991 h 6792"/>
                <a:gd name="T58" fmla="*/ 4172 w 4973"/>
                <a:gd name="T59" fmla="*/ 1335 h 6792"/>
                <a:gd name="T60" fmla="*/ 3970 w 4973"/>
                <a:gd name="T61" fmla="*/ 3382 h 6792"/>
                <a:gd name="T62" fmla="*/ 4830 w 4973"/>
                <a:gd name="T63" fmla="*/ 2682 h 6792"/>
                <a:gd name="T64" fmla="*/ 4551 w 4973"/>
                <a:gd name="T65" fmla="*/ 1246 h 6792"/>
                <a:gd name="T66" fmla="*/ 3641 w 4973"/>
                <a:gd name="T67" fmla="*/ 1994 h 6792"/>
                <a:gd name="T68" fmla="*/ 3910 w 4973"/>
                <a:gd name="T69" fmla="*/ 2958 h 6792"/>
                <a:gd name="T70" fmla="*/ 4286 w 4973"/>
                <a:gd name="T71" fmla="*/ 2402 h 6792"/>
                <a:gd name="T72" fmla="*/ 3965 w 4973"/>
                <a:gd name="T73" fmla="*/ 3379 h 6792"/>
                <a:gd name="T74" fmla="*/ 3169 w 4973"/>
                <a:gd name="T75" fmla="*/ 2142 h 6792"/>
                <a:gd name="T76" fmla="*/ 3399 w 4973"/>
                <a:gd name="T77" fmla="*/ 1285 h 6792"/>
                <a:gd name="T78" fmla="*/ 2604 w 4973"/>
                <a:gd name="T79" fmla="*/ 769 h 6792"/>
                <a:gd name="T80" fmla="*/ 2052 w 4973"/>
                <a:gd name="T81" fmla="*/ 1359 h 6792"/>
                <a:gd name="T82" fmla="*/ 1664 w 4973"/>
                <a:gd name="T83" fmla="*/ 1597 h 6792"/>
                <a:gd name="T84" fmla="*/ 2105 w 4973"/>
                <a:gd name="T85" fmla="*/ 1550 h 6792"/>
                <a:gd name="T86" fmla="*/ 1945 w 4973"/>
                <a:gd name="T87" fmla="*/ 1849 h 6792"/>
                <a:gd name="T88" fmla="*/ 1151 w 4973"/>
                <a:gd name="T89" fmla="*/ 2851 h 6792"/>
                <a:gd name="T90" fmla="*/ 331 w 4973"/>
                <a:gd name="T91" fmla="*/ 2774 h 6792"/>
                <a:gd name="T92" fmla="*/ 150 w 4973"/>
                <a:gd name="T93" fmla="*/ 2974 h 6792"/>
                <a:gd name="T94" fmla="*/ 554 w 4973"/>
                <a:gd name="T95" fmla="*/ 3191 h 6792"/>
                <a:gd name="T96" fmla="*/ 489 w 4973"/>
                <a:gd name="T97" fmla="*/ 3468 h 6792"/>
                <a:gd name="T98" fmla="*/ 935 w 4973"/>
                <a:gd name="T99" fmla="*/ 3451 h 6792"/>
                <a:gd name="T100" fmla="*/ 1725 w 4973"/>
                <a:gd name="T101" fmla="*/ 2972 h 6792"/>
                <a:gd name="T102" fmla="*/ 3397 w 4973"/>
                <a:gd name="T103" fmla="*/ 3673 h 6792"/>
                <a:gd name="T104" fmla="*/ 3711 w 4973"/>
                <a:gd name="T105" fmla="*/ 4812 h 6792"/>
                <a:gd name="T106" fmla="*/ 4356 w 4973"/>
                <a:gd name="T107" fmla="*/ 5526 h 6792"/>
                <a:gd name="T108" fmla="*/ 3835 w 4973"/>
                <a:gd name="T109" fmla="*/ 5815 h 6792"/>
                <a:gd name="T110" fmla="*/ 3750 w 4973"/>
                <a:gd name="T111" fmla="*/ 6147 h 6792"/>
                <a:gd name="T112" fmla="*/ 4262 w 4973"/>
                <a:gd name="T113" fmla="*/ 6036 h 6792"/>
                <a:gd name="T114" fmla="*/ 4324 w 4973"/>
                <a:gd name="T115" fmla="*/ 6374 h 6792"/>
                <a:gd name="T116" fmla="*/ 4692 w 4973"/>
                <a:gd name="T117" fmla="*/ 6210 h 6792"/>
                <a:gd name="T118" fmla="*/ 4659 w 4973"/>
                <a:gd name="T119" fmla="*/ 5487 h 6792"/>
                <a:gd name="T120" fmla="*/ 4786 w 4973"/>
                <a:gd name="T121" fmla="*/ 4785 h 6792"/>
                <a:gd name="T122" fmla="*/ 4362 w 4973"/>
                <a:gd name="T123" fmla="*/ 4115 h 6792"/>
                <a:gd name="T124" fmla="*/ 4803 w 4973"/>
                <a:gd name="T125" fmla="*/ 3237 h 67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973" h="6792">
                  <a:moveTo>
                    <a:pt x="1358" y="6333"/>
                  </a:moveTo>
                  <a:lnTo>
                    <a:pt x="1358" y="6333"/>
                  </a:lnTo>
                  <a:lnTo>
                    <a:pt x="1445" y="6392"/>
                  </a:lnTo>
                  <a:lnTo>
                    <a:pt x="1485" y="6418"/>
                  </a:lnTo>
                  <a:lnTo>
                    <a:pt x="1524" y="6443"/>
                  </a:lnTo>
                  <a:lnTo>
                    <a:pt x="1561" y="6466"/>
                  </a:lnTo>
                  <a:lnTo>
                    <a:pt x="1599" y="6487"/>
                  </a:lnTo>
                  <a:lnTo>
                    <a:pt x="1638" y="6509"/>
                  </a:lnTo>
                  <a:lnTo>
                    <a:pt x="1677" y="6528"/>
                  </a:lnTo>
                  <a:lnTo>
                    <a:pt x="1677" y="6528"/>
                  </a:lnTo>
                  <a:lnTo>
                    <a:pt x="1730" y="6553"/>
                  </a:lnTo>
                  <a:lnTo>
                    <a:pt x="1788" y="6578"/>
                  </a:lnTo>
                  <a:lnTo>
                    <a:pt x="1853" y="6605"/>
                  </a:lnTo>
                  <a:lnTo>
                    <a:pt x="1923" y="6630"/>
                  </a:lnTo>
                  <a:lnTo>
                    <a:pt x="1961" y="6644"/>
                  </a:lnTo>
                  <a:lnTo>
                    <a:pt x="2000" y="6656"/>
                  </a:lnTo>
                  <a:lnTo>
                    <a:pt x="2040" y="6669"/>
                  </a:lnTo>
                  <a:lnTo>
                    <a:pt x="2082" y="6682"/>
                  </a:lnTo>
                  <a:lnTo>
                    <a:pt x="2125" y="6693"/>
                  </a:lnTo>
                  <a:lnTo>
                    <a:pt x="2169" y="6704"/>
                  </a:lnTo>
                  <a:lnTo>
                    <a:pt x="2215" y="6715"/>
                  </a:lnTo>
                  <a:lnTo>
                    <a:pt x="2261" y="6726"/>
                  </a:lnTo>
                  <a:lnTo>
                    <a:pt x="2310" y="6736"/>
                  </a:lnTo>
                  <a:lnTo>
                    <a:pt x="2359" y="6745"/>
                  </a:lnTo>
                  <a:lnTo>
                    <a:pt x="2410" y="6754"/>
                  </a:lnTo>
                  <a:lnTo>
                    <a:pt x="2462" y="6762"/>
                  </a:lnTo>
                  <a:lnTo>
                    <a:pt x="2515" y="6768"/>
                  </a:lnTo>
                  <a:lnTo>
                    <a:pt x="2570" y="6776"/>
                  </a:lnTo>
                  <a:lnTo>
                    <a:pt x="2625" y="6781"/>
                  </a:lnTo>
                  <a:lnTo>
                    <a:pt x="2682" y="6785"/>
                  </a:lnTo>
                  <a:lnTo>
                    <a:pt x="2740" y="6788"/>
                  </a:lnTo>
                  <a:lnTo>
                    <a:pt x="2800" y="6790"/>
                  </a:lnTo>
                  <a:lnTo>
                    <a:pt x="2860" y="6792"/>
                  </a:lnTo>
                  <a:lnTo>
                    <a:pt x="2921" y="6791"/>
                  </a:lnTo>
                  <a:lnTo>
                    <a:pt x="2984" y="6790"/>
                  </a:lnTo>
                  <a:lnTo>
                    <a:pt x="3047" y="6787"/>
                  </a:lnTo>
                  <a:lnTo>
                    <a:pt x="3112" y="6783"/>
                  </a:lnTo>
                  <a:lnTo>
                    <a:pt x="3177" y="6778"/>
                  </a:lnTo>
                  <a:lnTo>
                    <a:pt x="3177" y="6778"/>
                  </a:lnTo>
                  <a:lnTo>
                    <a:pt x="3239" y="6772"/>
                  </a:lnTo>
                  <a:lnTo>
                    <a:pt x="3299" y="6763"/>
                  </a:lnTo>
                  <a:lnTo>
                    <a:pt x="3357" y="6755"/>
                  </a:lnTo>
                  <a:lnTo>
                    <a:pt x="3412" y="6746"/>
                  </a:lnTo>
                  <a:lnTo>
                    <a:pt x="3466" y="6737"/>
                  </a:lnTo>
                  <a:lnTo>
                    <a:pt x="3517" y="6727"/>
                  </a:lnTo>
                  <a:lnTo>
                    <a:pt x="3567" y="6715"/>
                  </a:lnTo>
                  <a:lnTo>
                    <a:pt x="3615" y="6704"/>
                  </a:lnTo>
                  <a:lnTo>
                    <a:pt x="3660" y="6692"/>
                  </a:lnTo>
                  <a:lnTo>
                    <a:pt x="3704" y="6680"/>
                  </a:lnTo>
                  <a:lnTo>
                    <a:pt x="3745" y="6667"/>
                  </a:lnTo>
                  <a:lnTo>
                    <a:pt x="3784" y="6654"/>
                  </a:lnTo>
                  <a:lnTo>
                    <a:pt x="3822" y="6642"/>
                  </a:lnTo>
                  <a:lnTo>
                    <a:pt x="3858" y="6628"/>
                  </a:lnTo>
                  <a:lnTo>
                    <a:pt x="3891" y="6615"/>
                  </a:lnTo>
                  <a:lnTo>
                    <a:pt x="3922" y="6603"/>
                  </a:lnTo>
                  <a:lnTo>
                    <a:pt x="3980" y="6577"/>
                  </a:lnTo>
                  <a:lnTo>
                    <a:pt x="4030" y="6554"/>
                  </a:lnTo>
                  <a:lnTo>
                    <a:pt x="4071" y="6532"/>
                  </a:lnTo>
                  <a:lnTo>
                    <a:pt x="4105" y="6514"/>
                  </a:lnTo>
                  <a:lnTo>
                    <a:pt x="4131" y="6498"/>
                  </a:lnTo>
                  <a:lnTo>
                    <a:pt x="4150" y="6485"/>
                  </a:lnTo>
                  <a:lnTo>
                    <a:pt x="4165" y="6475"/>
                  </a:lnTo>
                  <a:lnTo>
                    <a:pt x="4165" y="6475"/>
                  </a:lnTo>
                  <a:lnTo>
                    <a:pt x="4144" y="6468"/>
                  </a:lnTo>
                  <a:lnTo>
                    <a:pt x="4124" y="6459"/>
                  </a:lnTo>
                  <a:lnTo>
                    <a:pt x="4103" y="6451"/>
                  </a:lnTo>
                  <a:lnTo>
                    <a:pt x="4084" y="6440"/>
                  </a:lnTo>
                  <a:lnTo>
                    <a:pt x="4064" y="6431"/>
                  </a:lnTo>
                  <a:lnTo>
                    <a:pt x="4046" y="6421"/>
                  </a:lnTo>
                  <a:lnTo>
                    <a:pt x="4009" y="6398"/>
                  </a:lnTo>
                  <a:lnTo>
                    <a:pt x="3976" y="6376"/>
                  </a:lnTo>
                  <a:lnTo>
                    <a:pt x="3944" y="6352"/>
                  </a:lnTo>
                  <a:lnTo>
                    <a:pt x="3914" y="6329"/>
                  </a:lnTo>
                  <a:lnTo>
                    <a:pt x="3887" y="6305"/>
                  </a:lnTo>
                  <a:lnTo>
                    <a:pt x="3887" y="6305"/>
                  </a:lnTo>
                  <a:lnTo>
                    <a:pt x="3882" y="6315"/>
                  </a:lnTo>
                  <a:lnTo>
                    <a:pt x="3879" y="6328"/>
                  </a:lnTo>
                  <a:lnTo>
                    <a:pt x="3876" y="6343"/>
                  </a:lnTo>
                  <a:lnTo>
                    <a:pt x="3873" y="6361"/>
                  </a:lnTo>
                  <a:lnTo>
                    <a:pt x="3873" y="6361"/>
                  </a:lnTo>
                  <a:lnTo>
                    <a:pt x="3865" y="6430"/>
                  </a:lnTo>
                  <a:lnTo>
                    <a:pt x="3861" y="6463"/>
                  </a:lnTo>
                  <a:lnTo>
                    <a:pt x="3861" y="6463"/>
                  </a:lnTo>
                  <a:lnTo>
                    <a:pt x="3857" y="6462"/>
                  </a:lnTo>
                  <a:lnTo>
                    <a:pt x="3847" y="6459"/>
                  </a:lnTo>
                  <a:lnTo>
                    <a:pt x="3828" y="6452"/>
                  </a:lnTo>
                  <a:lnTo>
                    <a:pt x="3801" y="6440"/>
                  </a:lnTo>
                  <a:lnTo>
                    <a:pt x="3801" y="6440"/>
                  </a:lnTo>
                  <a:lnTo>
                    <a:pt x="3791" y="6436"/>
                  </a:lnTo>
                  <a:lnTo>
                    <a:pt x="3781" y="6430"/>
                  </a:lnTo>
                  <a:lnTo>
                    <a:pt x="3771" y="6423"/>
                  </a:lnTo>
                  <a:lnTo>
                    <a:pt x="3761" y="6415"/>
                  </a:lnTo>
                  <a:lnTo>
                    <a:pt x="3750" y="6406"/>
                  </a:lnTo>
                  <a:lnTo>
                    <a:pt x="3739" y="6396"/>
                  </a:lnTo>
                  <a:lnTo>
                    <a:pt x="3729" y="6385"/>
                  </a:lnTo>
                  <a:lnTo>
                    <a:pt x="3719" y="6373"/>
                  </a:lnTo>
                  <a:lnTo>
                    <a:pt x="3709" y="6361"/>
                  </a:lnTo>
                  <a:lnTo>
                    <a:pt x="3700" y="6346"/>
                  </a:lnTo>
                  <a:lnTo>
                    <a:pt x="3692" y="6332"/>
                  </a:lnTo>
                  <a:lnTo>
                    <a:pt x="3684" y="6317"/>
                  </a:lnTo>
                  <a:lnTo>
                    <a:pt x="3678" y="6300"/>
                  </a:lnTo>
                  <a:lnTo>
                    <a:pt x="3674" y="6284"/>
                  </a:lnTo>
                  <a:lnTo>
                    <a:pt x="3670" y="6265"/>
                  </a:lnTo>
                  <a:lnTo>
                    <a:pt x="3668" y="6248"/>
                  </a:lnTo>
                  <a:lnTo>
                    <a:pt x="3668" y="6248"/>
                  </a:lnTo>
                  <a:lnTo>
                    <a:pt x="3667" y="6223"/>
                  </a:lnTo>
                  <a:lnTo>
                    <a:pt x="3667" y="6223"/>
                  </a:lnTo>
                  <a:lnTo>
                    <a:pt x="3610" y="6244"/>
                  </a:lnTo>
                  <a:lnTo>
                    <a:pt x="3544" y="6267"/>
                  </a:lnTo>
                  <a:lnTo>
                    <a:pt x="3507" y="6280"/>
                  </a:lnTo>
                  <a:lnTo>
                    <a:pt x="3468" y="6292"/>
                  </a:lnTo>
                  <a:lnTo>
                    <a:pt x="3427" y="6303"/>
                  </a:lnTo>
                  <a:lnTo>
                    <a:pt x="3386" y="6315"/>
                  </a:lnTo>
                  <a:lnTo>
                    <a:pt x="3342" y="6326"/>
                  </a:lnTo>
                  <a:lnTo>
                    <a:pt x="3296" y="6335"/>
                  </a:lnTo>
                  <a:lnTo>
                    <a:pt x="3250" y="6344"/>
                  </a:lnTo>
                  <a:lnTo>
                    <a:pt x="3201" y="6352"/>
                  </a:lnTo>
                  <a:lnTo>
                    <a:pt x="3153" y="6360"/>
                  </a:lnTo>
                  <a:lnTo>
                    <a:pt x="3104" y="6365"/>
                  </a:lnTo>
                  <a:lnTo>
                    <a:pt x="3055" y="6368"/>
                  </a:lnTo>
                  <a:lnTo>
                    <a:pt x="3005" y="6370"/>
                  </a:lnTo>
                  <a:lnTo>
                    <a:pt x="3005" y="6370"/>
                  </a:lnTo>
                  <a:lnTo>
                    <a:pt x="2916" y="6371"/>
                  </a:lnTo>
                  <a:lnTo>
                    <a:pt x="2828" y="6370"/>
                  </a:lnTo>
                  <a:lnTo>
                    <a:pt x="2740" y="6366"/>
                  </a:lnTo>
                  <a:lnTo>
                    <a:pt x="2651" y="6361"/>
                  </a:lnTo>
                  <a:lnTo>
                    <a:pt x="2563" y="6353"/>
                  </a:lnTo>
                  <a:lnTo>
                    <a:pt x="2476" y="6343"/>
                  </a:lnTo>
                  <a:lnTo>
                    <a:pt x="2388" y="6331"/>
                  </a:lnTo>
                  <a:lnTo>
                    <a:pt x="2301" y="6317"/>
                  </a:lnTo>
                  <a:lnTo>
                    <a:pt x="2257" y="6308"/>
                  </a:lnTo>
                  <a:lnTo>
                    <a:pt x="2213" y="6300"/>
                  </a:lnTo>
                  <a:lnTo>
                    <a:pt x="2170" y="6290"/>
                  </a:lnTo>
                  <a:lnTo>
                    <a:pt x="2126" y="6280"/>
                  </a:lnTo>
                  <a:lnTo>
                    <a:pt x="2083" y="6270"/>
                  </a:lnTo>
                  <a:lnTo>
                    <a:pt x="2039" y="6258"/>
                  </a:lnTo>
                  <a:lnTo>
                    <a:pt x="1996" y="6246"/>
                  </a:lnTo>
                  <a:lnTo>
                    <a:pt x="1952" y="6234"/>
                  </a:lnTo>
                  <a:lnTo>
                    <a:pt x="1909" y="6220"/>
                  </a:lnTo>
                  <a:lnTo>
                    <a:pt x="1866" y="6206"/>
                  </a:lnTo>
                  <a:lnTo>
                    <a:pt x="1823" y="6192"/>
                  </a:lnTo>
                  <a:lnTo>
                    <a:pt x="1780" y="6176"/>
                  </a:lnTo>
                  <a:lnTo>
                    <a:pt x="1737" y="6160"/>
                  </a:lnTo>
                  <a:lnTo>
                    <a:pt x="1694" y="6143"/>
                  </a:lnTo>
                  <a:lnTo>
                    <a:pt x="1652" y="6125"/>
                  </a:lnTo>
                  <a:lnTo>
                    <a:pt x="1609" y="6107"/>
                  </a:lnTo>
                  <a:lnTo>
                    <a:pt x="1609" y="6107"/>
                  </a:lnTo>
                  <a:lnTo>
                    <a:pt x="1523" y="6068"/>
                  </a:lnTo>
                  <a:lnTo>
                    <a:pt x="1480" y="6049"/>
                  </a:lnTo>
                  <a:lnTo>
                    <a:pt x="1480" y="6049"/>
                  </a:lnTo>
                  <a:lnTo>
                    <a:pt x="1479" y="6052"/>
                  </a:lnTo>
                  <a:lnTo>
                    <a:pt x="1477" y="6061"/>
                  </a:lnTo>
                  <a:lnTo>
                    <a:pt x="1477" y="6068"/>
                  </a:lnTo>
                  <a:lnTo>
                    <a:pt x="1477" y="6077"/>
                  </a:lnTo>
                  <a:lnTo>
                    <a:pt x="1477" y="6088"/>
                  </a:lnTo>
                  <a:lnTo>
                    <a:pt x="1479" y="6100"/>
                  </a:lnTo>
                  <a:lnTo>
                    <a:pt x="1483" y="6113"/>
                  </a:lnTo>
                  <a:lnTo>
                    <a:pt x="1487" y="6128"/>
                  </a:lnTo>
                  <a:lnTo>
                    <a:pt x="1494" y="6145"/>
                  </a:lnTo>
                  <a:lnTo>
                    <a:pt x="1503" y="6163"/>
                  </a:lnTo>
                  <a:lnTo>
                    <a:pt x="1514" y="6184"/>
                  </a:lnTo>
                  <a:lnTo>
                    <a:pt x="1529" y="6205"/>
                  </a:lnTo>
                  <a:lnTo>
                    <a:pt x="1545" y="6229"/>
                  </a:lnTo>
                  <a:lnTo>
                    <a:pt x="1565" y="6253"/>
                  </a:lnTo>
                  <a:lnTo>
                    <a:pt x="1565" y="6253"/>
                  </a:lnTo>
                  <a:lnTo>
                    <a:pt x="1547" y="6250"/>
                  </a:lnTo>
                  <a:lnTo>
                    <a:pt x="1528" y="6248"/>
                  </a:lnTo>
                  <a:lnTo>
                    <a:pt x="1509" y="6248"/>
                  </a:lnTo>
                  <a:lnTo>
                    <a:pt x="1490" y="6248"/>
                  </a:lnTo>
                  <a:lnTo>
                    <a:pt x="1472" y="6250"/>
                  </a:lnTo>
                  <a:lnTo>
                    <a:pt x="1456" y="6253"/>
                  </a:lnTo>
                  <a:lnTo>
                    <a:pt x="1441" y="6258"/>
                  </a:lnTo>
                  <a:lnTo>
                    <a:pt x="1427" y="6264"/>
                  </a:lnTo>
                  <a:lnTo>
                    <a:pt x="1427" y="6264"/>
                  </a:lnTo>
                  <a:lnTo>
                    <a:pt x="1413" y="6273"/>
                  </a:lnTo>
                  <a:lnTo>
                    <a:pt x="1400" y="6283"/>
                  </a:lnTo>
                  <a:lnTo>
                    <a:pt x="1390" y="6293"/>
                  </a:lnTo>
                  <a:lnTo>
                    <a:pt x="1379" y="6302"/>
                  </a:lnTo>
                  <a:lnTo>
                    <a:pt x="1371" y="6311"/>
                  </a:lnTo>
                  <a:lnTo>
                    <a:pt x="1365" y="6321"/>
                  </a:lnTo>
                  <a:lnTo>
                    <a:pt x="1358" y="6333"/>
                  </a:lnTo>
                  <a:close/>
                  <a:moveTo>
                    <a:pt x="3487" y="3933"/>
                  </a:moveTo>
                  <a:lnTo>
                    <a:pt x="3487" y="3933"/>
                  </a:lnTo>
                  <a:lnTo>
                    <a:pt x="3470" y="3920"/>
                  </a:lnTo>
                  <a:lnTo>
                    <a:pt x="3453" y="3908"/>
                  </a:lnTo>
                  <a:lnTo>
                    <a:pt x="3436" y="3895"/>
                  </a:lnTo>
                  <a:lnTo>
                    <a:pt x="3418" y="3884"/>
                  </a:lnTo>
                  <a:lnTo>
                    <a:pt x="3383" y="3865"/>
                  </a:lnTo>
                  <a:lnTo>
                    <a:pt x="3349" y="3846"/>
                  </a:lnTo>
                  <a:lnTo>
                    <a:pt x="3314" y="3829"/>
                  </a:lnTo>
                  <a:lnTo>
                    <a:pt x="3281" y="3814"/>
                  </a:lnTo>
                  <a:lnTo>
                    <a:pt x="3250" y="3799"/>
                  </a:lnTo>
                  <a:lnTo>
                    <a:pt x="3219" y="3784"/>
                  </a:lnTo>
                  <a:lnTo>
                    <a:pt x="3219" y="3784"/>
                  </a:lnTo>
                  <a:lnTo>
                    <a:pt x="3235" y="3774"/>
                  </a:lnTo>
                  <a:lnTo>
                    <a:pt x="3251" y="3763"/>
                  </a:lnTo>
                  <a:lnTo>
                    <a:pt x="3268" y="3749"/>
                  </a:lnTo>
                  <a:lnTo>
                    <a:pt x="3284" y="3735"/>
                  </a:lnTo>
                  <a:lnTo>
                    <a:pt x="3298" y="3722"/>
                  </a:lnTo>
                  <a:lnTo>
                    <a:pt x="3302" y="3716"/>
                  </a:lnTo>
                  <a:lnTo>
                    <a:pt x="3305" y="3711"/>
                  </a:lnTo>
                  <a:lnTo>
                    <a:pt x="3305" y="3707"/>
                  </a:lnTo>
                  <a:lnTo>
                    <a:pt x="3305" y="3705"/>
                  </a:lnTo>
                  <a:lnTo>
                    <a:pt x="3303" y="3704"/>
                  </a:lnTo>
                  <a:lnTo>
                    <a:pt x="3303" y="3704"/>
                  </a:lnTo>
                  <a:lnTo>
                    <a:pt x="3290" y="3697"/>
                  </a:lnTo>
                  <a:lnTo>
                    <a:pt x="3278" y="3691"/>
                  </a:lnTo>
                  <a:lnTo>
                    <a:pt x="3266" y="3687"/>
                  </a:lnTo>
                  <a:lnTo>
                    <a:pt x="3255" y="3685"/>
                  </a:lnTo>
                  <a:lnTo>
                    <a:pt x="3236" y="3682"/>
                  </a:lnTo>
                  <a:lnTo>
                    <a:pt x="3229" y="3681"/>
                  </a:lnTo>
                  <a:lnTo>
                    <a:pt x="3229" y="3681"/>
                  </a:lnTo>
                  <a:lnTo>
                    <a:pt x="3168" y="3705"/>
                  </a:lnTo>
                  <a:lnTo>
                    <a:pt x="3105" y="3731"/>
                  </a:lnTo>
                  <a:lnTo>
                    <a:pt x="3045" y="3757"/>
                  </a:lnTo>
                  <a:lnTo>
                    <a:pt x="2984" y="3784"/>
                  </a:lnTo>
                  <a:lnTo>
                    <a:pt x="2924" y="3813"/>
                  </a:lnTo>
                  <a:lnTo>
                    <a:pt x="2866" y="3841"/>
                  </a:lnTo>
                  <a:lnTo>
                    <a:pt x="2809" y="3870"/>
                  </a:lnTo>
                  <a:lnTo>
                    <a:pt x="2754" y="3900"/>
                  </a:lnTo>
                  <a:lnTo>
                    <a:pt x="2700" y="3928"/>
                  </a:lnTo>
                  <a:lnTo>
                    <a:pt x="2649" y="3957"/>
                  </a:lnTo>
                  <a:lnTo>
                    <a:pt x="2600" y="3984"/>
                  </a:lnTo>
                  <a:lnTo>
                    <a:pt x="2553" y="4012"/>
                  </a:lnTo>
                  <a:lnTo>
                    <a:pt x="2510" y="4039"/>
                  </a:lnTo>
                  <a:lnTo>
                    <a:pt x="2469" y="4064"/>
                  </a:lnTo>
                  <a:lnTo>
                    <a:pt x="2433" y="4088"/>
                  </a:lnTo>
                  <a:lnTo>
                    <a:pt x="2399" y="4110"/>
                  </a:lnTo>
                  <a:lnTo>
                    <a:pt x="2399" y="4110"/>
                  </a:lnTo>
                  <a:lnTo>
                    <a:pt x="2394" y="4113"/>
                  </a:lnTo>
                  <a:lnTo>
                    <a:pt x="2394" y="4113"/>
                  </a:lnTo>
                  <a:lnTo>
                    <a:pt x="2382" y="4120"/>
                  </a:lnTo>
                  <a:lnTo>
                    <a:pt x="2371" y="4127"/>
                  </a:lnTo>
                  <a:lnTo>
                    <a:pt x="2360" y="4132"/>
                  </a:lnTo>
                  <a:lnTo>
                    <a:pt x="2348" y="4136"/>
                  </a:lnTo>
                  <a:lnTo>
                    <a:pt x="2336" y="4139"/>
                  </a:lnTo>
                  <a:lnTo>
                    <a:pt x="2325" y="4142"/>
                  </a:lnTo>
                  <a:lnTo>
                    <a:pt x="2313" y="4143"/>
                  </a:lnTo>
                  <a:lnTo>
                    <a:pt x="2302" y="4144"/>
                  </a:lnTo>
                  <a:lnTo>
                    <a:pt x="2278" y="4145"/>
                  </a:lnTo>
                  <a:lnTo>
                    <a:pt x="2256" y="4143"/>
                  </a:lnTo>
                  <a:lnTo>
                    <a:pt x="2233" y="4140"/>
                  </a:lnTo>
                  <a:lnTo>
                    <a:pt x="2213" y="4135"/>
                  </a:lnTo>
                  <a:lnTo>
                    <a:pt x="2193" y="4130"/>
                  </a:lnTo>
                  <a:lnTo>
                    <a:pt x="2176" y="4123"/>
                  </a:lnTo>
                  <a:lnTo>
                    <a:pt x="2161" y="4117"/>
                  </a:lnTo>
                  <a:lnTo>
                    <a:pt x="2146" y="4111"/>
                  </a:lnTo>
                  <a:lnTo>
                    <a:pt x="2127" y="4101"/>
                  </a:lnTo>
                  <a:lnTo>
                    <a:pt x="2121" y="4097"/>
                  </a:lnTo>
                  <a:lnTo>
                    <a:pt x="2100" y="4225"/>
                  </a:lnTo>
                  <a:lnTo>
                    <a:pt x="2100" y="4225"/>
                  </a:lnTo>
                  <a:lnTo>
                    <a:pt x="2123" y="4238"/>
                  </a:lnTo>
                  <a:lnTo>
                    <a:pt x="2144" y="4249"/>
                  </a:lnTo>
                  <a:lnTo>
                    <a:pt x="2165" y="4258"/>
                  </a:lnTo>
                  <a:lnTo>
                    <a:pt x="2182" y="4267"/>
                  </a:lnTo>
                  <a:lnTo>
                    <a:pt x="2198" y="4273"/>
                  </a:lnTo>
                  <a:lnTo>
                    <a:pt x="2214" y="4277"/>
                  </a:lnTo>
                  <a:lnTo>
                    <a:pt x="2227" y="4281"/>
                  </a:lnTo>
                  <a:lnTo>
                    <a:pt x="2238" y="4283"/>
                  </a:lnTo>
                  <a:lnTo>
                    <a:pt x="2238" y="4283"/>
                  </a:lnTo>
                  <a:lnTo>
                    <a:pt x="2219" y="4287"/>
                  </a:lnTo>
                  <a:lnTo>
                    <a:pt x="2198" y="4292"/>
                  </a:lnTo>
                  <a:lnTo>
                    <a:pt x="2178" y="4298"/>
                  </a:lnTo>
                  <a:lnTo>
                    <a:pt x="2156" y="4306"/>
                  </a:lnTo>
                  <a:lnTo>
                    <a:pt x="2137" y="4315"/>
                  </a:lnTo>
                  <a:lnTo>
                    <a:pt x="2119" y="4326"/>
                  </a:lnTo>
                  <a:lnTo>
                    <a:pt x="2109" y="4331"/>
                  </a:lnTo>
                  <a:lnTo>
                    <a:pt x="2101" y="4337"/>
                  </a:lnTo>
                  <a:lnTo>
                    <a:pt x="2094" y="4344"/>
                  </a:lnTo>
                  <a:lnTo>
                    <a:pt x="2088" y="4351"/>
                  </a:lnTo>
                  <a:lnTo>
                    <a:pt x="2132" y="4469"/>
                  </a:lnTo>
                  <a:lnTo>
                    <a:pt x="2132" y="4469"/>
                  </a:lnTo>
                  <a:lnTo>
                    <a:pt x="2144" y="4460"/>
                  </a:lnTo>
                  <a:lnTo>
                    <a:pt x="2160" y="4451"/>
                  </a:lnTo>
                  <a:lnTo>
                    <a:pt x="2181" y="4439"/>
                  </a:lnTo>
                  <a:lnTo>
                    <a:pt x="2193" y="4434"/>
                  </a:lnTo>
                  <a:lnTo>
                    <a:pt x="2207" y="4429"/>
                  </a:lnTo>
                  <a:lnTo>
                    <a:pt x="2222" y="4424"/>
                  </a:lnTo>
                  <a:lnTo>
                    <a:pt x="2237" y="4419"/>
                  </a:lnTo>
                  <a:lnTo>
                    <a:pt x="2255" y="4415"/>
                  </a:lnTo>
                  <a:lnTo>
                    <a:pt x="2273" y="4412"/>
                  </a:lnTo>
                  <a:lnTo>
                    <a:pt x="2292" y="4410"/>
                  </a:lnTo>
                  <a:lnTo>
                    <a:pt x="2313" y="4409"/>
                  </a:lnTo>
                  <a:lnTo>
                    <a:pt x="2313" y="4409"/>
                  </a:lnTo>
                  <a:lnTo>
                    <a:pt x="2316" y="4425"/>
                  </a:lnTo>
                  <a:lnTo>
                    <a:pt x="2316" y="4425"/>
                  </a:lnTo>
                  <a:lnTo>
                    <a:pt x="2316" y="4439"/>
                  </a:lnTo>
                  <a:lnTo>
                    <a:pt x="2316" y="4454"/>
                  </a:lnTo>
                  <a:lnTo>
                    <a:pt x="2314" y="4468"/>
                  </a:lnTo>
                  <a:lnTo>
                    <a:pt x="2311" y="4483"/>
                  </a:lnTo>
                  <a:lnTo>
                    <a:pt x="2306" y="4499"/>
                  </a:lnTo>
                  <a:lnTo>
                    <a:pt x="2301" y="4514"/>
                  </a:lnTo>
                  <a:lnTo>
                    <a:pt x="2293" y="4529"/>
                  </a:lnTo>
                  <a:lnTo>
                    <a:pt x="2285" y="4545"/>
                  </a:lnTo>
                  <a:lnTo>
                    <a:pt x="2277" y="4561"/>
                  </a:lnTo>
                  <a:lnTo>
                    <a:pt x="2267" y="4576"/>
                  </a:lnTo>
                  <a:lnTo>
                    <a:pt x="2256" y="4593"/>
                  </a:lnTo>
                  <a:lnTo>
                    <a:pt x="2244" y="4608"/>
                  </a:lnTo>
                  <a:lnTo>
                    <a:pt x="2231" y="4624"/>
                  </a:lnTo>
                  <a:lnTo>
                    <a:pt x="2218" y="4640"/>
                  </a:lnTo>
                  <a:lnTo>
                    <a:pt x="2204" y="4655"/>
                  </a:lnTo>
                  <a:lnTo>
                    <a:pt x="2189" y="4670"/>
                  </a:lnTo>
                  <a:lnTo>
                    <a:pt x="2157" y="4701"/>
                  </a:lnTo>
                  <a:lnTo>
                    <a:pt x="2124" y="4730"/>
                  </a:lnTo>
                  <a:lnTo>
                    <a:pt x="2088" y="4757"/>
                  </a:lnTo>
                  <a:lnTo>
                    <a:pt x="2051" y="4783"/>
                  </a:lnTo>
                  <a:lnTo>
                    <a:pt x="2013" y="4807"/>
                  </a:lnTo>
                  <a:lnTo>
                    <a:pt x="1975" y="4829"/>
                  </a:lnTo>
                  <a:lnTo>
                    <a:pt x="1937" y="4848"/>
                  </a:lnTo>
                  <a:lnTo>
                    <a:pt x="1917" y="4858"/>
                  </a:lnTo>
                  <a:lnTo>
                    <a:pt x="1899" y="4866"/>
                  </a:lnTo>
                  <a:lnTo>
                    <a:pt x="1899" y="4866"/>
                  </a:lnTo>
                  <a:lnTo>
                    <a:pt x="1861" y="4880"/>
                  </a:lnTo>
                  <a:lnTo>
                    <a:pt x="1823" y="4892"/>
                  </a:lnTo>
                  <a:lnTo>
                    <a:pt x="1788" y="4904"/>
                  </a:lnTo>
                  <a:lnTo>
                    <a:pt x="1754" y="4913"/>
                  </a:lnTo>
                  <a:lnTo>
                    <a:pt x="1721" y="4921"/>
                  </a:lnTo>
                  <a:lnTo>
                    <a:pt x="1690" y="4927"/>
                  </a:lnTo>
                  <a:lnTo>
                    <a:pt x="1661" y="4931"/>
                  </a:lnTo>
                  <a:lnTo>
                    <a:pt x="1633" y="4935"/>
                  </a:lnTo>
                  <a:lnTo>
                    <a:pt x="1607" y="4937"/>
                  </a:lnTo>
                  <a:lnTo>
                    <a:pt x="1584" y="4938"/>
                  </a:lnTo>
                  <a:lnTo>
                    <a:pt x="1562" y="4938"/>
                  </a:lnTo>
                  <a:lnTo>
                    <a:pt x="1543" y="4937"/>
                  </a:lnTo>
                  <a:lnTo>
                    <a:pt x="1527" y="4935"/>
                  </a:lnTo>
                  <a:lnTo>
                    <a:pt x="1513" y="4932"/>
                  </a:lnTo>
                  <a:lnTo>
                    <a:pt x="1502" y="4928"/>
                  </a:lnTo>
                  <a:lnTo>
                    <a:pt x="1493" y="4924"/>
                  </a:lnTo>
                  <a:lnTo>
                    <a:pt x="1493" y="4924"/>
                  </a:lnTo>
                  <a:lnTo>
                    <a:pt x="1469" y="4908"/>
                  </a:lnTo>
                  <a:lnTo>
                    <a:pt x="1448" y="4890"/>
                  </a:lnTo>
                  <a:lnTo>
                    <a:pt x="1429" y="4872"/>
                  </a:lnTo>
                  <a:lnTo>
                    <a:pt x="1413" y="4853"/>
                  </a:lnTo>
                  <a:lnTo>
                    <a:pt x="1398" y="4836"/>
                  </a:lnTo>
                  <a:lnTo>
                    <a:pt x="1384" y="4818"/>
                  </a:lnTo>
                  <a:lnTo>
                    <a:pt x="1373" y="4800"/>
                  </a:lnTo>
                  <a:lnTo>
                    <a:pt x="1362" y="4783"/>
                  </a:lnTo>
                  <a:lnTo>
                    <a:pt x="1343" y="4752"/>
                  </a:lnTo>
                  <a:lnTo>
                    <a:pt x="1333" y="4738"/>
                  </a:lnTo>
                  <a:lnTo>
                    <a:pt x="1324" y="4726"/>
                  </a:lnTo>
                  <a:lnTo>
                    <a:pt x="1315" y="4714"/>
                  </a:lnTo>
                  <a:lnTo>
                    <a:pt x="1305" y="4706"/>
                  </a:lnTo>
                  <a:lnTo>
                    <a:pt x="1293" y="4699"/>
                  </a:lnTo>
                  <a:lnTo>
                    <a:pt x="1287" y="4696"/>
                  </a:lnTo>
                  <a:lnTo>
                    <a:pt x="1281" y="4694"/>
                  </a:lnTo>
                  <a:lnTo>
                    <a:pt x="1281" y="4694"/>
                  </a:lnTo>
                  <a:lnTo>
                    <a:pt x="1277" y="4694"/>
                  </a:lnTo>
                  <a:lnTo>
                    <a:pt x="1274" y="4694"/>
                  </a:lnTo>
                  <a:lnTo>
                    <a:pt x="1267" y="4696"/>
                  </a:lnTo>
                  <a:lnTo>
                    <a:pt x="1260" y="4699"/>
                  </a:lnTo>
                  <a:lnTo>
                    <a:pt x="1252" y="4703"/>
                  </a:lnTo>
                  <a:lnTo>
                    <a:pt x="1244" y="4707"/>
                  </a:lnTo>
                  <a:lnTo>
                    <a:pt x="1235" y="4710"/>
                  </a:lnTo>
                  <a:lnTo>
                    <a:pt x="1227" y="4712"/>
                  </a:lnTo>
                  <a:lnTo>
                    <a:pt x="1222" y="4712"/>
                  </a:lnTo>
                  <a:lnTo>
                    <a:pt x="1217" y="4712"/>
                  </a:lnTo>
                  <a:lnTo>
                    <a:pt x="1217" y="4712"/>
                  </a:lnTo>
                  <a:lnTo>
                    <a:pt x="1196" y="4709"/>
                  </a:lnTo>
                  <a:lnTo>
                    <a:pt x="1176" y="4706"/>
                  </a:lnTo>
                  <a:lnTo>
                    <a:pt x="1155" y="4705"/>
                  </a:lnTo>
                  <a:lnTo>
                    <a:pt x="1134" y="4704"/>
                  </a:lnTo>
                  <a:lnTo>
                    <a:pt x="1114" y="4704"/>
                  </a:lnTo>
                  <a:lnTo>
                    <a:pt x="1094" y="4706"/>
                  </a:lnTo>
                  <a:lnTo>
                    <a:pt x="1075" y="4708"/>
                  </a:lnTo>
                  <a:lnTo>
                    <a:pt x="1055" y="4712"/>
                  </a:lnTo>
                  <a:lnTo>
                    <a:pt x="1037" y="4716"/>
                  </a:lnTo>
                  <a:lnTo>
                    <a:pt x="1020" y="4724"/>
                  </a:lnTo>
                  <a:lnTo>
                    <a:pt x="1004" y="4731"/>
                  </a:lnTo>
                  <a:lnTo>
                    <a:pt x="990" y="4740"/>
                  </a:lnTo>
                  <a:lnTo>
                    <a:pt x="976" y="4751"/>
                  </a:lnTo>
                  <a:lnTo>
                    <a:pt x="970" y="4757"/>
                  </a:lnTo>
                  <a:lnTo>
                    <a:pt x="964" y="4763"/>
                  </a:lnTo>
                  <a:lnTo>
                    <a:pt x="959" y="4771"/>
                  </a:lnTo>
                  <a:lnTo>
                    <a:pt x="955" y="4779"/>
                  </a:lnTo>
                  <a:lnTo>
                    <a:pt x="951" y="4786"/>
                  </a:lnTo>
                  <a:lnTo>
                    <a:pt x="947" y="4795"/>
                  </a:lnTo>
                  <a:lnTo>
                    <a:pt x="947" y="4795"/>
                  </a:lnTo>
                  <a:lnTo>
                    <a:pt x="985" y="4793"/>
                  </a:lnTo>
                  <a:lnTo>
                    <a:pt x="1020" y="4792"/>
                  </a:lnTo>
                  <a:lnTo>
                    <a:pt x="1040" y="4792"/>
                  </a:lnTo>
                  <a:lnTo>
                    <a:pt x="1059" y="4793"/>
                  </a:lnTo>
                  <a:lnTo>
                    <a:pt x="1077" y="4794"/>
                  </a:lnTo>
                  <a:lnTo>
                    <a:pt x="1092" y="4797"/>
                  </a:lnTo>
                  <a:lnTo>
                    <a:pt x="1105" y="4800"/>
                  </a:lnTo>
                  <a:lnTo>
                    <a:pt x="1110" y="4802"/>
                  </a:lnTo>
                  <a:lnTo>
                    <a:pt x="1115" y="4804"/>
                  </a:lnTo>
                  <a:lnTo>
                    <a:pt x="1117" y="4807"/>
                  </a:lnTo>
                  <a:lnTo>
                    <a:pt x="1119" y="4811"/>
                  </a:lnTo>
                  <a:lnTo>
                    <a:pt x="1119" y="4814"/>
                  </a:lnTo>
                  <a:lnTo>
                    <a:pt x="1117" y="4818"/>
                  </a:lnTo>
                  <a:lnTo>
                    <a:pt x="1114" y="4822"/>
                  </a:lnTo>
                  <a:lnTo>
                    <a:pt x="1109" y="4827"/>
                  </a:lnTo>
                  <a:lnTo>
                    <a:pt x="1102" y="4832"/>
                  </a:lnTo>
                  <a:lnTo>
                    <a:pt x="1094" y="4837"/>
                  </a:lnTo>
                  <a:lnTo>
                    <a:pt x="1094" y="4837"/>
                  </a:lnTo>
                  <a:lnTo>
                    <a:pt x="1085" y="4843"/>
                  </a:lnTo>
                  <a:lnTo>
                    <a:pt x="1079" y="4849"/>
                  </a:lnTo>
                  <a:lnTo>
                    <a:pt x="1074" y="4856"/>
                  </a:lnTo>
                  <a:lnTo>
                    <a:pt x="1072" y="4863"/>
                  </a:lnTo>
                  <a:lnTo>
                    <a:pt x="1071" y="4870"/>
                  </a:lnTo>
                  <a:lnTo>
                    <a:pt x="1072" y="4876"/>
                  </a:lnTo>
                  <a:lnTo>
                    <a:pt x="1074" y="4883"/>
                  </a:lnTo>
                  <a:lnTo>
                    <a:pt x="1077" y="4890"/>
                  </a:lnTo>
                  <a:lnTo>
                    <a:pt x="1082" y="4898"/>
                  </a:lnTo>
                  <a:lnTo>
                    <a:pt x="1088" y="4906"/>
                  </a:lnTo>
                  <a:lnTo>
                    <a:pt x="1096" y="4913"/>
                  </a:lnTo>
                  <a:lnTo>
                    <a:pt x="1104" y="4920"/>
                  </a:lnTo>
                  <a:lnTo>
                    <a:pt x="1124" y="4935"/>
                  </a:lnTo>
                  <a:lnTo>
                    <a:pt x="1146" y="4951"/>
                  </a:lnTo>
                  <a:lnTo>
                    <a:pt x="1170" y="4966"/>
                  </a:lnTo>
                  <a:lnTo>
                    <a:pt x="1195" y="4980"/>
                  </a:lnTo>
                  <a:lnTo>
                    <a:pt x="1247" y="5008"/>
                  </a:lnTo>
                  <a:lnTo>
                    <a:pt x="1293" y="5031"/>
                  </a:lnTo>
                  <a:lnTo>
                    <a:pt x="1313" y="5042"/>
                  </a:lnTo>
                  <a:lnTo>
                    <a:pt x="1329" y="5051"/>
                  </a:lnTo>
                  <a:lnTo>
                    <a:pt x="1329" y="5051"/>
                  </a:lnTo>
                  <a:lnTo>
                    <a:pt x="1336" y="5056"/>
                  </a:lnTo>
                  <a:lnTo>
                    <a:pt x="1339" y="5060"/>
                  </a:lnTo>
                  <a:lnTo>
                    <a:pt x="1341" y="5063"/>
                  </a:lnTo>
                  <a:lnTo>
                    <a:pt x="1339" y="5066"/>
                  </a:lnTo>
                  <a:lnTo>
                    <a:pt x="1336" y="5068"/>
                  </a:lnTo>
                  <a:lnTo>
                    <a:pt x="1332" y="5070"/>
                  </a:lnTo>
                  <a:lnTo>
                    <a:pt x="1326" y="5071"/>
                  </a:lnTo>
                  <a:lnTo>
                    <a:pt x="1326" y="5071"/>
                  </a:lnTo>
                  <a:lnTo>
                    <a:pt x="1316" y="5071"/>
                  </a:lnTo>
                  <a:lnTo>
                    <a:pt x="1304" y="5069"/>
                  </a:lnTo>
                  <a:lnTo>
                    <a:pt x="1289" y="5066"/>
                  </a:lnTo>
                  <a:lnTo>
                    <a:pt x="1273" y="5061"/>
                  </a:lnTo>
                  <a:lnTo>
                    <a:pt x="1237" y="5050"/>
                  </a:lnTo>
                  <a:lnTo>
                    <a:pt x="1197" y="5035"/>
                  </a:lnTo>
                  <a:lnTo>
                    <a:pt x="1115" y="5004"/>
                  </a:lnTo>
                  <a:lnTo>
                    <a:pt x="1077" y="4988"/>
                  </a:lnTo>
                  <a:lnTo>
                    <a:pt x="1042" y="4977"/>
                  </a:lnTo>
                  <a:lnTo>
                    <a:pt x="1042" y="4977"/>
                  </a:lnTo>
                  <a:lnTo>
                    <a:pt x="1031" y="4974"/>
                  </a:lnTo>
                  <a:lnTo>
                    <a:pt x="1020" y="4972"/>
                  </a:lnTo>
                  <a:lnTo>
                    <a:pt x="1011" y="4972"/>
                  </a:lnTo>
                  <a:lnTo>
                    <a:pt x="1003" y="4973"/>
                  </a:lnTo>
                  <a:lnTo>
                    <a:pt x="996" y="4975"/>
                  </a:lnTo>
                  <a:lnTo>
                    <a:pt x="990" y="4978"/>
                  </a:lnTo>
                  <a:lnTo>
                    <a:pt x="985" y="4981"/>
                  </a:lnTo>
                  <a:lnTo>
                    <a:pt x="981" y="4984"/>
                  </a:lnTo>
                  <a:lnTo>
                    <a:pt x="972" y="4993"/>
                  </a:lnTo>
                  <a:lnTo>
                    <a:pt x="966" y="5000"/>
                  </a:lnTo>
                  <a:lnTo>
                    <a:pt x="962" y="5005"/>
                  </a:lnTo>
                  <a:lnTo>
                    <a:pt x="959" y="5006"/>
                  </a:lnTo>
                  <a:lnTo>
                    <a:pt x="957" y="5007"/>
                  </a:lnTo>
                  <a:lnTo>
                    <a:pt x="957" y="5007"/>
                  </a:lnTo>
                  <a:lnTo>
                    <a:pt x="948" y="5006"/>
                  </a:lnTo>
                  <a:lnTo>
                    <a:pt x="938" y="5005"/>
                  </a:lnTo>
                  <a:lnTo>
                    <a:pt x="926" y="5006"/>
                  </a:lnTo>
                  <a:lnTo>
                    <a:pt x="916" y="5006"/>
                  </a:lnTo>
                  <a:lnTo>
                    <a:pt x="894" y="5010"/>
                  </a:lnTo>
                  <a:lnTo>
                    <a:pt x="871" y="5016"/>
                  </a:lnTo>
                  <a:lnTo>
                    <a:pt x="849" y="5024"/>
                  </a:lnTo>
                  <a:lnTo>
                    <a:pt x="826" y="5034"/>
                  </a:lnTo>
                  <a:lnTo>
                    <a:pt x="805" y="5048"/>
                  </a:lnTo>
                  <a:lnTo>
                    <a:pt x="794" y="5055"/>
                  </a:lnTo>
                  <a:lnTo>
                    <a:pt x="785" y="5062"/>
                  </a:lnTo>
                  <a:lnTo>
                    <a:pt x="776" y="5070"/>
                  </a:lnTo>
                  <a:lnTo>
                    <a:pt x="768" y="5078"/>
                  </a:lnTo>
                  <a:lnTo>
                    <a:pt x="760" y="5088"/>
                  </a:lnTo>
                  <a:lnTo>
                    <a:pt x="753" y="5097"/>
                  </a:lnTo>
                  <a:lnTo>
                    <a:pt x="746" y="5107"/>
                  </a:lnTo>
                  <a:lnTo>
                    <a:pt x="740" y="5116"/>
                  </a:lnTo>
                  <a:lnTo>
                    <a:pt x="736" y="5127"/>
                  </a:lnTo>
                  <a:lnTo>
                    <a:pt x="732" y="5139"/>
                  </a:lnTo>
                  <a:lnTo>
                    <a:pt x="730" y="5150"/>
                  </a:lnTo>
                  <a:lnTo>
                    <a:pt x="728" y="5161"/>
                  </a:lnTo>
                  <a:lnTo>
                    <a:pt x="728" y="5173"/>
                  </a:lnTo>
                  <a:lnTo>
                    <a:pt x="728" y="5186"/>
                  </a:lnTo>
                  <a:lnTo>
                    <a:pt x="731" y="5199"/>
                  </a:lnTo>
                  <a:lnTo>
                    <a:pt x="734" y="5211"/>
                  </a:lnTo>
                  <a:lnTo>
                    <a:pt x="739" y="5225"/>
                  </a:lnTo>
                  <a:lnTo>
                    <a:pt x="745" y="5239"/>
                  </a:lnTo>
                  <a:lnTo>
                    <a:pt x="745" y="5239"/>
                  </a:lnTo>
                  <a:lnTo>
                    <a:pt x="748" y="5234"/>
                  </a:lnTo>
                  <a:lnTo>
                    <a:pt x="758" y="5221"/>
                  </a:lnTo>
                  <a:lnTo>
                    <a:pt x="773" y="5202"/>
                  </a:lnTo>
                  <a:lnTo>
                    <a:pt x="781" y="5192"/>
                  </a:lnTo>
                  <a:lnTo>
                    <a:pt x="791" y="5182"/>
                  </a:lnTo>
                  <a:lnTo>
                    <a:pt x="803" y="5171"/>
                  </a:lnTo>
                  <a:lnTo>
                    <a:pt x="814" y="5162"/>
                  </a:lnTo>
                  <a:lnTo>
                    <a:pt x="826" y="5154"/>
                  </a:lnTo>
                  <a:lnTo>
                    <a:pt x="839" y="5147"/>
                  </a:lnTo>
                  <a:lnTo>
                    <a:pt x="853" y="5142"/>
                  </a:lnTo>
                  <a:lnTo>
                    <a:pt x="859" y="5140"/>
                  </a:lnTo>
                  <a:lnTo>
                    <a:pt x="866" y="5139"/>
                  </a:lnTo>
                  <a:lnTo>
                    <a:pt x="873" y="5139"/>
                  </a:lnTo>
                  <a:lnTo>
                    <a:pt x="879" y="5139"/>
                  </a:lnTo>
                  <a:lnTo>
                    <a:pt x="887" y="5140"/>
                  </a:lnTo>
                  <a:lnTo>
                    <a:pt x="894" y="5142"/>
                  </a:lnTo>
                  <a:lnTo>
                    <a:pt x="894" y="5142"/>
                  </a:lnTo>
                  <a:lnTo>
                    <a:pt x="899" y="5144"/>
                  </a:lnTo>
                  <a:lnTo>
                    <a:pt x="902" y="5148"/>
                  </a:lnTo>
                  <a:lnTo>
                    <a:pt x="903" y="5154"/>
                  </a:lnTo>
                  <a:lnTo>
                    <a:pt x="904" y="5160"/>
                  </a:lnTo>
                  <a:lnTo>
                    <a:pt x="904" y="5177"/>
                  </a:lnTo>
                  <a:lnTo>
                    <a:pt x="902" y="5195"/>
                  </a:lnTo>
                  <a:lnTo>
                    <a:pt x="902" y="5205"/>
                  </a:lnTo>
                  <a:lnTo>
                    <a:pt x="902" y="5215"/>
                  </a:lnTo>
                  <a:lnTo>
                    <a:pt x="904" y="5226"/>
                  </a:lnTo>
                  <a:lnTo>
                    <a:pt x="906" y="5235"/>
                  </a:lnTo>
                  <a:lnTo>
                    <a:pt x="910" y="5245"/>
                  </a:lnTo>
                  <a:lnTo>
                    <a:pt x="915" y="5254"/>
                  </a:lnTo>
                  <a:lnTo>
                    <a:pt x="923" y="5262"/>
                  </a:lnTo>
                  <a:lnTo>
                    <a:pt x="933" y="5270"/>
                  </a:lnTo>
                  <a:lnTo>
                    <a:pt x="933" y="5270"/>
                  </a:lnTo>
                  <a:lnTo>
                    <a:pt x="941" y="5274"/>
                  </a:lnTo>
                  <a:lnTo>
                    <a:pt x="949" y="5277"/>
                  </a:lnTo>
                  <a:lnTo>
                    <a:pt x="959" y="5280"/>
                  </a:lnTo>
                  <a:lnTo>
                    <a:pt x="970" y="5281"/>
                  </a:lnTo>
                  <a:lnTo>
                    <a:pt x="982" y="5283"/>
                  </a:lnTo>
                  <a:lnTo>
                    <a:pt x="995" y="5283"/>
                  </a:lnTo>
                  <a:lnTo>
                    <a:pt x="1021" y="5283"/>
                  </a:lnTo>
                  <a:lnTo>
                    <a:pt x="1051" y="5281"/>
                  </a:lnTo>
                  <a:lnTo>
                    <a:pt x="1082" y="5278"/>
                  </a:lnTo>
                  <a:lnTo>
                    <a:pt x="1146" y="5270"/>
                  </a:lnTo>
                  <a:lnTo>
                    <a:pt x="1209" y="5261"/>
                  </a:lnTo>
                  <a:lnTo>
                    <a:pt x="1238" y="5257"/>
                  </a:lnTo>
                  <a:lnTo>
                    <a:pt x="1266" y="5255"/>
                  </a:lnTo>
                  <a:lnTo>
                    <a:pt x="1290" y="5254"/>
                  </a:lnTo>
                  <a:lnTo>
                    <a:pt x="1311" y="5255"/>
                  </a:lnTo>
                  <a:lnTo>
                    <a:pt x="1320" y="5256"/>
                  </a:lnTo>
                  <a:lnTo>
                    <a:pt x="1328" y="5258"/>
                  </a:lnTo>
                  <a:lnTo>
                    <a:pt x="1335" y="5261"/>
                  </a:lnTo>
                  <a:lnTo>
                    <a:pt x="1341" y="5266"/>
                  </a:lnTo>
                  <a:lnTo>
                    <a:pt x="1341" y="5266"/>
                  </a:lnTo>
                  <a:lnTo>
                    <a:pt x="1344" y="5269"/>
                  </a:lnTo>
                  <a:lnTo>
                    <a:pt x="1345" y="5272"/>
                  </a:lnTo>
                  <a:lnTo>
                    <a:pt x="1344" y="5274"/>
                  </a:lnTo>
                  <a:lnTo>
                    <a:pt x="1339" y="5277"/>
                  </a:lnTo>
                  <a:lnTo>
                    <a:pt x="1335" y="5279"/>
                  </a:lnTo>
                  <a:lnTo>
                    <a:pt x="1328" y="5282"/>
                  </a:lnTo>
                  <a:lnTo>
                    <a:pt x="1311" y="5286"/>
                  </a:lnTo>
                  <a:lnTo>
                    <a:pt x="1288" y="5290"/>
                  </a:lnTo>
                  <a:lnTo>
                    <a:pt x="1263" y="5293"/>
                  </a:lnTo>
                  <a:lnTo>
                    <a:pt x="1202" y="5301"/>
                  </a:lnTo>
                  <a:lnTo>
                    <a:pt x="1171" y="5305"/>
                  </a:lnTo>
                  <a:lnTo>
                    <a:pt x="1140" y="5310"/>
                  </a:lnTo>
                  <a:lnTo>
                    <a:pt x="1110" y="5317"/>
                  </a:lnTo>
                  <a:lnTo>
                    <a:pt x="1084" y="5323"/>
                  </a:lnTo>
                  <a:lnTo>
                    <a:pt x="1072" y="5327"/>
                  </a:lnTo>
                  <a:lnTo>
                    <a:pt x="1060" y="5331"/>
                  </a:lnTo>
                  <a:lnTo>
                    <a:pt x="1050" y="5335"/>
                  </a:lnTo>
                  <a:lnTo>
                    <a:pt x="1042" y="5340"/>
                  </a:lnTo>
                  <a:lnTo>
                    <a:pt x="1035" y="5345"/>
                  </a:lnTo>
                  <a:lnTo>
                    <a:pt x="1030" y="5350"/>
                  </a:lnTo>
                  <a:lnTo>
                    <a:pt x="1026" y="5357"/>
                  </a:lnTo>
                  <a:lnTo>
                    <a:pt x="1024" y="5363"/>
                  </a:lnTo>
                  <a:lnTo>
                    <a:pt x="1024" y="5363"/>
                  </a:lnTo>
                  <a:lnTo>
                    <a:pt x="1023" y="5368"/>
                  </a:lnTo>
                  <a:lnTo>
                    <a:pt x="1023" y="5377"/>
                  </a:lnTo>
                  <a:lnTo>
                    <a:pt x="1024" y="5388"/>
                  </a:lnTo>
                  <a:lnTo>
                    <a:pt x="1026" y="5394"/>
                  </a:lnTo>
                  <a:lnTo>
                    <a:pt x="1028" y="5399"/>
                  </a:lnTo>
                  <a:lnTo>
                    <a:pt x="1028" y="5399"/>
                  </a:lnTo>
                  <a:lnTo>
                    <a:pt x="1029" y="5406"/>
                  </a:lnTo>
                  <a:lnTo>
                    <a:pt x="1029" y="5412"/>
                  </a:lnTo>
                  <a:lnTo>
                    <a:pt x="1026" y="5418"/>
                  </a:lnTo>
                  <a:lnTo>
                    <a:pt x="1021" y="5424"/>
                  </a:lnTo>
                  <a:lnTo>
                    <a:pt x="1011" y="5438"/>
                  </a:lnTo>
                  <a:lnTo>
                    <a:pt x="997" y="5456"/>
                  </a:lnTo>
                  <a:lnTo>
                    <a:pt x="989" y="5466"/>
                  </a:lnTo>
                  <a:lnTo>
                    <a:pt x="982" y="5476"/>
                  </a:lnTo>
                  <a:lnTo>
                    <a:pt x="974" y="5488"/>
                  </a:lnTo>
                  <a:lnTo>
                    <a:pt x="968" y="5501"/>
                  </a:lnTo>
                  <a:lnTo>
                    <a:pt x="962" y="5515"/>
                  </a:lnTo>
                  <a:lnTo>
                    <a:pt x="958" y="5530"/>
                  </a:lnTo>
                  <a:lnTo>
                    <a:pt x="954" y="5547"/>
                  </a:lnTo>
                  <a:lnTo>
                    <a:pt x="953" y="5565"/>
                  </a:lnTo>
                  <a:lnTo>
                    <a:pt x="953" y="5565"/>
                  </a:lnTo>
                  <a:lnTo>
                    <a:pt x="953" y="5574"/>
                  </a:lnTo>
                  <a:lnTo>
                    <a:pt x="953" y="5583"/>
                  </a:lnTo>
                  <a:lnTo>
                    <a:pt x="956" y="5601"/>
                  </a:lnTo>
                  <a:lnTo>
                    <a:pt x="961" y="5618"/>
                  </a:lnTo>
                  <a:lnTo>
                    <a:pt x="967" y="5634"/>
                  </a:lnTo>
                  <a:lnTo>
                    <a:pt x="975" y="5649"/>
                  </a:lnTo>
                  <a:lnTo>
                    <a:pt x="985" y="5663"/>
                  </a:lnTo>
                  <a:lnTo>
                    <a:pt x="995" y="5676"/>
                  </a:lnTo>
                  <a:lnTo>
                    <a:pt x="1005" y="5688"/>
                  </a:lnTo>
                  <a:lnTo>
                    <a:pt x="1015" y="5698"/>
                  </a:lnTo>
                  <a:lnTo>
                    <a:pt x="1026" y="5707"/>
                  </a:lnTo>
                  <a:lnTo>
                    <a:pt x="1043" y="5723"/>
                  </a:lnTo>
                  <a:lnTo>
                    <a:pt x="1055" y="5731"/>
                  </a:lnTo>
                  <a:lnTo>
                    <a:pt x="1060" y="5735"/>
                  </a:lnTo>
                  <a:lnTo>
                    <a:pt x="1060" y="5735"/>
                  </a:lnTo>
                  <a:lnTo>
                    <a:pt x="1062" y="5731"/>
                  </a:lnTo>
                  <a:lnTo>
                    <a:pt x="1063" y="5726"/>
                  </a:lnTo>
                  <a:lnTo>
                    <a:pt x="1063" y="5717"/>
                  </a:lnTo>
                  <a:lnTo>
                    <a:pt x="1062" y="5708"/>
                  </a:lnTo>
                  <a:lnTo>
                    <a:pt x="1059" y="5687"/>
                  </a:lnTo>
                  <a:lnTo>
                    <a:pt x="1056" y="5661"/>
                  </a:lnTo>
                  <a:lnTo>
                    <a:pt x="1055" y="5649"/>
                  </a:lnTo>
                  <a:lnTo>
                    <a:pt x="1054" y="5636"/>
                  </a:lnTo>
                  <a:lnTo>
                    <a:pt x="1054" y="5624"/>
                  </a:lnTo>
                  <a:lnTo>
                    <a:pt x="1056" y="5613"/>
                  </a:lnTo>
                  <a:lnTo>
                    <a:pt x="1058" y="5603"/>
                  </a:lnTo>
                  <a:lnTo>
                    <a:pt x="1062" y="5594"/>
                  </a:lnTo>
                  <a:lnTo>
                    <a:pt x="1065" y="5591"/>
                  </a:lnTo>
                  <a:lnTo>
                    <a:pt x="1069" y="5587"/>
                  </a:lnTo>
                  <a:lnTo>
                    <a:pt x="1072" y="5585"/>
                  </a:lnTo>
                  <a:lnTo>
                    <a:pt x="1076" y="5582"/>
                  </a:lnTo>
                  <a:lnTo>
                    <a:pt x="1076" y="5582"/>
                  </a:lnTo>
                  <a:lnTo>
                    <a:pt x="1081" y="5581"/>
                  </a:lnTo>
                  <a:lnTo>
                    <a:pt x="1085" y="5581"/>
                  </a:lnTo>
                  <a:lnTo>
                    <a:pt x="1090" y="5582"/>
                  </a:lnTo>
                  <a:lnTo>
                    <a:pt x="1094" y="5586"/>
                  </a:lnTo>
                  <a:lnTo>
                    <a:pt x="1103" y="5593"/>
                  </a:lnTo>
                  <a:lnTo>
                    <a:pt x="1114" y="5602"/>
                  </a:lnTo>
                  <a:lnTo>
                    <a:pt x="1125" y="5613"/>
                  </a:lnTo>
                  <a:lnTo>
                    <a:pt x="1138" y="5622"/>
                  </a:lnTo>
                  <a:lnTo>
                    <a:pt x="1145" y="5627"/>
                  </a:lnTo>
                  <a:lnTo>
                    <a:pt x="1152" y="5631"/>
                  </a:lnTo>
                  <a:lnTo>
                    <a:pt x="1162" y="5634"/>
                  </a:lnTo>
                  <a:lnTo>
                    <a:pt x="1170" y="5636"/>
                  </a:lnTo>
                  <a:lnTo>
                    <a:pt x="1170" y="5636"/>
                  </a:lnTo>
                  <a:lnTo>
                    <a:pt x="1179" y="5636"/>
                  </a:lnTo>
                  <a:lnTo>
                    <a:pt x="1188" y="5636"/>
                  </a:lnTo>
                  <a:lnTo>
                    <a:pt x="1196" y="5635"/>
                  </a:lnTo>
                  <a:lnTo>
                    <a:pt x="1206" y="5633"/>
                  </a:lnTo>
                  <a:lnTo>
                    <a:pt x="1214" y="5629"/>
                  </a:lnTo>
                  <a:lnTo>
                    <a:pt x="1222" y="5625"/>
                  </a:lnTo>
                  <a:lnTo>
                    <a:pt x="1229" y="5621"/>
                  </a:lnTo>
                  <a:lnTo>
                    <a:pt x="1237" y="5616"/>
                  </a:lnTo>
                  <a:lnTo>
                    <a:pt x="1253" y="5604"/>
                  </a:lnTo>
                  <a:lnTo>
                    <a:pt x="1267" y="5590"/>
                  </a:lnTo>
                  <a:lnTo>
                    <a:pt x="1282" y="5573"/>
                  </a:lnTo>
                  <a:lnTo>
                    <a:pt x="1299" y="5556"/>
                  </a:lnTo>
                  <a:lnTo>
                    <a:pt x="1332" y="5517"/>
                  </a:lnTo>
                  <a:lnTo>
                    <a:pt x="1352" y="5498"/>
                  </a:lnTo>
                  <a:lnTo>
                    <a:pt x="1372" y="5478"/>
                  </a:lnTo>
                  <a:lnTo>
                    <a:pt x="1395" y="5458"/>
                  </a:lnTo>
                  <a:lnTo>
                    <a:pt x="1419" y="5439"/>
                  </a:lnTo>
                  <a:lnTo>
                    <a:pt x="1433" y="5430"/>
                  </a:lnTo>
                  <a:lnTo>
                    <a:pt x="1446" y="5422"/>
                  </a:lnTo>
                  <a:lnTo>
                    <a:pt x="1460" y="5414"/>
                  </a:lnTo>
                  <a:lnTo>
                    <a:pt x="1475" y="5406"/>
                  </a:lnTo>
                  <a:lnTo>
                    <a:pt x="1475" y="5406"/>
                  </a:lnTo>
                  <a:lnTo>
                    <a:pt x="1515" y="5387"/>
                  </a:lnTo>
                  <a:lnTo>
                    <a:pt x="1547" y="5375"/>
                  </a:lnTo>
                  <a:lnTo>
                    <a:pt x="1559" y="5370"/>
                  </a:lnTo>
                  <a:lnTo>
                    <a:pt x="1571" y="5367"/>
                  </a:lnTo>
                  <a:lnTo>
                    <a:pt x="1580" y="5366"/>
                  </a:lnTo>
                  <a:lnTo>
                    <a:pt x="1587" y="5365"/>
                  </a:lnTo>
                  <a:lnTo>
                    <a:pt x="1593" y="5365"/>
                  </a:lnTo>
                  <a:lnTo>
                    <a:pt x="1597" y="5367"/>
                  </a:lnTo>
                  <a:lnTo>
                    <a:pt x="1600" y="5369"/>
                  </a:lnTo>
                  <a:lnTo>
                    <a:pt x="1602" y="5372"/>
                  </a:lnTo>
                  <a:lnTo>
                    <a:pt x="1604" y="5375"/>
                  </a:lnTo>
                  <a:lnTo>
                    <a:pt x="1604" y="5379"/>
                  </a:lnTo>
                  <a:lnTo>
                    <a:pt x="1603" y="5389"/>
                  </a:lnTo>
                  <a:lnTo>
                    <a:pt x="1600" y="5401"/>
                  </a:lnTo>
                  <a:lnTo>
                    <a:pt x="1596" y="5415"/>
                  </a:lnTo>
                  <a:lnTo>
                    <a:pt x="1593" y="5428"/>
                  </a:lnTo>
                  <a:lnTo>
                    <a:pt x="1591" y="5440"/>
                  </a:lnTo>
                  <a:lnTo>
                    <a:pt x="1591" y="5446"/>
                  </a:lnTo>
                  <a:lnTo>
                    <a:pt x="1591" y="5453"/>
                  </a:lnTo>
                  <a:lnTo>
                    <a:pt x="1593" y="5458"/>
                  </a:lnTo>
                  <a:lnTo>
                    <a:pt x="1595" y="5463"/>
                  </a:lnTo>
                  <a:lnTo>
                    <a:pt x="1598" y="5467"/>
                  </a:lnTo>
                  <a:lnTo>
                    <a:pt x="1603" y="5471"/>
                  </a:lnTo>
                  <a:lnTo>
                    <a:pt x="1609" y="5474"/>
                  </a:lnTo>
                  <a:lnTo>
                    <a:pt x="1617" y="5476"/>
                  </a:lnTo>
                  <a:lnTo>
                    <a:pt x="1617" y="5476"/>
                  </a:lnTo>
                  <a:lnTo>
                    <a:pt x="1629" y="5480"/>
                  </a:lnTo>
                  <a:lnTo>
                    <a:pt x="1640" y="5483"/>
                  </a:lnTo>
                  <a:lnTo>
                    <a:pt x="1649" y="5488"/>
                  </a:lnTo>
                  <a:lnTo>
                    <a:pt x="1656" y="5492"/>
                  </a:lnTo>
                  <a:lnTo>
                    <a:pt x="1663" y="5498"/>
                  </a:lnTo>
                  <a:lnTo>
                    <a:pt x="1668" y="5503"/>
                  </a:lnTo>
                  <a:lnTo>
                    <a:pt x="1671" y="5509"/>
                  </a:lnTo>
                  <a:lnTo>
                    <a:pt x="1673" y="5515"/>
                  </a:lnTo>
                  <a:lnTo>
                    <a:pt x="1675" y="5521"/>
                  </a:lnTo>
                  <a:lnTo>
                    <a:pt x="1675" y="5527"/>
                  </a:lnTo>
                  <a:lnTo>
                    <a:pt x="1674" y="5534"/>
                  </a:lnTo>
                  <a:lnTo>
                    <a:pt x="1673" y="5541"/>
                  </a:lnTo>
                  <a:lnTo>
                    <a:pt x="1671" y="5548"/>
                  </a:lnTo>
                  <a:lnTo>
                    <a:pt x="1668" y="5555"/>
                  </a:lnTo>
                  <a:lnTo>
                    <a:pt x="1660" y="5568"/>
                  </a:lnTo>
                  <a:lnTo>
                    <a:pt x="1650" y="5581"/>
                  </a:lnTo>
                  <a:lnTo>
                    <a:pt x="1640" y="5594"/>
                  </a:lnTo>
                  <a:lnTo>
                    <a:pt x="1630" y="5605"/>
                  </a:lnTo>
                  <a:lnTo>
                    <a:pt x="1620" y="5615"/>
                  </a:lnTo>
                  <a:lnTo>
                    <a:pt x="1603" y="5629"/>
                  </a:lnTo>
                  <a:lnTo>
                    <a:pt x="1597" y="5636"/>
                  </a:lnTo>
                  <a:lnTo>
                    <a:pt x="1597" y="5636"/>
                  </a:lnTo>
                  <a:lnTo>
                    <a:pt x="1605" y="5640"/>
                  </a:lnTo>
                  <a:lnTo>
                    <a:pt x="1616" y="5642"/>
                  </a:lnTo>
                  <a:lnTo>
                    <a:pt x="1627" y="5643"/>
                  </a:lnTo>
                  <a:lnTo>
                    <a:pt x="1640" y="5642"/>
                  </a:lnTo>
                  <a:lnTo>
                    <a:pt x="1654" y="5639"/>
                  </a:lnTo>
                  <a:lnTo>
                    <a:pt x="1669" y="5635"/>
                  </a:lnTo>
                  <a:lnTo>
                    <a:pt x="1685" y="5628"/>
                  </a:lnTo>
                  <a:lnTo>
                    <a:pt x="1700" y="5620"/>
                  </a:lnTo>
                  <a:lnTo>
                    <a:pt x="1717" y="5611"/>
                  </a:lnTo>
                  <a:lnTo>
                    <a:pt x="1732" y="5600"/>
                  </a:lnTo>
                  <a:lnTo>
                    <a:pt x="1747" y="5587"/>
                  </a:lnTo>
                  <a:lnTo>
                    <a:pt x="1763" y="5572"/>
                  </a:lnTo>
                  <a:lnTo>
                    <a:pt x="1776" y="5555"/>
                  </a:lnTo>
                  <a:lnTo>
                    <a:pt x="1789" y="5536"/>
                  </a:lnTo>
                  <a:lnTo>
                    <a:pt x="1801" y="5516"/>
                  </a:lnTo>
                  <a:lnTo>
                    <a:pt x="1811" y="5495"/>
                  </a:lnTo>
                  <a:lnTo>
                    <a:pt x="1811" y="5495"/>
                  </a:lnTo>
                  <a:lnTo>
                    <a:pt x="1814" y="5486"/>
                  </a:lnTo>
                  <a:lnTo>
                    <a:pt x="1817" y="5480"/>
                  </a:lnTo>
                  <a:lnTo>
                    <a:pt x="1820" y="5475"/>
                  </a:lnTo>
                  <a:lnTo>
                    <a:pt x="1824" y="5471"/>
                  </a:lnTo>
                  <a:lnTo>
                    <a:pt x="1828" y="5468"/>
                  </a:lnTo>
                  <a:lnTo>
                    <a:pt x="1831" y="5465"/>
                  </a:lnTo>
                  <a:lnTo>
                    <a:pt x="1839" y="5462"/>
                  </a:lnTo>
                  <a:lnTo>
                    <a:pt x="1848" y="5459"/>
                  </a:lnTo>
                  <a:lnTo>
                    <a:pt x="1857" y="5455"/>
                  </a:lnTo>
                  <a:lnTo>
                    <a:pt x="1866" y="5449"/>
                  </a:lnTo>
                  <a:lnTo>
                    <a:pt x="1871" y="5444"/>
                  </a:lnTo>
                  <a:lnTo>
                    <a:pt x="1876" y="5439"/>
                  </a:lnTo>
                  <a:lnTo>
                    <a:pt x="1876" y="5439"/>
                  </a:lnTo>
                  <a:lnTo>
                    <a:pt x="1879" y="5433"/>
                  </a:lnTo>
                  <a:lnTo>
                    <a:pt x="1882" y="5427"/>
                  </a:lnTo>
                  <a:lnTo>
                    <a:pt x="1886" y="5421"/>
                  </a:lnTo>
                  <a:lnTo>
                    <a:pt x="1887" y="5415"/>
                  </a:lnTo>
                  <a:lnTo>
                    <a:pt x="1888" y="5400"/>
                  </a:lnTo>
                  <a:lnTo>
                    <a:pt x="1888" y="5386"/>
                  </a:lnTo>
                  <a:lnTo>
                    <a:pt x="1888" y="5371"/>
                  </a:lnTo>
                  <a:lnTo>
                    <a:pt x="1888" y="5357"/>
                  </a:lnTo>
                  <a:lnTo>
                    <a:pt x="1890" y="5342"/>
                  </a:lnTo>
                  <a:lnTo>
                    <a:pt x="1892" y="5336"/>
                  </a:lnTo>
                  <a:lnTo>
                    <a:pt x="1894" y="5330"/>
                  </a:lnTo>
                  <a:lnTo>
                    <a:pt x="1894" y="5330"/>
                  </a:lnTo>
                  <a:lnTo>
                    <a:pt x="1898" y="5324"/>
                  </a:lnTo>
                  <a:lnTo>
                    <a:pt x="1902" y="5319"/>
                  </a:lnTo>
                  <a:lnTo>
                    <a:pt x="1906" y="5314"/>
                  </a:lnTo>
                  <a:lnTo>
                    <a:pt x="1911" y="5309"/>
                  </a:lnTo>
                  <a:lnTo>
                    <a:pt x="1923" y="5301"/>
                  </a:lnTo>
                  <a:lnTo>
                    <a:pt x="1937" y="5295"/>
                  </a:lnTo>
                  <a:lnTo>
                    <a:pt x="1951" y="5290"/>
                  </a:lnTo>
                  <a:lnTo>
                    <a:pt x="1965" y="5286"/>
                  </a:lnTo>
                  <a:lnTo>
                    <a:pt x="1996" y="5278"/>
                  </a:lnTo>
                  <a:lnTo>
                    <a:pt x="2026" y="5272"/>
                  </a:lnTo>
                  <a:lnTo>
                    <a:pt x="2038" y="5268"/>
                  </a:lnTo>
                  <a:lnTo>
                    <a:pt x="2049" y="5262"/>
                  </a:lnTo>
                  <a:lnTo>
                    <a:pt x="2057" y="5256"/>
                  </a:lnTo>
                  <a:lnTo>
                    <a:pt x="2061" y="5253"/>
                  </a:lnTo>
                  <a:lnTo>
                    <a:pt x="2063" y="5249"/>
                  </a:lnTo>
                  <a:lnTo>
                    <a:pt x="2066" y="5245"/>
                  </a:lnTo>
                  <a:lnTo>
                    <a:pt x="2068" y="5240"/>
                  </a:lnTo>
                  <a:lnTo>
                    <a:pt x="2068" y="5235"/>
                  </a:lnTo>
                  <a:lnTo>
                    <a:pt x="2068" y="5230"/>
                  </a:lnTo>
                  <a:lnTo>
                    <a:pt x="2068" y="5230"/>
                  </a:lnTo>
                  <a:lnTo>
                    <a:pt x="2066" y="5215"/>
                  </a:lnTo>
                  <a:lnTo>
                    <a:pt x="2066" y="5202"/>
                  </a:lnTo>
                  <a:lnTo>
                    <a:pt x="2069" y="5190"/>
                  </a:lnTo>
                  <a:lnTo>
                    <a:pt x="2073" y="5180"/>
                  </a:lnTo>
                  <a:lnTo>
                    <a:pt x="2078" y="5169"/>
                  </a:lnTo>
                  <a:lnTo>
                    <a:pt x="2083" y="5161"/>
                  </a:lnTo>
                  <a:lnTo>
                    <a:pt x="2090" y="5153"/>
                  </a:lnTo>
                  <a:lnTo>
                    <a:pt x="2098" y="5146"/>
                  </a:lnTo>
                  <a:lnTo>
                    <a:pt x="2106" y="5140"/>
                  </a:lnTo>
                  <a:lnTo>
                    <a:pt x="2116" y="5134"/>
                  </a:lnTo>
                  <a:lnTo>
                    <a:pt x="2134" y="5124"/>
                  </a:lnTo>
                  <a:lnTo>
                    <a:pt x="2152" y="5116"/>
                  </a:lnTo>
                  <a:lnTo>
                    <a:pt x="2169" y="5109"/>
                  </a:lnTo>
                  <a:lnTo>
                    <a:pt x="2169" y="5109"/>
                  </a:lnTo>
                  <a:lnTo>
                    <a:pt x="2171" y="5109"/>
                  </a:lnTo>
                  <a:lnTo>
                    <a:pt x="2172" y="5110"/>
                  </a:lnTo>
                  <a:lnTo>
                    <a:pt x="2175" y="5112"/>
                  </a:lnTo>
                  <a:lnTo>
                    <a:pt x="2177" y="5117"/>
                  </a:lnTo>
                  <a:lnTo>
                    <a:pt x="2181" y="5124"/>
                  </a:lnTo>
                  <a:lnTo>
                    <a:pt x="2189" y="5143"/>
                  </a:lnTo>
                  <a:lnTo>
                    <a:pt x="2195" y="5154"/>
                  </a:lnTo>
                  <a:lnTo>
                    <a:pt x="2202" y="5166"/>
                  </a:lnTo>
                  <a:lnTo>
                    <a:pt x="2212" y="5179"/>
                  </a:lnTo>
                  <a:lnTo>
                    <a:pt x="2222" y="5192"/>
                  </a:lnTo>
                  <a:lnTo>
                    <a:pt x="2234" y="5206"/>
                  </a:lnTo>
                  <a:lnTo>
                    <a:pt x="2250" y="5220"/>
                  </a:lnTo>
                  <a:lnTo>
                    <a:pt x="2267" y="5233"/>
                  </a:lnTo>
                  <a:lnTo>
                    <a:pt x="2287" y="5245"/>
                  </a:lnTo>
                  <a:lnTo>
                    <a:pt x="2311" y="5257"/>
                  </a:lnTo>
                  <a:lnTo>
                    <a:pt x="2337" y="5268"/>
                  </a:lnTo>
                  <a:lnTo>
                    <a:pt x="2337" y="5268"/>
                  </a:lnTo>
                  <a:lnTo>
                    <a:pt x="2412" y="5237"/>
                  </a:lnTo>
                  <a:lnTo>
                    <a:pt x="2458" y="5215"/>
                  </a:lnTo>
                  <a:lnTo>
                    <a:pt x="2485" y="5202"/>
                  </a:lnTo>
                  <a:lnTo>
                    <a:pt x="2514" y="5187"/>
                  </a:lnTo>
                  <a:lnTo>
                    <a:pt x="2514" y="5187"/>
                  </a:lnTo>
                  <a:lnTo>
                    <a:pt x="2546" y="5170"/>
                  </a:lnTo>
                  <a:lnTo>
                    <a:pt x="2576" y="5153"/>
                  </a:lnTo>
                  <a:lnTo>
                    <a:pt x="2588" y="5145"/>
                  </a:lnTo>
                  <a:lnTo>
                    <a:pt x="2599" y="5138"/>
                  </a:lnTo>
                  <a:lnTo>
                    <a:pt x="2609" y="5130"/>
                  </a:lnTo>
                  <a:lnTo>
                    <a:pt x="2617" y="5123"/>
                  </a:lnTo>
                  <a:lnTo>
                    <a:pt x="2617" y="5123"/>
                  </a:lnTo>
                  <a:lnTo>
                    <a:pt x="2616" y="5121"/>
                  </a:lnTo>
                  <a:lnTo>
                    <a:pt x="2615" y="5119"/>
                  </a:lnTo>
                  <a:lnTo>
                    <a:pt x="2607" y="5112"/>
                  </a:lnTo>
                  <a:lnTo>
                    <a:pt x="2596" y="5101"/>
                  </a:lnTo>
                  <a:lnTo>
                    <a:pt x="2583" y="5087"/>
                  </a:lnTo>
                  <a:lnTo>
                    <a:pt x="2568" y="5069"/>
                  </a:lnTo>
                  <a:lnTo>
                    <a:pt x="2553" y="5050"/>
                  </a:lnTo>
                  <a:lnTo>
                    <a:pt x="2546" y="5039"/>
                  </a:lnTo>
                  <a:lnTo>
                    <a:pt x="2540" y="5026"/>
                  </a:lnTo>
                  <a:lnTo>
                    <a:pt x="2535" y="5015"/>
                  </a:lnTo>
                  <a:lnTo>
                    <a:pt x="2530" y="5002"/>
                  </a:lnTo>
                  <a:lnTo>
                    <a:pt x="2530" y="5002"/>
                  </a:lnTo>
                  <a:lnTo>
                    <a:pt x="2527" y="4989"/>
                  </a:lnTo>
                  <a:lnTo>
                    <a:pt x="2524" y="4978"/>
                  </a:lnTo>
                  <a:lnTo>
                    <a:pt x="2522" y="4969"/>
                  </a:lnTo>
                  <a:lnTo>
                    <a:pt x="2522" y="4960"/>
                  </a:lnTo>
                  <a:lnTo>
                    <a:pt x="2522" y="4953"/>
                  </a:lnTo>
                  <a:lnTo>
                    <a:pt x="2522" y="4948"/>
                  </a:lnTo>
                  <a:lnTo>
                    <a:pt x="2523" y="4944"/>
                  </a:lnTo>
                  <a:lnTo>
                    <a:pt x="2524" y="4942"/>
                  </a:lnTo>
                  <a:lnTo>
                    <a:pt x="2524" y="4942"/>
                  </a:lnTo>
                  <a:lnTo>
                    <a:pt x="2537" y="4959"/>
                  </a:lnTo>
                  <a:lnTo>
                    <a:pt x="2552" y="4976"/>
                  </a:lnTo>
                  <a:lnTo>
                    <a:pt x="2573" y="4997"/>
                  </a:lnTo>
                  <a:lnTo>
                    <a:pt x="2585" y="5008"/>
                  </a:lnTo>
                  <a:lnTo>
                    <a:pt x="2597" y="5019"/>
                  </a:lnTo>
                  <a:lnTo>
                    <a:pt x="2611" y="5030"/>
                  </a:lnTo>
                  <a:lnTo>
                    <a:pt x="2627" y="5042"/>
                  </a:lnTo>
                  <a:lnTo>
                    <a:pt x="2643" y="5053"/>
                  </a:lnTo>
                  <a:lnTo>
                    <a:pt x="2660" y="5062"/>
                  </a:lnTo>
                  <a:lnTo>
                    <a:pt x="2677" y="5071"/>
                  </a:lnTo>
                  <a:lnTo>
                    <a:pt x="2695" y="5079"/>
                  </a:lnTo>
                  <a:lnTo>
                    <a:pt x="2695" y="5079"/>
                  </a:lnTo>
                  <a:lnTo>
                    <a:pt x="2749" y="5051"/>
                  </a:lnTo>
                  <a:lnTo>
                    <a:pt x="2803" y="5021"/>
                  </a:lnTo>
                  <a:lnTo>
                    <a:pt x="2857" y="4988"/>
                  </a:lnTo>
                  <a:lnTo>
                    <a:pt x="2911" y="4954"/>
                  </a:lnTo>
                  <a:lnTo>
                    <a:pt x="2911" y="4954"/>
                  </a:lnTo>
                  <a:lnTo>
                    <a:pt x="2946" y="4930"/>
                  </a:lnTo>
                  <a:lnTo>
                    <a:pt x="2946" y="4930"/>
                  </a:lnTo>
                  <a:lnTo>
                    <a:pt x="2947" y="4929"/>
                  </a:lnTo>
                  <a:lnTo>
                    <a:pt x="2947" y="4929"/>
                  </a:lnTo>
                  <a:lnTo>
                    <a:pt x="2948" y="4927"/>
                  </a:lnTo>
                  <a:lnTo>
                    <a:pt x="2947" y="4925"/>
                  </a:lnTo>
                  <a:lnTo>
                    <a:pt x="2943" y="4918"/>
                  </a:lnTo>
                  <a:lnTo>
                    <a:pt x="2935" y="4909"/>
                  </a:lnTo>
                  <a:lnTo>
                    <a:pt x="2924" y="4898"/>
                  </a:lnTo>
                  <a:lnTo>
                    <a:pt x="2899" y="4874"/>
                  </a:lnTo>
                  <a:lnTo>
                    <a:pt x="2870" y="4845"/>
                  </a:lnTo>
                  <a:lnTo>
                    <a:pt x="2857" y="4831"/>
                  </a:lnTo>
                  <a:lnTo>
                    <a:pt x="2846" y="4817"/>
                  </a:lnTo>
                  <a:lnTo>
                    <a:pt x="2836" y="4802"/>
                  </a:lnTo>
                  <a:lnTo>
                    <a:pt x="2832" y="4795"/>
                  </a:lnTo>
                  <a:lnTo>
                    <a:pt x="2829" y="4789"/>
                  </a:lnTo>
                  <a:lnTo>
                    <a:pt x="2828" y="4782"/>
                  </a:lnTo>
                  <a:lnTo>
                    <a:pt x="2827" y="4776"/>
                  </a:lnTo>
                  <a:lnTo>
                    <a:pt x="2827" y="4770"/>
                  </a:lnTo>
                  <a:lnTo>
                    <a:pt x="2828" y="4765"/>
                  </a:lnTo>
                  <a:lnTo>
                    <a:pt x="2830" y="4759"/>
                  </a:lnTo>
                  <a:lnTo>
                    <a:pt x="2834" y="4754"/>
                  </a:lnTo>
                  <a:lnTo>
                    <a:pt x="2840" y="4750"/>
                  </a:lnTo>
                  <a:lnTo>
                    <a:pt x="2847" y="4746"/>
                  </a:lnTo>
                  <a:lnTo>
                    <a:pt x="2847" y="4746"/>
                  </a:lnTo>
                  <a:lnTo>
                    <a:pt x="2853" y="4742"/>
                  </a:lnTo>
                  <a:lnTo>
                    <a:pt x="2858" y="4737"/>
                  </a:lnTo>
                  <a:lnTo>
                    <a:pt x="2861" y="4732"/>
                  </a:lnTo>
                  <a:lnTo>
                    <a:pt x="2863" y="4726"/>
                  </a:lnTo>
                  <a:lnTo>
                    <a:pt x="2864" y="4720"/>
                  </a:lnTo>
                  <a:lnTo>
                    <a:pt x="2864" y="4711"/>
                  </a:lnTo>
                  <a:lnTo>
                    <a:pt x="2864" y="4704"/>
                  </a:lnTo>
                  <a:lnTo>
                    <a:pt x="2862" y="4695"/>
                  </a:lnTo>
                  <a:lnTo>
                    <a:pt x="2857" y="4678"/>
                  </a:lnTo>
                  <a:lnTo>
                    <a:pt x="2849" y="4658"/>
                  </a:lnTo>
                  <a:lnTo>
                    <a:pt x="2830" y="4616"/>
                  </a:lnTo>
                  <a:lnTo>
                    <a:pt x="2821" y="4595"/>
                  </a:lnTo>
                  <a:lnTo>
                    <a:pt x="2813" y="4574"/>
                  </a:lnTo>
                  <a:lnTo>
                    <a:pt x="2806" y="4554"/>
                  </a:lnTo>
                  <a:lnTo>
                    <a:pt x="2804" y="4544"/>
                  </a:lnTo>
                  <a:lnTo>
                    <a:pt x="2802" y="4534"/>
                  </a:lnTo>
                  <a:lnTo>
                    <a:pt x="2802" y="4525"/>
                  </a:lnTo>
                  <a:lnTo>
                    <a:pt x="2802" y="4517"/>
                  </a:lnTo>
                  <a:lnTo>
                    <a:pt x="2803" y="4509"/>
                  </a:lnTo>
                  <a:lnTo>
                    <a:pt x="2805" y="4502"/>
                  </a:lnTo>
                  <a:lnTo>
                    <a:pt x="2808" y="4495"/>
                  </a:lnTo>
                  <a:lnTo>
                    <a:pt x="2813" y="4488"/>
                  </a:lnTo>
                  <a:lnTo>
                    <a:pt x="2819" y="4482"/>
                  </a:lnTo>
                  <a:lnTo>
                    <a:pt x="2827" y="4478"/>
                  </a:lnTo>
                  <a:lnTo>
                    <a:pt x="2827" y="4478"/>
                  </a:lnTo>
                  <a:lnTo>
                    <a:pt x="2928" y="4425"/>
                  </a:lnTo>
                  <a:lnTo>
                    <a:pt x="3034" y="4374"/>
                  </a:lnTo>
                  <a:lnTo>
                    <a:pt x="3138" y="4323"/>
                  </a:lnTo>
                  <a:lnTo>
                    <a:pt x="3241" y="4273"/>
                  </a:lnTo>
                  <a:lnTo>
                    <a:pt x="3433" y="4182"/>
                  </a:lnTo>
                  <a:lnTo>
                    <a:pt x="3516" y="4142"/>
                  </a:lnTo>
                  <a:lnTo>
                    <a:pt x="3591" y="4105"/>
                  </a:lnTo>
                  <a:lnTo>
                    <a:pt x="3591" y="4105"/>
                  </a:lnTo>
                  <a:lnTo>
                    <a:pt x="3587" y="4089"/>
                  </a:lnTo>
                  <a:lnTo>
                    <a:pt x="3581" y="4070"/>
                  </a:lnTo>
                  <a:lnTo>
                    <a:pt x="3571" y="4047"/>
                  </a:lnTo>
                  <a:lnTo>
                    <a:pt x="3564" y="4035"/>
                  </a:lnTo>
                  <a:lnTo>
                    <a:pt x="3557" y="4020"/>
                  </a:lnTo>
                  <a:lnTo>
                    <a:pt x="3549" y="4006"/>
                  </a:lnTo>
                  <a:lnTo>
                    <a:pt x="3540" y="3992"/>
                  </a:lnTo>
                  <a:lnTo>
                    <a:pt x="3529" y="3977"/>
                  </a:lnTo>
                  <a:lnTo>
                    <a:pt x="3516" y="3962"/>
                  </a:lnTo>
                  <a:lnTo>
                    <a:pt x="3502" y="3948"/>
                  </a:lnTo>
                  <a:lnTo>
                    <a:pt x="3487" y="3933"/>
                  </a:lnTo>
                  <a:close/>
                  <a:moveTo>
                    <a:pt x="322" y="5867"/>
                  </a:moveTo>
                  <a:lnTo>
                    <a:pt x="322" y="5867"/>
                  </a:lnTo>
                  <a:lnTo>
                    <a:pt x="321" y="5881"/>
                  </a:lnTo>
                  <a:lnTo>
                    <a:pt x="321" y="5892"/>
                  </a:lnTo>
                  <a:lnTo>
                    <a:pt x="323" y="5908"/>
                  </a:lnTo>
                  <a:lnTo>
                    <a:pt x="326" y="5923"/>
                  </a:lnTo>
                  <a:lnTo>
                    <a:pt x="329" y="5931"/>
                  </a:lnTo>
                  <a:lnTo>
                    <a:pt x="332" y="5939"/>
                  </a:lnTo>
                  <a:lnTo>
                    <a:pt x="337" y="5947"/>
                  </a:lnTo>
                  <a:lnTo>
                    <a:pt x="343" y="5956"/>
                  </a:lnTo>
                  <a:lnTo>
                    <a:pt x="349" y="5964"/>
                  </a:lnTo>
                  <a:lnTo>
                    <a:pt x="357" y="5971"/>
                  </a:lnTo>
                  <a:lnTo>
                    <a:pt x="357" y="5971"/>
                  </a:lnTo>
                  <a:lnTo>
                    <a:pt x="369" y="5980"/>
                  </a:lnTo>
                  <a:lnTo>
                    <a:pt x="382" y="5988"/>
                  </a:lnTo>
                  <a:lnTo>
                    <a:pt x="397" y="5995"/>
                  </a:lnTo>
                  <a:lnTo>
                    <a:pt x="412" y="6000"/>
                  </a:lnTo>
                  <a:lnTo>
                    <a:pt x="426" y="6002"/>
                  </a:lnTo>
                  <a:lnTo>
                    <a:pt x="434" y="6002"/>
                  </a:lnTo>
                  <a:lnTo>
                    <a:pt x="441" y="6001"/>
                  </a:lnTo>
                  <a:lnTo>
                    <a:pt x="447" y="6000"/>
                  </a:lnTo>
                  <a:lnTo>
                    <a:pt x="453" y="5998"/>
                  </a:lnTo>
                  <a:lnTo>
                    <a:pt x="458" y="5995"/>
                  </a:lnTo>
                  <a:lnTo>
                    <a:pt x="463" y="5991"/>
                  </a:lnTo>
                  <a:lnTo>
                    <a:pt x="463" y="5991"/>
                  </a:lnTo>
                  <a:lnTo>
                    <a:pt x="468" y="5986"/>
                  </a:lnTo>
                  <a:lnTo>
                    <a:pt x="473" y="5979"/>
                  </a:lnTo>
                  <a:lnTo>
                    <a:pt x="476" y="5973"/>
                  </a:lnTo>
                  <a:lnTo>
                    <a:pt x="479" y="5966"/>
                  </a:lnTo>
                  <a:lnTo>
                    <a:pt x="481" y="5958"/>
                  </a:lnTo>
                  <a:lnTo>
                    <a:pt x="482" y="5950"/>
                  </a:lnTo>
                  <a:lnTo>
                    <a:pt x="483" y="5933"/>
                  </a:lnTo>
                  <a:lnTo>
                    <a:pt x="483" y="5917"/>
                  </a:lnTo>
                  <a:lnTo>
                    <a:pt x="484" y="5900"/>
                  </a:lnTo>
                  <a:lnTo>
                    <a:pt x="485" y="5892"/>
                  </a:lnTo>
                  <a:lnTo>
                    <a:pt x="487" y="5884"/>
                  </a:lnTo>
                  <a:lnTo>
                    <a:pt x="489" y="5877"/>
                  </a:lnTo>
                  <a:lnTo>
                    <a:pt x="493" y="5869"/>
                  </a:lnTo>
                  <a:lnTo>
                    <a:pt x="493" y="5869"/>
                  </a:lnTo>
                  <a:lnTo>
                    <a:pt x="495" y="5866"/>
                  </a:lnTo>
                  <a:lnTo>
                    <a:pt x="499" y="5863"/>
                  </a:lnTo>
                  <a:lnTo>
                    <a:pt x="508" y="5857"/>
                  </a:lnTo>
                  <a:lnTo>
                    <a:pt x="516" y="5854"/>
                  </a:lnTo>
                  <a:lnTo>
                    <a:pt x="519" y="5853"/>
                  </a:lnTo>
                  <a:lnTo>
                    <a:pt x="519" y="5853"/>
                  </a:lnTo>
                  <a:lnTo>
                    <a:pt x="526" y="5851"/>
                  </a:lnTo>
                  <a:lnTo>
                    <a:pt x="532" y="5848"/>
                  </a:lnTo>
                  <a:lnTo>
                    <a:pt x="538" y="5845"/>
                  </a:lnTo>
                  <a:lnTo>
                    <a:pt x="544" y="5840"/>
                  </a:lnTo>
                  <a:lnTo>
                    <a:pt x="544" y="5840"/>
                  </a:lnTo>
                  <a:lnTo>
                    <a:pt x="585" y="5859"/>
                  </a:lnTo>
                  <a:lnTo>
                    <a:pt x="626" y="5877"/>
                  </a:lnTo>
                  <a:lnTo>
                    <a:pt x="668" y="5896"/>
                  </a:lnTo>
                  <a:lnTo>
                    <a:pt x="709" y="5917"/>
                  </a:lnTo>
                  <a:lnTo>
                    <a:pt x="748" y="5938"/>
                  </a:lnTo>
                  <a:lnTo>
                    <a:pt x="789" y="5961"/>
                  </a:lnTo>
                  <a:lnTo>
                    <a:pt x="830" y="5983"/>
                  </a:lnTo>
                  <a:lnTo>
                    <a:pt x="870" y="6007"/>
                  </a:lnTo>
                  <a:lnTo>
                    <a:pt x="910" y="6031"/>
                  </a:lnTo>
                  <a:lnTo>
                    <a:pt x="949" y="6056"/>
                  </a:lnTo>
                  <a:lnTo>
                    <a:pt x="1027" y="6106"/>
                  </a:lnTo>
                  <a:lnTo>
                    <a:pt x="1103" y="6158"/>
                  </a:lnTo>
                  <a:lnTo>
                    <a:pt x="1178" y="6211"/>
                  </a:lnTo>
                  <a:lnTo>
                    <a:pt x="1178" y="6211"/>
                  </a:lnTo>
                  <a:lnTo>
                    <a:pt x="1197" y="6225"/>
                  </a:lnTo>
                  <a:lnTo>
                    <a:pt x="1215" y="6236"/>
                  </a:lnTo>
                  <a:lnTo>
                    <a:pt x="1215" y="6236"/>
                  </a:lnTo>
                  <a:lnTo>
                    <a:pt x="1208" y="6258"/>
                  </a:lnTo>
                  <a:lnTo>
                    <a:pt x="1199" y="6281"/>
                  </a:lnTo>
                  <a:lnTo>
                    <a:pt x="1189" y="6305"/>
                  </a:lnTo>
                  <a:lnTo>
                    <a:pt x="1177" y="6331"/>
                  </a:lnTo>
                  <a:lnTo>
                    <a:pt x="1177" y="6331"/>
                  </a:lnTo>
                  <a:lnTo>
                    <a:pt x="1137" y="6407"/>
                  </a:lnTo>
                  <a:lnTo>
                    <a:pt x="1118" y="6443"/>
                  </a:lnTo>
                  <a:lnTo>
                    <a:pt x="1100" y="6479"/>
                  </a:lnTo>
                  <a:lnTo>
                    <a:pt x="1093" y="6497"/>
                  </a:lnTo>
                  <a:lnTo>
                    <a:pt x="1087" y="6514"/>
                  </a:lnTo>
                  <a:lnTo>
                    <a:pt x="1081" y="6530"/>
                  </a:lnTo>
                  <a:lnTo>
                    <a:pt x="1077" y="6547"/>
                  </a:lnTo>
                  <a:lnTo>
                    <a:pt x="1074" y="6562"/>
                  </a:lnTo>
                  <a:lnTo>
                    <a:pt x="1072" y="6576"/>
                  </a:lnTo>
                  <a:lnTo>
                    <a:pt x="1072" y="6591"/>
                  </a:lnTo>
                  <a:lnTo>
                    <a:pt x="1073" y="6603"/>
                  </a:lnTo>
                  <a:lnTo>
                    <a:pt x="1073" y="6603"/>
                  </a:lnTo>
                  <a:lnTo>
                    <a:pt x="1075" y="6612"/>
                  </a:lnTo>
                  <a:lnTo>
                    <a:pt x="1077" y="6621"/>
                  </a:lnTo>
                  <a:lnTo>
                    <a:pt x="1080" y="6629"/>
                  </a:lnTo>
                  <a:lnTo>
                    <a:pt x="1083" y="6638"/>
                  </a:lnTo>
                  <a:lnTo>
                    <a:pt x="1087" y="6645"/>
                  </a:lnTo>
                  <a:lnTo>
                    <a:pt x="1092" y="6652"/>
                  </a:lnTo>
                  <a:lnTo>
                    <a:pt x="1097" y="6658"/>
                  </a:lnTo>
                  <a:lnTo>
                    <a:pt x="1102" y="6664"/>
                  </a:lnTo>
                  <a:lnTo>
                    <a:pt x="1108" y="6669"/>
                  </a:lnTo>
                  <a:lnTo>
                    <a:pt x="1115" y="6674"/>
                  </a:lnTo>
                  <a:lnTo>
                    <a:pt x="1122" y="6679"/>
                  </a:lnTo>
                  <a:lnTo>
                    <a:pt x="1129" y="6682"/>
                  </a:lnTo>
                  <a:lnTo>
                    <a:pt x="1137" y="6685"/>
                  </a:lnTo>
                  <a:lnTo>
                    <a:pt x="1145" y="6687"/>
                  </a:lnTo>
                  <a:lnTo>
                    <a:pt x="1154" y="6689"/>
                  </a:lnTo>
                  <a:lnTo>
                    <a:pt x="1163" y="6690"/>
                  </a:lnTo>
                  <a:lnTo>
                    <a:pt x="1163" y="6690"/>
                  </a:lnTo>
                  <a:lnTo>
                    <a:pt x="1173" y="6690"/>
                  </a:lnTo>
                  <a:lnTo>
                    <a:pt x="1183" y="6689"/>
                  </a:lnTo>
                  <a:lnTo>
                    <a:pt x="1192" y="6687"/>
                  </a:lnTo>
                  <a:lnTo>
                    <a:pt x="1201" y="6685"/>
                  </a:lnTo>
                  <a:lnTo>
                    <a:pt x="1210" y="6682"/>
                  </a:lnTo>
                  <a:lnTo>
                    <a:pt x="1218" y="6677"/>
                  </a:lnTo>
                  <a:lnTo>
                    <a:pt x="1226" y="6673"/>
                  </a:lnTo>
                  <a:lnTo>
                    <a:pt x="1233" y="6668"/>
                  </a:lnTo>
                  <a:lnTo>
                    <a:pt x="1240" y="6662"/>
                  </a:lnTo>
                  <a:lnTo>
                    <a:pt x="1246" y="6657"/>
                  </a:lnTo>
                  <a:lnTo>
                    <a:pt x="1252" y="6651"/>
                  </a:lnTo>
                  <a:lnTo>
                    <a:pt x="1257" y="6644"/>
                  </a:lnTo>
                  <a:lnTo>
                    <a:pt x="1261" y="6637"/>
                  </a:lnTo>
                  <a:lnTo>
                    <a:pt x="1265" y="6629"/>
                  </a:lnTo>
                  <a:lnTo>
                    <a:pt x="1268" y="6622"/>
                  </a:lnTo>
                  <a:lnTo>
                    <a:pt x="1270" y="6614"/>
                  </a:lnTo>
                  <a:lnTo>
                    <a:pt x="1270" y="6614"/>
                  </a:lnTo>
                  <a:lnTo>
                    <a:pt x="1272" y="6598"/>
                  </a:lnTo>
                  <a:lnTo>
                    <a:pt x="1273" y="6582"/>
                  </a:lnTo>
                  <a:lnTo>
                    <a:pt x="1271" y="6570"/>
                  </a:lnTo>
                  <a:lnTo>
                    <a:pt x="1268" y="6558"/>
                  </a:lnTo>
                  <a:lnTo>
                    <a:pt x="1263" y="6549"/>
                  </a:lnTo>
                  <a:lnTo>
                    <a:pt x="1258" y="6539"/>
                  </a:lnTo>
                  <a:lnTo>
                    <a:pt x="1251" y="6532"/>
                  </a:lnTo>
                  <a:lnTo>
                    <a:pt x="1243" y="6527"/>
                  </a:lnTo>
                  <a:lnTo>
                    <a:pt x="1236" y="6522"/>
                  </a:lnTo>
                  <a:lnTo>
                    <a:pt x="1229" y="6518"/>
                  </a:lnTo>
                  <a:lnTo>
                    <a:pt x="1215" y="6513"/>
                  </a:lnTo>
                  <a:lnTo>
                    <a:pt x="1206" y="6511"/>
                  </a:lnTo>
                  <a:lnTo>
                    <a:pt x="1201" y="6511"/>
                  </a:lnTo>
                  <a:lnTo>
                    <a:pt x="1201" y="6511"/>
                  </a:lnTo>
                  <a:lnTo>
                    <a:pt x="1217" y="6466"/>
                  </a:lnTo>
                  <a:lnTo>
                    <a:pt x="1229" y="6430"/>
                  </a:lnTo>
                  <a:lnTo>
                    <a:pt x="1240" y="6401"/>
                  </a:lnTo>
                  <a:lnTo>
                    <a:pt x="1240" y="6401"/>
                  </a:lnTo>
                  <a:lnTo>
                    <a:pt x="1248" y="6381"/>
                  </a:lnTo>
                  <a:lnTo>
                    <a:pt x="1258" y="6363"/>
                  </a:lnTo>
                  <a:lnTo>
                    <a:pt x="1266" y="6345"/>
                  </a:lnTo>
                  <a:lnTo>
                    <a:pt x="1275" y="6329"/>
                  </a:lnTo>
                  <a:lnTo>
                    <a:pt x="1283" y="6314"/>
                  </a:lnTo>
                  <a:lnTo>
                    <a:pt x="1292" y="6299"/>
                  </a:lnTo>
                  <a:lnTo>
                    <a:pt x="1310" y="6275"/>
                  </a:lnTo>
                  <a:lnTo>
                    <a:pt x="1327" y="6254"/>
                  </a:lnTo>
                  <a:lnTo>
                    <a:pt x="1345" y="6237"/>
                  </a:lnTo>
                  <a:lnTo>
                    <a:pt x="1361" y="6224"/>
                  </a:lnTo>
                  <a:lnTo>
                    <a:pt x="1376" y="6212"/>
                  </a:lnTo>
                  <a:lnTo>
                    <a:pt x="1391" y="6205"/>
                  </a:lnTo>
                  <a:lnTo>
                    <a:pt x="1404" y="6199"/>
                  </a:lnTo>
                  <a:lnTo>
                    <a:pt x="1416" y="6195"/>
                  </a:lnTo>
                  <a:lnTo>
                    <a:pt x="1426" y="6193"/>
                  </a:lnTo>
                  <a:lnTo>
                    <a:pt x="1435" y="6192"/>
                  </a:lnTo>
                  <a:lnTo>
                    <a:pt x="1441" y="6192"/>
                  </a:lnTo>
                  <a:lnTo>
                    <a:pt x="1446" y="6192"/>
                  </a:lnTo>
                  <a:lnTo>
                    <a:pt x="1446" y="6192"/>
                  </a:lnTo>
                  <a:lnTo>
                    <a:pt x="1442" y="6188"/>
                  </a:lnTo>
                  <a:lnTo>
                    <a:pt x="1437" y="6183"/>
                  </a:lnTo>
                  <a:lnTo>
                    <a:pt x="1432" y="6175"/>
                  </a:lnTo>
                  <a:lnTo>
                    <a:pt x="1425" y="6166"/>
                  </a:lnTo>
                  <a:lnTo>
                    <a:pt x="1420" y="6155"/>
                  </a:lnTo>
                  <a:lnTo>
                    <a:pt x="1414" y="6142"/>
                  </a:lnTo>
                  <a:lnTo>
                    <a:pt x="1409" y="6125"/>
                  </a:lnTo>
                  <a:lnTo>
                    <a:pt x="1406" y="6108"/>
                  </a:lnTo>
                  <a:lnTo>
                    <a:pt x="1404" y="6088"/>
                  </a:lnTo>
                  <a:lnTo>
                    <a:pt x="1404" y="6065"/>
                  </a:lnTo>
                  <a:lnTo>
                    <a:pt x="1405" y="6053"/>
                  </a:lnTo>
                  <a:lnTo>
                    <a:pt x="1407" y="6041"/>
                  </a:lnTo>
                  <a:lnTo>
                    <a:pt x="1409" y="6027"/>
                  </a:lnTo>
                  <a:lnTo>
                    <a:pt x="1413" y="6013"/>
                  </a:lnTo>
                  <a:lnTo>
                    <a:pt x="1417" y="5999"/>
                  </a:lnTo>
                  <a:lnTo>
                    <a:pt x="1422" y="5983"/>
                  </a:lnTo>
                  <a:lnTo>
                    <a:pt x="1428" y="5968"/>
                  </a:lnTo>
                  <a:lnTo>
                    <a:pt x="1436" y="5952"/>
                  </a:lnTo>
                  <a:lnTo>
                    <a:pt x="1444" y="5934"/>
                  </a:lnTo>
                  <a:lnTo>
                    <a:pt x="1453" y="5917"/>
                  </a:lnTo>
                  <a:lnTo>
                    <a:pt x="1453" y="5917"/>
                  </a:lnTo>
                  <a:lnTo>
                    <a:pt x="1473" y="5880"/>
                  </a:lnTo>
                  <a:lnTo>
                    <a:pt x="1490" y="5844"/>
                  </a:lnTo>
                  <a:lnTo>
                    <a:pt x="1505" y="5811"/>
                  </a:lnTo>
                  <a:lnTo>
                    <a:pt x="1516" y="5780"/>
                  </a:lnTo>
                  <a:lnTo>
                    <a:pt x="1527" y="5749"/>
                  </a:lnTo>
                  <a:lnTo>
                    <a:pt x="1535" y="5719"/>
                  </a:lnTo>
                  <a:lnTo>
                    <a:pt x="1541" y="5691"/>
                  </a:lnTo>
                  <a:lnTo>
                    <a:pt x="1546" y="5663"/>
                  </a:lnTo>
                  <a:lnTo>
                    <a:pt x="1546" y="5663"/>
                  </a:lnTo>
                  <a:lnTo>
                    <a:pt x="1547" y="5654"/>
                  </a:lnTo>
                  <a:lnTo>
                    <a:pt x="1546" y="5645"/>
                  </a:lnTo>
                  <a:lnTo>
                    <a:pt x="1545" y="5636"/>
                  </a:lnTo>
                  <a:lnTo>
                    <a:pt x="1542" y="5626"/>
                  </a:lnTo>
                  <a:lnTo>
                    <a:pt x="1538" y="5617"/>
                  </a:lnTo>
                  <a:lnTo>
                    <a:pt x="1534" y="5609"/>
                  </a:lnTo>
                  <a:lnTo>
                    <a:pt x="1529" y="5600"/>
                  </a:lnTo>
                  <a:lnTo>
                    <a:pt x="1523" y="5592"/>
                  </a:lnTo>
                  <a:lnTo>
                    <a:pt x="1515" y="5585"/>
                  </a:lnTo>
                  <a:lnTo>
                    <a:pt x="1508" y="5577"/>
                  </a:lnTo>
                  <a:lnTo>
                    <a:pt x="1500" y="5571"/>
                  </a:lnTo>
                  <a:lnTo>
                    <a:pt x="1492" y="5566"/>
                  </a:lnTo>
                  <a:lnTo>
                    <a:pt x="1484" y="5561"/>
                  </a:lnTo>
                  <a:lnTo>
                    <a:pt x="1474" y="5558"/>
                  </a:lnTo>
                  <a:lnTo>
                    <a:pt x="1465" y="5556"/>
                  </a:lnTo>
                  <a:lnTo>
                    <a:pt x="1455" y="5554"/>
                  </a:lnTo>
                  <a:lnTo>
                    <a:pt x="1455" y="5554"/>
                  </a:lnTo>
                  <a:lnTo>
                    <a:pt x="1445" y="5554"/>
                  </a:lnTo>
                  <a:lnTo>
                    <a:pt x="1436" y="5555"/>
                  </a:lnTo>
                  <a:lnTo>
                    <a:pt x="1425" y="5557"/>
                  </a:lnTo>
                  <a:lnTo>
                    <a:pt x="1416" y="5560"/>
                  </a:lnTo>
                  <a:lnTo>
                    <a:pt x="1407" y="5564"/>
                  </a:lnTo>
                  <a:lnTo>
                    <a:pt x="1399" y="5568"/>
                  </a:lnTo>
                  <a:lnTo>
                    <a:pt x="1391" y="5574"/>
                  </a:lnTo>
                  <a:lnTo>
                    <a:pt x="1382" y="5579"/>
                  </a:lnTo>
                  <a:lnTo>
                    <a:pt x="1375" y="5587"/>
                  </a:lnTo>
                  <a:lnTo>
                    <a:pt x="1369" y="5593"/>
                  </a:lnTo>
                  <a:lnTo>
                    <a:pt x="1363" y="5600"/>
                  </a:lnTo>
                  <a:lnTo>
                    <a:pt x="1358" y="5608"/>
                  </a:lnTo>
                  <a:lnTo>
                    <a:pt x="1354" y="5616"/>
                  </a:lnTo>
                  <a:lnTo>
                    <a:pt x="1350" y="5624"/>
                  </a:lnTo>
                  <a:lnTo>
                    <a:pt x="1348" y="5633"/>
                  </a:lnTo>
                  <a:lnTo>
                    <a:pt x="1347" y="5641"/>
                  </a:lnTo>
                  <a:lnTo>
                    <a:pt x="1347" y="5641"/>
                  </a:lnTo>
                  <a:lnTo>
                    <a:pt x="1346" y="5661"/>
                  </a:lnTo>
                  <a:lnTo>
                    <a:pt x="1347" y="5680"/>
                  </a:lnTo>
                  <a:lnTo>
                    <a:pt x="1351" y="5695"/>
                  </a:lnTo>
                  <a:lnTo>
                    <a:pt x="1356" y="5707"/>
                  </a:lnTo>
                  <a:lnTo>
                    <a:pt x="1362" y="5717"/>
                  </a:lnTo>
                  <a:lnTo>
                    <a:pt x="1369" y="5727"/>
                  </a:lnTo>
                  <a:lnTo>
                    <a:pt x="1377" y="5734"/>
                  </a:lnTo>
                  <a:lnTo>
                    <a:pt x="1386" y="5739"/>
                  </a:lnTo>
                  <a:lnTo>
                    <a:pt x="1394" y="5743"/>
                  </a:lnTo>
                  <a:lnTo>
                    <a:pt x="1402" y="5747"/>
                  </a:lnTo>
                  <a:lnTo>
                    <a:pt x="1416" y="5752"/>
                  </a:lnTo>
                  <a:lnTo>
                    <a:pt x="1422" y="5754"/>
                  </a:lnTo>
                  <a:lnTo>
                    <a:pt x="1425" y="5756"/>
                  </a:lnTo>
                  <a:lnTo>
                    <a:pt x="1428" y="5759"/>
                  </a:lnTo>
                  <a:lnTo>
                    <a:pt x="1428" y="5762"/>
                  </a:lnTo>
                  <a:lnTo>
                    <a:pt x="1428" y="5762"/>
                  </a:lnTo>
                  <a:lnTo>
                    <a:pt x="1417" y="5798"/>
                  </a:lnTo>
                  <a:lnTo>
                    <a:pt x="1405" y="5831"/>
                  </a:lnTo>
                  <a:lnTo>
                    <a:pt x="1392" y="5861"/>
                  </a:lnTo>
                  <a:lnTo>
                    <a:pt x="1378" y="5887"/>
                  </a:lnTo>
                  <a:lnTo>
                    <a:pt x="1365" y="5912"/>
                  </a:lnTo>
                  <a:lnTo>
                    <a:pt x="1352" y="5933"/>
                  </a:lnTo>
                  <a:lnTo>
                    <a:pt x="1337" y="5953"/>
                  </a:lnTo>
                  <a:lnTo>
                    <a:pt x="1323" y="5969"/>
                  </a:lnTo>
                  <a:lnTo>
                    <a:pt x="1323" y="5969"/>
                  </a:lnTo>
                  <a:lnTo>
                    <a:pt x="1296" y="5953"/>
                  </a:lnTo>
                  <a:lnTo>
                    <a:pt x="1263" y="5933"/>
                  </a:lnTo>
                  <a:lnTo>
                    <a:pt x="1263" y="5933"/>
                  </a:lnTo>
                  <a:lnTo>
                    <a:pt x="1186" y="5891"/>
                  </a:lnTo>
                  <a:lnTo>
                    <a:pt x="1111" y="5850"/>
                  </a:lnTo>
                  <a:lnTo>
                    <a:pt x="1038" y="5811"/>
                  </a:lnTo>
                  <a:lnTo>
                    <a:pt x="1001" y="5793"/>
                  </a:lnTo>
                  <a:lnTo>
                    <a:pt x="964" y="5776"/>
                  </a:lnTo>
                  <a:lnTo>
                    <a:pt x="927" y="5758"/>
                  </a:lnTo>
                  <a:lnTo>
                    <a:pt x="889" y="5743"/>
                  </a:lnTo>
                  <a:lnTo>
                    <a:pt x="850" y="5727"/>
                  </a:lnTo>
                  <a:lnTo>
                    <a:pt x="810" y="5712"/>
                  </a:lnTo>
                  <a:lnTo>
                    <a:pt x="769" y="5698"/>
                  </a:lnTo>
                  <a:lnTo>
                    <a:pt x="727" y="5686"/>
                  </a:lnTo>
                  <a:lnTo>
                    <a:pt x="683" y="5673"/>
                  </a:lnTo>
                  <a:lnTo>
                    <a:pt x="638" y="5662"/>
                  </a:lnTo>
                  <a:lnTo>
                    <a:pt x="638" y="5662"/>
                  </a:lnTo>
                  <a:lnTo>
                    <a:pt x="655" y="5629"/>
                  </a:lnTo>
                  <a:lnTo>
                    <a:pt x="655" y="5629"/>
                  </a:lnTo>
                  <a:lnTo>
                    <a:pt x="681" y="5585"/>
                  </a:lnTo>
                  <a:lnTo>
                    <a:pt x="699" y="5553"/>
                  </a:lnTo>
                  <a:lnTo>
                    <a:pt x="706" y="5542"/>
                  </a:lnTo>
                  <a:lnTo>
                    <a:pt x="710" y="5532"/>
                  </a:lnTo>
                  <a:lnTo>
                    <a:pt x="712" y="5526"/>
                  </a:lnTo>
                  <a:lnTo>
                    <a:pt x="711" y="5524"/>
                  </a:lnTo>
                  <a:lnTo>
                    <a:pt x="710" y="5522"/>
                  </a:lnTo>
                  <a:lnTo>
                    <a:pt x="710" y="5522"/>
                  </a:lnTo>
                  <a:lnTo>
                    <a:pt x="709" y="5522"/>
                  </a:lnTo>
                  <a:lnTo>
                    <a:pt x="708" y="5522"/>
                  </a:lnTo>
                  <a:lnTo>
                    <a:pt x="702" y="5523"/>
                  </a:lnTo>
                  <a:lnTo>
                    <a:pt x="688" y="5532"/>
                  </a:lnTo>
                  <a:lnTo>
                    <a:pt x="664" y="5548"/>
                  </a:lnTo>
                  <a:lnTo>
                    <a:pt x="647" y="5557"/>
                  </a:lnTo>
                  <a:lnTo>
                    <a:pt x="628" y="5568"/>
                  </a:lnTo>
                  <a:lnTo>
                    <a:pt x="628" y="5568"/>
                  </a:lnTo>
                  <a:lnTo>
                    <a:pt x="606" y="5579"/>
                  </a:lnTo>
                  <a:lnTo>
                    <a:pt x="588" y="5589"/>
                  </a:lnTo>
                  <a:lnTo>
                    <a:pt x="573" y="5595"/>
                  </a:lnTo>
                  <a:lnTo>
                    <a:pt x="558" y="5600"/>
                  </a:lnTo>
                  <a:lnTo>
                    <a:pt x="545" y="5604"/>
                  </a:lnTo>
                  <a:lnTo>
                    <a:pt x="532" y="5607"/>
                  </a:lnTo>
                  <a:lnTo>
                    <a:pt x="504" y="5611"/>
                  </a:lnTo>
                  <a:lnTo>
                    <a:pt x="504" y="5611"/>
                  </a:lnTo>
                  <a:lnTo>
                    <a:pt x="495" y="5611"/>
                  </a:lnTo>
                  <a:lnTo>
                    <a:pt x="486" y="5610"/>
                  </a:lnTo>
                  <a:lnTo>
                    <a:pt x="468" y="5607"/>
                  </a:lnTo>
                  <a:lnTo>
                    <a:pt x="453" y="5603"/>
                  </a:lnTo>
                  <a:lnTo>
                    <a:pt x="446" y="5603"/>
                  </a:lnTo>
                  <a:lnTo>
                    <a:pt x="441" y="5604"/>
                  </a:lnTo>
                  <a:lnTo>
                    <a:pt x="441" y="5604"/>
                  </a:lnTo>
                  <a:lnTo>
                    <a:pt x="435" y="5607"/>
                  </a:lnTo>
                  <a:lnTo>
                    <a:pt x="428" y="5613"/>
                  </a:lnTo>
                  <a:lnTo>
                    <a:pt x="423" y="5620"/>
                  </a:lnTo>
                  <a:lnTo>
                    <a:pt x="418" y="5629"/>
                  </a:lnTo>
                  <a:lnTo>
                    <a:pt x="413" y="5642"/>
                  </a:lnTo>
                  <a:lnTo>
                    <a:pt x="408" y="5656"/>
                  </a:lnTo>
                  <a:lnTo>
                    <a:pt x="395" y="5693"/>
                  </a:lnTo>
                  <a:lnTo>
                    <a:pt x="395" y="5693"/>
                  </a:lnTo>
                  <a:lnTo>
                    <a:pt x="370" y="5764"/>
                  </a:lnTo>
                  <a:lnTo>
                    <a:pt x="363" y="5783"/>
                  </a:lnTo>
                  <a:lnTo>
                    <a:pt x="363" y="5783"/>
                  </a:lnTo>
                  <a:lnTo>
                    <a:pt x="355" y="5801"/>
                  </a:lnTo>
                  <a:lnTo>
                    <a:pt x="348" y="5815"/>
                  </a:lnTo>
                  <a:lnTo>
                    <a:pt x="335" y="5834"/>
                  </a:lnTo>
                  <a:lnTo>
                    <a:pt x="331" y="5842"/>
                  </a:lnTo>
                  <a:lnTo>
                    <a:pt x="327" y="5849"/>
                  </a:lnTo>
                  <a:lnTo>
                    <a:pt x="324" y="5857"/>
                  </a:lnTo>
                  <a:lnTo>
                    <a:pt x="322" y="5867"/>
                  </a:lnTo>
                  <a:close/>
                  <a:moveTo>
                    <a:pt x="390" y="969"/>
                  </a:moveTo>
                  <a:lnTo>
                    <a:pt x="390" y="969"/>
                  </a:lnTo>
                  <a:lnTo>
                    <a:pt x="419" y="968"/>
                  </a:lnTo>
                  <a:lnTo>
                    <a:pt x="451" y="965"/>
                  </a:lnTo>
                  <a:lnTo>
                    <a:pt x="483" y="962"/>
                  </a:lnTo>
                  <a:lnTo>
                    <a:pt x="513" y="958"/>
                  </a:lnTo>
                  <a:lnTo>
                    <a:pt x="563" y="952"/>
                  </a:lnTo>
                  <a:lnTo>
                    <a:pt x="583" y="948"/>
                  </a:lnTo>
                  <a:lnTo>
                    <a:pt x="580" y="644"/>
                  </a:lnTo>
                  <a:lnTo>
                    <a:pt x="580" y="644"/>
                  </a:lnTo>
                  <a:lnTo>
                    <a:pt x="531" y="637"/>
                  </a:lnTo>
                  <a:lnTo>
                    <a:pt x="429" y="621"/>
                  </a:lnTo>
                  <a:lnTo>
                    <a:pt x="429" y="621"/>
                  </a:lnTo>
                  <a:lnTo>
                    <a:pt x="416" y="620"/>
                  </a:lnTo>
                  <a:lnTo>
                    <a:pt x="404" y="619"/>
                  </a:lnTo>
                  <a:lnTo>
                    <a:pt x="392" y="619"/>
                  </a:lnTo>
                  <a:lnTo>
                    <a:pt x="381" y="620"/>
                  </a:lnTo>
                  <a:lnTo>
                    <a:pt x="371" y="622"/>
                  </a:lnTo>
                  <a:lnTo>
                    <a:pt x="362" y="625"/>
                  </a:lnTo>
                  <a:lnTo>
                    <a:pt x="353" y="628"/>
                  </a:lnTo>
                  <a:lnTo>
                    <a:pt x="346" y="632"/>
                  </a:lnTo>
                  <a:lnTo>
                    <a:pt x="338" y="636"/>
                  </a:lnTo>
                  <a:lnTo>
                    <a:pt x="331" y="641"/>
                  </a:lnTo>
                  <a:lnTo>
                    <a:pt x="325" y="646"/>
                  </a:lnTo>
                  <a:lnTo>
                    <a:pt x="320" y="651"/>
                  </a:lnTo>
                  <a:lnTo>
                    <a:pt x="311" y="664"/>
                  </a:lnTo>
                  <a:lnTo>
                    <a:pt x="304" y="676"/>
                  </a:lnTo>
                  <a:lnTo>
                    <a:pt x="298" y="689"/>
                  </a:lnTo>
                  <a:lnTo>
                    <a:pt x="293" y="702"/>
                  </a:lnTo>
                  <a:lnTo>
                    <a:pt x="290" y="715"/>
                  </a:lnTo>
                  <a:lnTo>
                    <a:pt x="288" y="725"/>
                  </a:lnTo>
                  <a:lnTo>
                    <a:pt x="287" y="742"/>
                  </a:lnTo>
                  <a:lnTo>
                    <a:pt x="287" y="748"/>
                  </a:lnTo>
                  <a:lnTo>
                    <a:pt x="291" y="832"/>
                  </a:lnTo>
                  <a:lnTo>
                    <a:pt x="291" y="832"/>
                  </a:lnTo>
                  <a:lnTo>
                    <a:pt x="291" y="838"/>
                  </a:lnTo>
                  <a:lnTo>
                    <a:pt x="293" y="854"/>
                  </a:lnTo>
                  <a:lnTo>
                    <a:pt x="298" y="875"/>
                  </a:lnTo>
                  <a:lnTo>
                    <a:pt x="302" y="887"/>
                  </a:lnTo>
                  <a:lnTo>
                    <a:pt x="306" y="901"/>
                  </a:lnTo>
                  <a:lnTo>
                    <a:pt x="311" y="913"/>
                  </a:lnTo>
                  <a:lnTo>
                    <a:pt x="318" y="925"/>
                  </a:lnTo>
                  <a:lnTo>
                    <a:pt x="326" y="938"/>
                  </a:lnTo>
                  <a:lnTo>
                    <a:pt x="335" y="948"/>
                  </a:lnTo>
                  <a:lnTo>
                    <a:pt x="340" y="952"/>
                  </a:lnTo>
                  <a:lnTo>
                    <a:pt x="347" y="956"/>
                  </a:lnTo>
                  <a:lnTo>
                    <a:pt x="353" y="960"/>
                  </a:lnTo>
                  <a:lnTo>
                    <a:pt x="359" y="963"/>
                  </a:lnTo>
                  <a:lnTo>
                    <a:pt x="366" y="965"/>
                  </a:lnTo>
                  <a:lnTo>
                    <a:pt x="373" y="967"/>
                  </a:lnTo>
                  <a:lnTo>
                    <a:pt x="381" y="968"/>
                  </a:lnTo>
                  <a:lnTo>
                    <a:pt x="390" y="969"/>
                  </a:lnTo>
                  <a:close/>
                  <a:moveTo>
                    <a:pt x="1101" y="856"/>
                  </a:moveTo>
                  <a:lnTo>
                    <a:pt x="1101" y="856"/>
                  </a:lnTo>
                  <a:lnTo>
                    <a:pt x="1103" y="835"/>
                  </a:lnTo>
                  <a:lnTo>
                    <a:pt x="1103" y="813"/>
                  </a:lnTo>
                  <a:lnTo>
                    <a:pt x="1103" y="770"/>
                  </a:lnTo>
                  <a:lnTo>
                    <a:pt x="1103" y="770"/>
                  </a:lnTo>
                  <a:lnTo>
                    <a:pt x="1102" y="609"/>
                  </a:lnTo>
                  <a:lnTo>
                    <a:pt x="1102" y="609"/>
                  </a:lnTo>
                  <a:lnTo>
                    <a:pt x="1102" y="599"/>
                  </a:lnTo>
                  <a:lnTo>
                    <a:pt x="1101" y="589"/>
                  </a:lnTo>
                  <a:lnTo>
                    <a:pt x="1100" y="578"/>
                  </a:lnTo>
                  <a:lnTo>
                    <a:pt x="1097" y="565"/>
                  </a:lnTo>
                  <a:lnTo>
                    <a:pt x="1094" y="555"/>
                  </a:lnTo>
                  <a:lnTo>
                    <a:pt x="1092" y="551"/>
                  </a:lnTo>
                  <a:lnTo>
                    <a:pt x="1089" y="548"/>
                  </a:lnTo>
                  <a:lnTo>
                    <a:pt x="1086" y="546"/>
                  </a:lnTo>
                  <a:lnTo>
                    <a:pt x="1082" y="545"/>
                  </a:lnTo>
                  <a:lnTo>
                    <a:pt x="1082" y="545"/>
                  </a:lnTo>
                  <a:lnTo>
                    <a:pt x="1049" y="545"/>
                  </a:lnTo>
                  <a:lnTo>
                    <a:pt x="1031" y="546"/>
                  </a:lnTo>
                  <a:lnTo>
                    <a:pt x="1020" y="547"/>
                  </a:lnTo>
                  <a:lnTo>
                    <a:pt x="1020" y="547"/>
                  </a:lnTo>
                  <a:lnTo>
                    <a:pt x="1017" y="552"/>
                  </a:lnTo>
                  <a:lnTo>
                    <a:pt x="1015" y="559"/>
                  </a:lnTo>
                  <a:lnTo>
                    <a:pt x="1009" y="578"/>
                  </a:lnTo>
                  <a:lnTo>
                    <a:pt x="1003" y="597"/>
                  </a:lnTo>
                  <a:lnTo>
                    <a:pt x="1000" y="604"/>
                  </a:lnTo>
                  <a:lnTo>
                    <a:pt x="998" y="609"/>
                  </a:lnTo>
                  <a:lnTo>
                    <a:pt x="978" y="547"/>
                  </a:lnTo>
                  <a:lnTo>
                    <a:pt x="978" y="547"/>
                  </a:lnTo>
                  <a:lnTo>
                    <a:pt x="962" y="546"/>
                  </a:lnTo>
                  <a:lnTo>
                    <a:pt x="939" y="546"/>
                  </a:lnTo>
                  <a:lnTo>
                    <a:pt x="914" y="547"/>
                  </a:lnTo>
                  <a:lnTo>
                    <a:pt x="900" y="549"/>
                  </a:lnTo>
                  <a:lnTo>
                    <a:pt x="900" y="549"/>
                  </a:lnTo>
                  <a:lnTo>
                    <a:pt x="895" y="561"/>
                  </a:lnTo>
                  <a:lnTo>
                    <a:pt x="889" y="579"/>
                  </a:lnTo>
                  <a:lnTo>
                    <a:pt x="882" y="597"/>
                  </a:lnTo>
                  <a:lnTo>
                    <a:pt x="877" y="609"/>
                  </a:lnTo>
                  <a:lnTo>
                    <a:pt x="858" y="550"/>
                  </a:lnTo>
                  <a:lnTo>
                    <a:pt x="858" y="550"/>
                  </a:lnTo>
                  <a:lnTo>
                    <a:pt x="845" y="549"/>
                  </a:lnTo>
                  <a:lnTo>
                    <a:pt x="821" y="549"/>
                  </a:lnTo>
                  <a:lnTo>
                    <a:pt x="797" y="550"/>
                  </a:lnTo>
                  <a:lnTo>
                    <a:pt x="788" y="551"/>
                  </a:lnTo>
                  <a:lnTo>
                    <a:pt x="784" y="551"/>
                  </a:lnTo>
                  <a:lnTo>
                    <a:pt x="784" y="551"/>
                  </a:lnTo>
                  <a:lnTo>
                    <a:pt x="780" y="556"/>
                  </a:lnTo>
                  <a:lnTo>
                    <a:pt x="777" y="563"/>
                  </a:lnTo>
                  <a:lnTo>
                    <a:pt x="770" y="581"/>
                  </a:lnTo>
                  <a:lnTo>
                    <a:pt x="763" y="598"/>
                  </a:lnTo>
                  <a:lnTo>
                    <a:pt x="758" y="609"/>
                  </a:lnTo>
                  <a:lnTo>
                    <a:pt x="739" y="551"/>
                  </a:lnTo>
                  <a:lnTo>
                    <a:pt x="739" y="551"/>
                  </a:lnTo>
                  <a:lnTo>
                    <a:pt x="722" y="551"/>
                  </a:lnTo>
                  <a:lnTo>
                    <a:pt x="691" y="551"/>
                  </a:lnTo>
                  <a:lnTo>
                    <a:pt x="691" y="551"/>
                  </a:lnTo>
                  <a:lnTo>
                    <a:pt x="686" y="552"/>
                  </a:lnTo>
                  <a:lnTo>
                    <a:pt x="682" y="553"/>
                  </a:lnTo>
                  <a:lnTo>
                    <a:pt x="678" y="555"/>
                  </a:lnTo>
                  <a:lnTo>
                    <a:pt x="674" y="557"/>
                  </a:lnTo>
                  <a:lnTo>
                    <a:pt x="668" y="564"/>
                  </a:lnTo>
                  <a:lnTo>
                    <a:pt x="663" y="573"/>
                  </a:lnTo>
                  <a:lnTo>
                    <a:pt x="658" y="581"/>
                  </a:lnTo>
                  <a:lnTo>
                    <a:pt x="655" y="591"/>
                  </a:lnTo>
                  <a:lnTo>
                    <a:pt x="654" y="600"/>
                  </a:lnTo>
                  <a:lnTo>
                    <a:pt x="653" y="608"/>
                  </a:lnTo>
                  <a:lnTo>
                    <a:pt x="653" y="608"/>
                  </a:lnTo>
                  <a:lnTo>
                    <a:pt x="654" y="686"/>
                  </a:lnTo>
                  <a:lnTo>
                    <a:pt x="655" y="765"/>
                  </a:lnTo>
                  <a:lnTo>
                    <a:pt x="655" y="765"/>
                  </a:lnTo>
                  <a:lnTo>
                    <a:pt x="658" y="869"/>
                  </a:lnTo>
                  <a:lnTo>
                    <a:pt x="661" y="947"/>
                  </a:lnTo>
                  <a:lnTo>
                    <a:pt x="661" y="947"/>
                  </a:lnTo>
                  <a:lnTo>
                    <a:pt x="680" y="946"/>
                  </a:lnTo>
                  <a:lnTo>
                    <a:pt x="690" y="944"/>
                  </a:lnTo>
                  <a:lnTo>
                    <a:pt x="698" y="943"/>
                  </a:lnTo>
                  <a:lnTo>
                    <a:pt x="707" y="941"/>
                  </a:lnTo>
                  <a:lnTo>
                    <a:pt x="715" y="938"/>
                  </a:lnTo>
                  <a:lnTo>
                    <a:pt x="721" y="933"/>
                  </a:lnTo>
                  <a:lnTo>
                    <a:pt x="727" y="929"/>
                  </a:lnTo>
                  <a:lnTo>
                    <a:pt x="727" y="929"/>
                  </a:lnTo>
                  <a:lnTo>
                    <a:pt x="732" y="924"/>
                  </a:lnTo>
                  <a:lnTo>
                    <a:pt x="736" y="919"/>
                  </a:lnTo>
                  <a:lnTo>
                    <a:pt x="743" y="908"/>
                  </a:lnTo>
                  <a:lnTo>
                    <a:pt x="748" y="897"/>
                  </a:lnTo>
                  <a:lnTo>
                    <a:pt x="753" y="886"/>
                  </a:lnTo>
                  <a:lnTo>
                    <a:pt x="756" y="876"/>
                  </a:lnTo>
                  <a:lnTo>
                    <a:pt x="757" y="869"/>
                  </a:lnTo>
                  <a:lnTo>
                    <a:pt x="758" y="862"/>
                  </a:lnTo>
                  <a:lnTo>
                    <a:pt x="758" y="862"/>
                  </a:lnTo>
                  <a:lnTo>
                    <a:pt x="758" y="882"/>
                  </a:lnTo>
                  <a:lnTo>
                    <a:pt x="758" y="912"/>
                  </a:lnTo>
                  <a:lnTo>
                    <a:pt x="759" y="942"/>
                  </a:lnTo>
                  <a:lnTo>
                    <a:pt x="761" y="965"/>
                  </a:lnTo>
                  <a:lnTo>
                    <a:pt x="761" y="965"/>
                  </a:lnTo>
                  <a:lnTo>
                    <a:pt x="761" y="966"/>
                  </a:lnTo>
                  <a:lnTo>
                    <a:pt x="763" y="967"/>
                  </a:lnTo>
                  <a:lnTo>
                    <a:pt x="769" y="969"/>
                  </a:lnTo>
                  <a:lnTo>
                    <a:pt x="778" y="970"/>
                  </a:lnTo>
                  <a:lnTo>
                    <a:pt x="789" y="970"/>
                  </a:lnTo>
                  <a:lnTo>
                    <a:pt x="803" y="968"/>
                  </a:lnTo>
                  <a:lnTo>
                    <a:pt x="816" y="963"/>
                  </a:lnTo>
                  <a:lnTo>
                    <a:pt x="822" y="960"/>
                  </a:lnTo>
                  <a:lnTo>
                    <a:pt x="829" y="957"/>
                  </a:lnTo>
                  <a:lnTo>
                    <a:pt x="835" y="952"/>
                  </a:lnTo>
                  <a:lnTo>
                    <a:pt x="842" y="947"/>
                  </a:lnTo>
                  <a:lnTo>
                    <a:pt x="842" y="947"/>
                  </a:lnTo>
                  <a:lnTo>
                    <a:pt x="850" y="937"/>
                  </a:lnTo>
                  <a:lnTo>
                    <a:pt x="857" y="925"/>
                  </a:lnTo>
                  <a:lnTo>
                    <a:pt x="862" y="913"/>
                  </a:lnTo>
                  <a:lnTo>
                    <a:pt x="866" y="901"/>
                  </a:lnTo>
                  <a:lnTo>
                    <a:pt x="873" y="878"/>
                  </a:lnTo>
                  <a:lnTo>
                    <a:pt x="877" y="862"/>
                  </a:lnTo>
                  <a:lnTo>
                    <a:pt x="877" y="862"/>
                  </a:lnTo>
                  <a:lnTo>
                    <a:pt x="877" y="893"/>
                  </a:lnTo>
                  <a:lnTo>
                    <a:pt x="878" y="926"/>
                  </a:lnTo>
                  <a:lnTo>
                    <a:pt x="880" y="953"/>
                  </a:lnTo>
                  <a:lnTo>
                    <a:pt x="881" y="962"/>
                  </a:lnTo>
                  <a:lnTo>
                    <a:pt x="882" y="964"/>
                  </a:lnTo>
                  <a:lnTo>
                    <a:pt x="883" y="965"/>
                  </a:lnTo>
                  <a:lnTo>
                    <a:pt x="883" y="965"/>
                  </a:lnTo>
                  <a:lnTo>
                    <a:pt x="890" y="966"/>
                  </a:lnTo>
                  <a:lnTo>
                    <a:pt x="898" y="966"/>
                  </a:lnTo>
                  <a:lnTo>
                    <a:pt x="908" y="965"/>
                  </a:lnTo>
                  <a:lnTo>
                    <a:pt x="919" y="963"/>
                  </a:lnTo>
                  <a:lnTo>
                    <a:pt x="930" y="960"/>
                  </a:lnTo>
                  <a:lnTo>
                    <a:pt x="942" y="956"/>
                  </a:lnTo>
                  <a:lnTo>
                    <a:pt x="953" y="950"/>
                  </a:lnTo>
                  <a:lnTo>
                    <a:pt x="958" y="946"/>
                  </a:lnTo>
                  <a:lnTo>
                    <a:pt x="962" y="942"/>
                  </a:lnTo>
                  <a:lnTo>
                    <a:pt x="962" y="942"/>
                  </a:lnTo>
                  <a:lnTo>
                    <a:pt x="970" y="932"/>
                  </a:lnTo>
                  <a:lnTo>
                    <a:pt x="978" y="922"/>
                  </a:lnTo>
                  <a:lnTo>
                    <a:pt x="984" y="912"/>
                  </a:lnTo>
                  <a:lnTo>
                    <a:pt x="989" y="901"/>
                  </a:lnTo>
                  <a:lnTo>
                    <a:pt x="992" y="890"/>
                  </a:lnTo>
                  <a:lnTo>
                    <a:pt x="995" y="879"/>
                  </a:lnTo>
                  <a:lnTo>
                    <a:pt x="998" y="862"/>
                  </a:lnTo>
                  <a:lnTo>
                    <a:pt x="998" y="862"/>
                  </a:lnTo>
                  <a:lnTo>
                    <a:pt x="998" y="891"/>
                  </a:lnTo>
                  <a:lnTo>
                    <a:pt x="999" y="915"/>
                  </a:lnTo>
                  <a:lnTo>
                    <a:pt x="1001" y="936"/>
                  </a:lnTo>
                  <a:lnTo>
                    <a:pt x="1001" y="936"/>
                  </a:lnTo>
                  <a:lnTo>
                    <a:pt x="1015" y="935"/>
                  </a:lnTo>
                  <a:lnTo>
                    <a:pt x="1024" y="933"/>
                  </a:lnTo>
                  <a:lnTo>
                    <a:pt x="1032" y="931"/>
                  </a:lnTo>
                  <a:lnTo>
                    <a:pt x="1032" y="931"/>
                  </a:lnTo>
                  <a:lnTo>
                    <a:pt x="1046" y="925"/>
                  </a:lnTo>
                  <a:lnTo>
                    <a:pt x="1057" y="920"/>
                  </a:lnTo>
                  <a:lnTo>
                    <a:pt x="1068" y="913"/>
                  </a:lnTo>
                  <a:lnTo>
                    <a:pt x="1068" y="913"/>
                  </a:lnTo>
                  <a:lnTo>
                    <a:pt x="1078" y="905"/>
                  </a:lnTo>
                  <a:lnTo>
                    <a:pt x="1083" y="900"/>
                  </a:lnTo>
                  <a:lnTo>
                    <a:pt x="1088" y="894"/>
                  </a:lnTo>
                  <a:lnTo>
                    <a:pt x="1092" y="887"/>
                  </a:lnTo>
                  <a:lnTo>
                    <a:pt x="1096" y="878"/>
                  </a:lnTo>
                  <a:lnTo>
                    <a:pt x="1099" y="868"/>
                  </a:lnTo>
                  <a:lnTo>
                    <a:pt x="1101" y="856"/>
                  </a:lnTo>
                  <a:close/>
                  <a:moveTo>
                    <a:pt x="1266" y="1010"/>
                  </a:moveTo>
                  <a:lnTo>
                    <a:pt x="1266" y="916"/>
                  </a:lnTo>
                  <a:lnTo>
                    <a:pt x="1266" y="916"/>
                  </a:lnTo>
                  <a:lnTo>
                    <a:pt x="1261" y="910"/>
                  </a:lnTo>
                  <a:lnTo>
                    <a:pt x="1255" y="902"/>
                  </a:lnTo>
                  <a:lnTo>
                    <a:pt x="1247" y="891"/>
                  </a:lnTo>
                  <a:lnTo>
                    <a:pt x="1240" y="875"/>
                  </a:lnTo>
                  <a:lnTo>
                    <a:pt x="1237" y="866"/>
                  </a:lnTo>
                  <a:lnTo>
                    <a:pt x="1234" y="856"/>
                  </a:lnTo>
                  <a:lnTo>
                    <a:pt x="1232" y="845"/>
                  </a:lnTo>
                  <a:lnTo>
                    <a:pt x="1229" y="831"/>
                  </a:lnTo>
                  <a:lnTo>
                    <a:pt x="1228" y="818"/>
                  </a:lnTo>
                  <a:lnTo>
                    <a:pt x="1227" y="803"/>
                  </a:lnTo>
                  <a:lnTo>
                    <a:pt x="1227" y="803"/>
                  </a:lnTo>
                  <a:lnTo>
                    <a:pt x="1227" y="792"/>
                  </a:lnTo>
                  <a:lnTo>
                    <a:pt x="1228" y="782"/>
                  </a:lnTo>
                  <a:lnTo>
                    <a:pt x="1229" y="772"/>
                  </a:lnTo>
                  <a:lnTo>
                    <a:pt x="1232" y="762"/>
                  </a:lnTo>
                  <a:lnTo>
                    <a:pt x="1238" y="743"/>
                  </a:lnTo>
                  <a:lnTo>
                    <a:pt x="1244" y="727"/>
                  </a:lnTo>
                  <a:lnTo>
                    <a:pt x="1252" y="714"/>
                  </a:lnTo>
                  <a:lnTo>
                    <a:pt x="1258" y="702"/>
                  </a:lnTo>
                  <a:lnTo>
                    <a:pt x="1264" y="693"/>
                  </a:lnTo>
                  <a:lnTo>
                    <a:pt x="1263" y="603"/>
                  </a:lnTo>
                  <a:lnTo>
                    <a:pt x="1263" y="603"/>
                  </a:lnTo>
                  <a:lnTo>
                    <a:pt x="1254" y="596"/>
                  </a:lnTo>
                  <a:lnTo>
                    <a:pt x="1230" y="581"/>
                  </a:lnTo>
                  <a:lnTo>
                    <a:pt x="1216" y="573"/>
                  </a:lnTo>
                  <a:lnTo>
                    <a:pt x="1201" y="565"/>
                  </a:lnTo>
                  <a:lnTo>
                    <a:pt x="1194" y="562"/>
                  </a:lnTo>
                  <a:lnTo>
                    <a:pt x="1188" y="561"/>
                  </a:lnTo>
                  <a:lnTo>
                    <a:pt x="1182" y="560"/>
                  </a:lnTo>
                  <a:lnTo>
                    <a:pt x="1176" y="560"/>
                  </a:lnTo>
                  <a:lnTo>
                    <a:pt x="1177" y="887"/>
                  </a:lnTo>
                  <a:lnTo>
                    <a:pt x="1177" y="887"/>
                  </a:lnTo>
                  <a:lnTo>
                    <a:pt x="1177" y="899"/>
                  </a:lnTo>
                  <a:lnTo>
                    <a:pt x="1174" y="909"/>
                  </a:lnTo>
                  <a:lnTo>
                    <a:pt x="1170" y="920"/>
                  </a:lnTo>
                  <a:lnTo>
                    <a:pt x="1164" y="930"/>
                  </a:lnTo>
                  <a:lnTo>
                    <a:pt x="1156" y="942"/>
                  </a:lnTo>
                  <a:lnTo>
                    <a:pt x="1148" y="952"/>
                  </a:lnTo>
                  <a:lnTo>
                    <a:pt x="1138" y="962"/>
                  </a:lnTo>
                  <a:lnTo>
                    <a:pt x="1128" y="971"/>
                  </a:lnTo>
                  <a:lnTo>
                    <a:pt x="1117" y="981"/>
                  </a:lnTo>
                  <a:lnTo>
                    <a:pt x="1104" y="989"/>
                  </a:lnTo>
                  <a:lnTo>
                    <a:pt x="1092" y="997"/>
                  </a:lnTo>
                  <a:lnTo>
                    <a:pt x="1079" y="1003"/>
                  </a:lnTo>
                  <a:lnTo>
                    <a:pt x="1065" y="1009"/>
                  </a:lnTo>
                  <a:lnTo>
                    <a:pt x="1052" y="1014"/>
                  </a:lnTo>
                  <a:lnTo>
                    <a:pt x="1039" y="1018"/>
                  </a:lnTo>
                  <a:lnTo>
                    <a:pt x="1026" y="1021"/>
                  </a:lnTo>
                  <a:lnTo>
                    <a:pt x="1026" y="1021"/>
                  </a:lnTo>
                  <a:lnTo>
                    <a:pt x="996" y="1027"/>
                  </a:lnTo>
                  <a:lnTo>
                    <a:pt x="967" y="1031"/>
                  </a:lnTo>
                  <a:lnTo>
                    <a:pt x="939" y="1034"/>
                  </a:lnTo>
                  <a:lnTo>
                    <a:pt x="911" y="1037"/>
                  </a:lnTo>
                  <a:lnTo>
                    <a:pt x="858" y="1040"/>
                  </a:lnTo>
                  <a:lnTo>
                    <a:pt x="810" y="1042"/>
                  </a:lnTo>
                  <a:lnTo>
                    <a:pt x="770" y="1042"/>
                  </a:lnTo>
                  <a:lnTo>
                    <a:pt x="739" y="1042"/>
                  </a:lnTo>
                  <a:lnTo>
                    <a:pt x="712" y="1041"/>
                  </a:lnTo>
                  <a:lnTo>
                    <a:pt x="712" y="1041"/>
                  </a:lnTo>
                  <a:lnTo>
                    <a:pt x="713" y="1048"/>
                  </a:lnTo>
                  <a:lnTo>
                    <a:pt x="716" y="1068"/>
                  </a:lnTo>
                  <a:lnTo>
                    <a:pt x="722" y="1095"/>
                  </a:lnTo>
                  <a:lnTo>
                    <a:pt x="725" y="1110"/>
                  </a:lnTo>
                  <a:lnTo>
                    <a:pt x="730" y="1126"/>
                  </a:lnTo>
                  <a:lnTo>
                    <a:pt x="730" y="1126"/>
                  </a:lnTo>
                  <a:lnTo>
                    <a:pt x="735" y="1136"/>
                  </a:lnTo>
                  <a:lnTo>
                    <a:pt x="741" y="1146"/>
                  </a:lnTo>
                  <a:lnTo>
                    <a:pt x="748" y="1155"/>
                  </a:lnTo>
                  <a:lnTo>
                    <a:pt x="756" y="1164"/>
                  </a:lnTo>
                  <a:lnTo>
                    <a:pt x="769" y="1176"/>
                  </a:lnTo>
                  <a:lnTo>
                    <a:pt x="774" y="1180"/>
                  </a:lnTo>
                  <a:lnTo>
                    <a:pt x="1163" y="1180"/>
                  </a:lnTo>
                  <a:lnTo>
                    <a:pt x="1266" y="1010"/>
                  </a:lnTo>
                  <a:close/>
                  <a:moveTo>
                    <a:pt x="773" y="1398"/>
                  </a:moveTo>
                  <a:lnTo>
                    <a:pt x="1164" y="1398"/>
                  </a:lnTo>
                  <a:lnTo>
                    <a:pt x="1164" y="1398"/>
                  </a:lnTo>
                  <a:lnTo>
                    <a:pt x="1175" y="1365"/>
                  </a:lnTo>
                  <a:lnTo>
                    <a:pt x="1183" y="1339"/>
                  </a:lnTo>
                  <a:lnTo>
                    <a:pt x="1186" y="1328"/>
                  </a:lnTo>
                  <a:lnTo>
                    <a:pt x="1188" y="1319"/>
                  </a:lnTo>
                  <a:lnTo>
                    <a:pt x="1170" y="1256"/>
                  </a:lnTo>
                  <a:lnTo>
                    <a:pt x="775" y="1256"/>
                  </a:lnTo>
                  <a:lnTo>
                    <a:pt x="753" y="1321"/>
                  </a:lnTo>
                  <a:lnTo>
                    <a:pt x="773" y="1398"/>
                  </a:lnTo>
                  <a:close/>
                  <a:moveTo>
                    <a:pt x="1164" y="1471"/>
                  </a:moveTo>
                  <a:lnTo>
                    <a:pt x="782" y="1471"/>
                  </a:lnTo>
                  <a:lnTo>
                    <a:pt x="780" y="1976"/>
                  </a:lnTo>
                  <a:lnTo>
                    <a:pt x="1111" y="1985"/>
                  </a:lnTo>
                  <a:lnTo>
                    <a:pt x="1216" y="1902"/>
                  </a:lnTo>
                  <a:lnTo>
                    <a:pt x="1164" y="1471"/>
                  </a:lnTo>
                  <a:close/>
                  <a:moveTo>
                    <a:pt x="1343" y="2103"/>
                  </a:moveTo>
                  <a:lnTo>
                    <a:pt x="1343" y="2103"/>
                  </a:lnTo>
                  <a:lnTo>
                    <a:pt x="1309" y="2079"/>
                  </a:lnTo>
                  <a:lnTo>
                    <a:pt x="1284" y="2061"/>
                  </a:lnTo>
                  <a:lnTo>
                    <a:pt x="1276" y="2054"/>
                  </a:lnTo>
                  <a:lnTo>
                    <a:pt x="1271" y="2049"/>
                  </a:lnTo>
                  <a:lnTo>
                    <a:pt x="1271" y="2049"/>
                  </a:lnTo>
                  <a:lnTo>
                    <a:pt x="1269" y="2043"/>
                  </a:lnTo>
                  <a:lnTo>
                    <a:pt x="1267" y="2033"/>
                  </a:lnTo>
                  <a:lnTo>
                    <a:pt x="1263" y="2004"/>
                  </a:lnTo>
                  <a:lnTo>
                    <a:pt x="1260" y="1964"/>
                  </a:lnTo>
                  <a:lnTo>
                    <a:pt x="1138" y="2062"/>
                  </a:lnTo>
                  <a:lnTo>
                    <a:pt x="765" y="2061"/>
                  </a:lnTo>
                  <a:lnTo>
                    <a:pt x="765" y="2061"/>
                  </a:lnTo>
                  <a:lnTo>
                    <a:pt x="765" y="2062"/>
                  </a:lnTo>
                  <a:lnTo>
                    <a:pt x="764" y="2064"/>
                  </a:lnTo>
                  <a:lnTo>
                    <a:pt x="762" y="2072"/>
                  </a:lnTo>
                  <a:lnTo>
                    <a:pt x="760" y="2103"/>
                  </a:lnTo>
                  <a:lnTo>
                    <a:pt x="759" y="2147"/>
                  </a:lnTo>
                  <a:lnTo>
                    <a:pt x="758" y="2197"/>
                  </a:lnTo>
                  <a:lnTo>
                    <a:pt x="757" y="2291"/>
                  </a:lnTo>
                  <a:lnTo>
                    <a:pt x="757" y="2333"/>
                  </a:lnTo>
                  <a:lnTo>
                    <a:pt x="757" y="2333"/>
                  </a:lnTo>
                  <a:lnTo>
                    <a:pt x="786" y="2359"/>
                  </a:lnTo>
                  <a:lnTo>
                    <a:pt x="852" y="2412"/>
                  </a:lnTo>
                  <a:lnTo>
                    <a:pt x="888" y="2441"/>
                  </a:lnTo>
                  <a:lnTo>
                    <a:pt x="919" y="2465"/>
                  </a:lnTo>
                  <a:lnTo>
                    <a:pt x="943" y="2481"/>
                  </a:lnTo>
                  <a:lnTo>
                    <a:pt x="950" y="2486"/>
                  </a:lnTo>
                  <a:lnTo>
                    <a:pt x="952" y="2487"/>
                  </a:lnTo>
                  <a:lnTo>
                    <a:pt x="954" y="2487"/>
                  </a:lnTo>
                  <a:lnTo>
                    <a:pt x="1205" y="2170"/>
                  </a:lnTo>
                  <a:lnTo>
                    <a:pt x="1343" y="2103"/>
                  </a:lnTo>
                  <a:close/>
                  <a:moveTo>
                    <a:pt x="1259" y="2225"/>
                  </a:moveTo>
                  <a:lnTo>
                    <a:pt x="1033" y="2515"/>
                  </a:lnTo>
                  <a:lnTo>
                    <a:pt x="1402" y="2669"/>
                  </a:lnTo>
                  <a:lnTo>
                    <a:pt x="1402" y="2669"/>
                  </a:lnTo>
                  <a:lnTo>
                    <a:pt x="1442" y="2647"/>
                  </a:lnTo>
                  <a:lnTo>
                    <a:pt x="1485" y="2624"/>
                  </a:lnTo>
                  <a:lnTo>
                    <a:pt x="1528" y="2599"/>
                  </a:lnTo>
                  <a:lnTo>
                    <a:pt x="1571" y="2573"/>
                  </a:lnTo>
                  <a:lnTo>
                    <a:pt x="1656" y="2521"/>
                  </a:lnTo>
                  <a:lnTo>
                    <a:pt x="1736" y="2471"/>
                  </a:lnTo>
                  <a:lnTo>
                    <a:pt x="1806" y="2426"/>
                  </a:lnTo>
                  <a:lnTo>
                    <a:pt x="1862" y="2389"/>
                  </a:lnTo>
                  <a:lnTo>
                    <a:pt x="1912" y="2356"/>
                  </a:lnTo>
                  <a:lnTo>
                    <a:pt x="1392" y="2160"/>
                  </a:lnTo>
                  <a:lnTo>
                    <a:pt x="1259" y="2225"/>
                  </a:lnTo>
                  <a:close/>
                  <a:moveTo>
                    <a:pt x="1462" y="703"/>
                  </a:moveTo>
                  <a:lnTo>
                    <a:pt x="1462" y="703"/>
                  </a:lnTo>
                  <a:lnTo>
                    <a:pt x="1461" y="553"/>
                  </a:lnTo>
                  <a:lnTo>
                    <a:pt x="1461" y="448"/>
                  </a:lnTo>
                  <a:lnTo>
                    <a:pt x="1462" y="411"/>
                  </a:lnTo>
                  <a:lnTo>
                    <a:pt x="1463" y="399"/>
                  </a:lnTo>
                  <a:lnTo>
                    <a:pt x="1464" y="394"/>
                  </a:lnTo>
                  <a:lnTo>
                    <a:pt x="1464" y="394"/>
                  </a:lnTo>
                  <a:lnTo>
                    <a:pt x="1469" y="386"/>
                  </a:lnTo>
                  <a:lnTo>
                    <a:pt x="1474" y="379"/>
                  </a:lnTo>
                  <a:lnTo>
                    <a:pt x="1480" y="368"/>
                  </a:lnTo>
                  <a:lnTo>
                    <a:pt x="1480" y="368"/>
                  </a:lnTo>
                  <a:lnTo>
                    <a:pt x="1483" y="360"/>
                  </a:lnTo>
                  <a:lnTo>
                    <a:pt x="1484" y="351"/>
                  </a:lnTo>
                  <a:lnTo>
                    <a:pt x="1484" y="343"/>
                  </a:lnTo>
                  <a:lnTo>
                    <a:pt x="1483" y="333"/>
                  </a:lnTo>
                  <a:lnTo>
                    <a:pt x="1481" y="320"/>
                  </a:lnTo>
                  <a:lnTo>
                    <a:pt x="1480" y="315"/>
                  </a:lnTo>
                  <a:lnTo>
                    <a:pt x="1298" y="315"/>
                  </a:lnTo>
                  <a:lnTo>
                    <a:pt x="1298" y="315"/>
                  </a:lnTo>
                  <a:lnTo>
                    <a:pt x="1297" y="319"/>
                  </a:lnTo>
                  <a:lnTo>
                    <a:pt x="1296" y="323"/>
                  </a:lnTo>
                  <a:lnTo>
                    <a:pt x="1296" y="335"/>
                  </a:lnTo>
                  <a:lnTo>
                    <a:pt x="1297" y="348"/>
                  </a:lnTo>
                  <a:lnTo>
                    <a:pt x="1299" y="358"/>
                  </a:lnTo>
                  <a:lnTo>
                    <a:pt x="1299" y="358"/>
                  </a:lnTo>
                  <a:lnTo>
                    <a:pt x="1303" y="369"/>
                  </a:lnTo>
                  <a:lnTo>
                    <a:pt x="1309" y="380"/>
                  </a:lnTo>
                  <a:lnTo>
                    <a:pt x="1316" y="391"/>
                  </a:lnTo>
                  <a:lnTo>
                    <a:pt x="1320" y="395"/>
                  </a:lnTo>
                  <a:lnTo>
                    <a:pt x="1325" y="398"/>
                  </a:lnTo>
                  <a:lnTo>
                    <a:pt x="1325" y="703"/>
                  </a:lnTo>
                  <a:lnTo>
                    <a:pt x="1325" y="703"/>
                  </a:lnTo>
                  <a:lnTo>
                    <a:pt x="1321" y="710"/>
                  </a:lnTo>
                  <a:lnTo>
                    <a:pt x="1316" y="717"/>
                  </a:lnTo>
                  <a:lnTo>
                    <a:pt x="1311" y="727"/>
                  </a:lnTo>
                  <a:lnTo>
                    <a:pt x="1306" y="741"/>
                  </a:lnTo>
                  <a:lnTo>
                    <a:pt x="1301" y="758"/>
                  </a:lnTo>
                  <a:lnTo>
                    <a:pt x="1296" y="778"/>
                  </a:lnTo>
                  <a:lnTo>
                    <a:pt x="1292" y="802"/>
                  </a:lnTo>
                  <a:lnTo>
                    <a:pt x="1292" y="802"/>
                  </a:lnTo>
                  <a:lnTo>
                    <a:pt x="1292" y="813"/>
                  </a:lnTo>
                  <a:lnTo>
                    <a:pt x="1292" y="823"/>
                  </a:lnTo>
                  <a:lnTo>
                    <a:pt x="1293" y="833"/>
                  </a:lnTo>
                  <a:lnTo>
                    <a:pt x="1296" y="844"/>
                  </a:lnTo>
                  <a:lnTo>
                    <a:pt x="1302" y="861"/>
                  </a:lnTo>
                  <a:lnTo>
                    <a:pt x="1308" y="877"/>
                  </a:lnTo>
                  <a:lnTo>
                    <a:pt x="1315" y="891"/>
                  </a:lnTo>
                  <a:lnTo>
                    <a:pt x="1321" y="900"/>
                  </a:lnTo>
                  <a:lnTo>
                    <a:pt x="1327" y="909"/>
                  </a:lnTo>
                  <a:lnTo>
                    <a:pt x="1323" y="1165"/>
                  </a:lnTo>
                  <a:lnTo>
                    <a:pt x="1323" y="1165"/>
                  </a:lnTo>
                  <a:lnTo>
                    <a:pt x="1321" y="1167"/>
                  </a:lnTo>
                  <a:lnTo>
                    <a:pt x="1315" y="1174"/>
                  </a:lnTo>
                  <a:lnTo>
                    <a:pt x="1312" y="1179"/>
                  </a:lnTo>
                  <a:lnTo>
                    <a:pt x="1310" y="1186"/>
                  </a:lnTo>
                  <a:lnTo>
                    <a:pt x="1307" y="1194"/>
                  </a:lnTo>
                  <a:lnTo>
                    <a:pt x="1306" y="1203"/>
                  </a:lnTo>
                  <a:lnTo>
                    <a:pt x="1306" y="1203"/>
                  </a:lnTo>
                  <a:lnTo>
                    <a:pt x="1306" y="1213"/>
                  </a:lnTo>
                  <a:lnTo>
                    <a:pt x="1306" y="1221"/>
                  </a:lnTo>
                  <a:lnTo>
                    <a:pt x="1307" y="1234"/>
                  </a:lnTo>
                  <a:lnTo>
                    <a:pt x="1309" y="1241"/>
                  </a:lnTo>
                  <a:lnTo>
                    <a:pt x="1310" y="1243"/>
                  </a:lnTo>
                  <a:lnTo>
                    <a:pt x="1480" y="1243"/>
                  </a:lnTo>
                  <a:lnTo>
                    <a:pt x="1480" y="1243"/>
                  </a:lnTo>
                  <a:lnTo>
                    <a:pt x="1482" y="1235"/>
                  </a:lnTo>
                  <a:lnTo>
                    <a:pt x="1483" y="1221"/>
                  </a:lnTo>
                  <a:lnTo>
                    <a:pt x="1482" y="1204"/>
                  </a:lnTo>
                  <a:lnTo>
                    <a:pt x="1482" y="1196"/>
                  </a:lnTo>
                  <a:lnTo>
                    <a:pt x="1480" y="1188"/>
                  </a:lnTo>
                  <a:lnTo>
                    <a:pt x="1480" y="1188"/>
                  </a:lnTo>
                  <a:lnTo>
                    <a:pt x="1477" y="1179"/>
                  </a:lnTo>
                  <a:lnTo>
                    <a:pt x="1471" y="1172"/>
                  </a:lnTo>
                  <a:lnTo>
                    <a:pt x="1466" y="1166"/>
                  </a:lnTo>
                  <a:lnTo>
                    <a:pt x="1461" y="1161"/>
                  </a:lnTo>
                  <a:lnTo>
                    <a:pt x="1460" y="909"/>
                  </a:lnTo>
                  <a:lnTo>
                    <a:pt x="1460" y="909"/>
                  </a:lnTo>
                  <a:lnTo>
                    <a:pt x="1473" y="888"/>
                  </a:lnTo>
                  <a:lnTo>
                    <a:pt x="1482" y="876"/>
                  </a:lnTo>
                  <a:lnTo>
                    <a:pt x="1488" y="865"/>
                  </a:lnTo>
                  <a:lnTo>
                    <a:pt x="1494" y="852"/>
                  </a:lnTo>
                  <a:lnTo>
                    <a:pt x="1499" y="837"/>
                  </a:lnTo>
                  <a:lnTo>
                    <a:pt x="1502" y="822"/>
                  </a:lnTo>
                  <a:lnTo>
                    <a:pt x="1503" y="814"/>
                  </a:lnTo>
                  <a:lnTo>
                    <a:pt x="1503" y="806"/>
                  </a:lnTo>
                  <a:lnTo>
                    <a:pt x="1503" y="806"/>
                  </a:lnTo>
                  <a:lnTo>
                    <a:pt x="1503" y="797"/>
                  </a:lnTo>
                  <a:lnTo>
                    <a:pt x="1502" y="788"/>
                  </a:lnTo>
                  <a:lnTo>
                    <a:pt x="1498" y="773"/>
                  </a:lnTo>
                  <a:lnTo>
                    <a:pt x="1493" y="758"/>
                  </a:lnTo>
                  <a:lnTo>
                    <a:pt x="1487" y="743"/>
                  </a:lnTo>
                  <a:lnTo>
                    <a:pt x="1481" y="731"/>
                  </a:lnTo>
                  <a:lnTo>
                    <a:pt x="1473" y="720"/>
                  </a:lnTo>
                  <a:lnTo>
                    <a:pt x="1462" y="703"/>
                  </a:lnTo>
                  <a:close/>
                  <a:moveTo>
                    <a:pt x="1843" y="953"/>
                  </a:moveTo>
                  <a:lnTo>
                    <a:pt x="2130" y="663"/>
                  </a:lnTo>
                  <a:lnTo>
                    <a:pt x="2130" y="663"/>
                  </a:lnTo>
                  <a:lnTo>
                    <a:pt x="1946" y="660"/>
                  </a:lnTo>
                  <a:lnTo>
                    <a:pt x="1837" y="659"/>
                  </a:lnTo>
                  <a:lnTo>
                    <a:pt x="1715" y="658"/>
                  </a:lnTo>
                  <a:lnTo>
                    <a:pt x="1715" y="658"/>
                  </a:lnTo>
                  <a:lnTo>
                    <a:pt x="1708" y="657"/>
                  </a:lnTo>
                  <a:lnTo>
                    <a:pt x="1698" y="655"/>
                  </a:lnTo>
                  <a:lnTo>
                    <a:pt x="1687" y="651"/>
                  </a:lnTo>
                  <a:lnTo>
                    <a:pt x="1676" y="646"/>
                  </a:lnTo>
                  <a:lnTo>
                    <a:pt x="1650" y="634"/>
                  </a:lnTo>
                  <a:lnTo>
                    <a:pt x="1623" y="620"/>
                  </a:lnTo>
                  <a:lnTo>
                    <a:pt x="1597" y="606"/>
                  </a:lnTo>
                  <a:lnTo>
                    <a:pt x="1576" y="596"/>
                  </a:lnTo>
                  <a:lnTo>
                    <a:pt x="1566" y="592"/>
                  </a:lnTo>
                  <a:lnTo>
                    <a:pt x="1558" y="591"/>
                  </a:lnTo>
                  <a:lnTo>
                    <a:pt x="1553" y="590"/>
                  </a:lnTo>
                  <a:lnTo>
                    <a:pt x="1551" y="591"/>
                  </a:lnTo>
                  <a:lnTo>
                    <a:pt x="1550" y="592"/>
                  </a:lnTo>
                  <a:lnTo>
                    <a:pt x="1550" y="592"/>
                  </a:lnTo>
                  <a:lnTo>
                    <a:pt x="1535" y="628"/>
                  </a:lnTo>
                  <a:lnTo>
                    <a:pt x="1514" y="681"/>
                  </a:lnTo>
                  <a:lnTo>
                    <a:pt x="1514" y="681"/>
                  </a:lnTo>
                  <a:lnTo>
                    <a:pt x="1523" y="691"/>
                  </a:lnTo>
                  <a:lnTo>
                    <a:pt x="1532" y="703"/>
                  </a:lnTo>
                  <a:lnTo>
                    <a:pt x="1542" y="719"/>
                  </a:lnTo>
                  <a:lnTo>
                    <a:pt x="1551" y="737"/>
                  </a:lnTo>
                  <a:lnTo>
                    <a:pt x="1556" y="747"/>
                  </a:lnTo>
                  <a:lnTo>
                    <a:pt x="1560" y="759"/>
                  </a:lnTo>
                  <a:lnTo>
                    <a:pt x="1563" y="770"/>
                  </a:lnTo>
                  <a:lnTo>
                    <a:pt x="1565" y="781"/>
                  </a:lnTo>
                  <a:lnTo>
                    <a:pt x="1568" y="793"/>
                  </a:lnTo>
                  <a:lnTo>
                    <a:pt x="1568" y="806"/>
                  </a:lnTo>
                  <a:lnTo>
                    <a:pt x="1568" y="806"/>
                  </a:lnTo>
                  <a:lnTo>
                    <a:pt x="1566" y="825"/>
                  </a:lnTo>
                  <a:lnTo>
                    <a:pt x="1564" y="838"/>
                  </a:lnTo>
                  <a:lnTo>
                    <a:pt x="1561" y="855"/>
                  </a:lnTo>
                  <a:lnTo>
                    <a:pt x="1558" y="864"/>
                  </a:lnTo>
                  <a:lnTo>
                    <a:pt x="1555" y="873"/>
                  </a:lnTo>
                  <a:lnTo>
                    <a:pt x="1551" y="883"/>
                  </a:lnTo>
                  <a:lnTo>
                    <a:pt x="1545" y="894"/>
                  </a:lnTo>
                  <a:lnTo>
                    <a:pt x="1539" y="903"/>
                  </a:lnTo>
                  <a:lnTo>
                    <a:pt x="1532" y="914"/>
                  </a:lnTo>
                  <a:lnTo>
                    <a:pt x="1524" y="924"/>
                  </a:lnTo>
                  <a:lnTo>
                    <a:pt x="1513" y="935"/>
                  </a:lnTo>
                  <a:lnTo>
                    <a:pt x="1513" y="935"/>
                  </a:lnTo>
                  <a:lnTo>
                    <a:pt x="1536" y="981"/>
                  </a:lnTo>
                  <a:lnTo>
                    <a:pt x="1553" y="1013"/>
                  </a:lnTo>
                  <a:lnTo>
                    <a:pt x="1560" y="1025"/>
                  </a:lnTo>
                  <a:lnTo>
                    <a:pt x="1565" y="1032"/>
                  </a:lnTo>
                  <a:lnTo>
                    <a:pt x="1565" y="1032"/>
                  </a:lnTo>
                  <a:lnTo>
                    <a:pt x="1580" y="1023"/>
                  </a:lnTo>
                  <a:lnTo>
                    <a:pt x="1597" y="1013"/>
                  </a:lnTo>
                  <a:lnTo>
                    <a:pt x="1618" y="1002"/>
                  </a:lnTo>
                  <a:lnTo>
                    <a:pt x="1642" y="990"/>
                  </a:lnTo>
                  <a:lnTo>
                    <a:pt x="1669" y="978"/>
                  </a:lnTo>
                  <a:lnTo>
                    <a:pt x="1696" y="968"/>
                  </a:lnTo>
                  <a:lnTo>
                    <a:pt x="1711" y="964"/>
                  </a:lnTo>
                  <a:lnTo>
                    <a:pt x="1724" y="961"/>
                  </a:lnTo>
                  <a:lnTo>
                    <a:pt x="1724" y="961"/>
                  </a:lnTo>
                  <a:lnTo>
                    <a:pt x="1737" y="959"/>
                  </a:lnTo>
                  <a:lnTo>
                    <a:pt x="1761" y="957"/>
                  </a:lnTo>
                  <a:lnTo>
                    <a:pt x="1843" y="953"/>
                  </a:lnTo>
                  <a:close/>
                  <a:moveTo>
                    <a:pt x="3120" y="962"/>
                  </a:moveTo>
                  <a:lnTo>
                    <a:pt x="3486" y="484"/>
                  </a:lnTo>
                  <a:lnTo>
                    <a:pt x="3486" y="484"/>
                  </a:lnTo>
                  <a:lnTo>
                    <a:pt x="3479" y="482"/>
                  </a:lnTo>
                  <a:lnTo>
                    <a:pt x="3469" y="481"/>
                  </a:lnTo>
                  <a:lnTo>
                    <a:pt x="3458" y="480"/>
                  </a:lnTo>
                  <a:lnTo>
                    <a:pt x="3445" y="480"/>
                  </a:lnTo>
                  <a:lnTo>
                    <a:pt x="3428" y="483"/>
                  </a:lnTo>
                  <a:lnTo>
                    <a:pt x="3420" y="485"/>
                  </a:lnTo>
                  <a:lnTo>
                    <a:pt x="3412" y="488"/>
                  </a:lnTo>
                  <a:lnTo>
                    <a:pt x="3403" y="492"/>
                  </a:lnTo>
                  <a:lnTo>
                    <a:pt x="3394" y="496"/>
                  </a:lnTo>
                  <a:lnTo>
                    <a:pt x="3394" y="496"/>
                  </a:lnTo>
                  <a:lnTo>
                    <a:pt x="3385" y="502"/>
                  </a:lnTo>
                  <a:lnTo>
                    <a:pt x="3376" y="508"/>
                  </a:lnTo>
                  <a:lnTo>
                    <a:pt x="3369" y="515"/>
                  </a:lnTo>
                  <a:lnTo>
                    <a:pt x="3363" y="523"/>
                  </a:lnTo>
                  <a:lnTo>
                    <a:pt x="3358" y="532"/>
                  </a:lnTo>
                  <a:lnTo>
                    <a:pt x="3353" y="540"/>
                  </a:lnTo>
                  <a:lnTo>
                    <a:pt x="3349" y="548"/>
                  </a:lnTo>
                  <a:lnTo>
                    <a:pt x="3346" y="557"/>
                  </a:lnTo>
                  <a:lnTo>
                    <a:pt x="3341" y="574"/>
                  </a:lnTo>
                  <a:lnTo>
                    <a:pt x="3337" y="589"/>
                  </a:lnTo>
                  <a:lnTo>
                    <a:pt x="3336" y="600"/>
                  </a:lnTo>
                  <a:lnTo>
                    <a:pt x="3337" y="605"/>
                  </a:lnTo>
                  <a:lnTo>
                    <a:pt x="3338" y="608"/>
                  </a:lnTo>
                  <a:lnTo>
                    <a:pt x="3338" y="608"/>
                  </a:lnTo>
                  <a:lnTo>
                    <a:pt x="3334" y="599"/>
                  </a:lnTo>
                  <a:lnTo>
                    <a:pt x="3330" y="592"/>
                  </a:lnTo>
                  <a:lnTo>
                    <a:pt x="3325" y="585"/>
                  </a:lnTo>
                  <a:lnTo>
                    <a:pt x="3320" y="579"/>
                  </a:lnTo>
                  <a:lnTo>
                    <a:pt x="3315" y="574"/>
                  </a:lnTo>
                  <a:lnTo>
                    <a:pt x="3310" y="568"/>
                  </a:lnTo>
                  <a:lnTo>
                    <a:pt x="3304" y="564"/>
                  </a:lnTo>
                  <a:lnTo>
                    <a:pt x="3299" y="561"/>
                  </a:lnTo>
                  <a:lnTo>
                    <a:pt x="3286" y="556"/>
                  </a:lnTo>
                  <a:lnTo>
                    <a:pt x="3273" y="554"/>
                  </a:lnTo>
                  <a:lnTo>
                    <a:pt x="3261" y="553"/>
                  </a:lnTo>
                  <a:lnTo>
                    <a:pt x="3249" y="554"/>
                  </a:lnTo>
                  <a:lnTo>
                    <a:pt x="3236" y="556"/>
                  </a:lnTo>
                  <a:lnTo>
                    <a:pt x="3225" y="558"/>
                  </a:lnTo>
                  <a:lnTo>
                    <a:pt x="3214" y="562"/>
                  </a:lnTo>
                  <a:lnTo>
                    <a:pt x="3206" y="565"/>
                  </a:lnTo>
                  <a:lnTo>
                    <a:pt x="3192" y="572"/>
                  </a:lnTo>
                  <a:lnTo>
                    <a:pt x="3187" y="574"/>
                  </a:lnTo>
                  <a:lnTo>
                    <a:pt x="3187" y="574"/>
                  </a:lnTo>
                  <a:lnTo>
                    <a:pt x="3199" y="594"/>
                  </a:lnTo>
                  <a:lnTo>
                    <a:pt x="3209" y="613"/>
                  </a:lnTo>
                  <a:lnTo>
                    <a:pt x="3215" y="632"/>
                  </a:lnTo>
                  <a:lnTo>
                    <a:pt x="3219" y="647"/>
                  </a:lnTo>
                  <a:lnTo>
                    <a:pt x="3220" y="663"/>
                  </a:lnTo>
                  <a:lnTo>
                    <a:pt x="3220" y="675"/>
                  </a:lnTo>
                  <a:lnTo>
                    <a:pt x="3218" y="687"/>
                  </a:lnTo>
                  <a:lnTo>
                    <a:pt x="3214" y="696"/>
                  </a:lnTo>
                  <a:lnTo>
                    <a:pt x="3209" y="705"/>
                  </a:lnTo>
                  <a:lnTo>
                    <a:pt x="3203" y="712"/>
                  </a:lnTo>
                  <a:lnTo>
                    <a:pt x="3194" y="718"/>
                  </a:lnTo>
                  <a:lnTo>
                    <a:pt x="3186" y="722"/>
                  </a:lnTo>
                  <a:lnTo>
                    <a:pt x="3178" y="724"/>
                  </a:lnTo>
                  <a:lnTo>
                    <a:pt x="3169" y="725"/>
                  </a:lnTo>
                  <a:lnTo>
                    <a:pt x="3160" y="725"/>
                  </a:lnTo>
                  <a:lnTo>
                    <a:pt x="3150" y="724"/>
                  </a:lnTo>
                  <a:lnTo>
                    <a:pt x="3150" y="724"/>
                  </a:lnTo>
                  <a:lnTo>
                    <a:pt x="3138" y="720"/>
                  </a:lnTo>
                  <a:lnTo>
                    <a:pt x="3129" y="715"/>
                  </a:lnTo>
                  <a:lnTo>
                    <a:pt x="3121" y="709"/>
                  </a:lnTo>
                  <a:lnTo>
                    <a:pt x="3114" y="702"/>
                  </a:lnTo>
                  <a:lnTo>
                    <a:pt x="3108" y="695"/>
                  </a:lnTo>
                  <a:lnTo>
                    <a:pt x="3104" y="688"/>
                  </a:lnTo>
                  <a:lnTo>
                    <a:pt x="3100" y="680"/>
                  </a:lnTo>
                  <a:lnTo>
                    <a:pt x="3098" y="673"/>
                  </a:lnTo>
                  <a:lnTo>
                    <a:pt x="3095" y="658"/>
                  </a:lnTo>
                  <a:lnTo>
                    <a:pt x="3095" y="646"/>
                  </a:lnTo>
                  <a:lnTo>
                    <a:pt x="3095" y="638"/>
                  </a:lnTo>
                  <a:lnTo>
                    <a:pt x="3095" y="635"/>
                  </a:lnTo>
                  <a:lnTo>
                    <a:pt x="3095" y="635"/>
                  </a:lnTo>
                  <a:lnTo>
                    <a:pt x="3092" y="637"/>
                  </a:lnTo>
                  <a:lnTo>
                    <a:pt x="3084" y="643"/>
                  </a:lnTo>
                  <a:lnTo>
                    <a:pt x="3072" y="650"/>
                  </a:lnTo>
                  <a:lnTo>
                    <a:pt x="3064" y="653"/>
                  </a:lnTo>
                  <a:lnTo>
                    <a:pt x="3056" y="656"/>
                  </a:lnTo>
                  <a:lnTo>
                    <a:pt x="3047" y="658"/>
                  </a:lnTo>
                  <a:lnTo>
                    <a:pt x="3038" y="659"/>
                  </a:lnTo>
                  <a:lnTo>
                    <a:pt x="3028" y="659"/>
                  </a:lnTo>
                  <a:lnTo>
                    <a:pt x="3018" y="658"/>
                  </a:lnTo>
                  <a:lnTo>
                    <a:pt x="3008" y="655"/>
                  </a:lnTo>
                  <a:lnTo>
                    <a:pt x="2999" y="650"/>
                  </a:lnTo>
                  <a:lnTo>
                    <a:pt x="2989" y="643"/>
                  </a:lnTo>
                  <a:lnTo>
                    <a:pt x="2980" y="634"/>
                  </a:lnTo>
                  <a:lnTo>
                    <a:pt x="2980" y="634"/>
                  </a:lnTo>
                  <a:lnTo>
                    <a:pt x="2973" y="625"/>
                  </a:lnTo>
                  <a:lnTo>
                    <a:pt x="2969" y="616"/>
                  </a:lnTo>
                  <a:lnTo>
                    <a:pt x="2967" y="607"/>
                  </a:lnTo>
                  <a:lnTo>
                    <a:pt x="2968" y="598"/>
                  </a:lnTo>
                  <a:lnTo>
                    <a:pt x="2969" y="589"/>
                  </a:lnTo>
                  <a:lnTo>
                    <a:pt x="2973" y="581"/>
                  </a:lnTo>
                  <a:lnTo>
                    <a:pt x="2980" y="572"/>
                  </a:lnTo>
                  <a:lnTo>
                    <a:pt x="2987" y="564"/>
                  </a:lnTo>
                  <a:lnTo>
                    <a:pt x="2996" y="557"/>
                  </a:lnTo>
                  <a:lnTo>
                    <a:pt x="3006" y="550"/>
                  </a:lnTo>
                  <a:lnTo>
                    <a:pt x="3019" y="544"/>
                  </a:lnTo>
                  <a:lnTo>
                    <a:pt x="3033" y="540"/>
                  </a:lnTo>
                  <a:lnTo>
                    <a:pt x="3048" y="536"/>
                  </a:lnTo>
                  <a:lnTo>
                    <a:pt x="3065" y="533"/>
                  </a:lnTo>
                  <a:lnTo>
                    <a:pt x="3083" y="532"/>
                  </a:lnTo>
                  <a:lnTo>
                    <a:pt x="3102" y="531"/>
                  </a:lnTo>
                  <a:lnTo>
                    <a:pt x="3102" y="531"/>
                  </a:lnTo>
                  <a:lnTo>
                    <a:pt x="3103" y="520"/>
                  </a:lnTo>
                  <a:lnTo>
                    <a:pt x="3102" y="509"/>
                  </a:lnTo>
                  <a:lnTo>
                    <a:pt x="3099" y="494"/>
                  </a:lnTo>
                  <a:lnTo>
                    <a:pt x="3096" y="486"/>
                  </a:lnTo>
                  <a:lnTo>
                    <a:pt x="3093" y="477"/>
                  </a:lnTo>
                  <a:lnTo>
                    <a:pt x="3089" y="469"/>
                  </a:lnTo>
                  <a:lnTo>
                    <a:pt x="3084" y="460"/>
                  </a:lnTo>
                  <a:lnTo>
                    <a:pt x="3078" y="451"/>
                  </a:lnTo>
                  <a:lnTo>
                    <a:pt x="3071" y="443"/>
                  </a:lnTo>
                  <a:lnTo>
                    <a:pt x="3061" y="435"/>
                  </a:lnTo>
                  <a:lnTo>
                    <a:pt x="3051" y="426"/>
                  </a:lnTo>
                  <a:lnTo>
                    <a:pt x="3051" y="426"/>
                  </a:lnTo>
                  <a:lnTo>
                    <a:pt x="3043" y="421"/>
                  </a:lnTo>
                  <a:lnTo>
                    <a:pt x="3034" y="417"/>
                  </a:lnTo>
                  <a:lnTo>
                    <a:pt x="3024" y="415"/>
                  </a:lnTo>
                  <a:lnTo>
                    <a:pt x="3014" y="413"/>
                  </a:lnTo>
                  <a:lnTo>
                    <a:pt x="3004" y="412"/>
                  </a:lnTo>
                  <a:lnTo>
                    <a:pt x="2995" y="412"/>
                  </a:lnTo>
                  <a:lnTo>
                    <a:pt x="2977" y="414"/>
                  </a:lnTo>
                  <a:lnTo>
                    <a:pt x="2960" y="418"/>
                  </a:lnTo>
                  <a:lnTo>
                    <a:pt x="2947" y="421"/>
                  </a:lnTo>
                  <a:lnTo>
                    <a:pt x="2936" y="425"/>
                  </a:lnTo>
                  <a:lnTo>
                    <a:pt x="2936" y="425"/>
                  </a:lnTo>
                  <a:lnTo>
                    <a:pt x="2943" y="421"/>
                  </a:lnTo>
                  <a:lnTo>
                    <a:pt x="2951" y="415"/>
                  </a:lnTo>
                  <a:lnTo>
                    <a:pt x="2960" y="408"/>
                  </a:lnTo>
                  <a:lnTo>
                    <a:pt x="2970" y="397"/>
                  </a:lnTo>
                  <a:lnTo>
                    <a:pt x="2980" y="384"/>
                  </a:lnTo>
                  <a:lnTo>
                    <a:pt x="2984" y="376"/>
                  </a:lnTo>
                  <a:lnTo>
                    <a:pt x="2988" y="369"/>
                  </a:lnTo>
                  <a:lnTo>
                    <a:pt x="2991" y="360"/>
                  </a:lnTo>
                  <a:lnTo>
                    <a:pt x="2993" y="351"/>
                  </a:lnTo>
                  <a:lnTo>
                    <a:pt x="2993" y="351"/>
                  </a:lnTo>
                  <a:lnTo>
                    <a:pt x="2995" y="336"/>
                  </a:lnTo>
                  <a:lnTo>
                    <a:pt x="2994" y="320"/>
                  </a:lnTo>
                  <a:lnTo>
                    <a:pt x="2992" y="303"/>
                  </a:lnTo>
                  <a:lnTo>
                    <a:pt x="2988" y="285"/>
                  </a:lnTo>
                  <a:lnTo>
                    <a:pt x="2981" y="267"/>
                  </a:lnTo>
                  <a:lnTo>
                    <a:pt x="2972" y="249"/>
                  </a:lnTo>
                  <a:lnTo>
                    <a:pt x="2961" y="232"/>
                  </a:lnTo>
                  <a:lnTo>
                    <a:pt x="2955" y="223"/>
                  </a:lnTo>
                  <a:lnTo>
                    <a:pt x="2948" y="216"/>
                  </a:lnTo>
                  <a:lnTo>
                    <a:pt x="2947" y="214"/>
                  </a:lnTo>
                  <a:lnTo>
                    <a:pt x="2944" y="214"/>
                  </a:lnTo>
                  <a:lnTo>
                    <a:pt x="2944" y="214"/>
                  </a:lnTo>
                  <a:lnTo>
                    <a:pt x="2934" y="214"/>
                  </a:lnTo>
                  <a:lnTo>
                    <a:pt x="2923" y="215"/>
                  </a:lnTo>
                  <a:lnTo>
                    <a:pt x="2903" y="219"/>
                  </a:lnTo>
                  <a:lnTo>
                    <a:pt x="2885" y="224"/>
                  </a:lnTo>
                  <a:lnTo>
                    <a:pt x="2866" y="232"/>
                  </a:lnTo>
                  <a:lnTo>
                    <a:pt x="2851" y="240"/>
                  </a:lnTo>
                  <a:lnTo>
                    <a:pt x="2836" y="250"/>
                  </a:lnTo>
                  <a:lnTo>
                    <a:pt x="2824" y="261"/>
                  </a:lnTo>
                  <a:lnTo>
                    <a:pt x="2814" y="272"/>
                  </a:lnTo>
                  <a:lnTo>
                    <a:pt x="2814" y="272"/>
                  </a:lnTo>
                  <a:lnTo>
                    <a:pt x="2809" y="280"/>
                  </a:lnTo>
                  <a:lnTo>
                    <a:pt x="2805" y="288"/>
                  </a:lnTo>
                  <a:lnTo>
                    <a:pt x="2802" y="297"/>
                  </a:lnTo>
                  <a:lnTo>
                    <a:pt x="2799" y="305"/>
                  </a:lnTo>
                  <a:lnTo>
                    <a:pt x="2796" y="320"/>
                  </a:lnTo>
                  <a:lnTo>
                    <a:pt x="2795" y="334"/>
                  </a:lnTo>
                  <a:lnTo>
                    <a:pt x="2795" y="347"/>
                  </a:lnTo>
                  <a:lnTo>
                    <a:pt x="2796" y="357"/>
                  </a:lnTo>
                  <a:lnTo>
                    <a:pt x="2798" y="365"/>
                  </a:lnTo>
                  <a:lnTo>
                    <a:pt x="2798" y="365"/>
                  </a:lnTo>
                  <a:lnTo>
                    <a:pt x="2792" y="354"/>
                  </a:lnTo>
                  <a:lnTo>
                    <a:pt x="2787" y="341"/>
                  </a:lnTo>
                  <a:lnTo>
                    <a:pt x="2778" y="327"/>
                  </a:lnTo>
                  <a:lnTo>
                    <a:pt x="2767" y="313"/>
                  </a:lnTo>
                  <a:lnTo>
                    <a:pt x="2761" y="306"/>
                  </a:lnTo>
                  <a:lnTo>
                    <a:pt x="2754" y="299"/>
                  </a:lnTo>
                  <a:lnTo>
                    <a:pt x="2746" y="292"/>
                  </a:lnTo>
                  <a:lnTo>
                    <a:pt x="2737" y="287"/>
                  </a:lnTo>
                  <a:lnTo>
                    <a:pt x="2729" y="283"/>
                  </a:lnTo>
                  <a:lnTo>
                    <a:pt x="2719" y="281"/>
                  </a:lnTo>
                  <a:lnTo>
                    <a:pt x="2719" y="281"/>
                  </a:lnTo>
                  <a:lnTo>
                    <a:pt x="2707" y="278"/>
                  </a:lnTo>
                  <a:lnTo>
                    <a:pt x="2694" y="278"/>
                  </a:lnTo>
                  <a:lnTo>
                    <a:pt x="2683" y="278"/>
                  </a:lnTo>
                  <a:lnTo>
                    <a:pt x="2672" y="279"/>
                  </a:lnTo>
                  <a:lnTo>
                    <a:pt x="2663" y="281"/>
                  </a:lnTo>
                  <a:lnTo>
                    <a:pt x="2653" y="284"/>
                  </a:lnTo>
                  <a:lnTo>
                    <a:pt x="2644" y="287"/>
                  </a:lnTo>
                  <a:lnTo>
                    <a:pt x="2637" y="291"/>
                  </a:lnTo>
                  <a:lnTo>
                    <a:pt x="2624" y="300"/>
                  </a:lnTo>
                  <a:lnTo>
                    <a:pt x="2615" y="307"/>
                  </a:lnTo>
                  <a:lnTo>
                    <a:pt x="2607" y="314"/>
                  </a:lnTo>
                  <a:lnTo>
                    <a:pt x="2607" y="314"/>
                  </a:lnTo>
                  <a:lnTo>
                    <a:pt x="2621" y="328"/>
                  </a:lnTo>
                  <a:lnTo>
                    <a:pt x="2632" y="343"/>
                  </a:lnTo>
                  <a:lnTo>
                    <a:pt x="2641" y="357"/>
                  </a:lnTo>
                  <a:lnTo>
                    <a:pt x="2648" y="371"/>
                  </a:lnTo>
                  <a:lnTo>
                    <a:pt x="2654" y="384"/>
                  </a:lnTo>
                  <a:lnTo>
                    <a:pt x="2659" y="398"/>
                  </a:lnTo>
                  <a:lnTo>
                    <a:pt x="2661" y="410"/>
                  </a:lnTo>
                  <a:lnTo>
                    <a:pt x="2662" y="421"/>
                  </a:lnTo>
                  <a:lnTo>
                    <a:pt x="2661" y="432"/>
                  </a:lnTo>
                  <a:lnTo>
                    <a:pt x="2659" y="442"/>
                  </a:lnTo>
                  <a:lnTo>
                    <a:pt x="2654" y="451"/>
                  </a:lnTo>
                  <a:lnTo>
                    <a:pt x="2649" y="458"/>
                  </a:lnTo>
                  <a:lnTo>
                    <a:pt x="2642" y="464"/>
                  </a:lnTo>
                  <a:lnTo>
                    <a:pt x="2635" y="469"/>
                  </a:lnTo>
                  <a:lnTo>
                    <a:pt x="2626" y="472"/>
                  </a:lnTo>
                  <a:lnTo>
                    <a:pt x="2616" y="473"/>
                  </a:lnTo>
                  <a:lnTo>
                    <a:pt x="2616" y="473"/>
                  </a:lnTo>
                  <a:lnTo>
                    <a:pt x="2601" y="473"/>
                  </a:lnTo>
                  <a:lnTo>
                    <a:pt x="2590" y="471"/>
                  </a:lnTo>
                  <a:lnTo>
                    <a:pt x="2580" y="467"/>
                  </a:lnTo>
                  <a:lnTo>
                    <a:pt x="2571" y="462"/>
                  </a:lnTo>
                  <a:lnTo>
                    <a:pt x="2562" y="456"/>
                  </a:lnTo>
                  <a:lnTo>
                    <a:pt x="2556" y="449"/>
                  </a:lnTo>
                  <a:lnTo>
                    <a:pt x="2551" y="441"/>
                  </a:lnTo>
                  <a:lnTo>
                    <a:pt x="2547" y="432"/>
                  </a:lnTo>
                  <a:lnTo>
                    <a:pt x="2543" y="424"/>
                  </a:lnTo>
                  <a:lnTo>
                    <a:pt x="2541" y="417"/>
                  </a:lnTo>
                  <a:lnTo>
                    <a:pt x="2538" y="403"/>
                  </a:lnTo>
                  <a:lnTo>
                    <a:pt x="2536" y="393"/>
                  </a:lnTo>
                  <a:lnTo>
                    <a:pt x="2536" y="390"/>
                  </a:lnTo>
                  <a:lnTo>
                    <a:pt x="2536" y="390"/>
                  </a:lnTo>
                  <a:lnTo>
                    <a:pt x="2534" y="392"/>
                  </a:lnTo>
                  <a:lnTo>
                    <a:pt x="2528" y="398"/>
                  </a:lnTo>
                  <a:lnTo>
                    <a:pt x="2518" y="405"/>
                  </a:lnTo>
                  <a:lnTo>
                    <a:pt x="2506" y="413"/>
                  </a:lnTo>
                  <a:lnTo>
                    <a:pt x="2499" y="416"/>
                  </a:lnTo>
                  <a:lnTo>
                    <a:pt x="2491" y="419"/>
                  </a:lnTo>
                  <a:lnTo>
                    <a:pt x="2483" y="420"/>
                  </a:lnTo>
                  <a:lnTo>
                    <a:pt x="2473" y="421"/>
                  </a:lnTo>
                  <a:lnTo>
                    <a:pt x="2464" y="421"/>
                  </a:lnTo>
                  <a:lnTo>
                    <a:pt x="2454" y="419"/>
                  </a:lnTo>
                  <a:lnTo>
                    <a:pt x="2444" y="415"/>
                  </a:lnTo>
                  <a:lnTo>
                    <a:pt x="2434" y="409"/>
                  </a:lnTo>
                  <a:lnTo>
                    <a:pt x="2434" y="409"/>
                  </a:lnTo>
                  <a:lnTo>
                    <a:pt x="2426" y="404"/>
                  </a:lnTo>
                  <a:lnTo>
                    <a:pt x="2419" y="397"/>
                  </a:lnTo>
                  <a:lnTo>
                    <a:pt x="2414" y="390"/>
                  </a:lnTo>
                  <a:lnTo>
                    <a:pt x="2410" y="381"/>
                  </a:lnTo>
                  <a:lnTo>
                    <a:pt x="2408" y="372"/>
                  </a:lnTo>
                  <a:lnTo>
                    <a:pt x="2407" y="363"/>
                  </a:lnTo>
                  <a:lnTo>
                    <a:pt x="2407" y="354"/>
                  </a:lnTo>
                  <a:lnTo>
                    <a:pt x="2410" y="345"/>
                  </a:lnTo>
                  <a:lnTo>
                    <a:pt x="2415" y="334"/>
                  </a:lnTo>
                  <a:lnTo>
                    <a:pt x="2421" y="325"/>
                  </a:lnTo>
                  <a:lnTo>
                    <a:pt x="2432" y="316"/>
                  </a:lnTo>
                  <a:lnTo>
                    <a:pt x="2443" y="308"/>
                  </a:lnTo>
                  <a:lnTo>
                    <a:pt x="2457" y="300"/>
                  </a:lnTo>
                  <a:lnTo>
                    <a:pt x="2474" y="292"/>
                  </a:lnTo>
                  <a:lnTo>
                    <a:pt x="2495" y="286"/>
                  </a:lnTo>
                  <a:lnTo>
                    <a:pt x="2518" y="280"/>
                  </a:lnTo>
                  <a:lnTo>
                    <a:pt x="2518" y="280"/>
                  </a:lnTo>
                  <a:lnTo>
                    <a:pt x="2517" y="275"/>
                  </a:lnTo>
                  <a:lnTo>
                    <a:pt x="2512" y="262"/>
                  </a:lnTo>
                  <a:lnTo>
                    <a:pt x="2509" y="253"/>
                  </a:lnTo>
                  <a:lnTo>
                    <a:pt x="2504" y="242"/>
                  </a:lnTo>
                  <a:lnTo>
                    <a:pt x="2499" y="232"/>
                  </a:lnTo>
                  <a:lnTo>
                    <a:pt x="2492" y="222"/>
                  </a:lnTo>
                  <a:lnTo>
                    <a:pt x="2484" y="213"/>
                  </a:lnTo>
                  <a:lnTo>
                    <a:pt x="2474" y="203"/>
                  </a:lnTo>
                  <a:lnTo>
                    <a:pt x="2464" y="196"/>
                  </a:lnTo>
                  <a:lnTo>
                    <a:pt x="2452" y="190"/>
                  </a:lnTo>
                  <a:lnTo>
                    <a:pt x="2446" y="188"/>
                  </a:lnTo>
                  <a:lnTo>
                    <a:pt x="2440" y="187"/>
                  </a:lnTo>
                  <a:lnTo>
                    <a:pt x="2433" y="186"/>
                  </a:lnTo>
                  <a:lnTo>
                    <a:pt x="2424" y="185"/>
                  </a:lnTo>
                  <a:lnTo>
                    <a:pt x="2417" y="186"/>
                  </a:lnTo>
                  <a:lnTo>
                    <a:pt x="2408" y="187"/>
                  </a:lnTo>
                  <a:lnTo>
                    <a:pt x="2400" y="190"/>
                  </a:lnTo>
                  <a:lnTo>
                    <a:pt x="2391" y="193"/>
                  </a:lnTo>
                  <a:lnTo>
                    <a:pt x="2391" y="193"/>
                  </a:lnTo>
                  <a:lnTo>
                    <a:pt x="2394" y="191"/>
                  </a:lnTo>
                  <a:lnTo>
                    <a:pt x="2398" y="188"/>
                  </a:lnTo>
                  <a:lnTo>
                    <a:pt x="2406" y="180"/>
                  </a:lnTo>
                  <a:lnTo>
                    <a:pt x="2415" y="168"/>
                  </a:lnTo>
                  <a:lnTo>
                    <a:pt x="2423" y="153"/>
                  </a:lnTo>
                  <a:lnTo>
                    <a:pt x="2427" y="144"/>
                  </a:lnTo>
                  <a:lnTo>
                    <a:pt x="2432" y="136"/>
                  </a:lnTo>
                  <a:lnTo>
                    <a:pt x="2435" y="127"/>
                  </a:lnTo>
                  <a:lnTo>
                    <a:pt x="2437" y="117"/>
                  </a:lnTo>
                  <a:lnTo>
                    <a:pt x="2438" y="106"/>
                  </a:lnTo>
                  <a:lnTo>
                    <a:pt x="2439" y="97"/>
                  </a:lnTo>
                  <a:lnTo>
                    <a:pt x="2438" y="86"/>
                  </a:lnTo>
                  <a:lnTo>
                    <a:pt x="2436" y="76"/>
                  </a:lnTo>
                  <a:lnTo>
                    <a:pt x="2436" y="76"/>
                  </a:lnTo>
                  <a:lnTo>
                    <a:pt x="2434" y="66"/>
                  </a:lnTo>
                  <a:lnTo>
                    <a:pt x="2429" y="57"/>
                  </a:lnTo>
                  <a:lnTo>
                    <a:pt x="2426" y="49"/>
                  </a:lnTo>
                  <a:lnTo>
                    <a:pt x="2422" y="41"/>
                  </a:lnTo>
                  <a:lnTo>
                    <a:pt x="2413" y="28"/>
                  </a:lnTo>
                  <a:lnTo>
                    <a:pt x="2404" y="17"/>
                  </a:lnTo>
                  <a:lnTo>
                    <a:pt x="2396" y="9"/>
                  </a:lnTo>
                  <a:lnTo>
                    <a:pt x="2389" y="4"/>
                  </a:lnTo>
                  <a:lnTo>
                    <a:pt x="2382" y="0"/>
                  </a:lnTo>
                  <a:lnTo>
                    <a:pt x="2279" y="593"/>
                  </a:lnTo>
                  <a:lnTo>
                    <a:pt x="2548" y="712"/>
                  </a:lnTo>
                  <a:lnTo>
                    <a:pt x="2548" y="712"/>
                  </a:lnTo>
                  <a:lnTo>
                    <a:pt x="2572" y="693"/>
                  </a:lnTo>
                  <a:lnTo>
                    <a:pt x="2594" y="677"/>
                  </a:lnTo>
                  <a:lnTo>
                    <a:pt x="2615" y="665"/>
                  </a:lnTo>
                  <a:lnTo>
                    <a:pt x="2633" y="656"/>
                  </a:lnTo>
                  <a:lnTo>
                    <a:pt x="2633" y="656"/>
                  </a:lnTo>
                  <a:lnTo>
                    <a:pt x="2646" y="650"/>
                  </a:lnTo>
                  <a:lnTo>
                    <a:pt x="2661" y="646"/>
                  </a:lnTo>
                  <a:lnTo>
                    <a:pt x="2675" y="642"/>
                  </a:lnTo>
                  <a:lnTo>
                    <a:pt x="2688" y="639"/>
                  </a:lnTo>
                  <a:lnTo>
                    <a:pt x="2702" y="637"/>
                  </a:lnTo>
                  <a:lnTo>
                    <a:pt x="2716" y="636"/>
                  </a:lnTo>
                  <a:lnTo>
                    <a:pt x="2729" y="635"/>
                  </a:lnTo>
                  <a:lnTo>
                    <a:pt x="2743" y="635"/>
                  </a:lnTo>
                  <a:lnTo>
                    <a:pt x="2757" y="636"/>
                  </a:lnTo>
                  <a:lnTo>
                    <a:pt x="2770" y="638"/>
                  </a:lnTo>
                  <a:lnTo>
                    <a:pt x="2783" y="640"/>
                  </a:lnTo>
                  <a:lnTo>
                    <a:pt x="2796" y="643"/>
                  </a:lnTo>
                  <a:lnTo>
                    <a:pt x="2821" y="650"/>
                  </a:lnTo>
                  <a:lnTo>
                    <a:pt x="2845" y="658"/>
                  </a:lnTo>
                  <a:lnTo>
                    <a:pt x="2845" y="658"/>
                  </a:lnTo>
                  <a:lnTo>
                    <a:pt x="2861" y="667"/>
                  </a:lnTo>
                  <a:lnTo>
                    <a:pt x="2875" y="675"/>
                  </a:lnTo>
                  <a:lnTo>
                    <a:pt x="2889" y="683"/>
                  </a:lnTo>
                  <a:lnTo>
                    <a:pt x="2900" y="691"/>
                  </a:lnTo>
                  <a:lnTo>
                    <a:pt x="2910" y="699"/>
                  </a:lnTo>
                  <a:lnTo>
                    <a:pt x="2918" y="709"/>
                  </a:lnTo>
                  <a:lnTo>
                    <a:pt x="2925" y="717"/>
                  </a:lnTo>
                  <a:lnTo>
                    <a:pt x="2932" y="726"/>
                  </a:lnTo>
                  <a:lnTo>
                    <a:pt x="2937" y="735"/>
                  </a:lnTo>
                  <a:lnTo>
                    <a:pt x="2941" y="743"/>
                  </a:lnTo>
                  <a:lnTo>
                    <a:pt x="2944" y="753"/>
                  </a:lnTo>
                  <a:lnTo>
                    <a:pt x="2947" y="761"/>
                  </a:lnTo>
                  <a:lnTo>
                    <a:pt x="2950" y="778"/>
                  </a:lnTo>
                  <a:lnTo>
                    <a:pt x="2952" y="793"/>
                  </a:lnTo>
                  <a:lnTo>
                    <a:pt x="2952" y="793"/>
                  </a:lnTo>
                  <a:lnTo>
                    <a:pt x="2951" y="804"/>
                  </a:lnTo>
                  <a:lnTo>
                    <a:pt x="2949" y="815"/>
                  </a:lnTo>
                  <a:lnTo>
                    <a:pt x="2946" y="827"/>
                  </a:lnTo>
                  <a:lnTo>
                    <a:pt x="2942" y="839"/>
                  </a:lnTo>
                  <a:lnTo>
                    <a:pt x="2933" y="863"/>
                  </a:lnTo>
                  <a:lnTo>
                    <a:pt x="2925" y="877"/>
                  </a:lnTo>
                  <a:lnTo>
                    <a:pt x="3120" y="962"/>
                  </a:lnTo>
                  <a:close/>
                  <a:moveTo>
                    <a:pt x="4480" y="887"/>
                  </a:moveTo>
                  <a:lnTo>
                    <a:pt x="4715" y="773"/>
                  </a:lnTo>
                  <a:lnTo>
                    <a:pt x="4477" y="674"/>
                  </a:lnTo>
                  <a:lnTo>
                    <a:pt x="4477" y="674"/>
                  </a:lnTo>
                  <a:lnTo>
                    <a:pt x="4404" y="675"/>
                  </a:lnTo>
                  <a:lnTo>
                    <a:pt x="4312" y="676"/>
                  </a:lnTo>
                  <a:lnTo>
                    <a:pt x="4201" y="675"/>
                  </a:lnTo>
                  <a:lnTo>
                    <a:pt x="4076" y="673"/>
                  </a:lnTo>
                  <a:lnTo>
                    <a:pt x="3783" y="667"/>
                  </a:lnTo>
                  <a:lnTo>
                    <a:pt x="3449" y="660"/>
                  </a:lnTo>
                  <a:lnTo>
                    <a:pt x="3252" y="916"/>
                  </a:lnTo>
                  <a:lnTo>
                    <a:pt x="3252" y="916"/>
                  </a:lnTo>
                  <a:lnTo>
                    <a:pt x="3986" y="900"/>
                  </a:lnTo>
                  <a:lnTo>
                    <a:pt x="4276" y="894"/>
                  </a:lnTo>
                  <a:lnTo>
                    <a:pt x="4480" y="887"/>
                  </a:lnTo>
                  <a:close/>
                  <a:moveTo>
                    <a:pt x="4171" y="2139"/>
                  </a:moveTo>
                  <a:lnTo>
                    <a:pt x="4171" y="2139"/>
                  </a:lnTo>
                  <a:lnTo>
                    <a:pt x="4105" y="2106"/>
                  </a:lnTo>
                  <a:lnTo>
                    <a:pt x="4042" y="2073"/>
                  </a:lnTo>
                  <a:lnTo>
                    <a:pt x="3983" y="2042"/>
                  </a:lnTo>
                  <a:lnTo>
                    <a:pt x="3954" y="2025"/>
                  </a:lnTo>
                  <a:lnTo>
                    <a:pt x="3926" y="2008"/>
                  </a:lnTo>
                  <a:lnTo>
                    <a:pt x="3900" y="1991"/>
                  </a:lnTo>
                  <a:lnTo>
                    <a:pt x="3875" y="1973"/>
                  </a:lnTo>
                  <a:lnTo>
                    <a:pt x="3852" y="1954"/>
                  </a:lnTo>
                  <a:lnTo>
                    <a:pt x="3829" y="1934"/>
                  </a:lnTo>
                  <a:lnTo>
                    <a:pt x="3809" y="1914"/>
                  </a:lnTo>
                  <a:lnTo>
                    <a:pt x="3789" y="1893"/>
                  </a:lnTo>
                  <a:lnTo>
                    <a:pt x="3772" y="1869"/>
                  </a:lnTo>
                  <a:lnTo>
                    <a:pt x="3756" y="1845"/>
                  </a:lnTo>
                  <a:lnTo>
                    <a:pt x="3756" y="1845"/>
                  </a:lnTo>
                  <a:lnTo>
                    <a:pt x="3750" y="1832"/>
                  </a:lnTo>
                  <a:lnTo>
                    <a:pt x="3743" y="1819"/>
                  </a:lnTo>
                  <a:lnTo>
                    <a:pt x="3738" y="1805"/>
                  </a:lnTo>
                  <a:lnTo>
                    <a:pt x="3733" y="1790"/>
                  </a:lnTo>
                  <a:lnTo>
                    <a:pt x="3729" y="1775"/>
                  </a:lnTo>
                  <a:lnTo>
                    <a:pt x="3726" y="1760"/>
                  </a:lnTo>
                  <a:lnTo>
                    <a:pt x="3723" y="1743"/>
                  </a:lnTo>
                  <a:lnTo>
                    <a:pt x="3721" y="1727"/>
                  </a:lnTo>
                  <a:lnTo>
                    <a:pt x="3720" y="1711"/>
                  </a:lnTo>
                  <a:lnTo>
                    <a:pt x="3719" y="1693"/>
                  </a:lnTo>
                  <a:lnTo>
                    <a:pt x="3719" y="1677"/>
                  </a:lnTo>
                  <a:lnTo>
                    <a:pt x="3720" y="1659"/>
                  </a:lnTo>
                  <a:lnTo>
                    <a:pt x="3721" y="1641"/>
                  </a:lnTo>
                  <a:lnTo>
                    <a:pt x="3724" y="1624"/>
                  </a:lnTo>
                  <a:lnTo>
                    <a:pt x="3726" y="1606"/>
                  </a:lnTo>
                  <a:lnTo>
                    <a:pt x="3730" y="1589"/>
                  </a:lnTo>
                  <a:lnTo>
                    <a:pt x="3734" y="1571"/>
                  </a:lnTo>
                  <a:lnTo>
                    <a:pt x="3740" y="1554"/>
                  </a:lnTo>
                  <a:lnTo>
                    <a:pt x="3745" y="1537"/>
                  </a:lnTo>
                  <a:lnTo>
                    <a:pt x="3753" y="1519"/>
                  </a:lnTo>
                  <a:lnTo>
                    <a:pt x="3761" y="1503"/>
                  </a:lnTo>
                  <a:lnTo>
                    <a:pt x="3769" y="1487"/>
                  </a:lnTo>
                  <a:lnTo>
                    <a:pt x="3778" y="1470"/>
                  </a:lnTo>
                  <a:lnTo>
                    <a:pt x="3788" y="1454"/>
                  </a:lnTo>
                  <a:lnTo>
                    <a:pt x="3800" y="1439"/>
                  </a:lnTo>
                  <a:lnTo>
                    <a:pt x="3812" y="1424"/>
                  </a:lnTo>
                  <a:lnTo>
                    <a:pt x="3824" y="1410"/>
                  </a:lnTo>
                  <a:lnTo>
                    <a:pt x="3839" y="1396"/>
                  </a:lnTo>
                  <a:lnTo>
                    <a:pt x="3853" y="1382"/>
                  </a:lnTo>
                  <a:lnTo>
                    <a:pt x="3868" y="1370"/>
                  </a:lnTo>
                  <a:lnTo>
                    <a:pt x="3885" y="1358"/>
                  </a:lnTo>
                  <a:lnTo>
                    <a:pt x="3902" y="1347"/>
                  </a:lnTo>
                  <a:lnTo>
                    <a:pt x="3902" y="1347"/>
                  </a:lnTo>
                  <a:lnTo>
                    <a:pt x="3910" y="1355"/>
                  </a:lnTo>
                  <a:lnTo>
                    <a:pt x="3917" y="1363"/>
                  </a:lnTo>
                  <a:lnTo>
                    <a:pt x="3922" y="1370"/>
                  </a:lnTo>
                  <a:lnTo>
                    <a:pt x="3927" y="1378"/>
                  </a:lnTo>
                  <a:lnTo>
                    <a:pt x="3936" y="1394"/>
                  </a:lnTo>
                  <a:lnTo>
                    <a:pt x="3941" y="1408"/>
                  </a:lnTo>
                  <a:lnTo>
                    <a:pt x="3944" y="1420"/>
                  </a:lnTo>
                  <a:lnTo>
                    <a:pt x="3946" y="1429"/>
                  </a:lnTo>
                  <a:lnTo>
                    <a:pt x="3946" y="1438"/>
                  </a:lnTo>
                  <a:lnTo>
                    <a:pt x="3946" y="1438"/>
                  </a:lnTo>
                  <a:lnTo>
                    <a:pt x="3966" y="1438"/>
                  </a:lnTo>
                  <a:lnTo>
                    <a:pt x="3991" y="1438"/>
                  </a:lnTo>
                  <a:lnTo>
                    <a:pt x="4044" y="1434"/>
                  </a:lnTo>
                  <a:lnTo>
                    <a:pt x="4098" y="1432"/>
                  </a:lnTo>
                  <a:lnTo>
                    <a:pt x="4123" y="1431"/>
                  </a:lnTo>
                  <a:lnTo>
                    <a:pt x="4143" y="1431"/>
                  </a:lnTo>
                  <a:lnTo>
                    <a:pt x="4143" y="1431"/>
                  </a:lnTo>
                  <a:lnTo>
                    <a:pt x="4144" y="1417"/>
                  </a:lnTo>
                  <a:lnTo>
                    <a:pt x="4144" y="1400"/>
                  </a:lnTo>
                  <a:lnTo>
                    <a:pt x="4143" y="1382"/>
                  </a:lnTo>
                  <a:lnTo>
                    <a:pt x="4141" y="1364"/>
                  </a:lnTo>
                  <a:lnTo>
                    <a:pt x="4138" y="1344"/>
                  </a:lnTo>
                  <a:lnTo>
                    <a:pt x="4133" y="1325"/>
                  </a:lnTo>
                  <a:lnTo>
                    <a:pt x="4126" y="1307"/>
                  </a:lnTo>
                  <a:lnTo>
                    <a:pt x="4121" y="1297"/>
                  </a:lnTo>
                  <a:lnTo>
                    <a:pt x="4116" y="1288"/>
                  </a:lnTo>
                  <a:lnTo>
                    <a:pt x="4116" y="1288"/>
                  </a:lnTo>
                  <a:lnTo>
                    <a:pt x="4134" y="1302"/>
                  </a:lnTo>
                  <a:lnTo>
                    <a:pt x="4150" y="1315"/>
                  </a:lnTo>
                  <a:lnTo>
                    <a:pt x="4165" y="1328"/>
                  </a:lnTo>
                  <a:lnTo>
                    <a:pt x="4172" y="1335"/>
                  </a:lnTo>
                  <a:lnTo>
                    <a:pt x="4178" y="1343"/>
                  </a:lnTo>
                  <a:lnTo>
                    <a:pt x="4184" y="1352"/>
                  </a:lnTo>
                  <a:lnTo>
                    <a:pt x="4189" y="1361"/>
                  </a:lnTo>
                  <a:lnTo>
                    <a:pt x="4194" y="1370"/>
                  </a:lnTo>
                  <a:lnTo>
                    <a:pt x="4198" y="1380"/>
                  </a:lnTo>
                  <a:lnTo>
                    <a:pt x="4203" y="1392"/>
                  </a:lnTo>
                  <a:lnTo>
                    <a:pt x="4206" y="1404"/>
                  </a:lnTo>
                  <a:lnTo>
                    <a:pt x="4209" y="1417"/>
                  </a:lnTo>
                  <a:lnTo>
                    <a:pt x="4212" y="1431"/>
                  </a:lnTo>
                  <a:lnTo>
                    <a:pt x="4212" y="1431"/>
                  </a:lnTo>
                  <a:lnTo>
                    <a:pt x="4390" y="1438"/>
                  </a:lnTo>
                  <a:lnTo>
                    <a:pt x="4390" y="1438"/>
                  </a:lnTo>
                  <a:lnTo>
                    <a:pt x="4390" y="1421"/>
                  </a:lnTo>
                  <a:lnTo>
                    <a:pt x="4389" y="1406"/>
                  </a:lnTo>
                  <a:lnTo>
                    <a:pt x="4386" y="1391"/>
                  </a:lnTo>
                  <a:lnTo>
                    <a:pt x="4381" y="1376"/>
                  </a:lnTo>
                  <a:lnTo>
                    <a:pt x="4376" y="1363"/>
                  </a:lnTo>
                  <a:lnTo>
                    <a:pt x="4370" y="1350"/>
                  </a:lnTo>
                  <a:lnTo>
                    <a:pt x="4362" y="1338"/>
                  </a:lnTo>
                  <a:lnTo>
                    <a:pt x="4353" y="1326"/>
                  </a:lnTo>
                  <a:lnTo>
                    <a:pt x="4353" y="1326"/>
                  </a:lnTo>
                  <a:lnTo>
                    <a:pt x="4370" y="1334"/>
                  </a:lnTo>
                  <a:lnTo>
                    <a:pt x="4388" y="1342"/>
                  </a:lnTo>
                  <a:lnTo>
                    <a:pt x="4403" y="1352"/>
                  </a:lnTo>
                  <a:lnTo>
                    <a:pt x="4418" y="1361"/>
                  </a:lnTo>
                  <a:lnTo>
                    <a:pt x="4433" y="1371"/>
                  </a:lnTo>
                  <a:lnTo>
                    <a:pt x="4447" y="1381"/>
                  </a:lnTo>
                  <a:lnTo>
                    <a:pt x="4459" y="1392"/>
                  </a:lnTo>
                  <a:lnTo>
                    <a:pt x="4471" y="1403"/>
                  </a:lnTo>
                  <a:lnTo>
                    <a:pt x="4483" y="1414"/>
                  </a:lnTo>
                  <a:lnTo>
                    <a:pt x="4494" y="1426"/>
                  </a:lnTo>
                  <a:lnTo>
                    <a:pt x="4504" y="1439"/>
                  </a:lnTo>
                  <a:lnTo>
                    <a:pt x="4513" y="1451"/>
                  </a:lnTo>
                  <a:lnTo>
                    <a:pt x="4522" y="1463"/>
                  </a:lnTo>
                  <a:lnTo>
                    <a:pt x="4530" y="1475"/>
                  </a:lnTo>
                  <a:lnTo>
                    <a:pt x="4544" y="1501"/>
                  </a:lnTo>
                  <a:lnTo>
                    <a:pt x="4556" y="1526"/>
                  </a:lnTo>
                  <a:lnTo>
                    <a:pt x="4567" y="1551"/>
                  </a:lnTo>
                  <a:lnTo>
                    <a:pt x="4574" y="1577"/>
                  </a:lnTo>
                  <a:lnTo>
                    <a:pt x="4580" y="1600"/>
                  </a:lnTo>
                  <a:lnTo>
                    <a:pt x="4584" y="1624"/>
                  </a:lnTo>
                  <a:lnTo>
                    <a:pt x="4587" y="1646"/>
                  </a:lnTo>
                  <a:lnTo>
                    <a:pt x="4588" y="1667"/>
                  </a:lnTo>
                  <a:lnTo>
                    <a:pt x="4588" y="1685"/>
                  </a:lnTo>
                  <a:lnTo>
                    <a:pt x="4588" y="1685"/>
                  </a:lnTo>
                  <a:lnTo>
                    <a:pt x="4588" y="1711"/>
                  </a:lnTo>
                  <a:lnTo>
                    <a:pt x="4587" y="1737"/>
                  </a:lnTo>
                  <a:lnTo>
                    <a:pt x="4583" y="1762"/>
                  </a:lnTo>
                  <a:lnTo>
                    <a:pt x="4578" y="1787"/>
                  </a:lnTo>
                  <a:lnTo>
                    <a:pt x="4571" y="1811"/>
                  </a:lnTo>
                  <a:lnTo>
                    <a:pt x="4562" y="1834"/>
                  </a:lnTo>
                  <a:lnTo>
                    <a:pt x="4553" y="1857"/>
                  </a:lnTo>
                  <a:lnTo>
                    <a:pt x="4542" y="1878"/>
                  </a:lnTo>
                  <a:lnTo>
                    <a:pt x="4530" y="1900"/>
                  </a:lnTo>
                  <a:lnTo>
                    <a:pt x="4515" y="1919"/>
                  </a:lnTo>
                  <a:lnTo>
                    <a:pt x="4501" y="1939"/>
                  </a:lnTo>
                  <a:lnTo>
                    <a:pt x="4485" y="1956"/>
                  </a:lnTo>
                  <a:lnTo>
                    <a:pt x="4468" y="1972"/>
                  </a:lnTo>
                  <a:lnTo>
                    <a:pt x="4450" y="1988"/>
                  </a:lnTo>
                  <a:lnTo>
                    <a:pt x="4432" y="2002"/>
                  </a:lnTo>
                  <a:lnTo>
                    <a:pt x="4412" y="2015"/>
                  </a:lnTo>
                  <a:lnTo>
                    <a:pt x="4412" y="2015"/>
                  </a:lnTo>
                  <a:lnTo>
                    <a:pt x="4377" y="2036"/>
                  </a:lnTo>
                  <a:lnTo>
                    <a:pt x="4345" y="2054"/>
                  </a:lnTo>
                  <a:lnTo>
                    <a:pt x="4313" y="2071"/>
                  </a:lnTo>
                  <a:lnTo>
                    <a:pt x="4282" y="2087"/>
                  </a:lnTo>
                  <a:lnTo>
                    <a:pt x="4225" y="2114"/>
                  </a:lnTo>
                  <a:lnTo>
                    <a:pt x="4171" y="2139"/>
                  </a:lnTo>
                  <a:close/>
                  <a:moveTo>
                    <a:pt x="3989" y="3389"/>
                  </a:moveTo>
                  <a:lnTo>
                    <a:pt x="3989" y="3389"/>
                  </a:lnTo>
                  <a:lnTo>
                    <a:pt x="3970" y="3382"/>
                  </a:lnTo>
                  <a:lnTo>
                    <a:pt x="3970" y="3382"/>
                  </a:lnTo>
                  <a:lnTo>
                    <a:pt x="3967" y="3380"/>
                  </a:lnTo>
                  <a:lnTo>
                    <a:pt x="3967" y="3380"/>
                  </a:lnTo>
                  <a:lnTo>
                    <a:pt x="3989" y="3389"/>
                  </a:lnTo>
                  <a:close/>
                  <a:moveTo>
                    <a:pt x="2262" y="1056"/>
                  </a:moveTo>
                  <a:lnTo>
                    <a:pt x="2262" y="1056"/>
                  </a:lnTo>
                  <a:lnTo>
                    <a:pt x="2262" y="1057"/>
                  </a:lnTo>
                  <a:lnTo>
                    <a:pt x="2261" y="1059"/>
                  </a:lnTo>
                  <a:lnTo>
                    <a:pt x="2257" y="1061"/>
                  </a:lnTo>
                  <a:lnTo>
                    <a:pt x="2251" y="1064"/>
                  </a:lnTo>
                  <a:lnTo>
                    <a:pt x="2241" y="1066"/>
                  </a:lnTo>
                  <a:lnTo>
                    <a:pt x="2219" y="1072"/>
                  </a:lnTo>
                  <a:lnTo>
                    <a:pt x="2191" y="1077"/>
                  </a:lnTo>
                  <a:lnTo>
                    <a:pt x="2164" y="1081"/>
                  </a:lnTo>
                  <a:lnTo>
                    <a:pt x="2138" y="1083"/>
                  </a:lnTo>
                  <a:lnTo>
                    <a:pt x="2120" y="1083"/>
                  </a:lnTo>
                  <a:lnTo>
                    <a:pt x="2113" y="1082"/>
                  </a:lnTo>
                  <a:lnTo>
                    <a:pt x="2109" y="1081"/>
                  </a:lnTo>
                  <a:lnTo>
                    <a:pt x="2109" y="1081"/>
                  </a:lnTo>
                  <a:lnTo>
                    <a:pt x="2106" y="1079"/>
                  </a:lnTo>
                  <a:lnTo>
                    <a:pt x="2104" y="1075"/>
                  </a:lnTo>
                  <a:lnTo>
                    <a:pt x="2101" y="1064"/>
                  </a:lnTo>
                  <a:lnTo>
                    <a:pt x="2098" y="1052"/>
                  </a:lnTo>
                  <a:lnTo>
                    <a:pt x="2096" y="1038"/>
                  </a:lnTo>
                  <a:lnTo>
                    <a:pt x="2096" y="1023"/>
                  </a:lnTo>
                  <a:lnTo>
                    <a:pt x="2096" y="1010"/>
                  </a:lnTo>
                  <a:lnTo>
                    <a:pt x="2097" y="1000"/>
                  </a:lnTo>
                  <a:lnTo>
                    <a:pt x="2098" y="995"/>
                  </a:lnTo>
                  <a:lnTo>
                    <a:pt x="2100" y="992"/>
                  </a:lnTo>
                  <a:lnTo>
                    <a:pt x="2100" y="992"/>
                  </a:lnTo>
                  <a:lnTo>
                    <a:pt x="2101" y="991"/>
                  </a:lnTo>
                  <a:lnTo>
                    <a:pt x="2103" y="989"/>
                  </a:lnTo>
                  <a:lnTo>
                    <a:pt x="2109" y="988"/>
                  </a:lnTo>
                  <a:lnTo>
                    <a:pt x="2118" y="987"/>
                  </a:lnTo>
                  <a:lnTo>
                    <a:pt x="2128" y="987"/>
                  </a:lnTo>
                  <a:lnTo>
                    <a:pt x="2139" y="988"/>
                  </a:lnTo>
                  <a:lnTo>
                    <a:pt x="2151" y="990"/>
                  </a:lnTo>
                  <a:lnTo>
                    <a:pt x="2165" y="993"/>
                  </a:lnTo>
                  <a:lnTo>
                    <a:pt x="2179" y="997"/>
                  </a:lnTo>
                  <a:lnTo>
                    <a:pt x="2192" y="1002"/>
                  </a:lnTo>
                  <a:lnTo>
                    <a:pt x="2206" y="1007"/>
                  </a:lnTo>
                  <a:lnTo>
                    <a:pt x="2219" y="1014"/>
                  </a:lnTo>
                  <a:lnTo>
                    <a:pt x="2231" y="1021"/>
                  </a:lnTo>
                  <a:lnTo>
                    <a:pt x="2241" y="1029"/>
                  </a:lnTo>
                  <a:lnTo>
                    <a:pt x="2251" y="1038"/>
                  </a:lnTo>
                  <a:lnTo>
                    <a:pt x="2258" y="1047"/>
                  </a:lnTo>
                  <a:lnTo>
                    <a:pt x="2260" y="1051"/>
                  </a:lnTo>
                  <a:lnTo>
                    <a:pt x="2262" y="1056"/>
                  </a:lnTo>
                  <a:close/>
                  <a:moveTo>
                    <a:pt x="4842" y="2915"/>
                  </a:moveTo>
                  <a:lnTo>
                    <a:pt x="4842" y="2915"/>
                  </a:lnTo>
                  <a:lnTo>
                    <a:pt x="4862" y="2919"/>
                  </a:lnTo>
                  <a:lnTo>
                    <a:pt x="4881" y="2921"/>
                  </a:lnTo>
                  <a:lnTo>
                    <a:pt x="4900" y="2922"/>
                  </a:lnTo>
                  <a:lnTo>
                    <a:pt x="4916" y="2921"/>
                  </a:lnTo>
                  <a:lnTo>
                    <a:pt x="4932" y="2919"/>
                  </a:lnTo>
                  <a:lnTo>
                    <a:pt x="4946" y="2916"/>
                  </a:lnTo>
                  <a:lnTo>
                    <a:pt x="4958" y="2911"/>
                  </a:lnTo>
                  <a:lnTo>
                    <a:pt x="4969" y="2905"/>
                  </a:lnTo>
                  <a:lnTo>
                    <a:pt x="4969" y="2905"/>
                  </a:lnTo>
                  <a:lnTo>
                    <a:pt x="4967" y="2879"/>
                  </a:lnTo>
                  <a:lnTo>
                    <a:pt x="4960" y="2819"/>
                  </a:lnTo>
                  <a:lnTo>
                    <a:pt x="4951" y="2746"/>
                  </a:lnTo>
                  <a:lnTo>
                    <a:pt x="4946" y="2714"/>
                  </a:lnTo>
                  <a:lnTo>
                    <a:pt x="4940" y="2686"/>
                  </a:lnTo>
                  <a:lnTo>
                    <a:pt x="4940" y="2686"/>
                  </a:lnTo>
                  <a:lnTo>
                    <a:pt x="4922" y="2689"/>
                  </a:lnTo>
                  <a:lnTo>
                    <a:pt x="4902" y="2692"/>
                  </a:lnTo>
                  <a:lnTo>
                    <a:pt x="4891" y="2692"/>
                  </a:lnTo>
                  <a:lnTo>
                    <a:pt x="4879" y="2692"/>
                  </a:lnTo>
                  <a:lnTo>
                    <a:pt x="4867" y="2691"/>
                  </a:lnTo>
                  <a:lnTo>
                    <a:pt x="4855" y="2689"/>
                  </a:lnTo>
                  <a:lnTo>
                    <a:pt x="4843" y="2686"/>
                  </a:lnTo>
                  <a:lnTo>
                    <a:pt x="4830" y="2682"/>
                  </a:lnTo>
                  <a:lnTo>
                    <a:pt x="4818" y="2677"/>
                  </a:lnTo>
                  <a:lnTo>
                    <a:pt x="4806" y="2670"/>
                  </a:lnTo>
                  <a:lnTo>
                    <a:pt x="4794" y="2660"/>
                  </a:lnTo>
                  <a:lnTo>
                    <a:pt x="4782" y="2650"/>
                  </a:lnTo>
                  <a:lnTo>
                    <a:pt x="4771" y="2638"/>
                  </a:lnTo>
                  <a:lnTo>
                    <a:pt x="4761" y="2624"/>
                  </a:lnTo>
                  <a:lnTo>
                    <a:pt x="4761" y="2624"/>
                  </a:lnTo>
                  <a:lnTo>
                    <a:pt x="4743" y="2595"/>
                  </a:lnTo>
                  <a:lnTo>
                    <a:pt x="4724" y="2567"/>
                  </a:lnTo>
                  <a:lnTo>
                    <a:pt x="4724" y="2567"/>
                  </a:lnTo>
                  <a:lnTo>
                    <a:pt x="4703" y="2539"/>
                  </a:lnTo>
                  <a:lnTo>
                    <a:pt x="4680" y="2511"/>
                  </a:lnTo>
                  <a:lnTo>
                    <a:pt x="4658" y="2485"/>
                  </a:lnTo>
                  <a:lnTo>
                    <a:pt x="4634" y="2459"/>
                  </a:lnTo>
                  <a:lnTo>
                    <a:pt x="4611" y="2435"/>
                  </a:lnTo>
                  <a:lnTo>
                    <a:pt x="4586" y="2412"/>
                  </a:lnTo>
                  <a:lnTo>
                    <a:pt x="4562" y="2389"/>
                  </a:lnTo>
                  <a:lnTo>
                    <a:pt x="4538" y="2369"/>
                  </a:lnTo>
                  <a:lnTo>
                    <a:pt x="4513" y="2349"/>
                  </a:lnTo>
                  <a:lnTo>
                    <a:pt x="4489" y="2329"/>
                  </a:lnTo>
                  <a:lnTo>
                    <a:pt x="4463" y="2311"/>
                  </a:lnTo>
                  <a:lnTo>
                    <a:pt x="4439" y="2292"/>
                  </a:lnTo>
                  <a:lnTo>
                    <a:pt x="4413" y="2276"/>
                  </a:lnTo>
                  <a:lnTo>
                    <a:pt x="4389" y="2260"/>
                  </a:lnTo>
                  <a:lnTo>
                    <a:pt x="4337" y="2228"/>
                  </a:lnTo>
                  <a:lnTo>
                    <a:pt x="4337" y="2228"/>
                  </a:lnTo>
                  <a:lnTo>
                    <a:pt x="4381" y="2205"/>
                  </a:lnTo>
                  <a:lnTo>
                    <a:pt x="4422" y="2183"/>
                  </a:lnTo>
                  <a:lnTo>
                    <a:pt x="4459" y="2160"/>
                  </a:lnTo>
                  <a:lnTo>
                    <a:pt x="4492" y="2139"/>
                  </a:lnTo>
                  <a:lnTo>
                    <a:pt x="4523" y="2117"/>
                  </a:lnTo>
                  <a:lnTo>
                    <a:pt x="4549" y="2096"/>
                  </a:lnTo>
                  <a:lnTo>
                    <a:pt x="4574" y="2076"/>
                  </a:lnTo>
                  <a:lnTo>
                    <a:pt x="4595" y="2055"/>
                  </a:lnTo>
                  <a:lnTo>
                    <a:pt x="4615" y="2036"/>
                  </a:lnTo>
                  <a:lnTo>
                    <a:pt x="4632" y="2017"/>
                  </a:lnTo>
                  <a:lnTo>
                    <a:pt x="4647" y="1999"/>
                  </a:lnTo>
                  <a:lnTo>
                    <a:pt x="4661" y="1981"/>
                  </a:lnTo>
                  <a:lnTo>
                    <a:pt x="4673" y="1965"/>
                  </a:lnTo>
                  <a:lnTo>
                    <a:pt x="4683" y="1950"/>
                  </a:lnTo>
                  <a:lnTo>
                    <a:pt x="4700" y="1922"/>
                  </a:lnTo>
                  <a:lnTo>
                    <a:pt x="4700" y="1922"/>
                  </a:lnTo>
                  <a:lnTo>
                    <a:pt x="4708" y="1910"/>
                  </a:lnTo>
                  <a:lnTo>
                    <a:pt x="4714" y="1896"/>
                  </a:lnTo>
                  <a:lnTo>
                    <a:pt x="4721" y="1880"/>
                  </a:lnTo>
                  <a:lnTo>
                    <a:pt x="4727" y="1864"/>
                  </a:lnTo>
                  <a:lnTo>
                    <a:pt x="4733" y="1845"/>
                  </a:lnTo>
                  <a:lnTo>
                    <a:pt x="4739" y="1826"/>
                  </a:lnTo>
                  <a:lnTo>
                    <a:pt x="4743" y="1806"/>
                  </a:lnTo>
                  <a:lnTo>
                    <a:pt x="4749" y="1785"/>
                  </a:lnTo>
                  <a:lnTo>
                    <a:pt x="4753" y="1763"/>
                  </a:lnTo>
                  <a:lnTo>
                    <a:pt x="4756" y="1740"/>
                  </a:lnTo>
                  <a:lnTo>
                    <a:pt x="4758" y="1716"/>
                  </a:lnTo>
                  <a:lnTo>
                    <a:pt x="4759" y="1692"/>
                  </a:lnTo>
                  <a:lnTo>
                    <a:pt x="4760" y="1667"/>
                  </a:lnTo>
                  <a:lnTo>
                    <a:pt x="4759" y="1642"/>
                  </a:lnTo>
                  <a:lnTo>
                    <a:pt x="4758" y="1616"/>
                  </a:lnTo>
                  <a:lnTo>
                    <a:pt x="4755" y="1590"/>
                  </a:lnTo>
                  <a:lnTo>
                    <a:pt x="4751" y="1564"/>
                  </a:lnTo>
                  <a:lnTo>
                    <a:pt x="4745" y="1538"/>
                  </a:lnTo>
                  <a:lnTo>
                    <a:pt x="4738" y="1511"/>
                  </a:lnTo>
                  <a:lnTo>
                    <a:pt x="4730" y="1486"/>
                  </a:lnTo>
                  <a:lnTo>
                    <a:pt x="4720" y="1459"/>
                  </a:lnTo>
                  <a:lnTo>
                    <a:pt x="4709" y="1433"/>
                  </a:lnTo>
                  <a:lnTo>
                    <a:pt x="4695" y="1408"/>
                  </a:lnTo>
                  <a:lnTo>
                    <a:pt x="4681" y="1383"/>
                  </a:lnTo>
                  <a:lnTo>
                    <a:pt x="4665" y="1359"/>
                  </a:lnTo>
                  <a:lnTo>
                    <a:pt x="4646" y="1334"/>
                  </a:lnTo>
                  <a:lnTo>
                    <a:pt x="4625" y="1311"/>
                  </a:lnTo>
                  <a:lnTo>
                    <a:pt x="4602" y="1288"/>
                  </a:lnTo>
                  <a:lnTo>
                    <a:pt x="4578" y="1267"/>
                  </a:lnTo>
                  <a:lnTo>
                    <a:pt x="4551" y="1246"/>
                  </a:lnTo>
                  <a:lnTo>
                    <a:pt x="4522" y="1227"/>
                  </a:lnTo>
                  <a:lnTo>
                    <a:pt x="4490" y="1207"/>
                  </a:lnTo>
                  <a:lnTo>
                    <a:pt x="4490" y="1207"/>
                  </a:lnTo>
                  <a:lnTo>
                    <a:pt x="4466" y="1195"/>
                  </a:lnTo>
                  <a:lnTo>
                    <a:pt x="4443" y="1184"/>
                  </a:lnTo>
                  <a:lnTo>
                    <a:pt x="4419" y="1174"/>
                  </a:lnTo>
                  <a:lnTo>
                    <a:pt x="4396" y="1165"/>
                  </a:lnTo>
                  <a:lnTo>
                    <a:pt x="4372" y="1156"/>
                  </a:lnTo>
                  <a:lnTo>
                    <a:pt x="4348" y="1149"/>
                  </a:lnTo>
                  <a:lnTo>
                    <a:pt x="4325" y="1143"/>
                  </a:lnTo>
                  <a:lnTo>
                    <a:pt x="4302" y="1138"/>
                  </a:lnTo>
                  <a:lnTo>
                    <a:pt x="4278" y="1133"/>
                  </a:lnTo>
                  <a:lnTo>
                    <a:pt x="4256" y="1130"/>
                  </a:lnTo>
                  <a:lnTo>
                    <a:pt x="4233" y="1127"/>
                  </a:lnTo>
                  <a:lnTo>
                    <a:pt x="4211" y="1125"/>
                  </a:lnTo>
                  <a:lnTo>
                    <a:pt x="4188" y="1123"/>
                  </a:lnTo>
                  <a:lnTo>
                    <a:pt x="4167" y="1123"/>
                  </a:lnTo>
                  <a:lnTo>
                    <a:pt x="4145" y="1123"/>
                  </a:lnTo>
                  <a:lnTo>
                    <a:pt x="4124" y="1123"/>
                  </a:lnTo>
                  <a:lnTo>
                    <a:pt x="4083" y="1126"/>
                  </a:lnTo>
                  <a:lnTo>
                    <a:pt x="4044" y="1130"/>
                  </a:lnTo>
                  <a:lnTo>
                    <a:pt x="4007" y="1136"/>
                  </a:lnTo>
                  <a:lnTo>
                    <a:pt x="3973" y="1144"/>
                  </a:lnTo>
                  <a:lnTo>
                    <a:pt x="3941" y="1152"/>
                  </a:lnTo>
                  <a:lnTo>
                    <a:pt x="3912" y="1161"/>
                  </a:lnTo>
                  <a:lnTo>
                    <a:pt x="3887" y="1172"/>
                  </a:lnTo>
                  <a:lnTo>
                    <a:pt x="3864" y="1181"/>
                  </a:lnTo>
                  <a:lnTo>
                    <a:pt x="3864" y="1181"/>
                  </a:lnTo>
                  <a:lnTo>
                    <a:pt x="3844" y="1191"/>
                  </a:lnTo>
                  <a:lnTo>
                    <a:pt x="3824" y="1201"/>
                  </a:lnTo>
                  <a:lnTo>
                    <a:pt x="3806" y="1213"/>
                  </a:lnTo>
                  <a:lnTo>
                    <a:pt x="3787" y="1224"/>
                  </a:lnTo>
                  <a:lnTo>
                    <a:pt x="3769" y="1237"/>
                  </a:lnTo>
                  <a:lnTo>
                    <a:pt x="3752" y="1249"/>
                  </a:lnTo>
                  <a:lnTo>
                    <a:pt x="3735" y="1264"/>
                  </a:lnTo>
                  <a:lnTo>
                    <a:pt x="3719" y="1278"/>
                  </a:lnTo>
                  <a:lnTo>
                    <a:pt x="3703" y="1293"/>
                  </a:lnTo>
                  <a:lnTo>
                    <a:pt x="3687" y="1309"/>
                  </a:lnTo>
                  <a:lnTo>
                    <a:pt x="3673" y="1325"/>
                  </a:lnTo>
                  <a:lnTo>
                    <a:pt x="3659" y="1341"/>
                  </a:lnTo>
                  <a:lnTo>
                    <a:pt x="3645" y="1359"/>
                  </a:lnTo>
                  <a:lnTo>
                    <a:pt x="3633" y="1377"/>
                  </a:lnTo>
                  <a:lnTo>
                    <a:pt x="3621" y="1396"/>
                  </a:lnTo>
                  <a:lnTo>
                    <a:pt x="3609" y="1415"/>
                  </a:lnTo>
                  <a:lnTo>
                    <a:pt x="3599" y="1434"/>
                  </a:lnTo>
                  <a:lnTo>
                    <a:pt x="3589" y="1455"/>
                  </a:lnTo>
                  <a:lnTo>
                    <a:pt x="3581" y="1475"/>
                  </a:lnTo>
                  <a:lnTo>
                    <a:pt x="3573" y="1497"/>
                  </a:lnTo>
                  <a:lnTo>
                    <a:pt x="3565" y="1518"/>
                  </a:lnTo>
                  <a:lnTo>
                    <a:pt x="3559" y="1541"/>
                  </a:lnTo>
                  <a:lnTo>
                    <a:pt x="3554" y="1563"/>
                  </a:lnTo>
                  <a:lnTo>
                    <a:pt x="3550" y="1586"/>
                  </a:lnTo>
                  <a:lnTo>
                    <a:pt x="3547" y="1609"/>
                  </a:lnTo>
                  <a:lnTo>
                    <a:pt x="3545" y="1634"/>
                  </a:lnTo>
                  <a:lnTo>
                    <a:pt x="3544" y="1658"/>
                  </a:lnTo>
                  <a:lnTo>
                    <a:pt x="3543" y="1683"/>
                  </a:lnTo>
                  <a:lnTo>
                    <a:pt x="3544" y="1708"/>
                  </a:lnTo>
                  <a:lnTo>
                    <a:pt x="3546" y="1734"/>
                  </a:lnTo>
                  <a:lnTo>
                    <a:pt x="3550" y="1760"/>
                  </a:lnTo>
                  <a:lnTo>
                    <a:pt x="3554" y="1786"/>
                  </a:lnTo>
                  <a:lnTo>
                    <a:pt x="3554" y="1786"/>
                  </a:lnTo>
                  <a:lnTo>
                    <a:pt x="3559" y="1810"/>
                  </a:lnTo>
                  <a:lnTo>
                    <a:pt x="3564" y="1831"/>
                  </a:lnTo>
                  <a:lnTo>
                    <a:pt x="3571" y="1853"/>
                  </a:lnTo>
                  <a:lnTo>
                    <a:pt x="3577" y="1873"/>
                  </a:lnTo>
                  <a:lnTo>
                    <a:pt x="3585" y="1893"/>
                  </a:lnTo>
                  <a:lnTo>
                    <a:pt x="3592" y="1911"/>
                  </a:lnTo>
                  <a:lnTo>
                    <a:pt x="3601" y="1929"/>
                  </a:lnTo>
                  <a:lnTo>
                    <a:pt x="3610" y="1947"/>
                  </a:lnTo>
                  <a:lnTo>
                    <a:pt x="3620" y="1963"/>
                  </a:lnTo>
                  <a:lnTo>
                    <a:pt x="3631" y="1978"/>
                  </a:lnTo>
                  <a:lnTo>
                    <a:pt x="3641" y="1994"/>
                  </a:lnTo>
                  <a:lnTo>
                    <a:pt x="3652" y="2009"/>
                  </a:lnTo>
                  <a:lnTo>
                    <a:pt x="3665" y="2023"/>
                  </a:lnTo>
                  <a:lnTo>
                    <a:pt x="3677" y="2037"/>
                  </a:lnTo>
                  <a:lnTo>
                    <a:pt x="3690" y="2050"/>
                  </a:lnTo>
                  <a:lnTo>
                    <a:pt x="3704" y="2062"/>
                  </a:lnTo>
                  <a:lnTo>
                    <a:pt x="3732" y="2087"/>
                  </a:lnTo>
                  <a:lnTo>
                    <a:pt x="3763" y="2109"/>
                  </a:lnTo>
                  <a:lnTo>
                    <a:pt x="3795" y="2131"/>
                  </a:lnTo>
                  <a:lnTo>
                    <a:pt x="3828" y="2151"/>
                  </a:lnTo>
                  <a:lnTo>
                    <a:pt x="3863" y="2172"/>
                  </a:lnTo>
                  <a:lnTo>
                    <a:pt x="3899" y="2191"/>
                  </a:lnTo>
                  <a:lnTo>
                    <a:pt x="3976" y="2229"/>
                  </a:lnTo>
                  <a:lnTo>
                    <a:pt x="3976" y="2229"/>
                  </a:lnTo>
                  <a:lnTo>
                    <a:pt x="3945" y="2246"/>
                  </a:lnTo>
                  <a:lnTo>
                    <a:pt x="3916" y="2263"/>
                  </a:lnTo>
                  <a:lnTo>
                    <a:pt x="3890" y="2280"/>
                  </a:lnTo>
                  <a:lnTo>
                    <a:pt x="3864" y="2298"/>
                  </a:lnTo>
                  <a:lnTo>
                    <a:pt x="3840" y="2318"/>
                  </a:lnTo>
                  <a:lnTo>
                    <a:pt x="3817" y="2337"/>
                  </a:lnTo>
                  <a:lnTo>
                    <a:pt x="3797" y="2358"/>
                  </a:lnTo>
                  <a:lnTo>
                    <a:pt x="3778" y="2379"/>
                  </a:lnTo>
                  <a:lnTo>
                    <a:pt x="3761" y="2403"/>
                  </a:lnTo>
                  <a:lnTo>
                    <a:pt x="3754" y="2415"/>
                  </a:lnTo>
                  <a:lnTo>
                    <a:pt x="3746" y="2427"/>
                  </a:lnTo>
                  <a:lnTo>
                    <a:pt x="3739" y="2440"/>
                  </a:lnTo>
                  <a:lnTo>
                    <a:pt x="3733" y="2453"/>
                  </a:lnTo>
                  <a:lnTo>
                    <a:pt x="3728" y="2466"/>
                  </a:lnTo>
                  <a:lnTo>
                    <a:pt x="3723" y="2480"/>
                  </a:lnTo>
                  <a:lnTo>
                    <a:pt x="3718" y="2495"/>
                  </a:lnTo>
                  <a:lnTo>
                    <a:pt x="3714" y="2510"/>
                  </a:lnTo>
                  <a:lnTo>
                    <a:pt x="3711" y="2525"/>
                  </a:lnTo>
                  <a:lnTo>
                    <a:pt x="3708" y="2541"/>
                  </a:lnTo>
                  <a:lnTo>
                    <a:pt x="3706" y="2557"/>
                  </a:lnTo>
                  <a:lnTo>
                    <a:pt x="3705" y="2574"/>
                  </a:lnTo>
                  <a:lnTo>
                    <a:pt x="3704" y="2592"/>
                  </a:lnTo>
                  <a:lnTo>
                    <a:pt x="3703" y="2609"/>
                  </a:lnTo>
                  <a:lnTo>
                    <a:pt x="3703" y="2609"/>
                  </a:lnTo>
                  <a:lnTo>
                    <a:pt x="3704" y="2632"/>
                  </a:lnTo>
                  <a:lnTo>
                    <a:pt x="3707" y="2655"/>
                  </a:lnTo>
                  <a:lnTo>
                    <a:pt x="3711" y="2678"/>
                  </a:lnTo>
                  <a:lnTo>
                    <a:pt x="3716" y="2701"/>
                  </a:lnTo>
                  <a:lnTo>
                    <a:pt x="3729" y="2749"/>
                  </a:lnTo>
                  <a:lnTo>
                    <a:pt x="3736" y="2775"/>
                  </a:lnTo>
                  <a:lnTo>
                    <a:pt x="3742" y="2801"/>
                  </a:lnTo>
                  <a:lnTo>
                    <a:pt x="3749" y="2830"/>
                  </a:lnTo>
                  <a:lnTo>
                    <a:pt x="3753" y="2859"/>
                  </a:lnTo>
                  <a:lnTo>
                    <a:pt x="3757" y="2889"/>
                  </a:lnTo>
                  <a:lnTo>
                    <a:pt x="3758" y="2922"/>
                  </a:lnTo>
                  <a:lnTo>
                    <a:pt x="3758" y="2957"/>
                  </a:lnTo>
                  <a:lnTo>
                    <a:pt x="3757" y="2975"/>
                  </a:lnTo>
                  <a:lnTo>
                    <a:pt x="3755" y="2994"/>
                  </a:lnTo>
                  <a:lnTo>
                    <a:pt x="3753" y="3012"/>
                  </a:lnTo>
                  <a:lnTo>
                    <a:pt x="3750" y="3033"/>
                  </a:lnTo>
                  <a:lnTo>
                    <a:pt x="3745" y="3053"/>
                  </a:lnTo>
                  <a:lnTo>
                    <a:pt x="3741" y="3073"/>
                  </a:lnTo>
                  <a:lnTo>
                    <a:pt x="3741" y="3073"/>
                  </a:lnTo>
                  <a:lnTo>
                    <a:pt x="3741" y="3075"/>
                  </a:lnTo>
                  <a:lnTo>
                    <a:pt x="3741" y="3076"/>
                  </a:lnTo>
                  <a:lnTo>
                    <a:pt x="3743" y="3076"/>
                  </a:lnTo>
                  <a:lnTo>
                    <a:pt x="3745" y="3078"/>
                  </a:lnTo>
                  <a:lnTo>
                    <a:pt x="3753" y="3075"/>
                  </a:lnTo>
                  <a:lnTo>
                    <a:pt x="3762" y="3073"/>
                  </a:lnTo>
                  <a:lnTo>
                    <a:pt x="3785" y="3063"/>
                  </a:lnTo>
                  <a:lnTo>
                    <a:pt x="3814" y="3051"/>
                  </a:lnTo>
                  <a:lnTo>
                    <a:pt x="3842" y="3036"/>
                  </a:lnTo>
                  <a:lnTo>
                    <a:pt x="3867" y="3022"/>
                  </a:lnTo>
                  <a:lnTo>
                    <a:pt x="3886" y="3011"/>
                  </a:lnTo>
                  <a:lnTo>
                    <a:pt x="3891" y="3007"/>
                  </a:lnTo>
                  <a:lnTo>
                    <a:pt x="3894" y="3005"/>
                  </a:lnTo>
                  <a:lnTo>
                    <a:pt x="3894" y="3005"/>
                  </a:lnTo>
                  <a:lnTo>
                    <a:pt x="3903" y="2981"/>
                  </a:lnTo>
                  <a:lnTo>
                    <a:pt x="3910" y="2958"/>
                  </a:lnTo>
                  <a:lnTo>
                    <a:pt x="3916" y="2934"/>
                  </a:lnTo>
                  <a:lnTo>
                    <a:pt x="3921" y="2910"/>
                  </a:lnTo>
                  <a:lnTo>
                    <a:pt x="3925" y="2886"/>
                  </a:lnTo>
                  <a:lnTo>
                    <a:pt x="3928" y="2863"/>
                  </a:lnTo>
                  <a:lnTo>
                    <a:pt x="3930" y="2840"/>
                  </a:lnTo>
                  <a:lnTo>
                    <a:pt x="3932" y="2818"/>
                  </a:lnTo>
                  <a:lnTo>
                    <a:pt x="3932" y="2779"/>
                  </a:lnTo>
                  <a:lnTo>
                    <a:pt x="3931" y="2748"/>
                  </a:lnTo>
                  <a:lnTo>
                    <a:pt x="3928" y="2721"/>
                  </a:lnTo>
                  <a:lnTo>
                    <a:pt x="3928" y="2721"/>
                  </a:lnTo>
                  <a:lnTo>
                    <a:pt x="3939" y="2730"/>
                  </a:lnTo>
                  <a:lnTo>
                    <a:pt x="3947" y="2741"/>
                  </a:lnTo>
                  <a:lnTo>
                    <a:pt x="3954" y="2753"/>
                  </a:lnTo>
                  <a:lnTo>
                    <a:pt x="3960" y="2767"/>
                  </a:lnTo>
                  <a:lnTo>
                    <a:pt x="3964" y="2782"/>
                  </a:lnTo>
                  <a:lnTo>
                    <a:pt x="3968" y="2797"/>
                  </a:lnTo>
                  <a:lnTo>
                    <a:pt x="3971" y="2814"/>
                  </a:lnTo>
                  <a:lnTo>
                    <a:pt x="3973" y="2830"/>
                  </a:lnTo>
                  <a:lnTo>
                    <a:pt x="3975" y="2847"/>
                  </a:lnTo>
                  <a:lnTo>
                    <a:pt x="3976" y="2865"/>
                  </a:lnTo>
                  <a:lnTo>
                    <a:pt x="3976" y="2881"/>
                  </a:lnTo>
                  <a:lnTo>
                    <a:pt x="3975" y="2899"/>
                  </a:lnTo>
                  <a:lnTo>
                    <a:pt x="3971" y="2930"/>
                  </a:lnTo>
                  <a:lnTo>
                    <a:pt x="3965" y="2959"/>
                  </a:lnTo>
                  <a:lnTo>
                    <a:pt x="3965" y="2959"/>
                  </a:lnTo>
                  <a:lnTo>
                    <a:pt x="3982" y="2950"/>
                  </a:lnTo>
                  <a:lnTo>
                    <a:pt x="3998" y="2938"/>
                  </a:lnTo>
                  <a:lnTo>
                    <a:pt x="4016" y="2925"/>
                  </a:lnTo>
                  <a:lnTo>
                    <a:pt x="4036" y="2911"/>
                  </a:lnTo>
                  <a:lnTo>
                    <a:pt x="4053" y="2896"/>
                  </a:lnTo>
                  <a:lnTo>
                    <a:pt x="4061" y="2888"/>
                  </a:lnTo>
                  <a:lnTo>
                    <a:pt x="4068" y="2881"/>
                  </a:lnTo>
                  <a:lnTo>
                    <a:pt x="4072" y="2874"/>
                  </a:lnTo>
                  <a:lnTo>
                    <a:pt x="4075" y="2868"/>
                  </a:lnTo>
                  <a:lnTo>
                    <a:pt x="4075" y="2868"/>
                  </a:lnTo>
                  <a:lnTo>
                    <a:pt x="4083" y="2838"/>
                  </a:lnTo>
                  <a:lnTo>
                    <a:pt x="4090" y="2810"/>
                  </a:lnTo>
                  <a:lnTo>
                    <a:pt x="4094" y="2783"/>
                  </a:lnTo>
                  <a:lnTo>
                    <a:pt x="4096" y="2757"/>
                  </a:lnTo>
                  <a:lnTo>
                    <a:pt x="4096" y="2733"/>
                  </a:lnTo>
                  <a:lnTo>
                    <a:pt x="4095" y="2709"/>
                  </a:lnTo>
                  <a:lnTo>
                    <a:pt x="4093" y="2687"/>
                  </a:lnTo>
                  <a:lnTo>
                    <a:pt x="4090" y="2665"/>
                  </a:lnTo>
                  <a:lnTo>
                    <a:pt x="4085" y="2645"/>
                  </a:lnTo>
                  <a:lnTo>
                    <a:pt x="4080" y="2626"/>
                  </a:lnTo>
                  <a:lnTo>
                    <a:pt x="4075" y="2607"/>
                  </a:lnTo>
                  <a:lnTo>
                    <a:pt x="4069" y="2590"/>
                  </a:lnTo>
                  <a:lnTo>
                    <a:pt x="4055" y="2556"/>
                  </a:lnTo>
                  <a:lnTo>
                    <a:pt x="4043" y="2524"/>
                  </a:lnTo>
                  <a:lnTo>
                    <a:pt x="4043" y="2524"/>
                  </a:lnTo>
                  <a:lnTo>
                    <a:pt x="4038" y="2509"/>
                  </a:lnTo>
                  <a:lnTo>
                    <a:pt x="4035" y="2494"/>
                  </a:lnTo>
                  <a:lnTo>
                    <a:pt x="4034" y="2479"/>
                  </a:lnTo>
                  <a:lnTo>
                    <a:pt x="4035" y="2464"/>
                  </a:lnTo>
                  <a:lnTo>
                    <a:pt x="4037" y="2450"/>
                  </a:lnTo>
                  <a:lnTo>
                    <a:pt x="4041" y="2435"/>
                  </a:lnTo>
                  <a:lnTo>
                    <a:pt x="4046" y="2421"/>
                  </a:lnTo>
                  <a:lnTo>
                    <a:pt x="4053" y="2408"/>
                  </a:lnTo>
                  <a:lnTo>
                    <a:pt x="4061" y="2395"/>
                  </a:lnTo>
                  <a:lnTo>
                    <a:pt x="4071" y="2381"/>
                  </a:lnTo>
                  <a:lnTo>
                    <a:pt x="4081" y="2369"/>
                  </a:lnTo>
                  <a:lnTo>
                    <a:pt x="4092" y="2358"/>
                  </a:lnTo>
                  <a:lnTo>
                    <a:pt x="4103" y="2346"/>
                  </a:lnTo>
                  <a:lnTo>
                    <a:pt x="4117" y="2335"/>
                  </a:lnTo>
                  <a:lnTo>
                    <a:pt x="4130" y="2326"/>
                  </a:lnTo>
                  <a:lnTo>
                    <a:pt x="4145" y="2317"/>
                  </a:lnTo>
                  <a:lnTo>
                    <a:pt x="4145" y="2317"/>
                  </a:lnTo>
                  <a:lnTo>
                    <a:pt x="4180" y="2336"/>
                  </a:lnTo>
                  <a:lnTo>
                    <a:pt x="4215" y="2357"/>
                  </a:lnTo>
                  <a:lnTo>
                    <a:pt x="4251" y="2378"/>
                  </a:lnTo>
                  <a:lnTo>
                    <a:pt x="4286" y="2402"/>
                  </a:lnTo>
                  <a:lnTo>
                    <a:pt x="4286" y="2402"/>
                  </a:lnTo>
                  <a:lnTo>
                    <a:pt x="4307" y="2416"/>
                  </a:lnTo>
                  <a:lnTo>
                    <a:pt x="4341" y="2441"/>
                  </a:lnTo>
                  <a:lnTo>
                    <a:pt x="4361" y="2456"/>
                  </a:lnTo>
                  <a:lnTo>
                    <a:pt x="4382" y="2474"/>
                  </a:lnTo>
                  <a:lnTo>
                    <a:pt x="4405" y="2494"/>
                  </a:lnTo>
                  <a:lnTo>
                    <a:pt x="4430" y="2515"/>
                  </a:lnTo>
                  <a:lnTo>
                    <a:pt x="4453" y="2539"/>
                  </a:lnTo>
                  <a:lnTo>
                    <a:pt x="4478" y="2563"/>
                  </a:lnTo>
                  <a:lnTo>
                    <a:pt x="4501" y="2590"/>
                  </a:lnTo>
                  <a:lnTo>
                    <a:pt x="4524" y="2618"/>
                  </a:lnTo>
                  <a:lnTo>
                    <a:pt x="4545" y="2647"/>
                  </a:lnTo>
                  <a:lnTo>
                    <a:pt x="4564" y="2678"/>
                  </a:lnTo>
                  <a:lnTo>
                    <a:pt x="4574" y="2693"/>
                  </a:lnTo>
                  <a:lnTo>
                    <a:pt x="4582" y="2709"/>
                  </a:lnTo>
                  <a:lnTo>
                    <a:pt x="4590" y="2726"/>
                  </a:lnTo>
                  <a:lnTo>
                    <a:pt x="4596" y="2742"/>
                  </a:lnTo>
                  <a:lnTo>
                    <a:pt x="4596" y="2742"/>
                  </a:lnTo>
                  <a:lnTo>
                    <a:pt x="4606" y="2768"/>
                  </a:lnTo>
                  <a:lnTo>
                    <a:pt x="4616" y="2792"/>
                  </a:lnTo>
                  <a:lnTo>
                    <a:pt x="4624" y="2817"/>
                  </a:lnTo>
                  <a:lnTo>
                    <a:pt x="4630" y="2840"/>
                  </a:lnTo>
                  <a:lnTo>
                    <a:pt x="4636" y="2864"/>
                  </a:lnTo>
                  <a:lnTo>
                    <a:pt x="4641" y="2886"/>
                  </a:lnTo>
                  <a:lnTo>
                    <a:pt x="4645" y="2908"/>
                  </a:lnTo>
                  <a:lnTo>
                    <a:pt x="4649" y="2928"/>
                  </a:lnTo>
                  <a:lnTo>
                    <a:pt x="4651" y="2949"/>
                  </a:lnTo>
                  <a:lnTo>
                    <a:pt x="4653" y="2968"/>
                  </a:lnTo>
                  <a:lnTo>
                    <a:pt x="4654" y="2987"/>
                  </a:lnTo>
                  <a:lnTo>
                    <a:pt x="4655" y="3005"/>
                  </a:lnTo>
                  <a:lnTo>
                    <a:pt x="4654" y="3039"/>
                  </a:lnTo>
                  <a:lnTo>
                    <a:pt x="4652" y="3070"/>
                  </a:lnTo>
                  <a:lnTo>
                    <a:pt x="4648" y="3099"/>
                  </a:lnTo>
                  <a:lnTo>
                    <a:pt x="4642" y="3126"/>
                  </a:lnTo>
                  <a:lnTo>
                    <a:pt x="4635" y="3149"/>
                  </a:lnTo>
                  <a:lnTo>
                    <a:pt x="4628" y="3171"/>
                  </a:lnTo>
                  <a:lnTo>
                    <a:pt x="4620" y="3189"/>
                  </a:lnTo>
                  <a:lnTo>
                    <a:pt x="4612" y="3206"/>
                  </a:lnTo>
                  <a:lnTo>
                    <a:pt x="4603" y="3221"/>
                  </a:lnTo>
                  <a:lnTo>
                    <a:pt x="4596" y="3232"/>
                  </a:lnTo>
                  <a:lnTo>
                    <a:pt x="4596" y="3232"/>
                  </a:lnTo>
                  <a:lnTo>
                    <a:pt x="4582" y="3252"/>
                  </a:lnTo>
                  <a:lnTo>
                    <a:pt x="4568" y="3273"/>
                  </a:lnTo>
                  <a:lnTo>
                    <a:pt x="4553" y="3291"/>
                  </a:lnTo>
                  <a:lnTo>
                    <a:pt x="4538" y="3310"/>
                  </a:lnTo>
                  <a:lnTo>
                    <a:pt x="4522" y="3327"/>
                  </a:lnTo>
                  <a:lnTo>
                    <a:pt x="4505" y="3343"/>
                  </a:lnTo>
                  <a:lnTo>
                    <a:pt x="4487" y="3359"/>
                  </a:lnTo>
                  <a:lnTo>
                    <a:pt x="4469" y="3373"/>
                  </a:lnTo>
                  <a:lnTo>
                    <a:pt x="4450" y="3386"/>
                  </a:lnTo>
                  <a:lnTo>
                    <a:pt x="4430" y="3398"/>
                  </a:lnTo>
                  <a:lnTo>
                    <a:pt x="4409" y="3409"/>
                  </a:lnTo>
                  <a:lnTo>
                    <a:pt x="4388" y="3418"/>
                  </a:lnTo>
                  <a:lnTo>
                    <a:pt x="4364" y="3426"/>
                  </a:lnTo>
                  <a:lnTo>
                    <a:pt x="4341" y="3433"/>
                  </a:lnTo>
                  <a:lnTo>
                    <a:pt x="4316" y="3438"/>
                  </a:lnTo>
                  <a:lnTo>
                    <a:pt x="4290" y="3441"/>
                  </a:lnTo>
                  <a:lnTo>
                    <a:pt x="4290" y="3441"/>
                  </a:lnTo>
                  <a:lnTo>
                    <a:pt x="4283" y="3440"/>
                  </a:lnTo>
                  <a:lnTo>
                    <a:pt x="4275" y="3440"/>
                  </a:lnTo>
                  <a:lnTo>
                    <a:pt x="4275" y="3440"/>
                  </a:lnTo>
                  <a:lnTo>
                    <a:pt x="4242" y="3441"/>
                  </a:lnTo>
                  <a:lnTo>
                    <a:pt x="4213" y="3441"/>
                  </a:lnTo>
                  <a:lnTo>
                    <a:pt x="4185" y="3440"/>
                  </a:lnTo>
                  <a:lnTo>
                    <a:pt x="4159" y="3437"/>
                  </a:lnTo>
                  <a:lnTo>
                    <a:pt x="4159" y="3437"/>
                  </a:lnTo>
                  <a:lnTo>
                    <a:pt x="4131" y="3432"/>
                  </a:lnTo>
                  <a:lnTo>
                    <a:pt x="4103" y="3427"/>
                  </a:lnTo>
                  <a:lnTo>
                    <a:pt x="4077" y="3420"/>
                  </a:lnTo>
                  <a:lnTo>
                    <a:pt x="4052" y="3413"/>
                  </a:lnTo>
                  <a:lnTo>
                    <a:pt x="4052" y="3413"/>
                  </a:lnTo>
                  <a:lnTo>
                    <a:pt x="4009" y="3398"/>
                  </a:lnTo>
                  <a:lnTo>
                    <a:pt x="3965" y="3379"/>
                  </a:lnTo>
                  <a:lnTo>
                    <a:pt x="3965" y="3379"/>
                  </a:lnTo>
                  <a:lnTo>
                    <a:pt x="3925" y="3359"/>
                  </a:lnTo>
                  <a:lnTo>
                    <a:pt x="3874" y="3331"/>
                  </a:lnTo>
                  <a:lnTo>
                    <a:pt x="3846" y="3314"/>
                  </a:lnTo>
                  <a:lnTo>
                    <a:pt x="3815" y="3294"/>
                  </a:lnTo>
                  <a:lnTo>
                    <a:pt x="3782" y="3274"/>
                  </a:lnTo>
                  <a:lnTo>
                    <a:pt x="3748" y="3250"/>
                  </a:lnTo>
                  <a:lnTo>
                    <a:pt x="3712" y="3226"/>
                  </a:lnTo>
                  <a:lnTo>
                    <a:pt x="3676" y="3198"/>
                  </a:lnTo>
                  <a:lnTo>
                    <a:pt x="3638" y="3170"/>
                  </a:lnTo>
                  <a:lnTo>
                    <a:pt x="3601" y="3139"/>
                  </a:lnTo>
                  <a:lnTo>
                    <a:pt x="3563" y="3106"/>
                  </a:lnTo>
                  <a:lnTo>
                    <a:pt x="3526" y="3071"/>
                  </a:lnTo>
                  <a:lnTo>
                    <a:pt x="3488" y="3035"/>
                  </a:lnTo>
                  <a:lnTo>
                    <a:pt x="3451" y="2997"/>
                  </a:lnTo>
                  <a:lnTo>
                    <a:pt x="3451" y="2997"/>
                  </a:lnTo>
                  <a:lnTo>
                    <a:pt x="3394" y="2933"/>
                  </a:lnTo>
                  <a:lnTo>
                    <a:pt x="3342" y="2874"/>
                  </a:lnTo>
                  <a:lnTo>
                    <a:pt x="3295" y="2819"/>
                  </a:lnTo>
                  <a:lnTo>
                    <a:pt x="3253" y="2769"/>
                  </a:lnTo>
                  <a:lnTo>
                    <a:pt x="3215" y="2722"/>
                  </a:lnTo>
                  <a:lnTo>
                    <a:pt x="3180" y="2679"/>
                  </a:lnTo>
                  <a:lnTo>
                    <a:pt x="3120" y="2602"/>
                  </a:lnTo>
                  <a:lnTo>
                    <a:pt x="3120" y="2602"/>
                  </a:lnTo>
                  <a:lnTo>
                    <a:pt x="3138" y="2609"/>
                  </a:lnTo>
                  <a:lnTo>
                    <a:pt x="3156" y="2615"/>
                  </a:lnTo>
                  <a:lnTo>
                    <a:pt x="3175" y="2620"/>
                  </a:lnTo>
                  <a:lnTo>
                    <a:pt x="3193" y="2625"/>
                  </a:lnTo>
                  <a:lnTo>
                    <a:pt x="3211" y="2628"/>
                  </a:lnTo>
                  <a:lnTo>
                    <a:pt x="3229" y="2630"/>
                  </a:lnTo>
                  <a:lnTo>
                    <a:pt x="3262" y="2633"/>
                  </a:lnTo>
                  <a:lnTo>
                    <a:pt x="3289" y="2633"/>
                  </a:lnTo>
                  <a:lnTo>
                    <a:pt x="3312" y="2632"/>
                  </a:lnTo>
                  <a:lnTo>
                    <a:pt x="3332" y="2630"/>
                  </a:lnTo>
                  <a:lnTo>
                    <a:pt x="3332" y="2630"/>
                  </a:lnTo>
                  <a:lnTo>
                    <a:pt x="3336" y="2580"/>
                  </a:lnTo>
                  <a:lnTo>
                    <a:pt x="3338" y="2535"/>
                  </a:lnTo>
                  <a:lnTo>
                    <a:pt x="3340" y="2495"/>
                  </a:lnTo>
                  <a:lnTo>
                    <a:pt x="3346" y="2360"/>
                  </a:lnTo>
                  <a:lnTo>
                    <a:pt x="3346" y="2360"/>
                  </a:lnTo>
                  <a:lnTo>
                    <a:pt x="3349" y="2323"/>
                  </a:lnTo>
                  <a:lnTo>
                    <a:pt x="3351" y="2288"/>
                  </a:lnTo>
                  <a:lnTo>
                    <a:pt x="3352" y="2251"/>
                  </a:lnTo>
                  <a:lnTo>
                    <a:pt x="3352" y="2251"/>
                  </a:lnTo>
                  <a:lnTo>
                    <a:pt x="3340" y="2250"/>
                  </a:lnTo>
                  <a:lnTo>
                    <a:pt x="3307" y="2246"/>
                  </a:lnTo>
                  <a:lnTo>
                    <a:pt x="3285" y="2243"/>
                  </a:lnTo>
                  <a:lnTo>
                    <a:pt x="3260" y="2238"/>
                  </a:lnTo>
                  <a:lnTo>
                    <a:pt x="3233" y="2233"/>
                  </a:lnTo>
                  <a:lnTo>
                    <a:pt x="3206" y="2226"/>
                  </a:lnTo>
                  <a:lnTo>
                    <a:pt x="3176" y="2217"/>
                  </a:lnTo>
                  <a:lnTo>
                    <a:pt x="3147" y="2206"/>
                  </a:lnTo>
                  <a:lnTo>
                    <a:pt x="3120" y="2194"/>
                  </a:lnTo>
                  <a:lnTo>
                    <a:pt x="3106" y="2188"/>
                  </a:lnTo>
                  <a:lnTo>
                    <a:pt x="3093" y="2181"/>
                  </a:lnTo>
                  <a:lnTo>
                    <a:pt x="3081" y="2173"/>
                  </a:lnTo>
                  <a:lnTo>
                    <a:pt x="3070" y="2164"/>
                  </a:lnTo>
                  <a:lnTo>
                    <a:pt x="3058" y="2155"/>
                  </a:lnTo>
                  <a:lnTo>
                    <a:pt x="3049" y="2146"/>
                  </a:lnTo>
                  <a:lnTo>
                    <a:pt x="3040" y="2136"/>
                  </a:lnTo>
                  <a:lnTo>
                    <a:pt x="3032" y="2125"/>
                  </a:lnTo>
                  <a:lnTo>
                    <a:pt x="3025" y="2113"/>
                  </a:lnTo>
                  <a:lnTo>
                    <a:pt x="3019" y="2101"/>
                  </a:lnTo>
                  <a:lnTo>
                    <a:pt x="3019" y="2101"/>
                  </a:lnTo>
                  <a:lnTo>
                    <a:pt x="3030" y="2107"/>
                  </a:lnTo>
                  <a:lnTo>
                    <a:pt x="3042" y="2112"/>
                  </a:lnTo>
                  <a:lnTo>
                    <a:pt x="3059" y="2119"/>
                  </a:lnTo>
                  <a:lnTo>
                    <a:pt x="3081" y="2127"/>
                  </a:lnTo>
                  <a:lnTo>
                    <a:pt x="3106" y="2134"/>
                  </a:lnTo>
                  <a:lnTo>
                    <a:pt x="3136" y="2139"/>
                  </a:lnTo>
                  <a:lnTo>
                    <a:pt x="3152" y="2141"/>
                  </a:lnTo>
                  <a:lnTo>
                    <a:pt x="3169" y="2142"/>
                  </a:lnTo>
                  <a:lnTo>
                    <a:pt x="3169" y="2142"/>
                  </a:lnTo>
                  <a:lnTo>
                    <a:pt x="3201" y="2143"/>
                  </a:lnTo>
                  <a:lnTo>
                    <a:pt x="3234" y="2143"/>
                  </a:lnTo>
                  <a:lnTo>
                    <a:pt x="3266" y="2141"/>
                  </a:lnTo>
                  <a:lnTo>
                    <a:pt x="3295" y="2139"/>
                  </a:lnTo>
                  <a:lnTo>
                    <a:pt x="3340" y="2133"/>
                  </a:lnTo>
                  <a:lnTo>
                    <a:pt x="3357" y="2131"/>
                  </a:lnTo>
                  <a:lnTo>
                    <a:pt x="3357" y="2131"/>
                  </a:lnTo>
                  <a:lnTo>
                    <a:pt x="3359" y="2125"/>
                  </a:lnTo>
                  <a:lnTo>
                    <a:pt x="3361" y="2113"/>
                  </a:lnTo>
                  <a:lnTo>
                    <a:pt x="3364" y="2083"/>
                  </a:lnTo>
                  <a:lnTo>
                    <a:pt x="3367" y="2043"/>
                  </a:lnTo>
                  <a:lnTo>
                    <a:pt x="3369" y="1999"/>
                  </a:lnTo>
                  <a:lnTo>
                    <a:pt x="3373" y="1919"/>
                  </a:lnTo>
                  <a:lnTo>
                    <a:pt x="3375" y="1884"/>
                  </a:lnTo>
                  <a:lnTo>
                    <a:pt x="3375" y="1884"/>
                  </a:lnTo>
                  <a:lnTo>
                    <a:pt x="3376" y="1856"/>
                  </a:lnTo>
                  <a:lnTo>
                    <a:pt x="3377" y="1816"/>
                  </a:lnTo>
                  <a:lnTo>
                    <a:pt x="3377" y="1767"/>
                  </a:lnTo>
                  <a:lnTo>
                    <a:pt x="3377" y="1767"/>
                  </a:lnTo>
                  <a:lnTo>
                    <a:pt x="3369" y="1769"/>
                  </a:lnTo>
                  <a:lnTo>
                    <a:pt x="3359" y="1770"/>
                  </a:lnTo>
                  <a:lnTo>
                    <a:pt x="3338" y="1772"/>
                  </a:lnTo>
                  <a:lnTo>
                    <a:pt x="3315" y="1771"/>
                  </a:lnTo>
                  <a:lnTo>
                    <a:pt x="3290" y="1769"/>
                  </a:lnTo>
                  <a:lnTo>
                    <a:pt x="3264" y="1766"/>
                  </a:lnTo>
                  <a:lnTo>
                    <a:pt x="3236" y="1762"/>
                  </a:lnTo>
                  <a:lnTo>
                    <a:pt x="3208" y="1756"/>
                  </a:lnTo>
                  <a:lnTo>
                    <a:pt x="3178" y="1748"/>
                  </a:lnTo>
                  <a:lnTo>
                    <a:pt x="3178" y="1748"/>
                  </a:lnTo>
                  <a:lnTo>
                    <a:pt x="3158" y="1742"/>
                  </a:lnTo>
                  <a:lnTo>
                    <a:pt x="3135" y="1733"/>
                  </a:lnTo>
                  <a:lnTo>
                    <a:pt x="3112" y="1721"/>
                  </a:lnTo>
                  <a:lnTo>
                    <a:pt x="3088" y="1706"/>
                  </a:lnTo>
                  <a:lnTo>
                    <a:pt x="3064" y="1690"/>
                  </a:lnTo>
                  <a:lnTo>
                    <a:pt x="3053" y="1681"/>
                  </a:lnTo>
                  <a:lnTo>
                    <a:pt x="3043" y="1672"/>
                  </a:lnTo>
                  <a:lnTo>
                    <a:pt x="3034" y="1661"/>
                  </a:lnTo>
                  <a:lnTo>
                    <a:pt x="3025" y="1652"/>
                  </a:lnTo>
                  <a:lnTo>
                    <a:pt x="3017" y="1642"/>
                  </a:lnTo>
                  <a:lnTo>
                    <a:pt x="3010" y="1631"/>
                  </a:lnTo>
                  <a:lnTo>
                    <a:pt x="3010" y="1631"/>
                  </a:lnTo>
                  <a:lnTo>
                    <a:pt x="3022" y="1636"/>
                  </a:lnTo>
                  <a:lnTo>
                    <a:pt x="3035" y="1640"/>
                  </a:lnTo>
                  <a:lnTo>
                    <a:pt x="3052" y="1646"/>
                  </a:lnTo>
                  <a:lnTo>
                    <a:pt x="3075" y="1652"/>
                  </a:lnTo>
                  <a:lnTo>
                    <a:pt x="3101" y="1658"/>
                  </a:lnTo>
                  <a:lnTo>
                    <a:pt x="3132" y="1665"/>
                  </a:lnTo>
                  <a:lnTo>
                    <a:pt x="3167" y="1670"/>
                  </a:lnTo>
                  <a:lnTo>
                    <a:pt x="3167" y="1670"/>
                  </a:lnTo>
                  <a:lnTo>
                    <a:pt x="3187" y="1672"/>
                  </a:lnTo>
                  <a:lnTo>
                    <a:pt x="3207" y="1673"/>
                  </a:lnTo>
                  <a:lnTo>
                    <a:pt x="3226" y="1674"/>
                  </a:lnTo>
                  <a:lnTo>
                    <a:pt x="3245" y="1674"/>
                  </a:lnTo>
                  <a:lnTo>
                    <a:pt x="3283" y="1672"/>
                  </a:lnTo>
                  <a:lnTo>
                    <a:pt x="3317" y="1669"/>
                  </a:lnTo>
                  <a:lnTo>
                    <a:pt x="3346" y="1663"/>
                  </a:lnTo>
                  <a:lnTo>
                    <a:pt x="3369" y="1658"/>
                  </a:lnTo>
                  <a:lnTo>
                    <a:pt x="3377" y="1655"/>
                  </a:lnTo>
                  <a:lnTo>
                    <a:pt x="3383" y="1653"/>
                  </a:lnTo>
                  <a:lnTo>
                    <a:pt x="3388" y="1650"/>
                  </a:lnTo>
                  <a:lnTo>
                    <a:pt x="3390" y="1647"/>
                  </a:lnTo>
                  <a:lnTo>
                    <a:pt x="3390" y="1647"/>
                  </a:lnTo>
                  <a:lnTo>
                    <a:pt x="3392" y="1621"/>
                  </a:lnTo>
                  <a:lnTo>
                    <a:pt x="3393" y="1587"/>
                  </a:lnTo>
                  <a:lnTo>
                    <a:pt x="3394" y="1510"/>
                  </a:lnTo>
                  <a:lnTo>
                    <a:pt x="3394" y="1412"/>
                  </a:lnTo>
                  <a:lnTo>
                    <a:pt x="3394" y="1412"/>
                  </a:lnTo>
                  <a:lnTo>
                    <a:pt x="3399" y="1348"/>
                  </a:lnTo>
                  <a:lnTo>
                    <a:pt x="3400" y="1304"/>
                  </a:lnTo>
                  <a:lnTo>
                    <a:pt x="3400" y="1289"/>
                  </a:lnTo>
                  <a:lnTo>
                    <a:pt x="3399" y="1285"/>
                  </a:lnTo>
                  <a:lnTo>
                    <a:pt x="3398" y="1284"/>
                  </a:lnTo>
                  <a:lnTo>
                    <a:pt x="3398" y="1284"/>
                  </a:lnTo>
                  <a:lnTo>
                    <a:pt x="3392" y="1284"/>
                  </a:lnTo>
                  <a:lnTo>
                    <a:pt x="3381" y="1285"/>
                  </a:lnTo>
                  <a:lnTo>
                    <a:pt x="3368" y="1285"/>
                  </a:lnTo>
                  <a:lnTo>
                    <a:pt x="3354" y="1284"/>
                  </a:lnTo>
                  <a:lnTo>
                    <a:pt x="3336" y="1282"/>
                  </a:lnTo>
                  <a:lnTo>
                    <a:pt x="3317" y="1279"/>
                  </a:lnTo>
                  <a:lnTo>
                    <a:pt x="3297" y="1274"/>
                  </a:lnTo>
                  <a:lnTo>
                    <a:pt x="3274" y="1269"/>
                  </a:lnTo>
                  <a:lnTo>
                    <a:pt x="3251" y="1261"/>
                  </a:lnTo>
                  <a:lnTo>
                    <a:pt x="3226" y="1251"/>
                  </a:lnTo>
                  <a:lnTo>
                    <a:pt x="3200" y="1240"/>
                  </a:lnTo>
                  <a:lnTo>
                    <a:pt x="3175" y="1226"/>
                  </a:lnTo>
                  <a:lnTo>
                    <a:pt x="3149" y="1210"/>
                  </a:lnTo>
                  <a:lnTo>
                    <a:pt x="3123" y="1191"/>
                  </a:lnTo>
                  <a:lnTo>
                    <a:pt x="3110" y="1181"/>
                  </a:lnTo>
                  <a:lnTo>
                    <a:pt x="3097" y="1170"/>
                  </a:lnTo>
                  <a:lnTo>
                    <a:pt x="3085" y="1157"/>
                  </a:lnTo>
                  <a:lnTo>
                    <a:pt x="3073" y="1145"/>
                  </a:lnTo>
                  <a:lnTo>
                    <a:pt x="3073" y="1145"/>
                  </a:lnTo>
                  <a:lnTo>
                    <a:pt x="3071" y="1143"/>
                  </a:lnTo>
                  <a:lnTo>
                    <a:pt x="3065" y="1138"/>
                  </a:lnTo>
                  <a:lnTo>
                    <a:pt x="3059" y="1129"/>
                  </a:lnTo>
                  <a:lnTo>
                    <a:pt x="3056" y="1123"/>
                  </a:lnTo>
                  <a:lnTo>
                    <a:pt x="3053" y="1116"/>
                  </a:lnTo>
                  <a:lnTo>
                    <a:pt x="3051" y="1109"/>
                  </a:lnTo>
                  <a:lnTo>
                    <a:pt x="3050" y="1101"/>
                  </a:lnTo>
                  <a:lnTo>
                    <a:pt x="3049" y="1092"/>
                  </a:lnTo>
                  <a:lnTo>
                    <a:pt x="3050" y="1082"/>
                  </a:lnTo>
                  <a:lnTo>
                    <a:pt x="3053" y="1072"/>
                  </a:lnTo>
                  <a:lnTo>
                    <a:pt x="3056" y="1060"/>
                  </a:lnTo>
                  <a:lnTo>
                    <a:pt x="3062" y="1048"/>
                  </a:lnTo>
                  <a:lnTo>
                    <a:pt x="3071" y="1035"/>
                  </a:lnTo>
                  <a:lnTo>
                    <a:pt x="3071" y="1035"/>
                  </a:lnTo>
                  <a:lnTo>
                    <a:pt x="2806" y="916"/>
                  </a:lnTo>
                  <a:lnTo>
                    <a:pt x="2806" y="916"/>
                  </a:lnTo>
                  <a:lnTo>
                    <a:pt x="2815" y="907"/>
                  </a:lnTo>
                  <a:lnTo>
                    <a:pt x="2824" y="896"/>
                  </a:lnTo>
                  <a:lnTo>
                    <a:pt x="2834" y="881"/>
                  </a:lnTo>
                  <a:lnTo>
                    <a:pt x="2845" y="865"/>
                  </a:lnTo>
                  <a:lnTo>
                    <a:pt x="2850" y="856"/>
                  </a:lnTo>
                  <a:lnTo>
                    <a:pt x="2854" y="847"/>
                  </a:lnTo>
                  <a:lnTo>
                    <a:pt x="2858" y="836"/>
                  </a:lnTo>
                  <a:lnTo>
                    <a:pt x="2861" y="826"/>
                  </a:lnTo>
                  <a:lnTo>
                    <a:pt x="2863" y="816"/>
                  </a:lnTo>
                  <a:lnTo>
                    <a:pt x="2863" y="806"/>
                  </a:lnTo>
                  <a:lnTo>
                    <a:pt x="2863" y="806"/>
                  </a:lnTo>
                  <a:lnTo>
                    <a:pt x="2863" y="794"/>
                  </a:lnTo>
                  <a:lnTo>
                    <a:pt x="2860" y="784"/>
                  </a:lnTo>
                  <a:lnTo>
                    <a:pt x="2855" y="774"/>
                  </a:lnTo>
                  <a:lnTo>
                    <a:pt x="2849" y="765"/>
                  </a:lnTo>
                  <a:lnTo>
                    <a:pt x="2841" y="756"/>
                  </a:lnTo>
                  <a:lnTo>
                    <a:pt x="2830" y="748"/>
                  </a:lnTo>
                  <a:lnTo>
                    <a:pt x="2820" y="741"/>
                  </a:lnTo>
                  <a:lnTo>
                    <a:pt x="2808" y="735"/>
                  </a:lnTo>
                  <a:lnTo>
                    <a:pt x="2795" y="730"/>
                  </a:lnTo>
                  <a:lnTo>
                    <a:pt x="2781" y="726"/>
                  </a:lnTo>
                  <a:lnTo>
                    <a:pt x="2767" y="722"/>
                  </a:lnTo>
                  <a:lnTo>
                    <a:pt x="2753" y="720"/>
                  </a:lnTo>
                  <a:lnTo>
                    <a:pt x="2738" y="718"/>
                  </a:lnTo>
                  <a:lnTo>
                    <a:pt x="2723" y="718"/>
                  </a:lnTo>
                  <a:lnTo>
                    <a:pt x="2709" y="719"/>
                  </a:lnTo>
                  <a:lnTo>
                    <a:pt x="2694" y="721"/>
                  </a:lnTo>
                  <a:lnTo>
                    <a:pt x="2694" y="721"/>
                  </a:lnTo>
                  <a:lnTo>
                    <a:pt x="2681" y="724"/>
                  </a:lnTo>
                  <a:lnTo>
                    <a:pt x="2669" y="728"/>
                  </a:lnTo>
                  <a:lnTo>
                    <a:pt x="2656" y="733"/>
                  </a:lnTo>
                  <a:lnTo>
                    <a:pt x="2644" y="739"/>
                  </a:lnTo>
                  <a:lnTo>
                    <a:pt x="2634" y="746"/>
                  </a:lnTo>
                  <a:lnTo>
                    <a:pt x="2623" y="754"/>
                  </a:lnTo>
                  <a:lnTo>
                    <a:pt x="2604" y="769"/>
                  </a:lnTo>
                  <a:lnTo>
                    <a:pt x="2589" y="784"/>
                  </a:lnTo>
                  <a:lnTo>
                    <a:pt x="2578" y="796"/>
                  </a:lnTo>
                  <a:lnTo>
                    <a:pt x="2569" y="809"/>
                  </a:lnTo>
                  <a:lnTo>
                    <a:pt x="2238" y="662"/>
                  </a:lnTo>
                  <a:lnTo>
                    <a:pt x="1977" y="925"/>
                  </a:lnTo>
                  <a:lnTo>
                    <a:pt x="1977" y="925"/>
                  </a:lnTo>
                  <a:lnTo>
                    <a:pt x="1972" y="930"/>
                  </a:lnTo>
                  <a:lnTo>
                    <a:pt x="1966" y="942"/>
                  </a:lnTo>
                  <a:lnTo>
                    <a:pt x="1963" y="949"/>
                  </a:lnTo>
                  <a:lnTo>
                    <a:pt x="1961" y="957"/>
                  </a:lnTo>
                  <a:lnTo>
                    <a:pt x="1960" y="966"/>
                  </a:lnTo>
                  <a:lnTo>
                    <a:pt x="1960" y="975"/>
                  </a:lnTo>
                  <a:lnTo>
                    <a:pt x="1964" y="999"/>
                  </a:lnTo>
                  <a:lnTo>
                    <a:pt x="1964" y="999"/>
                  </a:lnTo>
                  <a:lnTo>
                    <a:pt x="1964" y="1005"/>
                  </a:lnTo>
                  <a:lnTo>
                    <a:pt x="1963" y="1011"/>
                  </a:lnTo>
                  <a:lnTo>
                    <a:pt x="1962" y="1016"/>
                  </a:lnTo>
                  <a:lnTo>
                    <a:pt x="1961" y="1020"/>
                  </a:lnTo>
                  <a:lnTo>
                    <a:pt x="1957" y="1028"/>
                  </a:lnTo>
                  <a:lnTo>
                    <a:pt x="1955" y="1032"/>
                  </a:lnTo>
                  <a:lnTo>
                    <a:pt x="1955" y="1032"/>
                  </a:lnTo>
                  <a:lnTo>
                    <a:pt x="1936" y="1054"/>
                  </a:lnTo>
                  <a:lnTo>
                    <a:pt x="1916" y="1078"/>
                  </a:lnTo>
                  <a:lnTo>
                    <a:pt x="1896" y="1100"/>
                  </a:lnTo>
                  <a:lnTo>
                    <a:pt x="1876" y="1123"/>
                  </a:lnTo>
                  <a:lnTo>
                    <a:pt x="1876" y="1123"/>
                  </a:lnTo>
                  <a:lnTo>
                    <a:pt x="1847" y="1161"/>
                  </a:lnTo>
                  <a:lnTo>
                    <a:pt x="1836" y="1177"/>
                  </a:lnTo>
                  <a:lnTo>
                    <a:pt x="1828" y="1189"/>
                  </a:lnTo>
                  <a:lnTo>
                    <a:pt x="1828" y="1189"/>
                  </a:lnTo>
                  <a:lnTo>
                    <a:pt x="1819" y="1204"/>
                  </a:lnTo>
                  <a:lnTo>
                    <a:pt x="1811" y="1220"/>
                  </a:lnTo>
                  <a:lnTo>
                    <a:pt x="1799" y="1245"/>
                  </a:lnTo>
                  <a:lnTo>
                    <a:pt x="1789" y="1269"/>
                  </a:lnTo>
                  <a:lnTo>
                    <a:pt x="1781" y="1290"/>
                  </a:lnTo>
                  <a:lnTo>
                    <a:pt x="1781" y="1290"/>
                  </a:lnTo>
                  <a:lnTo>
                    <a:pt x="1780" y="1293"/>
                  </a:lnTo>
                  <a:lnTo>
                    <a:pt x="1778" y="1304"/>
                  </a:lnTo>
                  <a:lnTo>
                    <a:pt x="1778" y="1311"/>
                  </a:lnTo>
                  <a:lnTo>
                    <a:pt x="1777" y="1319"/>
                  </a:lnTo>
                  <a:lnTo>
                    <a:pt x="1778" y="1328"/>
                  </a:lnTo>
                  <a:lnTo>
                    <a:pt x="1780" y="1339"/>
                  </a:lnTo>
                  <a:lnTo>
                    <a:pt x="1784" y="1352"/>
                  </a:lnTo>
                  <a:lnTo>
                    <a:pt x="1789" y="1365"/>
                  </a:lnTo>
                  <a:lnTo>
                    <a:pt x="1797" y="1378"/>
                  </a:lnTo>
                  <a:lnTo>
                    <a:pt x="1807" y="1394"/>
                  </a:lnTo>
                  <a:lnTo>
                    <a:pt x="1819" y="1410"/>
                  </a:lnTo>
                  <a:lnTo>
                    <a:pt x="1833" y="1426"/>
                  </a:lnTo>
                  <a:lnTo>
                    <a:pt x="1852" y="1444"/>
                  </a:lnTo>
                  <a:lnTo>
                    <a:pt x="1874" y="1462"/>
                  </a:lnTo>
                  <a:lnTo>
                    <a:pt x="1881" y="1468"/>
                  </a:lnTo>
                  <a:lnTo>
                    <a:pt x="1881" y="1468"/>
                  </a:lnTo>
                  <a:lnTo>
                    <a:pt x="1894" y="1451"/>
                  </a:lnTo>
                  <a:lnTo>
                    <a:pt x="1905" y="1462"/>
                  </a:lnTo>
                  <a:lnTo>
                    <a:pt x="1905" y="1462"/>
                  </a:lnTo>
                  <a:lnTo>
                    <a:pt x="1914" y="1471"/>
                  </a:lnTo>
                  <a:lnTo>
                    <a:pt x="1926" y="1482"/>
                  </a:lnTo>
                  <a:lnTo>
                    <a:pt x="1941" y="1494"/>
                  </a:lnTo>
                  <a:lnTo>
                    <a:pt x="1957" y="1504"/>
                  </a:lnTo>
                  <a:lnTo>
                    <a:pt x="1957" y="1504"/>
                  </a:lnTo>
                  <a:lnTo>
                    <a:pt x="1959" y="1497"/>
                  </a:lnTo>
                  <a:lnTo>
                    <a:pt x="1964" y="1477"/>
                  </a:lnTo>
                  <a:lnTo>
                    <a:pt x="1969" y="1464"/>
                  </a:lnTo>
                  <a:lnTo>
                    <a:pt x="1975" y="1451"/>
                  </a:lnTo>
                  <a:lnTo>
                    <a:pt x="1983" y="1437"/>
                  </a:lnTo>
                  <a:lnTo>
                    <a:pt x="1991" y="1422"/>
                  </a:lnTo>
                  <a:lnTo>
                    <a:pt x="1991" y="1422"/>
                  </a:lnTo>
                  <a:lnTo>
                    <a:pt x="2000" y="1410"/>
                  </a:lnTo>
                  <a:lnTo>
                    <a:pt x="2011" y="1398"/>
                  </a:lnTo>
                  <a:lnTo>
                    <a:pt x="2025" y="1384"/>
                  </a:lnTo>
                  <a:lnTo>
                    <a:pt x="2038" y="1371"/>
                  </a:lnTo>
                  <a:lnTo>
                    <a:pt x="2052" y="1359"/>
                  </a:lnTo>
                  <a:lnTo>
                    <a:pt x="2065" y="1348"/>
                  </a:lnTo>
                  <a:lnTo>
                    <a:pt x="2080" y="1337"/>
                  </a:lnTo>
                  <a:lnTo>
                    <a:pt x="2092" y="1329"/>
                  </a:lnTo>
                  <a:lnTo>
                    <a:pt x="2092" y="1329"/>
                  </a:lnTo>
                  <a:lnTo>
                    <a:pt x="2107" y="1320"/>
                  </a:lnTo>
                  <a:lnTo>
                    <a:pt x="2123" y="1312"/>
                  </a:lnTo>
                  <a:lnTo>
                    <a:pt x="2138" y="1305"/>
                  </a:lnTo>
                  <a:lnTo>
                    <a:pt x="2154" y="1298"/>
                  </a:lnTo>
                  <a:lnTo>
                    <a:pt x="2170" y="1294"/>
                  </a:lnTo>
                  <a:lnTo>
                    <a:pt x="2186" y="1291"/>
                  </a:lnTo>
                  <a:lnTo>
                    <a:pt x="2202" y="1288"/>
                  </a:lnTo>
                  <a:lnTo>
                    <a:pt x="2220" y="1287"/>
                  </a:lnTo>
                  <a:lnTo>
                    <a:pt x="2220" y="1287"/>
                  </a:lnTo>
                  <a:lnTo>
                    <a:pt x="2234" y="1288"/>
                  </a:lnTo>
                  <a:lnTo>
                    <a:pt x="2247" y="1289"/>
                  </a:lnTo>
                  <a:lnTo>
                    <a:pt x="2261" y="1292"/>
                  </a:lnTo>
                  <a:lnTo>
                    <a:pt x="2272" y="1297"/>
                  </a:lnTo>
                  <a:lnTo>
                    <a:pt x="2283" y="1304"/>
                  </a:lnTo>
                  <a:lnTo>
                    <a:pt x="2295" y="1311"/>
                  </a:lnTo>
                  <a:lnTo>
                    <a:pt x="2305" y="1320"/>
                  </a:lnTo>
                  <a:lnTo>
                    <a:pt x="2316" y="1330"/>
                  </a:lnTo>
                  <a:lnTo>
                    <a:pt x="2316" y="1330"/>
                  </a:lnTo>
                  <a:lnTo>
                    <a:pt x="2323" y="1338"/>
                  </a:lnTo>
                  <a:lnTo>
                    <a:pt x="2330" y="1349"/>
                  </a:lnTo>
                  <a:lnTo>
                    <a:pt x="2336" y="1360"/>
                  </a:lnTo>
                  <a:lnTo>
                    <a:pt x="2342" y="1372"/>
                  </a:lnTo>
                  <a:lnTo>
                    <a:pt x="2347" y="1384"/>
                  </a:lnTo>
                  <a:lnTo>
                    <a:pt x="2351" y="1398"/>
                  </a:lnTo>
                  <a:lnTo>
                    <a:pt x="2355" y="1412"/>
                  </a:lnTo>
                  <a:lnTo>
                    <a:pt x="2358" y="1426"/>
                  </a:lnTo>
                  <a:lnTo>
                    <a:pt x="2360" y="1440"/>
                  </a:lnTo>
                  <a:lnTo>
                    <a:pt x="2362" y="1454"/>
                  </a:lnTo>
                  <a:lnTo>
                    <a:pt x="2363" y="1467"/>
                  </a:lnTo>
                  <a:lnTo>
                    <a:pt x="2364" y="1480"/>
                  </a:lnTo>
                  <a:lnTo>
                    <a:pt x="2364" y="1493"/>
                  </a:lnTo>
                  <a:lnTo>
                    <a:pt x="2363" y="1504"/>
                  </a:lnTo>
                  <a:lnTo>
                    <a:pt x="2361" y="1514"/>
                  </a:lnTo>
                  <a:lnTo>
                    <a:pt x="2359" y="1523"/>
                  </a:lnTo>
                  <a:lnTo>
                    <a:pt x="2359" y="1523"/>
                  </a:lnTo>
                  <a:lnTo>
                    <a:pt x="2330" y="1505"/>
                  </a:lnTo>
                  <a:lnTo>
                    <a:pt x="2330" y="1505"/>
                  </a:lnTo>
                  <a:lnTo>
                    <a:pt x="2309" y="1494"/>
                  </a:lnTo>
                  <a:lnTo>
                    <a:pt x="2281" y="1484"/>
                  </a:lnTo>
                  <a:lnTo>
                    <a:pt x="2266" y="1477"/>
                  </a:lnTo>
                  <a:lnTo>
                    <a:pt x="2251" y="1473"/>
                  </a:lnTo>
                  <a:lnTo>
                    <a:pt x="2233" y="1469"/>
                  </a:lnTo>
                  <a:lnTo>
                    <a:pt x="2215" y="1465"/>
                  </a:lnTo>
                  <a:lnTo>
                    <a:pt x="2195" y="1463"/>
                  </a:lnTo>
                  <a:lnTo>
                    <a:pt x="2175" y="1462"/>
                  </a:lnTo>
                  <a:lnTo>
                    <a:pt x="2154" y="1462"/>
                  </a:lnTo>
                  <a:lnTo>
                    <a:pt x="2132" y="1464"/>
                  </a:lnTo>
                  <a:lnTo>
                    <a:pt x="2109" y="1467"/>
                  </a:lnTo>
                  <a:lnTo>
                    <a:pt x="2086" y="1472"/>
                  </a:lnTo>
                  <a:lnTo>
                    <a:pt x="2062" y="1480"/>
                  </a:lnTo>
                  <a:lnTo>
                    <a:pt x="2037" y="1491"/>
                  </a:lnTo>
                  <a:lnTo>
                    <a:pt x="2037" y="1491"/>
                  </a:lnTo>
                  <a:lnTo>
                    <a:pt x="1995" y="1509"/>
                  </a:lnTo>
                  <a:lnTo>
                    <a:pt x="1967" y="1521"/>
                  </a:lnTo>
                  <a:lnTo>
                    <a:pt x="1936" y="1534"/>
                  </a:lnTo>
                  <a:lnTo>
                    <a:pt x="1900" y="1548"/>
                  </a:lnTo>
                  <a:lnTo>
                    <a:pt x="1860" y="1562"/>
                  </a:lnTo>
                  <a:lnTo>
                    <a:pt x="1814" y="1578"/>
                  </a:lnTo>
                  <a:lnTo>
                    <a:pt x="1764" y="1593"/>
                  </a:lnTo>
                  <a:lnTo>
                    <a:pt x="1764" y="1593"/>
                  </a:lnTo>
                  <a:lnTo>
                    <a:pt x="1737" y="1600"/>
                  </a:lnTo>
                  <a:lnTo>
                    <a:pt x="1725" y="1602"/>
                  </a:lnTo>
                  <a:lnTo>
                    <a:pt x="1713" y="1603"/>
                  </a:lnTo>
                  <a:lnTo>
                    <a:pt x="1701" y="1603"/>
                  </a:lnTo>
                  <a:lnTo>
                    <a:pt x="1691" y="1603"/>
                  </a:lnTo>
                  <a:lnTo>
                    <a:pt x="1681" y="1602"/>
                  </a:lnTo>
                  <a:lnTo>
                    <a:pt x="1672" y="1600"/>
                  </a:lnTo>
                  <a:lnTo>
                    <a:pt x="1664" y="1597"/>
                  </a:lnTo>
                  <a:lnTo>
                    <a:pt x="1655" y="1592"/>
                  </a:lnTo>
                  <a:lnTo>
                    <a:pt x="1649" y="1587"/>
                  </a:lnTo>
                  <a:lnTo>
                    <a:pt x="1642" y="1581"/>
                  </a:lnTo>
                  <a:lnTo>
                    <a:pt x="1637" y="1574"/>
                  </a:lnTo>
                  <a:lnTo>
                    <a:pt x="1633" y="1564"/>
                  </a:lnTo>
                  <a:lnTo>
                    <a:pt x="1629" y="1554"/>
                  </a:lnTo>
                  <a:lnTo>
                    <a:pt x="1626" y="1543"/>
                  </a:lnTo>
                  <a:lnTo>
                    <a:pt x="1626" y="1543"/>
                  </a:lnTo>
                  <a:lnTo>
                    <a:pt x="1624" y="1533"/>
                  </a:lnTo>
                  <a:lnTo>
                    <a:pt x="1623" y="1522"/>
                  </a:lnTo>
                  <a:lnTo>
                    <a:pt x="1623" y="1513"/>
                  </a:lnTo>
                  <a:lnTo>
                    <a:pt x="1623" y="1504"/>
                  </a:lnTo>
                  <a:lnTo>
                    <a:pt x="1625" y="1488"/>
                  </a:lnTo>
                  <a:lnTo>
                    <a:pt x="1629" y="1473"/>
                  </a:lnTo>
                  <a:lnTo>
                    <a:pt x="1633" y="1462"/>
                  </a:lnTo>
                  <a:lnTo>
                    <a:pt x="1636" y="1454"/>
                  </a:lnTo>
                  <a:lnTo>
                    <a:pt x="1640" y="1446"/>
                  </a:lnTo>
                  <a:lnTo>
                    <a:pt x="1640" y="1446"/>
                  </a:lnTo>
                  <a:lnTo>
                    <a:pt x="1636" y="1447"/>
                  </a:lnTo>
                  <a:lnTo>
                    <a:pt x="1626" y="1450"/>
                  </a:lnTo>
                  <a:lnTo>
                    <a:pt x="1610" y="1456"/>
                  </a:lnTo>
                  <a:lnTo>
                    <a:pt x="1601" y="1459"/>
                  </a:lnTo>
                  <a:lnTo>
                    <a:pt x="1592" y="1464"/>
                  </a:lnTo>
                  <a:lnTo>
                    <a:pt x="1582" y="1470"/>
                  </a:lnTo>
                  <a:lnTo>
                    <a:pt x="1573" y="1476"/>
                  </a:lnTo>
                  <a:lnTo>
                    <a:pt x="1563" y="1485"/>
                  </a:lnTo>
                  <a:lnTo>
                    <a:pt x="1554" y="1494"/>
                  </a:lnTo>
                  <a:lnTo>
                    <a:pt x="1546" y="1504"/>
                  </a:lnTo>
                  <a:lnTo>
                    <a:pt x="1539" y="1515"/>
                  </a:lnTo>
                  <a:lnTo>
                    <a:pt x="1533" y="1529"/>
                  </a:lnTo>
                  <a:lnTo>
                    <a:pt x="1528" y="1543"/>
                  </a:lnTo>
                  <a:lnTo>
                    <a:pt x="1528" y="1543"/>
                  </a:lnTo>
                  <a:lnTo>
                    <a:pt x="1525" y="1558"/>
                  </a:lnTo>
                  <a:lnTo>
                    <a:pt x="1523" y="1574"/>
                  </a:lnTo>
                  <a:lnTo>
                    <a:pt x="1523" y="1589"/>
                  </a:lnTo>
                  <a:lnTo>
                    <a:pt x="1523" y="1603"/>
                  </a:lnTo>
                  <a:lnTo>
                    <a:pt x="1524" y="1616"/>
                  </a:lnTo>
                  <a:lnTo>
                    <a:pt x="1527" y="1631"/>
                  </a:lnTo>
                  <a:lnTo>
                    <a:pt x="1531" y="1643"/>
                  </a:lnTo>
                  <a:lnTo>
                    <a:pt x="1536" y="1655"/>
                  </a:lnTo>
                  <a:lnTo>
                    <a:pt x="1542" y="1668"/>
                  </a:lnTo>
                  <a:lnTo>
                    <a:pt x="1549" y="1678"/>
                  </a:lnTo>
                  <a:lnTo>
                    <a:pt x="1557" y="1688"/>
                  </a:lnTo>
                  <a:lnTo>
                    <a:pt x="1568" y="1696"/>
                  </a:lnTo>
                  <a:lnTo>
                    <a:pt x="1578" y="1704"/>
                  </a:lnTo>
                  <a:lnTo>
                    <a:pt x="1590" y="1711"/>
                  </a:lnTo>
                  <a:lnTo>
                    <a:pt x="1602" y="1717"/>
                  </a:lnTo>
                  <a:lnTo>
                    <a:pt x="1617" y="1721"/>
                  </a:lnTo>
                  <a:lnTo>
                    <a:pt x="1617" y="1721"/>
                  </a:lnTo>
                  <a:lnTo>
                    <a:pt x="1630" y="1724"/>
                  </a:lnTo>
                  <a:lnTo>
                    <a:pt x="1644" y="1725"/>
                  </a:lnTo>
                  <a:lnTo>
                    <a:pt x="1660" y="1724"/>
                  </a:lnTo>
                  <a:lnTo>
                    <a:pt x="1676" y="1722"/>
                  </a:lnTo>
                  <a:lnTo>
                    <a:pt x="1692" y="1720"/>
                  </a:lnTo>
                  <a:lnTo>
                    <a:pt x="1710" y="1716"/>
                  </a:lnTo>
                  <a:lnTo>
                    <a:pt x="1727" y="1711"/>
                  </a:lnTo>
                  <a:lnTo>
                    <a:pt x="1744" y="1705"/>
                  </a:lnTo>
                  <a:lnTo>
                    <a:pt x="1779" y="1691"/>
                  </a:lnTo>
                  <a:lnTo>
                    <a:pt x="1815" y="1676"/>
                  </a:lnTo>
                  <a:lnTo>
                    <a:pt x="1849" y="1659"/>
                  </a:lnTo>
                  <a:lnTo>
                    <a:pt x="1880" y="1643"/>
                  </a:lnTo>
                  <a:lnTo>
                    <a:pt x="1880" y="1643"/>
                  </a:lnTo>
                  <a:lnTo>
                    <a:pt x="1942" y="1611"/>
                  </a:lnTo>
                  <a:lnTo>
                    <a:pt x="1979" y="1593"/>
                  </a:lnTo>
                  <a:lnTo>
                    <a:pt x="2013" y="1577"/>
                  </a:lnTo>
                  <a:lnTo>
                    <a:pt x="2013" y="1577"/>
                  </a:lnTo>
                  <a:lnTo>
                    <a:pt x="2041" y="1565"/>
                  </a:lnTo>
                  <a:lnTo>
                    <a:pt x="2054" y="1561"/>
                  </a:lnTo>
                  <a:lnTo>
                    <a:pt x="2068" y="1557"/>
                  </a:lnTo>
                  <a:lnTo>
                    <a:pt x="2081" y="1554"/>
                  </a:lnTo>
                  <a:lnTo>
                    <a:pt x="2093" y="1552"/>
                  </a:lnTo>
                  <a:lnTo>
                    <a:pt x="2105" y="1550"/>
                  </a:lnTo>
                  <a:lnTo>
                    <a:pt x="2119" y="1550"/>
                  </a:lnTo>
                  <a:lnTo>
                    <a:pt x="2131" y="1550"/>
                  </a:lnTo>
                  <a:lnTo>
                    <a:pt x="2143" y="1551"/>
                  </a:lnTo>
                  <a:lnTo>
                    <a:pt x="2156" y="1553"/>
                  </a:lnTo>
                  <a:lnTo>
                    <a:pt x="2170" y="1555"/>
                  </a:lnTo>
                  <a:lnTo>
                    <a:pt x="2183" y="1559"/>
                  </a:lnTo>
                  <a:lnTo>
                    <a:pt x="2196" y="1563"/>
                  </a:lnTo>
                  <a:lnTo>
                    <a:pt x="2211" y="1569"/>
                  </a:lnTo>
                  <a:lnTo>
                    <a:pt x="2226" y="1576"/>
                  </a:lnTo>
                  <a:lnTo>
                    <a:pt x="2226" y="1576"/>
                  </a:lnTo>
                  <a:lnTo>
                    <a:pt x="2246" y="1586"/>
                  </a:lnTo>
                  <a:lnTo>
                    <a:pt x="2265" y="1596"/>
                  </a:lnTo>
                  <a:lnTo>
                    <a:pt x="2281" y="1607"/>
                  </a:lnTo>
                  <a:lnTo>
                    <a:pt x="2295" y="1616"/>
                  </a:lnTo>
                  <a:lnTo>
                    <a:pt x="2305" y="1626"/>
                  </a:lnTo>
                  <a:lnTo>
                    <a:pt x="2312" y="1633"/>
                  </a:lnTo>
                  <a:lnTo>
                    <a:pt x="2319" y="1639"/>
                  </a:lnTo>
                  <a:lnTo>
                    <a:pt x="2319" y="1639"/>
                  </a:lnTo>
                  <a:lnTo>
                    <a:pt x="2317" y="1642"/>
                  </a:lnTo>
                  <a:lnTo>
                    <a:pt x="2313" y="1649"/>
                  </a:lnTo>
                  <a:lnTo>
                    <a:pt x="2305" y="1660"/>
                  </a:lnTo>
                  <a:lnTo>
                    <a:pt x="2300" y="1667"/>
                  </a:lnTo>
                  <a:lnTo>
                    <a:pt x="2293" y="1674"/>
                  </a:lnTo>
                  <a:lnTo>
                    <a:pt x="2285" y="1680"/>
                  </a:lnTo>
                  <a:lnTo>
                    <a:pt x="2276" y="1687"/>
                  </a:lnTo>
                  <a:lnTo>
                    <a:pt x="2267" y="1693"/>
                  </a:lnTo>
                  <a:lnTo>
                    <a:pt x="2255" y="1698"/>
                  </a:lnTo>
                  <a:lnTo>
                    <a:pt x="2242" y="1703"/>
                  </a:lnTo>
                  <a:lnTo>
                    <a:pt x="2228" y="1707"/>
                  </a:lnTo>
                  <a:lnTo>
                    <a:pt x="2212" y="1711"/>
                  </a:lnTo>
                  <a:lnTo>
                    <a:pt x="2194" y="1712"/>
                  </a:lnTo>
                  <a:lnTo>
                    <a:pt x="2194" y="1712"/>
                  </a:lnTo>
                  <a:lnTo>
                    <a:pt x="2180" y="1713"/>
                  </a:lnTo>
                  <a:lnTo>
                    <a:pt x="2166" y="1712"/>
                  </a:lnTo>
                  <a:lnTo>
                    <a:pt x="2152" y="1710"/>
                  </a:lnTo>
                  <a:lnTo>
                    <a:pt x="2139" y="1706"/>
                  </a:lnTo>
                  <a:lnTo>
                    <a:pt x="2127" y="1703"/>
                  </a:lnTo>
                  <a:lnTo>
                    <a:pt x="2115" y="1699"/>
                  </a:lnTo>
                  <a:lnTo>
                    <a:pt x="2103" y="1695"/>
                  </a:lnTo>
                  <a:lnTo>
                    <a:pt x="2092" y="1689"/>
                  </a:lnTo>
                  <a:lnTo>
                    <a:pt x="2082" y="1684"/>
                  </a:lnTo>
                  <a:lnTo>
                    <a:pt x="2073" y="1678"/>
                  </a:lnTo>
                  <a:lnTo>
                    <a:pt x="2064" y="1672"/>
                  </a:lnTo>
                  <a:lnTo>
                    <a:pt x="2056" y="1665"/>
                  </a:lnTo>
                  <a:lnTo>
                    <a:pt x="2048" y="1657"/>
                  </a:lnTo>
                  <a:lnTo>
                    <a:pt x="2042" y="1650"/>
                  </a:lnTo>
                  <a:lnTo>
                    <a:pt x="2036" y="1643"/>
                  </a:lnTo>
                  <a:lnTo>
                    <a:pt x="2031" y="1636"/>
                  </a:lnTo>
                  <a:lnTo>
                    <a:pt x="2031" y="1636"/>
                  </a:lnTo>
                  <a:lnTo>
                    <a:pt x="2022" y="1658"/>
                  </a:lnTo>
                  <a:lnTo>
                    <a:pt x="2013" y="1676"/>
                  </a:lnTo>
                  <a:lnTo>
                    <a:pt x="2007" y="1689"/>
                  </a:lnTo>
                  <a:lnTo>
                    <a:pt x="2007" y="1689"/>
                  </a:lnTo>
                  <a:lnTo>
                    <a:pt x="2003" y="1697"/>
                  </a:lnTo>
                  <a:lnTo>
                    <a:pt x="2000" y="1704"/>
                  </a:lnTo>
                  <a:lnTo>
                    <a:pt x="1998" y="1713"/>
                  </a:lnTo>
                  <a:lnTo>
                    <a:pt x="1997" y="1719"/>
                  </a:lnTo>
                  <a:lnTo>
                    <a:pt x="1997" y="1726"/>
                  </a:lnTo>
                  <a:lnTo>
                    <a:pt x="1997" y="1732"/>
                  </a:lnTo>
                  <a:lnTo>
                    <a:pt x="1999" y="1744"/>
                  </a:lnTo>
                  <a:lnTo>
                    <a:pt x="2001" y="1756"/>
                  </a:lnTo>
                  <a:lnTo>
                    <a:pt x="2003" y="1766"/>
                  </a:lnTo>
                  <a:lnTo>
                    <a:pt x="2004" y="1777"/>
                  </a:lnTo>
                  <a:lnTo>
                    <a:pt x="2003" y="1783"/>
                  </a:lnTo>
                  <a:lnTo>
                    <a:pt x="2001" y="1788"/>
                  </a:lnTo>
                  <a:lnTo>
                    <a:pt x="2001" y="1788"/>
                  </a:lnTo>
                  <a:lnTo>
                    <a:pt x="1999" y="1794"/>
                  </a:lnTo>
                  <a:lnTo>
                    <a:pt x="1995" y="1800"/>
                  </a:lnTo>
                  <a:lnTo>
                    <a:pt x="1986" y="1813"/>
                  </a:lnTo>
                  <a:lnTo>
                    <a:pt x="1973" y="1825"/>
                  </a:lnTo>
                  <a:lnTo>
                    <a:pt x="1960" y="1837"/>
                  </a:lnTo>
                  <a:lnTo>
                    <a:pt x="1945" y="1849"/>
                  </a:lnTo>
                  <a:lnTo>
                    <a:pt x="1931" y="1860"/>
                  </a:lnTo>
                  <a:lnTo>
                    <a:pt x="1904" y="1878"/>
                  </a:lnTo>
                  <a:lnTo>
                    <a:pt x="1904" y="1878"/>
                  </a:lnTo>
                  <a:lnTo>
                    <a:pt x="1886" y="1889"/>
                  </a:lnTo>
                  <a:lnTo>
                    <a:pt x="1864" y="1901"/>
                  </a:lnTo>
                  <a:lnTo>
                    <a:pt x="1842" y="1911"/>
                  </a:lnTo>
                  <a:lnTo>
                    <a:pt x="1819" y="1919"/>
                  </a:lnTo>
                  <a:lnTo>
                    <a:pt x="1798" y="1926"/>
                  </a:lnTo>
                  <a:lnTo>
                    <a:pt x="1779" y="1932"/>
                  </a:lnTo>
                  <a:lnTo>
                    <a:pt x="1754" y="1940"/>
                  </a:lnTo>
                  <a:lnTo>
                    <a:pt x="1754" y="1940"/>
                  </a:lnTo>
                  <a:lnTo>
                    <a:pt x="1779" y="1998"/>
                  </a:lnTo>
                  <a:lnTo>
                    <a:pt x="1811" y="2066"/>
                  </a:lnTo>
                  <a:lnTo>
                    <a:pt x="1811" y="2066"/>
                  </a:lnTo>
                  <a:lnTo>
                    <a:pt x="1833" y="2111"/>
                  </a:lnTo>
                  <a:lnTo>
                    <a:pt x="1862" y="2166"/>
                  </a:lnTo>
                  <a:lnTo>
                    <a:pt x="1877" y="2193"/>
                  </a:lnTo>
                  <a:lnTo>
                    <a:pt x="1893" y="2219"/>
                  </a:lnTo>
                  <a:lnTo>
                    <a:pt x="1909" y="2240"/>
                  </a:lnTo>
                  <a:lnTo>
                    <a:pt x="1916" y="2250"/>
                  </a:lnTo>
                  <a:lnTo>
                    <a:pt x="1924" y="2259"/>
                  </a:lnTo>
                  <a:lnTo>
                    <a:pt x="1924" y="2259"/>
                  </a:lnTo>
                  <a:lnTo>
                    <a:pt x="1940" y="2254"/>
                  </a:lnTo>
                  <a:lnTo>
                    <a:pt x="1957" y="2249"/>
                  </a:lnTo>
                  <a:lnTo>
                    <a:pt x="1980" y="2243"/>
                  </a:lnTo>
                  <a:lnTo>
                    <a:pt x="2004" y="2235"/>
                  </a:lnTo>
                  <a:lnTo>
                    <a:pt x="2031" y="2225"/>
                  </a:lnTo>
                  <a:lnTo>
                    <a:pt x="2057" y="2213"/>
                  </a:lnTo>
                  <a:lnTo>
                    <a:pt x="2071" y="2206"/>
                  </a:lnTo>
                  <a:lnTo>
                    <a:pt x="2083" y="2199"/>
                  </a:lnTo>
                  <a:lnTo>
                    <a:pt x="2083" y="2199"/>
                  </a:lnTo>
                  <a:lnTo>
                    <a:pt x="2105" y="2186"/>
                  </a:lnTo>
                  <a:lnTo>
                    <a:pt x="2126" y="2172"/>
                  </a:lnTo>
                  <a:lnTo>
                    <a:pt x="2145" y="2157"/>
                  </a:lnTo>
                  <a:lnTo>
                    <a:pt x="2162" y="2142"/>
                  </a:lnTo>
                  <a:lnTo>
                    <a:pt x="2177" y="2128"/>
                  </a:lnTo>
                  <a:lnTo>
                    <a:pt x="2189" y="2113"/>
                  </a:lnTo>
                  <a:lnTo>
                    <a:pt x="2199" y="2099"/>
                  </a:lnTo>
                  <a:lnTo>
                    <a:pt x="2207" y="2086"/>
                  </a:lnTo>
                  <a:lnTo>
                    <a:pt x="2207" y="2086"/>
                  </a:lnTo>
                  <a:lnTo>
                    <a:pt x="2190" y="2122"/>
                  </a:lnTo>
                  <a:lnTo>
                    <a:pt x="2175" y="2155"/>
                  </a:lnTo>
                  <a:lnTo>
                    <a:pt x="2161" y="2185"/>
                  </a:lnTo>
                  <a:lnTo>
                    <a:pt x="2146" y="2213"/>
                  </a:lnTo>
                  <a:lnTo>
                    <a:pt x="2132" y="2238"/>
                  </a:lnTo>
                  <a:lnTo>
                    <a:pt x="2119" y="2261"/>
                  </a:lnTo>
                  <a:lnTo>
                    <a:pt x="2105" y="2281"/>
                  </a:lnTo>
                  <a:lnTo>
                    <a:pt x="2092" y="2299"/>
                  </a:lnTo>
                  <a:lnTo>
                    <a:pt x="2080" y="2317"/>
                  </a:lnTo>
                  <a:lnTo>
                    <a:pt x="2068" y="2331"/>
                  </a:lnTo>
                  <a:lnTo>
                    <a:pt x="2055" y="2344"/>
                  </a:lnTo>
                  <a:lnTo>
                    <a:pt x="2044" y="2356"/>
                  </a:lnTo>
                  <a:lnTo>
                    <a:pt x="2033" y="2367"/>
                  </a:lnTo>
                  <a:lnTo>
                    <a:pt x="2022" y="2376"/>
                  </a:lnTo>
                  <a:lnTo>
                    <a:pt x="2011" y="2383"/>
                  </a:lnTo>
                  <a:lnTo>
                    <a:pt x="2000" y="2391"/>
                  </a:lnTo>
                  <a:lnTo>
                    <a:pt x="2000" y="2391"/>
                  </a:lnTo>
                  <a:lnTo>
                    <a:pt x="1907" y="2452"/>
                  </a:lnTo>
                  <a:lnTo>
                    <a:pt x="1797" y="2524"/>
                  </a:lnTo>
                  <a:lnTo>
                    <a:pt x="1735" y="2563"/>
                  </a:lnTo>
                  <a:lnTo>
                    <a:pt x="1671" y="2602"/>
                  </a:lnTo>
                  <a:lnTo>
                    <a:pt x="1602" y="2642"/>
                  </a:lnTo>
                  <a:lnTo>
                    <a:pt x="1532" y="2682"/>
                  </a:lnTo>
                  <a:lnTo>
                    <a:pt x="1459" y="2720"/>
                  </a:lnTo>
                  <a:lnTo>
                    <a:pt x="1422" y="2739"/>
                  </a:lnTo>
                  <a:lnTo>
                    <a:pt x="1384" y="2756"/>
                  </a:lnTo>
                  <a:lnTo>
                    <a:pt x="1347" y="2774"/>
                  </a:lnTo>
                  <a:lnTo>
                    <a:pt x="1308" y="2791"/>
                  </a:lnTo>
                  <a:lnTo>
                    <a:pt x="1269" y="2808"/>
                  </a:lnTo>
                  <a:lnTo>
                    <a:pt x="1230" y="2823"/>
                  </a:lnTo>
                  <a:lnTo>
                    <a:pt x="1190" y="2837"/>
                  </a:lnTo>
                  <a:lnTo>
                    <a:pt x="1151" y="2851"/>
                  </a:lnTo>
                  <a:lnTo>
                    <a:pt x="1111" y="2864"/>
                  </a:lnTo>
                  <a:lnTo>
                    <a:pt x="1072" y="2875"/>
                  </a:lnTo>
                  <a:lnTo>
                    <a:pt x="1032" y="2885"/>
                  </a:lnTo>
                  <a:lnTo>
                    <a:pt x="992" y="2893"/>
                  </a:lnTo>
                  <a:lnTo>
                    <a:pt x="952" y="2902"/>
                  </a:lnTo>
                  <a:lnTo>
                    <a:pt x="913" y="2908"/>
                  </a:lnTo>
                  <a:lnTo>
                    <a:pt x="913" y="2908"/>
                  </a:lnTo>
                  <a:lnTo>
                    <a:pt x="901" y="2908"/>
                  </a:lnTo>
                  <a:lnTo>
                    <a:pt x="889" y="2907"/>
                  </a:lnTo>
                  <a:lnTo>
                    <a:pt x="876" y="2904"/>
                  </a:lnTo>
                  <a:lnTo>
                    <a:pt x="863" y="2901"/>
                  </a:lnTo>
                  <a:lnTo>
                    <a:pt x="850" y="2898"/>
                  </a:lnTo>
                  <a:lnTo>
                    <a:pt x="836" y="2892"/>
                  </a:lnTo>
                  <a:lnTo>
                    <a:pt x="809" y="2880"/>
                  </a:lnTo>
                  <a:lnTo>
                    <a:pt x="781" y="2866"/>
                  </a:lnTo>
                  <a:lnTo>
                    <a:pt x="754" y="2850"/>
                  </a:lnTo>
                  <a:lnTo>
                    <a:pt x="726" y="2832"/>
                  </a:lnTo>
                  <a:lnTo>
                    <a:pt x="698" y="2813"/>
                  </a:lnTo>
                  <a:lnTo>
                    <a:pt x="672" y="2792"/>
                  </a:lnTo>
                  <a:lnTo>
                    <a:pt x="646" y="2772"/>
                  </a:lnTo>
                  <a:lnTo>
                    <a:pt x="623" y="2751"/>
                  </a:lnTo>
                  <a:lnTo>
                    <a:pt x="600" y="2731"/>
                  </a:lnTo>
                  <a:lnTo>
                    <a:pt x="581" y="2711"/>
                  </a:lnTo>
                  <a:lnTo>
                    <a:pt x="563" y="2694"/>
                  </a:lnTo>
                  <a:lnTo>
                    <a:pt x="548" y="2679"/>
                  </a:lnTo>
                  <a:lnTo>
                    <a:pt x="537" y="2665"/>
                  </a:lnTo>
                  <a:lnTo>
                    <a:pt x="537" y="2665"/>
                  </a:lnTo>
                  <a:lnTo>
                    <a:pt x="533" y="2661"/>
                  </a:lnTo>
                  <a:lnTo>
                    <a:pt x="530" y="2657"/>
                  </a:lnTo>
                  <a:lnTo>
                    <a:pt x="520" y="2652"/>
                  </a:lnTo>
                  <a:lnTo>
                    <a:pt x="512" y="2650"/>
                  </a:lnTo>
                  <a:lnTo>
                    <a:pt x="502" y="2649"/>
                  </a:lnTo>
                  <a:lnTo>
                    <a:pt x="493" y="2649"/>
                  </a:lnTo>
                  <a:lnTo>
                    <a:pt x="483" y="2651"/>
                  </a:lnTo>
                  <a:lnTo>
                    <a:pt x="473" y="2654"/>
                  </a:lnTo>
                  <a:lnTo>
                    <a:pt x="464" y="2658"/>
                  </a:lnTo>
                  <a:lnTo>
                    <a:pt x="447" y="2666"/>
                  </a:lnTo>
                  <a:lnTo>
                    <a:pt x="433" y="2676"/>
                  </a:lnTo>
                  <a:lnTo>
                    <a:pt x="419" y="2686"/>
                  </a:lnTo>
                  <a:lnTo>
                    <a:pt x="419" y="2686"/>
                  </a:lnTo>
                  <a:lnTo>
                    <a:pt x="412" y="2685"/>
                  </a:lnTo>
                  <a:lnTo>
                    <a:pt x="393" y="2683"/>
                  </a:lnTo>
                  <a:lnTo>
                    <a:pt x="379" y="2683"/>
                  </a:lnTo>
                  <a:lnTo>
                    <a:pt x="364" y="2683"/>
                  </a:lnTo>
                  <a:lnTo>
                    <a:pt x="348" y="2684"/>
                  </a:lnTo>
                  <a:lnTo>
                    <a:pt x="329" y="2686"/>
                  </a:lnTo>
                  <a:lnTo>
                    <a:pt x="310" y="2689"/>
                  </a:lnTo>
                  <a:lnTo>
                    <a:pt x="290" y="2694"/>
                  </a:lnTo>
                  <a:lnTo>
                    <a:pt x="271" y="2700"/>
                  </a:lnTo>
                  <a:lnTo>
                    <a:pt x="252" y="2709"/>
                  </a:lnTo>
                  <a:lnTo>
                    <a:pt x="242" y="2715"/>
                  </a:lnTo>
                  <a:lnTo>
                    <a:pt x="233" y="2720"/>
                  </a:lnTo>
                  <a:lnTo>
                    <a:pt x="224" y="2726"/>
                  </a:lnTo>
                  <a:lnTo>
                    <a:pt x="216" y="2733"/>
                  </a:lnTo>
                  <a:lnTo>
                    <a:pt x="207" y="2741"/>
                  </a:lnTo>
                  <a:lnTo>
                    <a:pt x="199" y="2749"/>
                  </a:lnTo>
                  <a:lnTo>
                    <a:pt x="191" y="2759"/>
                  </a:lnTo>
                  <a:lnTo>
                    <a:pt x="184" y="2768"/>
                  </a:lnTo>
                  <a:lnTo>
                    <a:pt x="184" y="2768"/>
                  </a:lnTo>
                  <a:lnTo>
                    <a:pt x="183" y="2771"/>
                  </a:lnTo>
                  <a:lnTo>
                    <a:pt x="185" y="2773"/>
                  </a:lnTo>
                  <a:lnTo>
                    <a:pt x="188" y="2774"/>
                  </a:lnTo>
                  <a:lnTo>
                    <a:pt x="193" y="2774"/>
                  </a:lnTo>
                  <a:lnTo>
                    <a:pt x="210" y="2772"/>
                  </a:lnTo>
                  <a:lnTo>
                    <a:pt x="230" y="2770"/>
                  </a:lnTo>
                  <a:lnTo>
                    <a:pt x="255" y="2768"/>
                  </a:lnTo>
                  <a:lnTo>
                    <a:pt x="280" y="2767"/>
                  </a:lnTo>
                  <a:lnTo>
                    <a:pt x="293" y="2768"/>
                  </a:lnTo>
                  <a:lnTo>
                    <a:pt x="307" y="2769"/>
                  </a:lnTo>
                  <a:lnTo>
                    <a:pt x="319" y="2771"/>
                  </a:lnTo>
                  <a:lnTo>
                    <a:pt x="331" y="2774"/>
                  </a:lnTo>
                  <a:lnTo>
                    <a:pt x="331" y="2774"/>
                  </a:lnTo>
                  <a:lnTo>
                    <a:pt x="338" y="2777"/>
                  </a:lnTo>
                  <a:lnTo>
                    <a:pt x="343" y="2780"/>
                  </a:lnTo>
                  <a:lnTo>
                    <a:pt x="346" y="2783"/>
                  </a:lnTo>
                  <a:lnTo>
                    <a:pt x="347" y="2786"/>
                  </a:lnTo>
                  <a:lnTo>
                    <a:pt x="347" y="2789"/>
                  </a:lnTo>
                  <a:lnTo>
                    <a:pt x="345" y="2793"/>
                  </a:lnTo>
                  <a:lnTo>
                    <a:pt x="339" y="2801"/>
                  </a:lnTo>
                  <a:lnTo>
                    <a:pt x="332" y="2811"/>
                  </a:lnTo>
                  <a:lnTo>
                    <a:pt x="325" y="2822"/>
                  </a:lnTo>
                  <a:lnTo>
                    <a:pt x="321" y="2828"/>
                  </a:lnTo>
                  <a:lnTo>
                    <a:pt x="319" y="2834"/>
                  </a:lnTo>
                  <a:lnTo>
                    <a:pt x="317" y="2840"/>
                  </a:lnTo>
                  <a:lnTo>
                    <a:pt x="317" y="2847"/>
                  </a:lnTo>
                  <a:lnTo>
                    <a:pt x="317" y="2847"/>
                  </a:lnTo>
                  <a:lnTo>
                    <a:pt x="317" y="2853"/>
                  </a:lnTo>
                  <a:lnTo>
                    <a:pt x="319" y="2859"/>
                  </a:lnTo>
                  <a:lnTo>
                    <a:pt x="321" y="2864"/>
                  </a:lnTo>
                  <a:lnTo>
                    <a:pt x="324" y="2869"/>
                  </a:lnTo>
                  <a:lnTo>
                    <a:pt x="328" y="2874"/>
                  </a:lnTo>
                  <a:lnTo>
                    <a:pt x="333" y="2879"/>
                  </a:lnTo>
                  <a:lnTo>
                    <a:pt x="346" y="2889"/>
                  </a:lnTo>
                  <a:lnTo>
                    <a:pt x="361" y="2899"/>
                  </a:lnTo>
                  <a:lnTo>
                    <a:pt x="377" y="2908"/>
                  </a:lnTo>
                  <a:lnTo>
                    <a:pt x="397" y="2917"/>
                  </a:lnTo>
                  <a:lnTo>
                    <a:pt x="416" y="2925"/>
                  </a:lnTo>
                  <a:lnTo>
                    <a:pt x="458" y="2941"/>
                  </a:lnTo>
                  <a:lnTo>
                    <a:pt x="500" y="2955"/>
                  </a:lnTo>
                  <a:lnTo>
                    <a:pt x="571" y="2976"/>
                  </a:lnTo>
                  <a:lnTo>
                    <a:pt x="571" y="2976"/>
                  </a:lnTo>
                  <a:lnTo>
                    <a:pt x="579" y="2980"/>
                  </a:lnTo>
                  <a:lnTo>
                    <a:pt x="585" y="2984"/>
                  </a:lnTo>
                  <a:lnTo>
                    <a:pt x="588" y="2990"/>
                  </a:lnTo>
                  <a:lnTo>
                    <a:pt x="590" y="2995"/>
                  </a:lnTo>
                  <a:lnTo>
                    <a:pt x="590" y="2999"/>
                  </a:lnTo>
                  <a:lnTo>
                    <a:pt x="588" y="3003"/>
                  </a:lnTo>
                  <a:lnTo>
                    <a:pt x="585" y="3005"/>
                  </a:lnTo>
                  <a:lnTo>
                    <a:pt x="581" y="3006"/>
                  </a:lnTo>
                  <a:lnTo>
                    <a:pt x="581" y="3006"/>
                  </a:lnTo>
                  <a:lnTo>
                    <a:pt x="556" y="3005"/>
                  </a:lnTo>
                  <a:lnTo>
                    <a:pt x="532" y="3002"/>
                  </a:lnTo>
                  <a:lnTo>
                    <a:pt x="509" y="2999"/>
                  </a:lnTo>
                  <a:lnTo>
                    <a:pt x="488" y="2994"/>
                  </a:lnTo>
                  <a:lnTo>
                    <a:pt x="467" y="2989"/>
                  </a:lnTo>
                  <a:lnTo>
                    <a:pt x="448" y="2982"/>
                  </a:lnTo>
                  <a:lnTo>
                    <a:pt x="429" y="2976"/>
                  </a:lnTo>
                  <a:lnTo>
                    <a:pt x="412" y="2970"/>
                  </a:lnTo>
                  <a:lnTo>
                    <a:pt x="380" y="2957"/>
                  </a:lnTo>
                  <a:lnTo>
                    <a:pt x="352" y="2945"/>
                  </a:lnTo>
                  <a:lnTo>
                    <a:pt x="327" y="2933"/>
                  </a:lnTo>
                  <a:lnTo>
                    <a:pt x="316" y="2929"/>
                  </a:lnTo>
                  <a:lnTo>
                    <a:pt x="305" y="2925"/>
                  </a:lnTo>
                  <a:lnTo>
                    <a:pt x="305" y="2925"/>
                  </a:lnTo>
                  <a:lnTo>
                    <a:pt x="286" y="2920"/>
                  </a:lnTo>
                  <a:lnTo>
                    <a:pt x="268" y="2916"/>
                  </a:lnTo>
                  <a:lnTo>
                    <a:pt x="253" y="2913"/>
                  </a:lnTo>
                  <a:lnTo>
                    <a:pt x="237" y="2911"/>
                  </a:lnTo>
                  <a:lnTo>
                    <a:pt x="224" y="2910"/>
                  </a:lnTo>
                  <a:lnTo>
                    <a:pt x="213" y="2911"/>
                  </a:lnTo>
                  <a:lnTo>
                    <a:pt x="202" y="2912"/>
                  </a:lnTo>
                  <a:lnTo>
                    <a:pt x="192" y="2914"/>
                  </a:lnTo>
                  <a:lnTo>
                    <a:pt x="185" y="2918"/>
                  </a:lnTo>
                  <a:lnTo>
                    <a:pt x="178" y="2922"/>
                  </a:lnTo>
                  <a:lnTo>
                    <a:pt x="172" y="2927"/>
                  </a:lnTo>
                  <a:lnTo>
                    <a:pt x="167" y="2933"/>
                  </a:lnTo>
                  <a:lnTo>
                    <a:pt x="163" y="2939"/>
                  </a:lnTo>
                  <a:lnTo>
                    <a:pt x="160" y="2948"/>
                  </a:lnTo>
                  <a:lnTo>
                    <a:pt x="156" y="2956"/>
                  </a:lnTo>
                  <a:lnTo>
                    <a:pt x="155" y="2965"/>
                  </a:lnTo>
                  <a:lnTo>
                    <a:pt x="155" y="2965"/>
                  </a:lnTo>
                  <a:lnTo>
                    <a:pt x="154" y="2968"/>
                  </a:lnTo>
                  <a:lnTo>
                    <a:pt x="152" y="2971"/>
                  </a:lnTo>
                  <a:lnTo>
                    <a:pt x="150" y="2974"/>
                  </a:lnTo>
                  <a:lnTo>
                    <a:pt x="147" y="2976"/>
                  </a:lnTo>
                  <a:lnTo>
                    <a:pt x="140" y="2980"/>
                  </a:lnTo>
                  <a:lnTo>
                    <a:pt x="132" y="2985"/>
                  </a:lnTo>
                  <a:lnTo>
                    <a:pt x="109" y="2995"/>
                  </a:lnTo>
                  <a:lnTo>
                    <a:pt x="97" y="3001"/>
                  </a:lnTo>
                  <a:lnTo>
                    <a:pt x="84" y="3009"/>
                  </a:lnTo>
                  <a:lnTo>
                    <a:pt x="71" y="3019"/>
                  </a:lnTo>
                  <a:lnTo>
                    <a:pt x="57" y="3033"/>
                  </a:lnTo>
                  <a:lnTo>
                    <a:pt x="51" y="3040"/>
                  </a:lnTo>
                  <a:lnTo>
                    <a:pt x="45" y="3048"/>
                  </a:lnTo>
                  <a:lnTo>
                    <a:pt x="39" y="3058"/>
                  </a:lnTo>
                  <a:lnTo>
                    <a:pt x="33" y="3068"/>
                  </a:lnTo>
                  <a:lnTo>
                    <a:pt x="28" y="3080"/>
                  </a:lnTo>
                  <a:lnTo>
                    <a:pt x="22" y="3092"/>
                  </a:lnTo>
                  <a:lnTo>
                    <a:pt x="17" y="3106"/>
                  </a:lnTo>
                  <a:lnTo>
                    <a:pt x="13" y="3120"/>
                  </a:lnTo>
                  <a:lnTo>
                    <a:pt x="9" y="3137"/>
                  </a:lnTo>
                  <a:lnTo>
                    <a:pt x="6" y="3154"/>
                  </a:lnTo>
                  <a:lnTo>
                    <a:pt x="3" y="3174"/>
                  </a:lnTo>
                  <a:lnTo>
                    <a:pt x="0" y="3194"/>
                  </a:lnTo>
                  <a:lnTo>
                    <a:pt x="0" y="3194"/>
                  </a:lnTo>
                  <a:lnTo>
                    <a:pt x="1" y="3195"/>
                  </a:lnTo>
                  <a:lnTo>
                    <a:pt x="2" y="3196"/>
                  </a:lnTo>
                  <a:lnTo>
                    <a:pt x="6" y="3194"/>
                  </a:lnTo>
                  <a:lnTo>
                    <a:pt x="12" y="3189"/>
                  </a:lnTo>
                  <a:lnTo>
                    <a:pt x="20" y="3181"/>
                  </a:lnTo>
                  <a:lnTo>
                    <a:pt x="43" y="3158"/>
                  </a:lnTo>
                  <a:lnTo>
                    <a:pt x="69" y="3134"/>
                  </a:lnTo>
                  <a:lnTo>
                    <a:pt x="82" y="3121"/>
                  </a:lnTo>
                  <a:lnTo>
                    <a:pt x="95" y="3110"/>
                  </a:lnTo>
                  <a:lnTo>
                    <a:pt x="107" y="3101"/>
                  </a:lnTo>
                  <a:lnTo>
                    <a:pt x="119" y="3094"/>
                  </a:lnTo>
                  <a:lnTo>
                    <a:pt x="124" y="3091"/>
                  </a:lnTo>
                  <a:lnTo>
                    <a:pt x="129" y="3090"/>
                  </a:lnTo>
                  <a:lnTo>
                    <a:pt x="133" y="3089"/>
                  </a:lnTo>
                  <a:lnTo>
                    <a:pt x="137" y="3089"/>
                  </a:lnTo>
                  <a:lnTo>
                    <a:pt x="140" y="3091"/>
                  </a:lnTo>
                  <a:lnTo>
                    <a:pt x="143" y="3093"/>
                  </a:lnTo>
                  <a:lnTo>
                    <a:pt x="144" y="3097"/>
                  </a:lnTo>
                  <a:lnTo>
                    <a:pt x="146" y="3101"/>
                  </a:lnTo>
                  <a:lnTo>
                    <a:pt x="146" y="3101"/>
                  </a:lnTo>
                  <a:lnTo>
                    <a:pt x="149" y="3117"/>
                  </a:lnTo>
                  <a:lnTo>
                    <a:pt x="154" y="3132"/>
                  </a:lnTo>
                  <a:lnTo>
                    <a:pt x="162" y="3145"/>
                  </a:lnTo>
                  <a:lnTo>
                    <a:pt x="170" y="3155"/>
                  </a:lnTo>
                  <a:lnTo>
                    <a:pt x="179" y="3165"/>
                  </a:lnTo>
                  <a:lnTo>
                    <a:pt x="189" y="3173"/>
                  </a:lnTo>
                  <a:lnTo>
                    <a:pt x="200" y="3180"/>
                  </a:lnTo>
                  <a:lnTo>
                    <a:pt x="214" y="3185"/>
                  </a:lnTo>
                  <a:lnTo>
                    <a:pt x="227" y="3189"/>
                  </a:lnTo>
                  <a:lnTo>
                    <a:pt x="241" y="3191"/>
                  </a:lnTo>
                  <a:lnTo>
                    <a:pt x="256" y="3193"/>
                  </a:lnTo>
                  <a:lnTo>
                    <a:pt x="271" y="3194"/>
                  </a:lnTo>
                  <a:lnTo>
                    <a:pt x="287" y="3195"/>
                  </a:lnTo>
                  <a:lnTo>
                    <a:pt x="304" y="3194"/>
                  </a:lnTo>
                  <a:lnTo>
                    <a:pt x="337" y="3192"/>
                  </a:lnTo>
                  <a:lnTo>
                    <a:pt x="371" y="3188"/>
                  </a:lnTo>
                  <a:lnTo>
                    <a:pt x="405" y="3183"/>
                  </a:lnTo>
                  <a:lnTo>
                    <a:pt x="438" y="3178"/>
                  </a:lnTo>
                  <a:lnTo>
                    <a:pt x="468" y="3174"/>
                  </a:lnTo>
                  <a:lnTo>
                    <a:pt x="496" y="3172"/>
                  </a:lnTo>
                  <a:lnTo>
                    <a:pt x="509" y="3171"/>
                  </a:lnTo>
                  <a:lnTo>
                    <a:pt x="520" y="3171"/>
                  </a:lnTo>
                  <a:lnTo>
                    <a:pt x="531" y="3172"/>
                  </a:lnTo>
                  <a:lnTo>
                    <a:pt x="541" y="3174"/>
                  </a:lnTo>
                  <a:lnTo>
                    <a:pt x="549" y="3177"/>
                  </a:lnTo>
                  <a:lnTo>
                    <a:pt x="555" y="3181"/>
                  </a:lnTo>
                  <a:lnTo>
                    <a:pt x="555" y="3181"/>
                  </a:lnTo>
                  <a:lnTo>
                    <a:pt x="558" y="3184"/>
                  </a:lnTo>
                  <a:lnTo>
                    <a:pt x="559" y="3186"/>
                  </a:lnTo>
                  <a:lnTo>
                    <a:pt x="557" y="3189"/>
                  </a:lnTo>
                  <a:lnTo>
                    <a:pt x="554" y="3191"/>
                  </a:lnTo>
                  <a:lnTo>
                    <a:pt x="549" y="3194"/>
                  </a:lnTo>
                  <a:lnTo>
                    <a:pt x="542" y="3196"/>
                  </a:lnTo>
                  <a:lnTo>
                    <a:pt x="525" y="3200"/>
                  </a:lnTo>
                  <a:lnTo>
                    <a:pt x="475" y="3209"/>
                  </a:lnTo>
                  <a:lnTo>
                    <a:pt x="447" y="3215"/>
                  </a:lnTo>
                  <a:lnTo>
                    <a:pt x="417" y="3221"/>
                  </a:lnTo>
                  <a:lnTo>
                    <a:pt x="388" y="3228"/>
                  </a:lnTo>
                  <a:lnTo>
                    <a:pt x="359" y="3236"/>
                  </a:lnTo>
                  <a:lnTo>
                    <a:pt x="346" y="3240"/>
                  </a:lnTo>
                  <a:lnTo>
                    <a:pt x="333" y="3245"/>
                  </a:lnTo>
                  <a:lnTo>
                    <a:pt x="322" y="3250"/>
                  </a:lnTo>
                  <a:lnTo>
                    <a:pt x="312" y="3256"/>
                  </a:lnTo>
                  <a:lnTo>
                    <a:pt x="303" y="3263"/>
                  </a:lnTo>
                  <a:lnTo>
                    <a:pt x="294" y="3269"/>
                  </a:lnTo>
                  <a:lnTo>
                    <a:pt x="288" y="3276"/>
                  </a:lnTo>
                  <a:lnTo>
                    <a:pt x="284" y="3284"/>
                  </a:lnTo>
                  <a:lnTo>
                    <a:pt x="282" y="3292"/>
                  </a:lnTo>
                  <a:lnTo>
                    <a:pt x="281" y="3300"/>
                  </a:lnTo>
                  <a:lnTo>
                    <a:pt x="283" y="3311"/>
                  </a:lnTo>
                  <a:lnTo>
                    <a:pt x="287" y="3321"/>
                  </a:lnTo>
                  <a:lnTo>
                    <a:pt x="287" y="3321"/>
                  </a:lnTo>
                  <a:lnTo>
                    <a:pt x="287" y="3322"/>
                  </a:lnTo>
                  <a:lnTo>
                    <a:pt x="286" y="3325"/>
                  </a:lnTo>
                  <a:lnTo>
                    <a:pt x="283" y="3331"/>
                  </a:lnTo>
                  <a:lnTo>
                    <a:pt x="268" y="3348"/>
                  </a:lnTo>
                  <a:lnTo>
                    <a:pt x="258" y="3361"/>
                  </a:lnTo>
                  <a:lnTo>
                    <a:pt x="247" y="3374"/>
                  </a:lnTo>
                  <a:lnTo>
                    <a:pt x="237" y="3389"/>
                  </a:lnTo>
                  <a:lnTo>
                    <a:pt x="228" y="3406"/>
                  </a:lnTo>
                  <a:lnTo>
                    <a:pt x="220" y="3423"/>
                  </a:lnTo>
                  <a:lnTo>
                    <a:pt x="217" y="3432"/>
                  </a:lnTo>
                  <a:lnTo>
                    <a:pt x="214" y="3443"/>
                  </a:lnTo>
                  <a:lnTo>
                    <a:pt x="213" y="3452"/>
                  </a:lnTo>
                  <a:lnTo>
                    <a:pt x="212" y="3463"/>
                  </a:lnTo>
                  <a:lnTo>
                    <a:pt x="212" y="3473"/>
                  </a:lnTo>
                  <a:lnTo>
                    <a:pt x="213" y="3483"/>
                  </a:lnTo>
                  <a:lnTo>
                    <a:pt x="215" y="3495"/>
                  </a:lnTo>
                  <a:lnTo>
                    <a:pt x="219" y="3506"/>
                  </a:lnTo>
                  <a:lnTo>
                    <a:pt x="223" y="3518"/>
                  </a:lnTo>
                  <a:lnTo>
                    <a:pt x="229" y="3529"/>
                  </a:lnTo>
                  <a:lnTo>
                    <a:pt x="237" y="3542"/>
                  </a:lnTo>
                  <a:lnTo>
                    <a:pt x="246" y="3554"/>
                  </a:lnTo>
                  <a:lnTo>
                    <a:pt x="257" y="3566"/>
                  </a:lnTo>
                  <a:lnTo>
                    <a:pt x="270" y="3579"/>
                  </a:lnTo>
                  <a:lnTo>
                    <a:pt x="270" y="3579"/>
                  </a:lnTo>
                  <a:lnTo>
                    <a:pt x="270" y="3572"/>
                  </a:lnTo>
                  <a:lnTo>
                    <a:pt x="272" y="3555"/>
                  </a:lnTo>
                  <a:lnTo>
                    <a:pt x="277" y="3530"/>
                  </a:lnTo>
                  <a:lnTo>
                    <a:pt x="281" y="3517"/>
                  </a:lnTo>
                  <a:lnTo>
                    <a:pt x="285" y="3503"/>
                  </a:lnTo>
                  <a:lnTo>
                    <a:pt x="291" y="3490"/>
                  </a:lnTo>
                  <a:lnTo>
                    <a:pt x="298" y="3476"/>
                  </a:lnTo>
                  <a:lnTo>
                    <a:pt x="306" y="3463"/>
                  </a:lnTo>
                  <a:lnTo>
                    <a:pt x="315" y="3453"/>
                  </a:lnTo>
                  <a:lnTo>
                    <a:pt x="321" y="3448"/>
                  </a:lnTo>
                  <a:lnTo>
                    <a:pt x="326" y="3444"/>
                  </a:lnTo>
                  <a:lnTo>
                    <a:pt x="332" y="3439"/>
                  </a:lnTo>
                  <a:lnTo>
                    <a:pt x="339" y="3436"/>
                  </a:lnTo>
                  <a:lnTo>
                    <a:pt x="346" y="3434"/>
                  </a:lnTo>
                  <a:lnTo>
                    <a:pt x="354" y="3432"/>
                  </a:lnTo>
                  <a:lnTo>
                    <a:pt x="361" y="3432"/>
                  </a:lnTo>
                  <a:lnTo>
                    <a:pt x="369" y="3432"/>
                  </a:lnTo>
                  <a:lnTo>
                    <a:pt x="369" y="3432"/>
                  </a:lnTo>
                  <a:lnTo>
                    <a:pt x="383" y="3433"/>
                  </a:lnTo>
                  <a:lnTo>
                    <a:pt x="396" y="3436"/>
                  </a:lnTo>
                  <a:lnTo>
                    <a:pt x="408" y="3440"/>
                  </a:lnTo>
                  <a:lnTo>
                    <a:pt x="420" y="3445"/>
                  </a:lnTo>
                  <a:lnTo>
                    <a:pt x="443" y="3455"/>
                  </a:lnTo>
                  <a:lnTo>
                    <a:pt x="454" y="3459"/>
                  </a:lnTo>
                  <a:lnTo>
                    <a:pt x="465" y="3463"/>
                  </a:lnTo>
                  <a:lnTo>
                    <a:pt x="476" y="3466"/>
                  </a:lnTo>
                  <a:lnTo>
                    <a:pt x="489" y="3468"/>
                  </a:lnTo>
                  <a:lnTo>
                    <a:pt x="501" y="3469"/>
                  </a:lnTo>
                  <a:lnTo>
                    <a:pt x="514" y="3467"/>
                  </a:lnTo>
                  <a:lnTo>
                    <a:pt x="528" y="3464"/>
                  </a:lnTo>
                  <a:lnTo>
                    <a:pt x="542" y="3458"/>
                  </a:lnTo>
                  <a:lnTo>
                    <a:pt x="558" y="3450"/>
                  </a:lnTo>
                  <a:lnTo>
                    <a:pt x="575" y="3437"/>
                  </a:lnTo>
                  <a:lnTo>
                    <a:pt x="575" y="3437"/>
                  </a:lnTo>
                  <a:lnTo>
                    <a:pt x="588" y="3428"/>
                  </a:lnTo>
                  <a:lnTo>
                    <a:pt x="600" y="3417"/>
                  </a:lnTo>
                  <a:lnTo>
                    <a:pt x="614" y="3405"/>
                  </a:lnTo>
                  <a:lnTo>
                    <a:pt x="630" y="3392"/>
                  </a:lnTo>
                  <a:lnTo>
                    <a:pt x="651" y="3380"/>
                  </a:lnTo>
                  <a:lnTo>
                    <a:pt x="664" y="3373"/>
                  </a:lnTo>
                  <a:lnTo>
                    <a:pt x="678" y="3367"/>
                  </a:lnTo>
                  <a:lnTo>
                    <a:pt x="693" y="3360"/>
                  </a:lnTo>
                  <a:lnTo>
                    <a:pt x="712" y="3354"/>
                  </a:lnTo>
                  <a:lnTo>
                    <a:pt x="732" y="3346"/>
                  </a:lnTo>
                  <a:lnTo>
                    <a:pt x="754" y="3339"/>
                  </a:lnTo>
                  <a:lnTo>
                    <a:pt x="754" y="3339"/>
                  </a:lnTo>
                  <a:lnTo>
                    <a:pt x="756" y="3339"/>
                  </a:lnTo>
                  <a:lnTo>
                    <a:pt x="757" y="3340"/>
                  </a:lnTo>
                  <a:lnTo>
                    <a:pt x="760" y="3345"/>
                  </a:lnTo>
                  <a:lnTo>
                    <a:pt x="762" y="3354"/>
                  </a:lnTo>
                  <a:lnTo>
                    <a:pt x="765" y="3363"/>
                  </a:lnTo>
                  <a:lnTo>
                    <a:pt x="768" y="3375"/>
                  </a:lnTo>
                  <a:lnTo>
                    <a:pt x="772" y="3387"/>
                  </a:lnTo>
                  <a:lnTo>
                    <a:pt x="777" y="3400"/>
                  </a:lnTo>
                  <a:lnTo>
                    <a:pt x="783" y="3412"/>
                  </a:lnTo>
                  <a:lnTo>
                    <a:pt x="783" y="3412"/>
                  </a:lnTo>
                  <a:lnTo>
                    <a:pt x="786" y="3415"/>
                  </a:lnTo>
                  <a:lnTo>
                    <a:pt x="789" y="3417"/>
                  </a:lnTo>
                  <a:lnTo>
                    <a:pt x="797" y="3422"/>
                  </a:lnTo>
                  <a:lnTo>
                    <a:pt x="805" y="3425"/>
                  </a:lnTo>
                  <a:lnTo>
                    <a:pt x="813" y="3429"/>
                  </a:lnTo>
                  <a:lnTo>
                    <a:pt x="821" y="3432"/>
                  </a:lnTo>
                  <a:lnTo>
                    <a:pt x="827" y="3435"/>
                  </a:lnTo>
                  <a:lnTo>
                    <a:pt x="830" y="3437"/>
                  </a:lnTo>
                  <a:lnTo>
                    <a:pt x="831" y="3439"/>
                  </a:lnTo>
                  <a:lnTo>
                    <a:pt x="833" y="3443"/>
                  </a:lnTo>
                  <a:lnTo>
                    <a:pt x="833" y="3446"/>
                  </a:lnTo>
                  <a:lnTo>
                    <a:pt x="833" y="3446"/>
                  </a:lnTo>
                  <a:lnTo>
                    <a:pt x="832" y="3456"/>
                  </a:lnTo>
                  <a:lnTo>
                    <a:pt x="830" y="3467"/>
                  </a:lnTo>
                  <a:lnTo>
                    <a:pt x="826" y="3477"/>
                  </a:lnTo>
                  <a:lnTo>
                    <a:pt x="822" y="3486"/>
                  </a:lnTo>
                  <a:lnTo>
                    <a:pt x="817" y="3496"/>
                  </a:lnTo>
                  <a:lnTo>
                    <a:pt x="811" y="3505"/>
                  </a:lnTo>
                  <a:lnTo>
                    <a:pt x="798" y="3521"/>
                  </a:lnTo>
                  <a:lnTo>
                    <a:pt x="784" y="3535"/>
                  </a:lnTo>
                  <a:lnTo>
                    <a:pt x="773" y="3546"/>
                  </a:lnTo>
                  <a:lnTo>
                    <a:pt x="765" y="3552"/>
                  </a:lnTo>
                  <a:lnTo>
                    <a:pt x="763" y="3555"/>
                  </a:lnTo>
                  <a:lnTo>
                    <a:pt x="763" y="3555"/>
                  </a:lnTo>
                  <a:lnTo>
                    <a:pt x="767" y="3558"/>
                  </a:lnTo>
                  <a:lnTo>
                    <a:pt x="778" y="3561"/>
                  </a:lnTo>
                  <a:lnTo>
                    <a:pt x="785" y="3562"/>
                  </a:lnTo>
                  <a:lnTo>
                    <a:pt x="794" y="3563"/>
                  </a:lnTo>
                  <a:lnTo>
                    <a:pt x="804" y="3563"/>
                  </a:lnTo>
                  <a:lnTo>
                    <a:pt x="815" y="3561"/>
                  </a:lnTo>
                  <a:lnTo>
                    <a:pt x="826" y="3558"/>
                  </a:lnTo>
                  <a:lnTo>
                    <a:pt x="839" y="3553"/>
                  </a:lnTo>
                  <a:lnTo>
                    <a:pt x="852" y="3546"/>
                  </a:lnTo>
                  <a:lnTo>
                    <a:pt x="865" y="3536"/>
                  </a:lnTo>
                  <a:lnTo>
                    <a:pt x="879" y="3522"/>
                  </a:lnTo>
                  <a:lnTo>
                    <a:pt x="894" y="3506"/>
                  </a:lnTo>
                  <a:lnTo>
                    <a:pt x="907" y="3486"/>
                  </a:lnTo>
                  <a:lnTo>
                    <a:pt x="921" y="3463"/>
                  </a:lnTo>
                  <a:lnTo>
                    <a:pt x="921" y="3463"/>
                  </a:lnTo>
                  <a:lnTo>
                    <a:pt x="924" y="3459"/>
                  </a:lnTo>
                  <a:lnTo>
                    <a:pt x="927" y="3455"/>
                  </a:lnTo>
                  <a:lnTo>
                    <a:pt x="930" y="3453"/>
                  </a:lnTo>
                  <a:lnTo>
                    <a:pt x="935" y="3451"/>
                  </a:lnTo>
                  <a:lnTo>
                    <a:pt x="939" y="3450"/>
                  </a:lnTo>
                  <a:lnTo>
                    <a:pt x="943" y="3450"/>
                  </a:lnTo>
                  <a:lnTo>
                    <a:pt x="951" y="3450"/>
                  </a:lnTo>
                  <a:lnTo>
                    <a:pt x="970" y="3452"/>
                  </a:lnTo>
                  <a:lnTo>
                    <a:pt x="982" y="3452"/>
                  </a:lnTo>
                  <a:lnTo>
                    <a:pt x="987" y="3451"/>
                  </a:lnTo>
                  <a:lnTo>
                    <a:pt x="992" y="3450"/>
                  </a:lnTo>
                  <a:lnTo>
                    <a:pt x="992" y="3450"/>
                  </a:lnTo>
                  <a:lnTo>
                    <a:pt x="1010" y="3444"/>
                  </a:lnTo>
                  <a:lnTo>
                    <a:pt x="1017" y="3439"/>
                  </a:lnTo>
                  <a:lnTo>
                    <a:pt x="1024" y="3435"/>
                  </a:lnTo>
                  <a:lnTo>
                    <a:pt x="1029" y="3432"/>
                  </a:lnTo>
                  <a:lnTo>
                    <a:pt x="1033" y="3428"/>
                  </a:lnTo>
                  <a:lnTo>
                    <a:pt x="1036" y="3424"/>
                  </a:lnTo>
                  <a:lnTo>
                    <a:pt x="1039" y="3419"/>
                  </a:lnTo>
                  <a:lnTo>
                    <a:pt x="1041" y="3415"/>
                  </a:lnTo>
                  <a:lnTo>
                    <a:pt x="1042" y="3410"/>
                  </a:lnTo>
                  <a:lnTo>
                    <a:pt x="1043" y="3401"/>
                  </a:lnTo>
                  <a:lnTo>
                    <a:pt x="1042" y="3390"/>
                  </a:lnTo>
                  <a:lnTo>
                    <a:pt x="1040" y="3380"/>
                  </a:lnTo>
                  <a:lnTo>
                    <a:pt x="1035" y="3358"/>
                  </a:lnTo>
                  <a:lnTo>
                    <a:pt x="1034" y="3347"/>
                  </a:lnTo>
                  <a:lnTo>
                    <a:pt x="1033" y="3335"/>
                  </a:lnTo>
                  <a:lnTo>
                    <a:pt x="1034" y="3324"/>
                  </a:lnTo>
                  <a:lnTo>
                    <a:pt x="1036" y="3319"/>
                  </a:lnTo>
                  <a:lnTo>
                    <a:pt x="1038" y="3313"/>
                  </a:lnTo>
                  <a:lnTo>
                    <a:pt x="1040" y="3308"/>
                  </a:lnTo>
                  <a:lnTo>
                    <a:pt x="1044" y="3302"/>
                  </a:lnTo>
                  <a:lnTo>
                    <a:pt x="1048" y="3296"/>
                  </a:lnTo>
                  <a:lnTo>
                    <a:pt x="1054" y="3291"/>
                  </a:lnTo>
                  <a:lnTo>
                    <a:pt x="1054" y="3291"/>
                  </a:lnTo>
                  <a:lnTo>
                    <a:pt x="1069" y="3278"/>
                  </a:lnTo>
                  <a:lnTo>
                    <a:pt x="1084" y="3265"/>
                  </a:lnTo>
                  <a:lnTo>
                    <a:pt x="1099" y="3253"/>
                  </a:lnTo>
                  <a:lnTo>
                    <a:pt x="1115" y="3241"/>
                  </a:lnTo>
                  <a:lnTo>
                    <a:pt x="1146" y="3221"/>
                  </a:lnTo>
                  <a:lnTo>
                    <a:pt x="1178" y="3202"/>
                  </a:lnTo>
                  <a:lnTo>
                    <a:pt x="1210" y="3186"/>
                  </a:lnTo>
                  <a:lnTo>
                    <a:pt x="1241" y="3171"/>
                  </a:lnTo>
                  <a:lnTo>
                    <a:pt x="1273" y="3156"/>
                  </a:lnTo>
                  <a:lnTo>
                    <a:pt x="1304" y="3144"/>
                  </a:lnTo>
                  <a:lnTo>
                    <a:pt x="1304" y="3144"/>
                  </a:lnTo>
                  <a:lnTo>
                    <a:pt x="1303" y="3148"/>
                  </a:lnTo>
                  <a:lnTo>
                    <a:pt x="1299" y="3160"/>
                  </a:lnTo>
                  <a:lnTo>
                    <a:pt x="1294" y="3180"/>
                  </a:lnTo>
                  <a:lnTo>
                    <a:pt x="1291" y="3203"/>
                  </a:lnTo>
                  <a:lnTo>
                    <a:pt x="1290" y="3218"/>
                  </a:lnTo>
                  <a:lnTo>
                    <a:pt x="1290" y="3232"/>
                  </a:lnTo>
                  <a:lnTo>
                    <a:pt x="1291" y="3247"/>
                  </a:lnTo>
                  <a:lnTo>
                    <a:pt x="1292" y="3264"/>
                  </a:lnTo>
                  <a:lnTo>
                    <a:pt x="1296" y="3280"/>
                  </a:lnTo>
                  <a:lnTo>
                    <a:pt x="1301" y="3296"/>
                  </a:lnTo>
                  <a:lnTo>
                    <a:pt x="1306" y="3314"/>
                  </a:lnTo>
                  <a:lnTo>
                    <a:pt x="1314" y="3331"/>
                  </a:lnTo>
                  <a:lnTo>
                    <a:pt x="1640" y="3247"/>
                  </a:lnTo>
                  <a:lnTo>
                    <a:pt x="1640" y="3247"/>
                  </a:lnTo>
                  <a:lnTo>
                    <a:pt x="1634" y="3231"/>
                  </a:lnTo>
                  <a:lnTo>
                    <a:pt x="1631" y="3215"/>
                  </a:lnTo>
                  <a:lnTo>
                    <a:pt x="1629" y="3197"/>
                  </a:lnTo>
                  <a:lnTo>
                    <a:pt x="1629" y="3180"/>
                  </a:lnTo>
                  <a:lnTo>
                    <a:pt x="1631" y="3162"/>
                  </a:lnTo>
                  <a:lnTo>
                    <a:pt x="1634" y="3145"/>
                  </a:lnTo>
                  <a:lnTo>
                    <a:pt x="1638" y="3128"/>
                  </a:lnTo>
                  <a:lnTo>
                    <a:pt x="1644" y="3109"/>
                  </a:lnTo>
                  <a:lnTo>
                    <a:pt x="1651" y="3092"/>
                  </a:lnTo>
                  <a:lnTo>
                    <a:pt x="1660" y="3073"/>
                  </a:lnTo>
                  <a:lnTo>
                    <a:pt x="1669" y="3056"/>
                  </a:lnTo>
                  <a:lnTo>
                    <a:pt x="1679" y="3039"/>
                  </a:lnTo>
                  <a:lnTo>
                    <a:pt x="1689" y="3021"/>
                  </a:lnTo>
                  <a:lnTo>
                    <a:pt x="1701" y="3004"/>
                  </a:lnTo>
                  <a:lnTo>
                    <a:pt x="1725" y="2972"/>
                  </a:lnTo>
                  <a:lnTo>
                    <a:pt x="1725" y="2972"/>
                  </a:lnTo>
                  <a:lnTo>
                    <a:pt x="1726" y="2971"/>
                  </a:lnTo>
                  <a:lnTo>
                    <a:pt x="1727" y="2971"/>
                  </a:lnTo>
                  <a:lnTo>
                    <a:pt x="1728" y="2975"/>
                  </a:lnTo>
                  <a:lnTo>
                    <a:pt x="1725" y="2997"/>
                  </a:lnTo>
                  <a:lnTo>
                    <a:pt x="1721" y="3030"/>
                  </a:lnTo>
                  <a:lnTo>
                    <a:pt x="1715" y="3072"/>
                  </a:lnTo>
                  <a:lnTo>
                    <a:pt x="1713" y="3095"/>
                  </a:lnTo>
                  <a:lnTo>
                    <a:pt x="1711" y="3118"/>
                  </a:lnTo>
                  <a:lnTo>
                    <a:pt x="1711" y="3140"/>
                  </a:lnTo>
                  <a:lnTo>
                    <a:pt x="1711" y="3161"/>
                  </a:lnTo>
                  <a:lnTo>
                    <a:pt x="1713" y="3181"/>
                  </a:lnTo>
                  <a:lnTo>
                    <a:pt x="1716" y="3198"/>
                  </a:lnTo>
                  <a:lnTo>
                    <a:pt x="1719" y="3206"/>
                  </a:lnTo>
                  <a:lnTo>
                    <a:pt x="1722" y="3213"/>
                  </a:lnTo>
                  <a:lnTo>
                    <a:pt x="1726" y="3219"/>
                  </a:lnTo>
                  <a:lnTo>
                    <a:pt x="1730" y="3224"/>
                  </a:lnTo>
                  <a:lnTo>
                    <a:pt x="2050" y="3141"/>
                  </a:lnTo>
                  <a:lnTo>
                    <a:pt x="2050" y="3141"/>
                  </a:lnTo>
                  <a:lnTo>
                    <a:pt x="2046" y="3131"/>
                  </a:lnTo>
                  <a:lnTo>
                    <a:pt x="2043" y="3119"/>
                  </a:lnTo>
                  <a:lnTo>
                    <a:pt x="2041" y="3108"/>
                  </a:lnTo>
                  <a:lnTo>
                    <a:pt x="2039" y="3096"/>
                  </a:lnTo>
                  <a:lnTo>
                    <a:pt x="2038" y="3084"/>
                  </a:lnTo>
                  <a:lnTo>
                    <a:pt x="2038" y="3071"/>
                  </a:lnTo>
                  <a:lnTo>
                    <a:pt x="2039" y="3045"/>
                  </a:lnTo>
                  <a:lnTo>
                    <a:pt x="2043" y="3018"/>
                  </a:lnTo>
                  <a:lnTo>
                    <a:pt x="2048" y="2992"/>
                  </a:lnTo>
                  <a:lnTo>
                    <a:pt x="2055" y="2965"/>
                  </a:lnTo>
                  <a:lnTo>
                    <a:pt x="2064" y="2941"/>
                  </a:lnTo>
                  <a:lnTo>
                    <a:pt x="2064" y="2941"/>
                  </a:lnTo>
                  <a:lnTo>
                    <a:pt x="2072" y="2968"/>
                  </a:lnTo>
                  <a:lnTo>
                    <a:pt x="2079" y="2997"/>
                  </a:lnTo>
                  <a:lnTo>
                    <a:pt x="2088" y="3024"/>
                  </a:lnTo>
                  <a:lnTo>
                    <a:pt x="2098" y="3052"/>
                  </a:lnTo>
                  <a:lnTo>
                    <a:pt x="2108" y="3079"/>
                  </a:lnTo>
                  <a:lnTo>
                    <a:pt x="2121" y="3105"/>
                  </a:lnTo>
                  <a:lnTo>
                    <a:pt x="2135" y="3131"/>
                  </a:lnTo>
                  <a:lnTo>
                    <a:pt x="2149" y="3156"/>
                  </a:lnTo>
                  <a:lnTo>
                    <a:pt x="2166" y="3181"/>
                  </a:lnTo>
                  <a:lnTo>
                    <a:pt x="2183" y="3203"/>
                  </a:lnTo>
                  <a:lnTo>
                    <a:pt x="2201" y="3225"/>
                  </a:lnTo>
                  <a:lnTo>
                    <a:pt x="2222" y="3245"/>
                  </a:lnTo>
                  <a:lnTo>
                    <a:pt x="2244" y="3265"/>
                  </a:lnTo>
                  <a:lnTo>
                    <a:pt x="2268" y="3281"/>
                  </a:lnTo>
                  <a:lnTo>
                    <a:pt x="2280" y="3289"/>
                  </a:lnTo>
                  <a:lnTo>
                    <a:pt x="2292" y="3296"/>
                  </a:lnTo>
                  <a:lnTo>
                    <a:pt x="2306" y="3303"/>
                  </a:lnTo>
                  <a:lnTo>
                    <a:pt x="2320" y="3310"/>
                  </a:lnTo>
                  <a:lnTo>
                    <a:pt x="2320" y="3310"/>
                  </a:lnTo>
                  <a:lnTo>
                    <a:pt x="2365" y="3329"/>
                  </a:lnTo>
                  <a:lnTo>
                    <a:pt x="2410" y="3347"/>
                  </a:lnTo>
                  <a:lnTo>
                    <a:pt x="2454" y="3364"/>
                  </a:lnTo>
                  <a:lnTo>
                    <a:pt x="2499" y="3380"/>
                  </a:lnTo>
                  <a:lnTo>
                    <a:pt x="2544" y="3395"/>
                  </a:lnTo>
                  <a:lnTo>
                    <a:pt x="2589" y="3411"/>
                  </a:lnTo>
                  <a:lnTo>
                    <a:pt x="2683" y="3440"/>
                  </a:lnTo>
                  <a:lnTo>
                    <a:pt x="2782" y="3469"/>
                  </a:lnTo>
                  <a:lnTo>
                    <a:pt x="2889" y="3500"/>
                  </a:lnTo>
                  <a:lnTo>
                    <a:pt x="3005" y="3534"/>
                  </a:lnTo>
                  <a:lnTo>
                    <a:pt x="3133" y="3570"/>
                  </a:lnTo>
                  <a:lnTo>
                    <a:pt x="3133" y="3570"/>
                  </a:lnTo>
                  <a:lnTo>
                    <a:pt x="3205" y="3593"/>
                  </a:lnTo>
                  <a:lnTo>
                    <a:pt x="3273" y="3616"/>
                  </a:lnTo>
                  <a:lnTo>
                    <a:pt x="3305" y="3628"/>
                  </a:lnTo>
                  <a:lnTo>
                    <a:pt x="3333" y="3639"/>
                  </a:lnTo>
                  <a:lnTo>
                    <a:pt x="3358" y="3649"/>
                  </a:lnTo>
                  <a:lnTo>
                    <a:pt x="3377" y="3658"/>
                  </a:lnTo>
                  <a:lnTo>
                    <a:pt x="3377" y="3658"/>
                  </a:lnTo>
                  <a:lnTo>
                    <a:pt x="3383" y="3661"/>
                  </a:lnTo>
                  <a:lnTo>
                    <a:pt x="3389" y="3665"/>
                  </a:lnTo>
                  <a:lnTo>
                    <a:pt x="3393" y="3668"/>
                  </a:lnTo>
                  <a:lnTo>
                    <a:pt x="3397" y="3673"/>
                  </a:lnTo>
                  <a:lnTo>
                    <a:pt x="3399" y="3677"/>
                  </a:lnTo>
                  <a:lnTo>
                    <a:pt x="3401" y="3682"/>
                  </a:lnTo>
                  <a:lnTo>
                    <a:pt x="3402" y="3686"/>
                  </a:lnTo>
                  <a:lnTo>
                    <a:pt x="3402" y="3690"/>
                  </a:lnTo>
                  <a:lnTo>
                    <a:pt x="3401" y="3699"/>
                  </a:lnTo>
                  <a:lnTo>
                    <a:pt x="3397" y="3708"/>
                  </a:lnTo>
                  <a:lnTo>
                    <a:pt x="3392" y="3717"/>
                  </a:lnTo>
                  <a:lnTo>
                    <a:pt x="3386" y="3726"/>
                  </a:lnTo>
                  <a:lnTo>
                    <a:pt x="3378" y="3734"/>
                  </a:lnTo>
                  <a:lnTo>
                    <a:pt x="3371" y="3742"/>
                  </a:lnTo>
                  <a:lnTo>
                    <a:pt x="3357" y="3754"/>
                  </a:lnTo>
                  <a:lnTo>
                    <a:pt x="3346" y="3764"/>
                  </a:lnTo>
                  <a:lnTo>
                    <a:pt x="3341" y="3767"/>
                  </a:lnTo>
                  <a:lnTo>
                    <a:pt x="3341" y="3767"/>
                  </a:lnTo>
                  <a:lnTo>
                    <a:pt x="3355" y="3775"/>
                  </a:lnTo>
                  <a:lnTo>
                    <a:pt x="3371" y="3783"/>
                  </a:lnTo>
                  <a:lnTo>
                    <a:pt x="3411" y="3801"/>
                  </a:lnTo>
                  <a:lnTo>
                    <a:pt x="3435" y="3814"/>
                  </a:lnTo>
                  <a:lnTo>
                    <a:pt x="3461" y="3829"/>
                  </a:lnTo>
                  <a:lnTo>
                    <a:pt x="3492" y="3848"/>
                  </a:lnTo>
                  <a:lnTo>
                    <a:pt x="3527" y="3873"/>
                  </a:lnTo>
                  <a:lnTo>
                    <a:pt x="3527" y="3873"/>
                  </a:lnTo>
                  <a:lnTo>
                    <a:pt x="3545" y="3888"/>
                  </a:lnTo>
                  <a:lnTo>
                    <a:pt x="3563" y="3906"/>
                  </a:lnTo>
                  <a:lnTo>
                    <a:pt x="3580" y="3925"/>
                  </a:lnTo>
                  <a:lnTo>
                    <a:pt x="3595" y="3946"/>
                  </a:lnTo>
                  <a:lnTo>
                    <a:pt x="3608" y="3967"/>
                  </a:lnTo>
                  <a:lnTo>
                    <a:pt x="3622" y="3991"/>
                  </a:lnTo>
                  <a:lnTo>
                    <a:pt x="3634" y="4014"/>
                  </a:lnTo>
                  <a:lnTo>
                    <a:pt x="3645" y="4040"/>
                  </a:lnTo>
                  <a:lnTo>
                    <a:pt x="3655" y="4066"/>
                  </a:lnTo>
                  <a:lnTo>
                    <a:pt x="3665" y="4094"/>
                  </a:lnTo>
                  <a:lnTo>
                    <a:pt x="3674" y="4122"/>
                  </a:lnTo>
                  <a:lnTo>
                    <a:pt x="3682" y="4151"/>
                  </a:lnTo>
                  <a:lnTo>
                    <a:pt x="3698" y="4211"/>
                  </a:lnTo>
                  <a:lnTo>
                    <a:pt x="3714" y="4274"/>
                  </a:lnTo>
                  <a:lnTo>
                    <a:pt x="3714" y="4274"/>
                  </a:lnTo>
                  <a:lnTo>
                    <a:pt x="3725" y="4324"/>
                  </a:lnTo>
                  <a:lnTo>
                    <a:pt x="3734" y="4377"/>
                  </a:lnTo>
                  <a:lnTo>
                    <a:pt x="3742" y="4430"/>
                  </a:lnTo>
                  <a:lnTo>
                    <a:pt x="3744" y="4457"/>
                  </a:lnTo>
                  <a:lnTo>
                    <a:pt x="3746" y="4481"/>
                  </a:lnTo>
                  <a:lnTo>
                    <a:pt x="3748" y="4506"/>
                  </a:lnTo>
                  <a:lnTo>
                    <a:pt x="3749" y="4529"/>
                  </a:lnTo>
                  <a:lnTo>
                    <a:pt x="3748" y="4551"/>
                  </a:lnTo>
                  <a:lnTo>
                    <a:pt x="3745" y="4571"/>
                  </a:lnTo>
                  <a:lnTo>
                    <a:pt x="3742" y="4590"/>
                  </a:lnTo>
                  <a:lnTo>
                    <a:pt x="3737" y="4606"/>
                  </a:lnTo>
                  <a:lnTo>
                    <a:pt x="3731" y="4619"/>
                  </a:lnTo>
                  <a:lnTo>
                    <a:pt x="3728" y="4625"/>
                  </a:lnTo>
                  <a:lnTo>
                    <a:pt x="3724" y="4631"/>
                  </a:lnTo>
                  <a:lnTo>
                    <a:pt x="3724" y="4631"/>
                  </a:lnTo>
                  <a:lnTo>
                    <a:pt x="3715" y="4641"/>
                  </a:lnTo>
                  <a:lnTo>
                    <a:pt x="3705" y="4651"/>
                  </a:lnTo>
                  <a:lnTo>
                    <a:pt x="3691" y="4660"/>
                  </a:lnTo>
                  <a:lnTo>
                    <a:pt x="3683" y="4665"/>
                  </a:lnTo>
                  <a:lnTo>
                    <a:pt x="3673" y="4670"/>
                  </a:lnTo>
                  <a:lnTo>
                    <a:pt x="3663" y="4676"/>
                  </a:lnTo>
                  <a:lnTo>
                    <a:pt x="3650" y="4681"/>
                  </a:lnTo>
                  <a:lnTo>
                    <a:pt x="3621" y="4690"/>
                  </a:lnTo>
                  <a:lnTo>
                    <a:pt x="3582" y="4700"/>
                  </a:lnTo>
                  <a:lnTo>
                    <a:pt x="3535" y="4710"/>
                  </a:lnTo>
                  <a:lnTo>
                    <a:pt x="3560" y="4833"/>
                  </a:lnTo>
                  <a:lnTo>
                    <a:pt x="3560" y="4833"/>
                  </a:lnTo>
                  <a:lnTo>
                    <a:pt x="3579" y="4834"/>
                  </a:lnTo>
                  <a:lnTo>
                    <a:pt x="3597" y="4834"/>
                  </a:lnTo>
                  <a:lnTo>
                    <a:pt x="3615" y="4833"/>
                  </a:lnTo>
                  <a:lnTo>
                    <a:pt x="3631" y="4831"/>
                  </a:lnTo>
                  <a:lnTo>
                    <a:pt x="3646" y="4829"/>
                  </a:lnTo>
                  <a:lnTo>
                    <a:pt x="3662" y="4826"/>
                  </a:lnTo>
                  <a:lnTo>
                    <a:pt x="3688" y="4819"/>
                  </a:lnTo>
                  <a:lnTo>
                    <a:pt x="3711" y="4812"/>
                  </a:lnTo>
                  <a:lnTo>
                    <a:pt x="3728" y="4805"/>
                  </a:lnTo>
                  <a:lnTo>
                    <a:pt x="3742" y="4799"/>
                  </a:lnTo>
                  <a:lnTo>
                    <a:pt x="3742" y="4799"/>
                  </a:lnTo>
                  <a:lnTo>
                    <a:pt x="3736" y="4805"/>
                  </a:lnTo>
                  <a:lnTo>
                    <a:pt x="3730" y="4813"/>
                  </a:lnTo>
                  <a:lnTo>
                    <a:pt x="3722" y="4823"/>
                  </a:lnTo>
                  <a:lnTo>
                    <a:pt x="3722" y="4823"/>
                  </a:lnTo>
                  <a:lnTo>
                    <a:pt x="3711" y="4839"/>
                  </a:lnTo>
                  <a:lnTo>
                    <a:pt x="3700" y="4856"/>
                  </a:lnTo>
                  <a:lnTo>
                    <a:pt x="3692" y="4871"/>
                  </a:lnTo>
                  <a:lnTo>
                    <a:pt x="3685" y="4886"/>
                  </a:lnTo>
                  <a:lnTo>
                    <a:pt x="3680" y="4902"/>
                  </a:lnTo>
                  <a:lnTo>
                    <a:pt x="3675" y="4919"/>
                  </a:lnTo>
                  <a:lnTo>
                    <a:pt x="3672" y="4936"/>
                  </a:lnTo>
                  <a:lnTo>
                    <a:pt x="3669" y="4957"/>
                  </a:lnTo>
                  <a:lnTo>
                    <a:pt x="3799" y="5041"/>
                  </a:lnTo>
                  <a:lnTo>
                    <a:pt x="3799" y="5041"/>
                  </a:lnTo>
                  <a:lnTo>
                    <a:pt x="3812" y="5000"/>
                  </a:lnTo>
                  <a:lnTo>
                    <a:pt x="3826" y="4960"/>
                  </a:lnTo>
                  <a:lnTo>
                    <a:pt x="3841" y="4924"/>
                  </a:lnTo>
                  <a:lnTo>
                    <a:pt x="3855" y="4891"/>
                  </a:lnTo>
                  <a:lnTo>
                    <a:pt x="3870" y="4864"/>
                  </a:lnTo>
                  <a:lnTo>
                    <a:pt x="3877" y="4851"/>
                  </a:lnTo>
                  <a:lnTo>
                    <a:pt x="3885" y="4841"/>
                  </a:lnTo>
                  <a:lnTo>
                    <a:pt x="3892" y="4832"/>
                  </a:lnTo>
                  <a:lnTo>
                    <a:pt x="3899" y="4825"/>
                  </a:lnTo>
                  <a:lnTo>
                    <a:pt x="3906" y="4820"/>
                  </a:lnTo>
                  <a:lnTo>
                    <a:pt x="3913" y="4816"/>
                  </a:lnTo>
                  <a:lnTo>
                    <a:pt x="3913" y="4816"/>
                  </a:lnTo>
                  <a:lnTo>
                    <a:pt x="3919" y="4814"/>
                  </a:lnTo>
                  <a:lnTo>
                    <a:pt x="3926" y="4814"/>
                  </a:lnTo>
                  <a:lnTo>
                    <a:pt x="3935" y="4814"/>
                  </a:lnTo>
                  <a:lnTo>
                    <a:pt x="3944" y="4815"/>
                  </a:lnTo>
                  <a:lnTo>
                    <a:pt x="3954" y="4817"/>
                  </a:lnTo>
                  <a:lnTo>
                    <a:pt x="3965" y="4819"/>
                  </a:lnTo>
                  <a:lnTo>
                    <a:pt x="3990" y="4828"/>
                  </a:lnTo>
                  <a:lnTo>
                    <a:pt x="4017" y="4839"/>
                  </a:lnTo>
                  <a:lnTo>
                    <a:pt x="4047" y="4854"/>
                  </a:lnTo>
                  <a:lnTo>
                    <a:pt x="4078" y="4874"/>
                  </a:lnTo>
                  <a:lnTo>
                    <a:pt x="4110" y="4895"/>
                  </a:lnTo>
                  <a:lnTo>
                    <a:pt x="4127" y="4908"/>
                  </a:lnTo>
                  <a:lnTo>
                    <a:pt x="4143" y="4921"/>
                  </a:lnTo>
                  <a:lnTo>
                    <a:pt x="4160" y="4935"/>
                  </a:lnTo>
                  <a:lnTo>
                    <a:pt x="4176" y="4950"/>
                  </a:lnTo>
                  <a:lnTo>
                    <a:pt x="4192" y="4965"/>
                  </a:lnTo>
                  <a:lnTo>
                    <a:pt x="4208" y="4981"/>
                  </a:lnTo>
                  <a:lnTo>
                    <a:pt x="4224" y="4999"/>
                  </a:lnTo>
                  <a:lnTo>
                    <a:pt x="4239" y="5017"/>
                  </a:lnTo>
                  <a:lnTo>
                    <a:pt x="4254" y="5035"/>
                  </a:lnTo>
                  <a:lnTo>
                    <a:pt x="4268" y="5055"/>
                  </a:lnTo>
                  <a:lnTo>
                    <a:pt x="4282" y="5075"/>
                  </a:lnTo>
                  <a:lnTo>
                    <a:pt x="4296" y="5097"/>
                  </a:lnTo>
                  <a:lnTo>
                    <a:pt x="4308" y="5118"/>
                  </a:lnTo>
                  <a:lnTo>
                    <a:pt x="4320" y="5141"/>
                  </a:lnTo>
                  <a:lnTo>
                    <a:pt x="4331" y="5164"/>
                  </a:lnTo>
                  <a:lnTo>
                    <a:pt x="4342" y="5189"/>
                  </a:lnTo>
                  <a:lnTo>
                    <a:pt x="4342" y="5189"/>
                  </a:lnTo>
                  <a:lnTo>
                    <a:pt x="4347" y="5203"/>
                  </a:lnTo>
                  <a:lnTo>
                    <a:pt x="4352" y="5220"/>
                  </a:lnTo>
                  <a:lnTo>
                    <a:pt x="4356" y="5236"/>
                  </a:lnTo>
                  <a:lnTo>
                    <a:pt x="4360" y="5253"/>
                  </a:lnTo>
                  <a:lnTo>
                    <a:pt x="4363" y="5272"/>
                  </a:lnTo>
                  <a:lnTo>
                    <a:pt x="4366" y="5290"/>
                  </a:lnTo>
                  <a:lnTo>
                    <a:pt x="4370" y="5329"/>
                  </a:lnTo>
                  <a:lnTo>
                    <a:pt x="4372" y="5368"/>
                  </a:lnTo>
                  <a:lnTo>
                    <a:pt x="4371" y="5409"/>
                  </a:lnTo>
                  <a:lnTo>
                    <a:pt x="4370" y="5429"/>
                  </a:lnTo>
                  <a:lnTo>
                    <a:pt x="4369" y="5449"/>
                  </a:lnTo>
                  <a:lnTo>
                    <a:pt x="4366" y="5469"/>
                  </a:lnTo>
                  <a:lnTo>
                    <a:pt x="4363" y="5488"/>
                  </a:lnTo>
                  <a:lnTo>
                    <a:pt x="4360" y="5508"/>
                  </a:lnTo>
                  <a:lnTo>
                    <a:pt x="4356" y="5526"/>
                  </a:lnTo>
                  <a:lnTo>
                    <a:pt x="4351" y="5545"/>
                  </a:lnTo>
                  <a:lnTo>
                    <a:pt x="4345" y="5562"/>
                  </a:lnTo>
                  <a:lnTo>
                    <a:pt x="4339" y="5579"/>
                  </a:lnTo>
                  <a:lnTo>
                    <a:pt x="4332" y="5595"/>
                  </a:lnTo>
                  <a:lnTo>
                    <a:pt x="4324" y="5610"/>
                  </a:lnTo>
                  <a:lnTo>
                    <a:pt x="4316" y="5624"/>
                  </a:lnTo>
                  <a:lnTo>
                    <a:pt x="4307" y="5638"/>
                  </a:lnTo>
                  <a:lnTo>
                    <a:pt x="4298" y="5650"/>
                  </a:lnTo>
                  <a:lnTo>
                    <a:pt x="4287" y="5661"/>
                  </a:lnTo>
                  <a:lnTo>
                    <a:pt x="4276" y="5670"/>
                  </a:lnTo>
                  <a:lnTo>
                    <a:pt x="4264" y="5679"/>
                  </a:lnTo>
                  <a:lnTo>
                    <a:pt x="4252" y="5686"/>
                  </a:lnTo>
                  <a:lnTo>
                    <a:pt x="4238" y="5691"/>
                  </a:lnTo>
                  <a:lnTo>
                    <a:pt x="4224" y="5694"/>
                  </a:lnTo>
                  <a:lnTo>
                    <a:pt x="4224" y="5694"/>
                  </a:lnTo>
                  <a:lnTo>
                    <a:pt x="4216" y="5695"/>
                  </a:lnTo>
                  <a:lnTo>
                    <a:pt x="4208" y="5695"/>
                  </a:lnTo>
                  <a:lnTo>
                    <a:pt x="4198" y="5694"/>
                  </a:lnTo>
                  <a:lnTo>
                    <a:pt x="4188" y="5692"/>
                  </a:lnTo>
                  <a:lnTo>
                    <a:pt x="4168" y="5687"/>
                  </a:lnTo>
                  <a:lnTo>
                    <a:pt x="4145" y="5679"/>
                  </a:lnTo>
                  <a:lnTo>
                    <a:pt x="4123" y="5668"/>
                  </a:lnTo>
                  <a:lnTo>
                    <a:pt x="4099" y="5657"/>
                  </a:lnTo>
                  <a:lnTo>
                    <a:pt x="4051" y="5635"/>
                  </a:lnTo>
                  <a:lnTo>
                    <a:pt x="4028" y="5623"/>
                  </a:lnTo>
                  <a:lnTo>
                    <a:pt x="4005" y="5614"/>
                  </a:lnTo>
                  <a:lnTo>
                    <a:pt x="3984" y="5607"/>
                  </a:lnTo>
                  <a:lnTo>
                    <a:pt x="3964" y="5602"/>
                  </a:lnTo>
                  <a:lnTo>
                    <a:pt x="3955" y="5601"/>
                  </a:lnTo>
                  <a:lnTo>
                    <a:pt x="3947" y="5600"/>
                  </a:lnTo>
                  <a:lnTo>
                    <a:pt x="3939" y="5601"/>
                  </a:lnTo>
                  <a:lnTo>
                    <a:pt x="3932" y="5602"/>
                  </a:lnTo>
                  <a:lnTo>
                    <a:pt x="3924" y="5605"/>
                  </a:lnTo>
                  <a:lnTo>
                    <a:pt x="3919" y="5609"/>
                  </a:lnTo>
                  <a:lnTo>
                    <a:pt x="3914" y="5614"/>
                  </a:lnTo>
                  <a:lnTo>
                    <a:pt x="3909" y="5620"/>
                  </a:lnTo>
                  <a:lnTo>
                    <a:pt x="3909" y="5620"/>
                  </a:lnTo>
                  <a:lnTo>
                    <a:pt x="3905" y="5627"/>
                  </a:lnTo>
                  <a:lnTo>
                    <a:pt x="3900" y="5635"/>
                  </a:lnTo>
                  <a:lnTo>
                    <a:pt x="3893" y="5641"/>
                  </a:lnTo>
                  <a:lnTo>
                    <a:pt x="3886" y="5647"/>
                  </a:lnTo>
                  <a:lnTo>
                    <a:pt x="3869" y="5658"/>
                  </a:lnTo>
                  <a:lnTo>
                    <a:pt x="3851" y="5668"/>
                  </a:lnTo>
                  <a:lnTo>
                    <a:pt x="3810" y="5690"/>
                  </a:lnTo>
                  <a:lnTo>
                    <a:pt x="3789" y="5701"/>
                  </a:lnTo>
                  <a:lnTo>
                    <a:pt x="3770" y="5714"/>
                  </a:lnTo>
                  <a:lnTo>
                    <a:pt x="3761" y="5720"/>
                  </a:lnTo>
                  <a:lnTo>
                    <a:pt x="3752" y="5729"/>
                  </a:lnTo>
                  <a:lnTo>
                    <a:pt x="3743" y="5736"/>
                  </a:lnTo>
                  <a:lnTo>
                    <a:pt x="3735" y="5745"/>
                  </a:lnTo>
                  <a:lnTo>
                    <a:pt x="3728" y="5754"/>
                  </a:lnTo>
                  <a:lnTo>
                    <a:pt x="3722" y="5764"/>
                  </a:lnTo>
                  <a:lnTo>
                    <a:pt x="3717" y="5775"/>
                  </a:lnTo>
                  <a:lnTo>
                    <a:pt x="3713" y="5787"/>
                  </a:lnTo>
                  <a:lnTo>
                    <a:pt x="3710" y="5799"/>
                  </a:lnTo>
                  <a:lnTo>
                    <a:pt x="3708" y="5813"/>
                  </a:lnTo>
                  <a:lnTo>
                    <a:pt x="3707" y="5827"/>
                  </a:lnTo>
                  <a:lnTo>
                    <a:pt x="3707" y="5843"/>
                  </a:lnTo>
                  <a:lnTo>
                    <a:pt x="3709" y="5860"/>
                  </a:lnTo>
                  <a:lnTo>
                    <a:pt x="3713" y="5877"/>
                  </a:lnTo>
                  <a:lnTo>
                    <a:pt x="3718" y="5896"/>
                  </a:lnTo>
                  <a:lnTo>
                    <a:pt x="3724" y="5917"/>
                  </a:lnTo>
                  <a:lnTo>
                    <a:pt x="3724" y="5917"/>
                  </a:lnTo>
                  <a:lnTo>
                    <a:pt x="3741" y="5896"/>
                  </a:lnTo>
                  <a:lnTo>
                    <a:pt x="3759" y="5875"/>
                  </a:lnTo>
                  <a:lnTo>
                    <a:pt x="3776" y="5856"/>
                  </a:lnTo>
                  <a:lnTo>
                    <a:pt x="3794" y="5840"/>
                  </a:lnTo>
                  <a:lnTo>
                    <a:pt x="3802" y="5833"/>
                  </a:lnTo>
                  <a:lnTo>
                    <a:pt x="3811" y="5827"/>
                  </a:lnTo>
                  <a:lnTo>
                    <a:pt x="3819" y="5821"/>
                  </a:lnTo>
                  <a:lnTo>
                    <a:pt x="3827" y="5817"/>
                  </a:lnTo>
                  <a:lnTo>
                    <a:pt x="3835" y="5815"/>
                  </a:lnTo>
                  <a:lnTo>
                    <a:pt x="3843" y="5813"/>
                  </a:lnTo>
                  <a:lnTo>
                    <a:pt x="3850" y="5813"/>
                  </a:lnTo>
                  <a:lnTo>
                    <a:pt x="3857" y="5815"/>
                  </a:lnTo>
                  <a:lnTo>
                    <a:pt x="3857" y="5815"/>
                  </a:lnTo>
                  <a:lnTo>
                    <a:pt x="3861" y="5817"/>
                  </a:lnTo>
                  <a:lnTo>
                    <a:pt x="3864" y="5819"/>
                  </a:lnTo>
                  <a:lnTo>
                    <a:pt x="3870" y="5825"/>
                  </a:lnTo>
                  <a:lnTo>
                    <a:pt x="3875" y="5833"/>
                  </a:lnTo>
                  <a:lnTo>
                    <a:pt x="3879" y="5841"/>
                  </a:lnTo>
                  <a:lnTo>
                    <a:pt x="3888" y="5862"/>
                  </a:lnTo>
                  <a:lnTo>
                    <a:pt x="3894" y="5872"/>
                  </a:lnTo>
                  <a:lnTo>
                    <a:pt x="3901" y="5882"/>
                  </a:lnTo>
                  <a:lnTo>
                    <a:pt x="3901" y="5882"/>
                  </a:lnTo>
                  <a:lnTo>
                    <a:pt x="3904" y="5885"/>
                  </a:lnTo>
                  <a:lnTo>
                    <a:pt x="3908" y="5887"/>
                  </a:lnTo>
                  <a:lnTo>
                    <a:pt x="3913" y="5889"/>
                  </a:lnTo>
                  <a:lnTo>
                    <a:pt x="3919" y="5890"/>
                  </a:lnTo>
                  <a:lnTo>
                    <a:pt x="3934" y="5892"/>
                  </a:lnTo>
                  <a:lnTo>
                    <a:pt x="3950" y="5892"/>
                  </a:lnTo>
                  <a:lnTo>
                    <a:pt x="3968" y="5891"/>
                  </a:lnTo>
                  <a:lnTo>
                    <a:pt x="3989" y="5889"/>
                  </a:lnTo>
                  <a:lnTo>
                    <a:pt x="4032" y="5885"/>
                  </a:lnTo>
                  <a:lnTo>
                    <a:pt x="4074" y="5881"/>
                  </a:lnTo>
                  <a:lnTo>
                    <a:pt x="4093" y="5879"/>
                  </a:lnTo>
                  <a:lnTo>
                    <a:pt x="4110" y="5879"/>
                  </a:lnTo>
                  <a:lnTo>
                    <a:pt x="4126" y="5879"/>
                  </a:lnTo>
                  <a:lnTo>
                    <a:pt x="4137" y="5881"/>
                  </a:lnTo>
                  <a:lnTo>
                    <a:pt x="4142" y="5883"/>
                  </a:lnTo>
                  <a:lnTo>
                    <a:pt x="4146" y="5885"/>
                  </a:lnTo>
                  <a:lnTo>
                    <a:pt x="4148" y="5887"/>
                  </a:lnTo>
                  <a:lnTo>
                    <a:pt x="4150" y="5890"/>
                  </a:lnTo>
                  <a:lnTo>
                    <a:pt x="4150" y="5890"/>
                  </a:lnTo>
                  <a:lnTo>
                    <a:pt x="4151" y="5893"/>
                  </a:lnTo>
                  <a:lnTo>
                    <a:pt x="4150" y="5896"/>
                  </a:lnTo>
                  <a:lnTo>
                    <a:pt x="4149" y="5898"/>
                  </a:lnTo>
                  <a:lnTo>
                    <a:pt x="4148" y="5900"/>
                  </a:lnTo>
                  <a:lnTo>
                    <a:pt x="4143" y="5904"/>
                  </a:lnTo>
                  <a:lnTo>
                    <a:pt x="4136" y="5905"/>
                  </a:lnTo>
                  <a:lnTo>
                    <a:pt x="4118" y="5908"/>
                  </a:lnTo>
                  <a:lnTo>
                    <a:pt x="4100" y="5910"/>
                  </a:lnTo>
                  <a:lnTo>
                    <a:pt x="4100" y="5910"/>
                  </a:lnTo>
                  <a:lnTo>
                    <a:pt x="4021" y="5924"/>
                  </a:lnTo>
                  <a:lnTo>
                    <a:pt x="3981" y="5931"/>
                  </a:lnTo>
                  <a:lnTo>
                    <a:pt x="3943" y="5939"/>
                  </a:lnTo>
                  <a:lnTo>
                    <a:pt x="3925" y="5944"/>
                  </a:lnTo>
                  <a:lnTo>
                    <a:pt x="3909" y="5950"/>
                  </a:lnTo>
                  <a:lnTo>
                    <a:pt x="3894" y="5956"/>
                  </a:lnTo>
                  <a:lnTo>
                    <a:pt x="3881" y="5962"/>
                  </a:lnTo>
                  <a:lnTo>
                    <a:pt x="3869" y="5968"/>
                  </a:lnTo>
                  <a:lnTo>
                    <a:pt x="3860" y="5976"/>
                  </a:lnTo>
                  <a:lnTo>
                    <a:pt x="3853" y="5984"/>
                  </a:lnTo>
                  <a:lnTo>
                    <a:pt x="3850" y="5988"/>
                  </a:lnTo>
                  <a:lnTo>
                    <a:pt x="3848" y="5993"/>
                  </a:lnTo>
                  <a:lnTo>
                    <a:pt x="3848" y="5993"/>
                  </a:lnTo>
                  <a:lnTo>
                    <a:pt x="3846" y="6000"/>
                  </a:lnTo>
                  <a:lnTo>
                    <a:pt x="3846" y="6004"/>
                  </a:lnTo>
                  <a:lnTo>
                    <a:pt x="3847" y="6014"/>
                  </a:lnTo>
                  <a:lnTo>
                    <a:pt x="3847" y="6019"/>
                  </a:lnTo>
                  <a:lnTo>
                    <a:pt x="3846" y="6025"/>
                  </a:lnTo>
                  <a:lnTo>
                    <a:pt x="3845" y="6033"/>
                  </a:lnTo>
                  <a:lnTo>
                    <a:pt x="3842" y="6044"/>
                  </a:lnTo>
                  <a:lnTo>
                    <a:pt x="3842" y="6044"/>
                  </a:lnTo>
                  <a:lnTo>
                    <a:pt x="3837" y="6055"/>
                  </a:lnTo>
                  <a:lnTo>
                    <a:pt x="3831" y="6064"/>
                  </a:lnTo>
                  <a:lnTo>
                    <a:pt x="3823" y="6072"/>
                  </a:lnTo>
                  <a:lnTo>
                    <a:pt x="3815" y="6080"/>
                  </a:lnTo>
                  <a:lnTo>
                    <a:pt x="3796" y="6096"/>
                  </a:lnTo>
                  <a:lnTo>
                    <a:pt x="3786" y="6104"/>
                  </a:lnTo>
                  <a:lnTo>
                    <a:pt x="3776" y="6113"/>
                  </a:lnTo>
                  <a:lnTo>
                    <a:pt x="3767" y="6122"/>
                  </a:lnTo>
                  <a:lnTo>
                    <a:pt x="3758" y="6134"/>
                  </a:lnTo>
                  <a:lnTo>
                    <a:pt x="3750" y="6147"/>
                  </a:lnTo>
                  <a:lnTo>
                    <a:pt x="3742" y="6161"/>
                  </a:lnTo>
                  <a:lnTo>
                    <a:pt x="3736" y="6179"/>
                  </a:lnTo>
                  <a:lnTo>
                    <a:pt x="3732" y="6198"/>
                  </a:lnTo>
                  <a:lnTo>
                    <a:pt x="3730" y="6220"/>
                  </a:lnTo>
                  <a:lnTo>
                    <a:pt x="3730" y="6246"/>
                  </a:lnTo>
                  <a:lnTo>
                    <a:pt x="3730" y="6246"/>
                  </a:lnTo>
                  <a:lnTo>
                    <a:pt x="3732" y="6259"/>
                  </a:lnTo>
                  <a:lnTo>
                    <a:pt x="3735" y="6272"/>
                  </a:lnTo>
                  <a:lnTo>
                    <a:pt x="3739" y="6284"/>
                  </a:lnTo>
                  <a:lnTo>
                    <a:pt x="3744" y="6296"/>
                  </a:lnTo>
                  <a:lnTo>
                    <a:pt x="3751" y="6306"/>
                  </a:lnTo>
                  <a:lnTo>
                    <a:pt x="3757" y="6318"/>
                  </a:lnTo>
                  <a:lnTo>
                    <a:pt x="3763" y="6327"/>
                  </a:lnTo>
                  <a:lnTo>
                    <a:pt x="3770" y="6336"/>
                  </a:lnTo>
                  <a:lnTo>
                    <a:pt x="3784" y="6351"/>
                  </a:lnTo>
                  <a:lnTo>
                    <a:pt x="3797" y="6363"/>
                  </a:lnTo>
                  <a:lnTo>
                    <a:pt x="3807" y="6370"/>
                  </a:lnTo>
                  <a:lnTo>
                    <a:pt x="3810" y="6372"/>
                  </a:lnTo>
                  <a:lnTo>
                    <a:pt x="3813" y="6373"/>
                  </a:lnTo>
                  <a:lnTo>
                    <a:pt x="3813" y="6373"/>
                  </a:lnTo>
                  <a:lnTo>
                    <a:pt x="3814" y="6372"/>
                  </a:lnTo>
                  <a:lnTo>
                    <a:pt x="3815" y="6371"/>
                  </a:lnTo>
                  <a:lnTo>
                    <a:pt x="3816" y="6366"/>
                  </a:lnTo>
                  <a:lnTo>
                    <a:pt x="3818" y="6358"/>
                  </a:lnTo>
                  <a:lnTo>
                    <a:pt x="3818" y="6348"/>
                  </a:lnTo>
                  <a:lnTo>
                    <a:pt x="3820" y="6324"/>
                  </a:lnTo>
                  <a:lnTo>
                    <a:pt x="3823" y="6295"/>
                  </a:lnTo>
                  <a:lnTo>
                    <a:pt x="3825" y="6281"/>
                  </a:lnTo>
                  <a:lnTo>
                    <a:pt x="3828" y="6265"/>
                  </a:lnTo>
                  <a:lnTo>
                    <a:pt x="3831" y="6252"/>
                  </a:lnTo>
                  <a:lnTo>
                    <a:pt x="3836" y="6239"/>
                  </a:lnTo>
                  <a:lnTo>
                    <a:pt x="3843" y="6228"/>
                  </a:lnTo>
                  <a:lnTo>
                    <a:pt x="3847" y="6224"/>
                  </a:lnTo>
                  <a:lnTo>
                    <a:pt x="3851" y="6218"/>
                  </a:lnTo>
                  <a:lnTo>
                    <a:pt x="3855" y="6215"/>
                  </a:lnTo>
                  <a:lnTo>
                    <a:pt x="3860" y="6212"/>
                  </a:lnTo>
                  <a:lnTo>
                    <a:pt x="3865" y="6209"/>
                  </a:lnTo>
                  <a:lnTo>
                    <a:pt x="3871" y="6208"/>
                  </a:lnTo>
                  <a:lnTo>
                    <a:pt x="3871" y="6208"/>
                  </a:lnTo>
                  <a:lnTo>
                    <a:pt x="3877" y="6207"/>
                  </a:lnTo>
                  <a:lnTo>
                    <a:pt x="3882" y="6208"/>
                  </a:lnTo>
                  <a:lnTo>
                    <a:pt x="3888" y="6210"/>
                  </a:lnTo>
                  <a:lnTo>
                    <a:pt x="3892" y="6214"/>
                  </a:lnTo>
                  <a:lnTo>
                    <a:pt x="3902" y="6223"/>
                  </a:lnTo>
                  <a:lnTo>
                    <a:pt x="3911" y="6233"/>
                  </a:lnTo>
                  <a:lnTo>
                    <a:pt x="3921" y="6243"/>
                  </a:lnTo>
                  <a:lnTo>
                    <a:pt x="3926" y="6248"/>
                  </a:lnTo>
                  <a:lnTo>
                    <a:pt x="3933" y="6252"/>
                  </a:lnTo>
                  <a:lnTo>
                    <a:pt x="3940" y="6256"/>
                  </a:lnTo>
                  <a:lnTo>
                    <a:pt x="3946" y="6259"/>
                  </a:lnTo>
                  <a:lnTo>
                    <a:pt x="3954" y="6260"/>
                  </a:lnTo>
                  <a:lnTo>
                    <a:pt x="3962" y="6261"/>
                  </a:lnTo>
                  <a:lnTo>
                    <a:pt x="3962" y="6261"/>
                  </a:lnTo>
                  <a:lnTo>
                    <a:pt x="3970" y="6260"/>
                  </a:lnTo>
                  <a:lnTo>
                    <a:pt x="3979" y="6257"/>
                  </a:lnTo>
                  <a:lnTo>
                    <a:pt x="3987" y="6254"/>
                  </a:lnTo>
                  <a:lnTo>
                    <a:pt x="3996" y="6250"/>
                  </a:lnTo>
                  <a:lnTo>
                    <a:pt x="4005" y="6244"/>
                  </a:lnTo>
                  <a:lnTo>
                    <a:pt x="4014" y="6238"/>
                  </a:lnTo>
                  <a:lnTo>
                    <a:pt x="4035" y="6221"/>
                  </a:lnTo>
                  <a:lnTo>
                    <a:pt x="4055" y="6204"/>
                  </a:lnTo>
                  <a:lnTo>
                    <a:pt x="4077" y="6184"/>
                  </a:lnTo>
                  <a:lnTo>
                    <a:pt x="4122" y="6141"/>
                  </a:lnTo>
                  <a:lnTo>
                    <a:pt x="4144" y="6119"/>
                  </a:lnTo>
                  <a:lnTo>
                    <a:pt x="4166" y="6099"/>
                  </a:lnTo>
                  <a:lnTo>
                    <a:pt x="4187" y="6079"/>
                  </a:lnTo>
                  <a:lnTo>
                    <a:pt x="4208" y="6064"/>
                  </a:lnTo>
                  <a:lnTo>
                    <a:pt x="4227" y="6051"/>
                  </a:lnTo>
                  <a:lnTo>
                    <a:pt x="4236" y="6046"/>
                  </a:lnTo>
                  <a:lnTo>
                    <a:pt x="4245" y="6042"/>
                  </a:lnTo>
                  <a:lnTo>
                    <a:pt x="4254" y="6038"/>
                  </a:lnTo>
                  <a:lnTo>
                    <a:pt x="4262" y="6036"/>
                  </a:lnTo>
                  <a:lnTo>
                    <a:pt x="4270" y="6036"/>
                  </a:lnTo>
                  <a:lnTo>
                    <a:pt x="4277" y="6037"/>
                  </a:lnTo>
                  <a:lnTo>
                    <a:pt x="4277" y="6037"/>
                  </a:lnTo>
                  <a:lnTo>
                    <a:pt x="4278" y="6038"/>
                  </a:lnTo>
                  <a:lnTo>
                    <a:pt x="4279" y="6041"/>
                  </a:lnTo>
                  <a:lnTo>
                    <a:pt x="4278" y="6044"/>
                  </a:lnTo>
                  <a:lnTo>
                    <a:pt x="4277" y="6046"/>
                  </a:lnTo>
                  <a:lnTo>
                    <a:pt x="4272" y="6053"/>
                  </a:lnTo>
                  <a:lnTo>
                    <a:pt x="4264" y="6061"/>
                  </a:lnTo>
                  <a:lnTo>
                    <a:pt x="4241" y="6082"/>
                  </a:lnTo>
                  <a:lnTo>
                    <a:pt x="4212" y="6109"/>
                  </a:lnTo>
                  <a:lnTo>
                    <a:pt x="4181" y="6139"/>
                  </a:lnTo>
                  <a:lnTo>
                    <a:pt x="4167" y="6154"/>
                  </a:lnTo>
                  <a:lnTo>
                    <a:pt x="4152" y="6170"/>
                  </a:lnTo>
                  <a:lnTo>
                    <a:pt x="4140" y="6187"/>
                  </a:lnTo>
                  <a:lnTo>
                    <a:pt x="4129" y="6204"/>
                  </a:lnTo>
                  <a:lnTo>
                    <a:pt x="4121" y="6220"/>
                  </a:lnTo>
                  <a:lnTo>
                    <a:pt x="4118" y="6229"/>
                  </a:lnTo>
                  <a:lnTo>
                    <a:pt x="4116" y="6238"/>
                  </a:lnTo>
                  <a:lnTo>
                    <a:pt x="4116" y="6238"/>
                  </a:lnTo>
                  <a:lnTo>
                    <a:pt x="4114" y="6250"/>
                  </a:lnTo>
                  <a:lnTo>
                    <a:pt x="4114" y="6261"/>
                  </a:lnTo>
                  <a:lnTo>
                    <a:pt x="4115" y="6273"/>
                  </a:lnTo>
                  <a:lnTo>
                    <a:pt x="4119" y="6282"/>
                  </a:lnTo>
                  <a:lnTo>
                    <a:pt x="4123" y="6290"/>
                  </a:lnTo>
                  <a:lnTo>
                    <a:pt x="4129" y="6298"/>
                  </a:lnTo>
                  <a:lnTo>
                    <a:pt x="4135" y="6305"/>
                  </a:lnTo>
                  <a:lnTo>
                    <a:pt x="4142" y="6311"/>
                  </a:lnTo>
                  <a:lnTo>
                    <a:pt x="4157" y="6325"/>
                  </a:lnTo>
                  <a:lnTo>
                    <a:pt x="4163" y="6331"/>
                  </a:lnTo>
                  <a:lnTo>
                    <a:pt x="4169" y="6338"/>
                  </a:lnTo>
                  <a:lnTo>
                    <a:pt x="4175" y="6345"/>
                  </a:lnTo>
                  <a:lnTo>
                    <a:pt x="4179" y="6352"/>
                  </a:lnTo>
                  <a:lnTo>
                    <a:pt x="4182" y="6361"/>
                  </a:lnTo>
                  <a:lnTo>
                    <a:pt x="4183" y="6370"/>
                  </a:lnTo>
                  <a:lnTo>
                    <a:pt x="4183" y="6370"/>
                  </a:lnTo>
                  <a:lnTo>
                    <a:pt x="4184" y="6380"/>
                  </a:lnTo>
                  <a:lnTo>
                    <a:pt x="4186" y="6391"/>
                  </a:lnTo>
                  <a:lnTo>
                    <a:pt x="4189" y="6400"/>
                  </a:lnTo>
                  <a:lnTo>
                    <a:pt x="4193" y="6411"/>
                  </a:lnTo>
                  <a:lnTo>
                    <a:pt x="4198" y="6420"/>
                  </a:lnTo>
                  <a:lnTo>
                    <a:pt x="4205" y="6429"/>
                  </a:lnTo>
                  <a:lnTo>
                    <a:pt x="4212" y="6437"/>
                  </a:lnTo>
                  <a:lnTo>
                    <a:pt x="4220" y="6445"/>
                  </a:lnTo>
                  <a:lnTo>
                    <a:pt x="4228" y="6454"/>
                  </a:lnTo>
                  <a:lnTo>
                    <a:pt x="4237" y="6461"/>
                  </a:lnTo>
                  <a:lnTo>
                    <a:pt x="4257" y="6474"/>
                  </a:lnTo>
                  <a:lnTo>
                    <a:pt x="4278" y="6486"/>
                  </a:lnTo>
                  <a:lnTo>
                    <a:pt x="4300" y="6497"/>
                  </a:lnTo>
                  <a:lnTo>
                    <a:pt x="4322" y="6506"/>
                  </a:lnTo>
                  <a:lnTo>
                    <a:pt x="4344" y="6514"/>
                  </a:lnTo>
                  <a:lnTo>
                    <a:pt x="4364" y="6519"/>
                  </a:lnTo>
                  <a:lnTo>
                    <a:pt x="4382" y="6524"/>
                  </a:lnTo>
                  <a:lnTo>
                    <a:pt x="4399" y="6526"/>
                  </a:lnTo>
                  <a:lnTo>
                    <a:pt x="4412" y="6527"/>
                  </a:lnTo>
                  <a:lnTo>
                    <a:pt x="4421" y="6527"/>
                  </a:lnTo>
                  <a:lnTo>
                    <a:pt x="4424" y="6526"/>
                  </a:lnTo>
                  <a:lnTo>
                    <a:pt x="4426" y="6525"/>
                  </a:lnTo>
                  <a:lnTo>
                    <a:pt x="4426" y="6525"/>
                  </a:lnTo>
                  <a:lnTo>
                    <a:pt x="4427" y="6523"/>
                  </a:lnTo>
                  <a:lnTo>
                    <a:pt x="4427" y="6521"/>
                  </a:lnTo>
                  <a:lnTo>
                    <a:pt x="4425" y="6515"/>
                  </a:lnTo>
                  <a:lnTo>
                    <a:pt x="4420" y="6508"/>
                  </a:lnTo>
                  <a:lnTo>
                    <a:pt x="4412" y="6498"/>
                  </a:lnTo>
                  <a:lnTo>
                    <a:pt x="4393" y="6475"/>
                  </a:lnTo>
                  <a:lnTo>
                    <a:pt x="4369" y="6448"/>
                  </a:lnTo>
                  <a:lnTo>
                    <a:pt x="4358" y="6435"/>
                  </a:lnTo>
                  <a:lnTo>
                    <a:pt x="4348" y="6421"/>
                  </a:lnTo>
                  <a:lnTo>
                    <a:pt x="4339" y="6407"/>
                  </a:lnTo>
                  <a:lnTo>
                    <a:pt x="4330" y="6393"/>
                  </a:lnTo>
                  <a:lnTo>
                    <a:pt x="4325" y="6380"/>
                  </a:lnTo>
                  <a:lnTo>
                    <a:pt x="4324" y="6374"/>
                  </a:lnTo>
                  <a:lnTo>
                    <a:pt x="4323" y="6368"/>
                  </a:lnTo>
                  <a:lnTo>
                    <a:pt x="4323" y="6362"/>
                  </a:lnTo>
                  <a:lnTo>
                    <a:pt x="4324" y="6356"/>
                  </a:lnTo>
                  <a:lnTo>
                    <a:pt x="4326" y="6351"/>
                  </a:lnTo>
                  <a:lnTo>
                    <a:pt x="4329" y="6346"/>
                  </a:lnTo>
                  <a:lnTo>
                    <a:pt x="4329" y="6346"/>
                  </a:lnTo>
                  <a:lnTo>
                    <a:pt x="4333" y="6342"/>
                  </a:lnTo>
                  <a:lnTo>
                    <a:pt x="4337" y="6339"/>
                  </a:lnTo>
                  <a:lnTo>
                    <a:pt x="4343" y="6338"/>
                  </a:lnTo>
                  <a:lnTo>
                    <a:pt x="4347" y="6337"/>
                  </a:lnTo>
                  <a:lnTo>
                    <a:pt x="4352" y="6337"/>
                  </a:lnTo>
                  <a:lnTo>
                    <a:pt x="4358" y="6338"/>
                  </a:lnTo>
                  <a:lnTo>
                    <a:pt x="4370" y="6340"/>
                  </a:lnTo>
                  <a:lnTo>
                    <a:pt x="4384" y="6343"/>
                  </a:lnTo>
                  <a:lnTo>
                    <a:pt x="4392" y="6344"/>
                  </a:lnTo>
                  <a:lnTo>
                    <a:pt x="4399" y="6344"/>
                  </a:lnTo>
                  <a:lnTo>
                    <a:pt x="4408" y="6344"/>
                  </a:lnTo>
                  <a:lnTo>
                    <a:pt x="4416" y="6343"/>
                  </a:lnTo>
                  <a:lnTo>
                    <a:pt x="4425" y="6341"/>
                  </a:lnTo>
                  <a:lnTo>
                    <a:pt x="4436" y="6337"/>
                  </a:lnTo>
                  <a:lnTo>
                    <a:pt x="4436" y="6337"/>
                  </a:lnTo>
                  <a:lnTo>
                    <a:pt x="4437" y="6335"/>
                  </a:lnTo>
                  <a:lnTo>
                    <a:pt x="4438" y="6332"/>
                  </a:lnTo>
                  <a:lnTo>
                    <a:pt x="4438" y="6325"/>
                  </a:lnTo>
                  <a:lnTo>
                    <a:pt x="4436" y="6314"/>
                  </a:lnTo>
                  <a:lnTo>
                    <a:pt x="4434" y="6299"/>
                  </a:lnTo>
                  <a:lnTo>
                    <a:pt x="4431" y="6283"/>
                  </a:lnTo>
                  <a:lnTo>
                    <a:pt x="4428" y="6264"/>
                  </a:lnTo>
                  <a:lnTo>
                    <a:pt x="4426" y="6243"/>
                  </a:lnTo>
                  <a:lnTo>
                    <a:pt x="4426" y="6219"/>
                  </a:lnTo>
                  <a:lnTo>
                    <a:pt x="4428" y="6195"/>
                  </a:lnTo>
                  <a:lnTo>
                    <a:pt x="4431" y="6182"/>
                  </a:lnTo>
                  <a:lnTo>
                    <a:pt x="4434" y="6167"/>
                  </a:lnTo>
                  <a:lnTo>
                    <a:pt x="4437" y="6154"/>
                  </a:lnTo>
                  <a:lnTo>
                    <a:pt x="4441" y="6139"/>
                  </a:lnTo>
                  <a:lnTo>
                    <a:pt x="4446" y="6124"/>
                  </a:lnTo>
                  <a:lnTo>
                    <a:pt x="4453" y="6109"/>
                  </a:lnTo>
                  <a:lnTo>
                    <a:pt x="4460" y="6094"/>
                  </a:lnTo>
                  <a:lnTo>
                    <a:pt x="4469" y="6078"/>
                  </a:lnTo>
                  <a:lnTo>
                    <a:pt x="4479" y="6062"/>
                  </a:lnTo>
                  <a:lnTo>
                    <a:pt x="4490" y="6046"/>
                  </a:lnTo>
                  <a:lnTo>
                    <a:pt x="4503" y="6029"/>
                  </a:lnTo>
                  <a:lnTo>
                    <a:pt x="4516" y="6013"/>
                  </a:lnTo>
                  <a:lnTo>
                    <a:pt x="4533" y="5996"/>
                  </a:lnTo>
                  <a:lnTo>
                    <a:pt x="4550" y="5979"/>
                  </a:lnTo>
                  <a:lnTo>
                    <a:pt x="4550" y="5979"/>
                  </a:lnTo>
                  <a:lnTo>
                    <a:pt x="4557" y="5990"/>
                  </a:lnTo>
                  <a:lnTo>
                    <a:pt x="4566" y="6002"/>
                  </a:lnTo>
                  <a:lnTo>
                    <a:pt x="4578" y="6015"/>
                  </a:lnTo>
                  <a:lnTo>
                    <a:pt x="4586" y="6022"/>
                  </a:lnTo>
                  <a:lnTo>
                    <a:pt x="4594" y="6029"/>
                  </a:lnTo>
                  <a:lnTo>
                    <a:pt x="4603" y="6035"/>
                  </a:lnTo>
                  <a:lnTo>
                    <a:pt x="4614" y="6043"/>
                  </a:lnTo>
                  <a:lnTo>
                    <a:pt x="4624" y="6048"/>
                  </a:lnTo>
                  <a:lnTo>
                    <a:pt x="4636" y="6052"/>
                  </a:lnTo>
                  <a:lnTo>
                    <a:pt x="4648" y="6056"/>
                  </a:lnTo>
                  <a:lnTo>
                    <a:pt x="4662" y="6058"/>
                  </a:lnTo>
                  <a:lnTo>
                    <a:pt x="4662" y="6058"/>
                  </a:lnTo>
                  <a:lnTo>
                    <a:pt x="4668" y="6059"/>
                  </a:lnTo>
                  <a:lnTo>
                    <a:pt x="4673" y="6061"/>
                  </a:lnTo>
                  <a:lnTo>
                    <a:pt x="4677" y="6064"/>
                  </a:lnTo>
                  <a:lnTo>
                    <a:pt x="4681" y="6067"/>
                  </a:lnTo>
                  <a:lnTo>
                    <a:pt x="4685" y="6071"/>
                  </a:lnTo>
                  <a:lnTo>
                    <a:pt x="4688" y="6075"/>
                  </a:lnTo>
                  <a:lnTo>
                    <a:pt x="4692" y="6087"/>
                  </a:lnTo>
                  <a:lnTo>
                    <a:pt x="4696" y="6099"/>
                  </a:lnTo>
                  <a:lnTo>
                    <a:pt x="4698" y="6112"/>
                  </a:lnTo>
                  <a:lnTo>
                    <a:pt x="4698" y="6125"/>
                  </a:lnTo>
                  <a:lnTo>
                    <a:pt x="4698" y="6140"/>
                  </a:lnTo>
                  <a:lnTo>
                    <a:pt x="4696" y="6168"/>
                  </a:lnTo>
                  <a:lnTo>
                    <a:pt x="4694" y="6193"/>
                  </a:lnTo>
                  <a:lnTo>
                    <a:pt x="4692" y="6210"/>
                  </a:lnTo>
                  <a:lnTo>
                    <a:pt x="4692" y="6215"/>
                  </a:lnTo>
                  <a:lnTo>
                    <a:pt x="4693" y="6216"/>
                  </a:lnTo>
                  <a:lnTo>
                    <a:pt x="4694" y="6216"/>
                  </a:lnTo>
                  <a:lnTo>
                    <a:pt x="4694" y="6216"/>
                  </a:lnTo>
                  <a:lnTo>
                    <a:pt x="4697" y="6215"/>
                  </a:lnTo>
                  <a:lnTo>
                    <a:pt x="4702" y="6212"/>
                  </a:lnTo>
                  <a:lnTo>
                    <a:pt x="4708" y="6207"/>
                  </a:lnTo>
                  <a:lnTo>
                    <a:pt x="4714" y="6200"/>
                  </a:lnTo>
                  <a:lnTo>
                    <a:pt x="4721" y="6191"/>
                  </a:lnTo>
                  <a:lnTo>
                    <a:pt x="4729" y="6181"/>
                  </a:lnTo>
                  <a:lnTo>
                    <a:pt x="4736" y="6167"/>
                  </a:lnTo>
                  <a:lnTo>
                    <a:pt x="4743" y="6154"/>
                  </a:lnTo>
                  <a:lnTo>
                    <a:pt x="4751" y="6139"/>
                  </a:lnTo>
                  <a:lnTo>
                    <a:pt x="4758" y="6121"/>
                  </a:lnTo>
                  <a:lnTo>
                    <a:pt x="4763" y="6104"/>
                  </a:lnTo>
                  <a:lnTo>
                    <a:pt x="4768" y="6084"/>
                  </a:lnTo>
                  <a:lnTo>
                    <a:pt x="4771" y="6064"/>
                  </a:lnTo>
                  <a:lnTo>
                    <a:pt x="4773" y="6044"/>
                  </a:lnTo>
                  <a:lnTo>
                    <a:pt x="4772" y="6022"/>
                  </a:lnTo>
                  <a:lnTo>
                    <a:pt x="4770" y="6000"/>
                  </a:lnTo>
                  <a:lnTo>
                    <a:pt x="4770" y="6000"/>
                  </a:lnTo>
                  <a:lnTo>
                    <a:pt x="4778" y="5992"/>
                  </a:lnTo>
                  <a:lnTo>
                    <a:pt x="4798" y="5975"/>
                  </a:lnTo>
                  <a:lnTo>
                    <a:pt x="4809" y="5964"/>
                  </a:lnTo>
                  <a:lnTo>
                    <a:pt x="4819" y="5952"/>
                  </a:lnTo>
                  <a:lnTo>
                    <a:pt x="4827" y="5938"/>
                  </a:lnTo>
                  <a:lnTo>
                    <a:pt x="4830" y="5932"/>
                  </a:lnTo>
                  <a:lnTo>
                    <a:pt x="4832" y="5926"/>
                  </a:lnTo>
                  <a:lnTo>
                    <a:pt x="4832" y="5926"/>
                  </a:lnTo>
                  <a:lnTo>
                    <a:pt x="4834" y="5917"/>
                  </a:lnTo>
                  <a:lnTo>
                    <a:pt x="4835" y="5908"/>
                  </a:lnTo>
                  <a:lnTo>
                    <a:pt x="4836" y="5899"/>
                  </a:lnTo>
                  <a:lnTo>
                    <a:pt x="4835" y="5892"/>
                  </a:lnTo>
                  <a:lnTo>
                    <a:pt x="4834" y="5886"/>
                  </a:lnTo>
                  <a:lnTo>
                    <a:pt x="4832" y="5880"/>
                  </a:lnTo>
                  <a:lnTo>
                    <a:pt x="4830" y="5875"/>
                  </a:lnTo>
                  <a:lnTo>
                    <a:pt x="4827" y="5870"/>
                  </a:lnTo>
                  <a:lnTo>
                    <a:pt x="4819" y="5861"/>
                  </a:lnTo>
                  <a:lnTo>
                    <a:pt x="4810" y="5851"/>
                  </a:lnTo>
                  <a:lnTo>
                    <a:pt x="4800" y="5842"/>
                  </a:lnTo>
                  <a:lnTo>
                    <a:pt x="4789" y="5831"/>
                  </a:lnTo>
                  <a:lnTo>
                    <a:pt x="4778" y="5818"/>
                  </a:lnTo>
                  <a:lnTo>
                    <a:pt x="4772" y="5810"/>
                  </a:lnTo>
                  <a:lnTo>
                    <a:pt x="4767" y="5801"/>
                  </a:lnTo>
                  <a:lnTo>
                    <a:pt x="4762" y="5792"/>
                  </a:lnTo>
                  <a:lnTo>
                    <a:pt x="4757" y="5782"/>
                  </a:lnTo>
                  <a:lnTo>
                    <a:pt x="4753" y="5770"/>
                  </a:lnTo>
                  <a:lnTo>
                    <a:pt x="4749" y="5757"/>
                  </a:lnTo>
                  <a:lnTo>
                    <a:pt x="4744" y="5743"/>
                  </a:lnTo>
                  <a:lnTo>
                    <a:pt x="4741" y="5727"/>
                  </a:lnTo>
                  <a:lnTo>
                    <a:pt x="4738" y="5710"/>
                  </a:lnTo>
                  <a:lnTo>
                    <a:pt x="4736" y="5691"/>
                  </a:lnTo>
                  <a:lnTo>
                    <a:pt x="4735" y="5670"/>
                  </a:lnTo>
                  <a:lnTo>
                    <a:pt x="4734" y="5648"/>
                  </a:lnTo>
                  <a:lnTo>
                    <a:pt x="4734" y="5623"/>
                  </a:lnTo>
                  <a:lnTo>
                    <a:pt x="4735" y="5597"/>
                  </a:lnTo>
                  <a:lnTo>
                    <a:pt x="4735" y="5597"/>
                  </a:lnTo>
                  <a:lnTo>
                    <a:pt x="4735" y="5579"/>
                  </a:lnTo>
                  <a:lnTo>
                    <a:pt x="4734" y="5573"/>
                  </a:lnTo>
                  <a:lnTo>
                    <a:pt x="4733" y="5568"/>
                  </a:lnTo>
                  <a:lnTo>
                    <a:pt x="4731" y="5563"/>
                  </a:lnTo>
                  <a:lnTo>
                    <a:pt x="4729" y="5559"/>
                  </a:lnTo>
                  <a:lnTo>
                    <a:pt x="4727" y="5556"/>
                  </a:lnTo>
                  <a:lnTo>
                    <a:pt x="4724" y="5553"/>
                  </a:lnTo>
                  <a:lnTo>
                    <a:pt x="4716" y="5547"/>
                  </a:lnTo>
                  <a:lnTo>
                    <a:pt x="4706" y="5540"/>
                  </a:lnTo>
                  <a:lnTo>
                    <a:pt x="4693" y="5530"/>
                  </a:lnTo>
                  <a:lnTo>
                    <a:pt x="4679" y="5518"/>
                  </a:lnTo>
                  <a:lnTo>
                    <a:pt x="4679" y="5518"/>
                  </a:lnTo>
                  <a:lnTo>
                    <a:pt x="4671" y="5508"/>
                  </a:lnTo>
                  <a:lnTo>
                    <a:pt x="4664" y="5498"/>
                  </a:lnTo>
                  <a:lnTo>
                    <a:pt x="4659" y="5487"/>
                  </a:lnTo>
                  <a:lnTo>
                    <a:pt x="4655" y="5477"/>
                  </a:lnTo>
                  <a:lnTo>
                    <a:pt x="4654" y="5469"/>
                  </a:lnTo>
                  <a:lnTo>
                    <a:pt x="4654" y="5466"/>
                  </a:lnTo>
                  <a:lnTo>
                    <a:pt x="4654" y="5464"/>
                  </a:lnTo>
                  <a:lnTo>
                    <a:pt x="4657" y="5462"/>
                  </a:lnTo>
                  <a:lnTo>
                    <a:pt x="4659" y="5461"/>
                  </a:lnTo>
                  <a:lnTo>
                    <a:pt x="4661" y="5461"/>
                  </a:lnTo>
                  <a:lnTo>
                    <a:pt x="4665" y="5462"/>
                  </a:lnTo>
                  <a:lnTo>
                    <a:pt x="4665" y="5462"/>
                  </a:lnTo>
                  <a:lnTo>
                    <a:pt x="4679" y="5468"/>
                  </a:lnTo>
                  <a:lnTo>
                    <a:pt x="4693" y="5472"/>
                  </a:lnTo>
                  <a:lnTo>
                    <a:pt x="4708" y="5475"/>
                  </a:lnTo>
                  <a:lnTo>
                    <a:pt x="4723" y="5476"/>
                  </a:lnTo>
                  <a:lnTo>
                    <a:pt x="4737" y="5477"/>
                  </a:lnTo>
                  <a:lnTo>
                    <a:pt x="4752" y="5478"/>
                  </a:lnTo>
                  <a:lnTo>
                    <a:pt x="4765" y="5477"/>
                  </a:lnTo>
                  <a:lnTo>
                    <a:pt x="4778" y="5476"/>
                  </a:lnTo>
                  <a:lnTo>
                    <a:pt x="4802" y="5473"/>
                  </a:lnTo>
                  <a:lnTo>
                    <a:pt x="4819" y="5469"/>
                  </a:lnTo>
                  <a:lnTo>
                    <a:pt x="4835" y="5465"/>
                  </a:lnTo>
                  <a:lnTo>
                    <a:pt x="4835" y="5465"/>
                  </a:lnTo>
                  <a:lnTo>
                    <a:pt x="4844" y="5369"/>
                  </a:lnTo>
                  <a:lnTo>
                    <a:pt x="4849" y="5294"/>
                  </a:lnTo>
                  <a:lnTo>
                    <a:pt x="4851" y="5239"/>
                  </a:lnTo>
                  <a:lnTo>
                    <a:pt x="4851" y="5201"/>
                  </a:lnTo>
                  <a:lnTo>
                    <a:pt x="4849" y="5176"/>
                  </a:lnTo>
                  <a:lnTo>
                    <a:pt x="4847" y="5161"/>
                  </a:lnTo>
                  <a:lnTo>
                    <a:pt x="4845" y="5155"/>
                  </a:lnTo>
                  <a:lnTo>
                    <a:pt x="4844" y="5153"/>
                  </a:lnTo>
                  <a:lnTo>
                    <a:pt x="4844" y="5153"/>
                  </a:lnTo>
                  <a:lnTo>
                    <a:pt x="4825" y="5154"/>
                  </a:lnTo>
                  <a:lnTo>
                    <a:pt x="4808" y="5153"/>
                  </a:lnTo>
                  <a:lnTo>
                    <a:pt x="4791" y="5152"/>
                  </a:lnTo>
                  <a:lnTo>
                    <a:pt x="4776" y="5151"/>
                  </a:lnTo>
                  <a:lnTo>
                    <a:pt x="4763" y="5149"/>
                  </a:lnTo>
                  <a:lnTo>
                    <a:pt x="4750" y="5146"/>
                  </a:lnTo>
                  <a:lnTo>
                    <a:pt x="4737" y="5143"/>
                  </a:lnTo>
                  <a:lnTo>
                    <a:pt x="4726" y="5139"/>
                  </a:lnTo>
                  <a:lnTo>
                    <a:pt x="4716" y="5135"/>
                  </a:lnTo>
                  <a:lnTo>
                    <a:pt x="4707" y="5131"/>
                  </a:lnTo>
                  <a:lnTo>
                    <a:pt x="4698" y="5125"/>
                  </a:lnTo>
                  <a:lnTo>
                    <a:pt x="4690" y="5120"/>
                  </a:lnTo>
                  <a:lnTo>
                    <a:pt x="4683" y="5114"/>
                  </a:lnTo>
                  <a:lnTo>
                    <a:pt x="4676" y="5109"/>
                  </a:lnTo>
                  <a:lnTo>
                    <a:pt x="4665" y="5096"/>
                  </a:lnTo>
                  <a:lnTo>
                    <a:pt x="4665" y="5096"/>
                  </a:lnTo>
                  <a:lnTo>
                    <a:pt x="4677" y="5099"/>
                  </a:lnTo>
                  <a:lnTo>
                    <a:pt x="4690" y="5101"/>
                  </a:lnTo>
                  <a:lnTo>
                    <a:pt x="4717" y="5103"/>
                  </a:lnTo>
                  <a:lnTo>
                    <a:pt x="4742" y="5103"/>
                  </a:lnTo>
                  <a:lnTo>
                    <a:pt x="4768" y="5101"/>
                  </a:lnTo>
                  <a:lnTo>
                    <a:pt x="4790" y="5097"/>
                  </a:lnTo>
                  <a:lnTo>
                    <a:pt x="4812" y="5091"/>
                  </a:lnTo>
                  <a:lnTo>
                    <a:pt x="4821" y="5088"/>
                  </a:lnTo>
                  <a:lnTo>
                    <a:pt x="4829" y="5084"/>
                  </a:lnTo>
                  <a:lnTo>
                    <a:pt x="4838" y="5078"/>
                  </a:lnTo>
                  <a:lnTo>
                    <a:pt x="4844" y="5074"/>
                  </a:lnTo>
                  <a:lnTo>
                    <a:pt x="4844" y="5074"/>
                  </a:lnTo>
                  <a:lnTo>
                    <a:pt x="4843" y="5026"/>
                  </a:lnTo>
                  <a:lnTo>
                    <a:pt x="4841" y="4978"/>
                  </a:lnTo>
                  <a:lnTo>
                    <a:pt x="4838" y="4923"/>
                  </a:lnTo>
                  <a:lnTo>
                    <a:pt x="4833" y="4868"/>
                  </a:lnTo>
                  <a:lnTo>
                    <a:pt x="4831" y="4843"/>
                  </a:lnTo>
                  <a:lnTo>
                    <a:pt x="4828" y="4821"/>
                  </a:lnTo>
                  <a:lnTo>
                    <a:pt x="4825" y="4802"/>
                  </a:lnTo>
                  <a:lnTo>
                    <a:pt x="4822" y="4788"/>
                  </a:lnTo>
                  <a:lnTo>
                    <a:pt x="4820" y="4783"/>
                  </a:lnTo>
                  <a:lnTo>
                    <a:pt x="4818" y="4780"/>
                  </a:lnTo>
                  <a:lnTo>
                    <a:pt x="4816" y="4778"/>
                  </a:lnTo>
                  <a:lnTo>
                    <a:pt x="4814" y="4778"/>
                  </a:lnTo>
                  <a:lnTo>
                    <a:pt x="4814" y="4778"/>
                  </a:lnTo>
                  <a:lnTo>
                    <a:pt x="4786" y="4785"/>
                  </a:lnTo>
                  <a:lnTo>
                    <a:pt x="4760" y="4790"/>
                  </a:lnTo>
                  <a:lnTo>
                    <a:pt x="4746" y="4791"/>
                  </a:lnTo>
                  <a:lnTo>
                    <a:pt x="4734" y="4792"/>
                  </a:lnTo>
                  <a:lnTo>
                    <a:pt x="4722" y="4792"/>
                  </a:lnTo>
                  <a:lnTo>
                    <a:pt x="4711" y="4791"/>
                  </a:lnTo>
                  <a:lnTo>
                    <a:pt x="4698" y="4789"/>
                  </a:lnTo>
                  <a:lnTo>
                    <a:pt x="4687" y="4787"/>
                  </a:lnTo>
                  <a:lnTo>
                    <a:pt x="4675" y="4784"/>
                  </a:lnTo>
                  <a:lnTo>
                    <a:pt x="4664" y="4780"/>
                  </a:lnTo>
                  <a:lnTo>
                    <a:pt x="4652" y="4775"/>
                  </a:lnTo>
                  <a:lnTo>
                    <a:pt x="4640" y="4770"/>
                  </a:lnTo>
                  <a:lnTo>
                    <a:pt x="4629" y="4762"/>
                  </a:lnTo>
                  <a:lnTo>
                    <a:pt x="4618" y="4755"/>
                  </a:lnTo>
                  <a:lnTo>
                    <a:pt x="4618" y="4755"/>
                  </a:lnTo>
                  <a:lnTo>
                    <a:pt x="4613" y="4752"/>
                  </a:lnTo>
                  <a:lnTo>
                    <a:pt x="4608" y="4748"/>
                  </a:lnTo>
                  <a:lnTo>
                    <a:pt x="4602" y="4740"/>
                  </a:lnTo>
                  <a:lnTo>
                    <a:pt x="4597" y="4731"/>
                  </a:lnTo>
                  <a:lnTo>
                    <a:pt x="4594" y="4721"/>
                  </a:lnTo>
                  <a:lnTo>
                    <a:pt x="4592" y="4709"/>
                  </a:lnTo>
                  <a:lnTo>
                    <a:pt x="4591" y="4699"/>
                  </a:lnTo>
                  <a:lnTo>
                    <a:pt x="4590" y="4677"/>
                  </a:lnTo>
                  <a:lnTo>
                    <a:pt x="4589" y="4655"/>
                  </a:lnTo>
                  <a:lnTo>
                    <a:pt x="4587" y="4646"/>
                  </a:lnTo>
                  <a:lnTo>
                    <a:pt x="4585" y="4638"/>
                  </a:lnTo>
                  <a:lnTo>
                    <a:pt x="4581" y="4631"/>
                  </a:lnTo>
                  <a:lnTo>
                    <a:pt x="4575" y="4624"/>
                  </a:lnTo>
                  <a:lnTo>
                    <a:pt x="4571" y="4621"/>
                  </a:lnTo>
                  <a:lnTo>
                    <a:pt x="4567" y="4619"/>
                  </a:lnTo>
                  <a:lnTo>
                    <a:pt x="4561" y="4618"/>
                  </a:lnTo>
                  <a:lnTo>
                    <a:pt x="4556" y="4617"/>
                  </a:lnTo>
                  <a:lnTo>
                    <a:pt x="4556" y="4617"/>
                  </a:lnTo>
                  <a:lnTo>
                    <a:pt x="4534" y="4610"/>
                  </a:lnTo>
                  <a:lnTo>
                    <a:pt x="4511" y="4603"/>
                  </a:lnTo>
                  <a:lnTo>
                    <a:pt x="4489" y="4595"/>
                  </a:lnTo>
                  <a:lnTo>
                    <a:pt x="4468" y="4585"/>
                  </a:lnTo>
                  <a:lnTo>
                    <a:pt x="4448" y="4575"/>
                  </a:lnTo>
                  <a:lnTo>
                    <a:pt x="4428" y="4564"/>
                  </a:lnTo>
                  <a:lnTo>
                    <a:pt x="4410" y="4554"/>
                  </a:lnTo>
                  <a:lnTo>
                    <a:pt x="4394" y="4543"/>
                  </a:lnTo>
                  <a:lnTo>
                    <a:pt x="4377" y="4531"/>
                  </a:lnTo>
                  <a:lnTo>
                    <a:pt x="4363" y="4521"/>
                  </a:lnTo>
                  <a:lnTo>
                    <a:pt x="4337" y="4501"/>
                  </a:lnTo>
                  <a:lnTo>
                    <a:pt x="4318" y="4482"/>
                  </a:lnTo>
                  <a:lnTo>
                    <a:pt x="4306" y="4467"/>
                  </a:lnTo>
                  <a:lnTo>
                    <a:pt x="4306" y="4467"/>
                  </a:lnTo>
                  <a:lnTo>
                    <a:pt x="4297" y="4455"/>
                  </a:lnTo>
                  <a:lnTo>
                    <a:pt x="4288" y="4442"/>
                  </a:lnTo>
                  <a:lnTo>
                    <a:pt x="4282" y="4431"/>
                  </a:lnTo>
                  <a:lnTo>
                    <a:pt x="4277" y="4420"/>
                  </a:lnTo>
                  <a:lnTo>
                    <a:pt x="4273" y="4410"/>
                  </a:lnTo>
                  <a:lnTo>
                    <a:pt x="4270" y="4401"/>
                  </a:lnTo>
                  <a:lnTo>
                    <a:pt x="4266" y="4384"/>
                  </a:lnTo>
                  <a:lnTo>
                    <a:pt x="4265" y="4371"/>
                  </a:lnTo>
                  <a:lnTo>
                    <a:pt x="4265" y="4361"/>
                  </a:lnTo>
                  <a:lnTo>
                    <a:pt x="4266" y="4352"/>
                  </a:lnTo>
                  <a:lnTo>
                    <a:pt x="4266" y="4352"/>
                  </a:lnTo>
                  <a:lnTo>
                    <a:pt x="4284" y="4362"/>
                  </a:lnTo>
                  <a:lnTo>
                    <a:pt x="4302" y="4368"/>
                  </a:lnTo>
                  <a:lnTo>
                    <a:pt x="4321" y="4373"/>
                  </a:lnTo>
                  <a:lnTo>
                    <a:pt x="4340" y="4376"/>
                  </a:lnTo>
                  <a:lnTo>
                    <a:pt x="4358" y="4378"/>
                  </a:lnTo>
                  <a:lnTo>
                    <a:pt x="4377" y="4377"/>
                  </a:lnTo>
                  <a:lnTo>
                    <a:pt x="4396" y="4374"/>
                  </a:lnTo>
                  <a:lnTo>
                    <a:pt x="4414" y="4370"/>
                  </a:lnTo>
                  <a:lnTo>
                    <a:pt x="4434" y="4130"/>
                  </a:lnTo>
                  <a:lnTo>
                    <a:pt x="4434" y="4130"/>
                  </a:lnTo>
                  <a:lnTo>
                    <a:pt x="4425" y="4129"/>
                  </a:lnTo>
                  <a:lnTo>
                    <a:pt x="4405" y="4126"/>
                  </a:lnTo>
                  <a:lnTo>
                    <a:pt x="4392" y="4123"/>
                  </a:lnTo>
                  <a:lnTo>
                    <a:pt x="4377" y="4119"/>
                  </a:lnTo>
                  <a:lnTo>
                    <a:pt x="4362" y="4115"/>
                  </a:lnTo>
                  <a:lnTo>
                    <a:pt x="4348" y="4109"/>
                  </a:lnTo>
                  <a:lnTo>
                    <a:pt x="4348" y="4109"/>
                  </a:lnTo>
                  <a:lnTo>
                    <a:pt x="4339" y="4105"/>
                  </a:lnTo>
                  <a:lnTo>
                    <a:pt x="4331" y="4100"/>
                  </a:lnTo>
                  <a:lnTo>
                    <a:pt x="4323" y="4094"/>
                  </a:lnTo>
                  <a:lnTo>
                    <a:pt x="4316" y="4088"/>
                  </a:lnTo>
                  <a:lnTo>
                    <a:pt x="4302" y="4074"/>
                  </a:lnTo>
                  <a:lnTo>
                    <a:pt x="4289" y="4061"/>
                  </a:lnTo>
                  <a:lnTo>
                    <a:pt x="4280" y="4048"/>
                  </a:lnTo>
                  <a:lnTo>
                    <a:pt x="4273" y="4038"/>
                  </a:lnTo>
                  <a:lnTo>
                    <a:pt x="4267" y="4028"/>
                  </a:lnTo>
                  <a:lnTo>
                    <a:pt x="4267" y="4028"/>
                  </a:lnTo>
                  <a:lnTo>
                    <a:pt x="4274" y="4031"/>
                  </a:lnTo>
                  <a:lnTo>
                    <a:pt x="4293" y="4039"/>
                  </a:lnTo>
                  <a:lnTo>
                    <a:pt x="4321" y="4047"/>
                  </a:lnTo>
                  <a:lnTo>
                    <a:pt x="4339" y="4051"/>
                  </a:lnTo>
                  <a:lnTo>
                    <a:pt x="4356" y="4054"/>
                  </a:lnTo>
                  <a:lnTo>
                    <a:pt x="4356" y="4054"/>
                  </a:lnTo>
                  <a:lnTo>
                    <a:pt x="4375" y="4056"/>
                  </a:lnTo>
                  <a:lnTo>
                    <a:pt x="4392" y="4057"/>
                  </a:lnTo>
                  <a:lnTo>
                    <a:pt x="4407" y="4055"/>
                  </a:lnTo>
                  <a:lnTo>
                    <a:pt x="4419" y="4053"/>
                  </a:lnTo>
                  <a:lnTo>
                    <a:pt x="4430" y="4051"/>
                  </a:lnTo>
                  <a:lnTo>
                    <a:pt x="4438" y="4049"/>
                  </a:lnTo>
                  <a:lnTo>
                    <a:pt x="4444" y="4046"/>
                  </a:lnTo>
                  <a:lnTo>
                    <a:pt x="4477" y="3775"/>
                  </a:lnTo>
                  <a:lnTo>
                    <a:pt x="4477" y="3775"/>
                  </a:lnTo>
                  <a:lnTo>
                    <a:pt x="4451" y="3776"/>
                  </a:lnTo>
                  <a:lnTo>
                    <a:pt x="4427" y="3775"/>
                  </a:lnTo>
                  <a:lnTo>
                    <a:pt x="4408" y="3773"/>
                  </a:lnTo>
                  <a:lnTo>
                    <a:pt x="4392" y="3768"/>
                  </a:lnTo>
                  <a:lnTo>
                    <a:pt x="4377" y="3762"/>
                  </a:lnTo>
                  <a:lnTo>
                    <a:pt x="4365" y="3755"/>
                  </a:lnTo>
                  <a:lnTo>
                    <a:pt x="4356" y="3747"/>
                  </a:lnTo>
                  <a:lnTo>
                    <a:pt x="4348" y="3739"/>
                  </a:lnTo>
                  <a:lnTo>
                    <a:pt x="4343" y="3731"/>
                  </a:lnTo>
                  <a:lnTo>
                    <a:pt x="4337" y="3722"/>
                  </a:lnTo>
                  <a:lnTo>
                    <a:pt x="4335" y="3713"/>
                  </a:lnTo>
                  <a:lnTo>
                    <a:pt x="4333" y="3705"/>
                  </a:lnTo>
                  <a:lnTo>
                    <a:pt x="4332" y="3697"/>
                  </a:lnTo>
                  <a:lnTo>
                    <a:pt x="4331" y="3691"/>
                  </a:lnTo>
                  <a:lnTo>
                    <a:pt x="4332" y="3682"/>
                  </a:lnTo>
                  <a:lnTo>
                    <a:pt x="4332" y="3682"/>
                  </a:lnTo>
                  <a:lnTo>
                    <a:pt x="4357" y="3677"/>
                  </a:lnTo>
                  <a:lnTo>
                    <a:pt x="4381" y="3671"/>
                  </a:lnTo>
                  <a:lnTo>
                    <a:pt x="4405" y="3663"/>
                  </a:lnTo>
                  <a:lnTo>
                    <a:pt x="4428" y="3656"/>
                  </a:lnTo>
                  <a:lnTo>
                    <a:pt x="4451" y="3647"/>
                  </a:lnTo>
                  <a:lnTo>
                    <a:pt x="4473" y="3637"/>
                  </a:lnTo>
                  <a:lnTo>
                    <a:pt x="4495" y="3626"/>
                  </a:lnTo>
                  <a:lnTo>
                    <a:pt x="4515" y="3613"/>
                  </a:lnTo>
                  <a:lnTo>
                    <a:pt x="4536" y="3601"/>
                  </a:lnTo>
                  <a:lnTo>
                    <a:pt x="4555" y="3588"/>
                  </a:lnTo>
                  <a:lnTo>
                    <a:pt x="4574" y="3573"/>
                  </a:lnTo>
                  <a:lnTo>
                    <a:pt x="4592" y="3558"/>
                  </a:lnTo>
                  <a:lnTo>
                    <a:pt x="4609" y="3543"/>
                  </a:lnTo>
                  <a:lnTo>
                    <a:pt x="4627" y="3526"/>
                  </a:lnTo>
                  <a:lnTo>
                    <a:pt x="4642" y="3510"/>
                  </a:lnTo>
                  <a:lnTo>
                    <a:pt x="4659" y="3493"/>
                  </a:lnTo>
                  <a:lnTo>
                    <a:pt x="4673" y="3474"/>
                  </a:lnTo>
                  <a:lnTo>
                    <a:pt x="4688" y="3456"/>
                  </a:lnTo>
                  <a:lnTo>
                    <a:pt x="4702" y="3437"/>
                  </a:lnTo>
                  <a:lnTo>
                    <a:pt x="4715" y="3418"/>
                  </a:lnTo>
                  <a:lnTo>
                    <a:pt x="4727" y="3399"/>
                  </a:lnTo>
                  <a:lnTo>
                    <a:pt x="4738" y="3379"/>
                  </a:lnTo>
                  <a:lnTo>
                    <a:pt x="4750" y="3360"/>
                  </a:lnTo>
                  <a:lnTo>
                    <a:pt x="4760" y="3339"/>
                  </a:lnTo>
                  <a:lnTo>
                    <a:pt x="4770" y="3319"/>
                  </a:lnTo>
                  <a:lnTo>
                    <a:pt x="4779" y="3298"/>
                  </a:lnTo>
                  <a:lnTo>
                    <a:pt x="4787" y="3278"/>
                  </a:lnTo>
                  <a:lnTo>
                    <a:pt x="4796" y="3257"/>
                  </a:lnTo>
                  <a:lnTo>
                    <a:pt x="4803" y="3237"/>
                  </a:lnTo>
                  <a:lnTo>
                    <a:pt x="4809" y="3217"/>
                  </a:lnTo>
                  <a:lnTo>
                    <a:pt x="4815" y="3196"/>
                  </a:lnTo>
                  <a:lnTo>
                    <a:pt x="4820" y="3177"/>
                  </a:lnTo>
                  <a:lnTo>
                    <a:pt x="4820" y="3177"/>
                  </a:lnTo>
                  <a:lnTo>
                    <a:pt x="4831" y="3183"/>
                  </a:lnTo>
                  <a:lnTo>
                    <a:pt x="4847" y="3189"/>
                  </a:lnTo>
                  <a:lnTo>
                    <a:pt x="4864" y="3195"/>
                  </a:lnTo>
                  <a:lnTo>
                    <a:pt x="4882" y="3200"/>
                  </a:lnTo>
                  <a:lnTo>
                    <a:pt x="4903" y="3203"/>
                  </a:lnTo>
                  <a:lnTo>
                    <a:pt x="4913" y="3204"/>
                  </a:lnTo>
                  <a:lnTo>
                    <a:pt x="4923" y="3205"/>
                  </a:lnTo>
                  <a:lnTo>
                    <a:pt x="4935" y="3204"/>
                  </a:lnTo>
                  <a:lnTo>
                    <a:pt x="4945" y="3203"/>
                  </a:lnTo>
                  <a:lnTo>
                    <a:pt x="4955" y="3201"/>
                  </a:lnTo>
                  <a:lnTo>
                    <a:pt x="4965" y="3198"/>
                  </a:lnTo>
                  <a:lnTo>
                    <a:pt x="4965" y="3198"/>
                  </a:lnTo>
                  <a:lnTo>
                    <a:pt x="4967" y="3170"/>
                  </a:lnTo>
                  <a:lnTo>
                    <a:pt x="4970" y="3103"/>
                  </a:lnTo>
                  <a:lnTo>
                    <a:pt x="4972" y="3067"/>
                  </a:lnTo>
                  <a:lnTo>
                    <a:pt x="4973" y="3033"/>
                  </a:lnTo>
                  <a:lnTo>
                    <a:pt x="4972" y="3005"/>
                  </a:lnTo>
                  <a:lnTo>
                    <a:pt x="4972" y="2995"/>
                  </a:lnTo>
                  <a:lnTo>
                    <a:pt x="4970" y="2989"/>
                  </a:lnTo>
                  <a:lnTo>
                    <a:pt x="4970" y="2989"/>
                  </a:lnTo>
                  <a:lnTo>
                    <a:pt x="4955" y="2987"/>
                  </a:lnTo>
                  <a:lnTo>
                    <a:pt x="4938" y="2984"/>
                  </a:lnTo>
                  <a:lnTo>
                    <a:pt x="4919" y="2979"/>
                  </a:lnTo>
                  <a:lnTo>
                    <a:pt x="4911" y="2976"/>
                  </a:lnTo>
                  <a:lnTo>
                    <a:pt x="4902" y="2973"/>
                  </a:lnTo>
                  <a:lnTo>
                    <a:pt x="4893" y="2968"/>
                  </a:lnTo>
                  <a:lnTo>
                    <a:pt x="4885" y="2964"/>
                  </a:lnTo>
                  <a:lnTo>
                    <a:pt x="4876" y="2958"/>
                  </a:lnTo>
                  <a:lnTo>
                    <a:pt x="4868" y="2951"/>
                  </a:lnTo>
                  <a:lnTo>
                    <a:pt x="4861" y="2944"/>
                  </a:lnTo>
                  <a:lnTo>
                    <a:pt x="4854" y="2935"/>
                  </a:lnTo>
                  <a:lnTo>
                    <a:pt x="4848" y="2926"/>
                  </a:lnTo>
                  <a:lnTo>
                    <a:pt x="4842" y="291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77" name="Freeform 30"/>
            <p:cNvSpPr>
              <a:spLocks/>
            </p:cNvSpPr>
            <p:nvPr userDrawn="1"/>
          </p:nvSpPr>
          <p:spPr bwMode="auto">
            <a:xfrm>
              <a:off x="5923209" y="1166981"/>
              <a:ext cx="371474" cy="98425"/>
            </a:xfrm>
            <a:custGeom>
              <a:avLst/>
              <a:gdLst>
                <a:gd name="T0" fmla="*/ 87 w 2807"/>
                <a:gd name="T1" fmla="*/ 343 h 743"/>
                <a:gd name="T2" fmla="*/ 203 w 2807"/>
                <a:gd name="T3" fmla="*/ 417 h 743"/>
                <a:gd name="T4" fmla="*/ 319 w 2807"/>
                <a:gd name="T5" fmla="*/ 479 h 743"/>
                <a:gd name="T6" fmla="*/ 430 w 2807"/>
                <a:gd name="T7" fmla="*/ 529 h 743"/>
                <a:gd name="T8" fmla="*/ 603 w 2807"/>
                <a:gd name="T9" fmla="*/ 595 h 743"/>
                <a:gd name="T10" fmla="*/ 724 w 2807"/>
                <a:gd name="T11" fmla="*/ 633 h 743"/>
                <a:gd name="T12" fmla="*/ 857 w 2807"/>
                <a:gd name="T13" fmla="*/ 666 h 743"/>
                <a:gd name="T14" fmla="*/ 1001 w 2807"/>
                <a:gd name="T15" fmla="*/ 696 h 743"/>
                <a:gd name="T16" fmla="*/ 1157 w 2807"/>
                <a:gd name="T17" fmla="*/ 719 h 743"/>
                <a:gd name="T18" fmla="*/ 1324 w 2807"/>
                <a:gd name="T19" fmla="*/ 736 h 743"/>
                <a:gd name="T20" fmla="*/ 1502 w 2807"/>
                <a:gd name="T21" fmla="*/ 743 h 743"/>
                <a:gd name="T22" fmla="*/ 1689 w 2807"/>
                <a:gd name="T23" fmla="*/ 738 h 743"/>
                <a:gd name="T24" fmla="*/ 1819 w 2807"/>
                <a:gd name="T25" fmla="*/ 729 h 743"/>
                <a:gd name="T26" fmla="*/ 1999 w 2807"/>
                <a:gd name="T27" fmla="*/ 706 h 743"/>
                <a:gd name="T28" fmla="*/ 2159 w 2807"/>
                <a:gd name="T29" fmla="*/ 678 h 743"/>
                <a:gd name="T30" fmla="*/ 2302 w 2807"/>
                <a:gd name="T31" fmla="*/ 643 h 743"/>
                <a:gd name="T32" fmla="*/ 2426 w 2807"/>
                <a:gd name="T33" fmla="*/ 605 h 743"/>
                <a:gd name="T34" fmla="*/ 2533 w 2807"/>
                <a:gd name="T35" fmla="*/ 566 h 743"/>
                <a:gd name="T36" fmla="*/ 2672 w 2807"/>
                <a:gd name="T37" fmla="*/ 505 h 743"/>
                <a:gd name="T38" fmla="*/ 2773 w 2807"/>
                <a:gd name="T39" fmla="*/ 449 h 743"/>
                <a:gd name="T40" fmla="*/ 2807 w 2807"/>
                <a:gd name="T41" fmla="*/ 426 h 743"/>
                <a:gd name="T42" fmla="*/ 2745 w 2807"/>
                <a:gd name="T43" fmla="*/ 402 h 743"/>
                <a:gd name="T44" fmla="*/ 2688 w 2807"/>
                <a:gd name="T45" fmla="*/ 372 h 743"/>
                <a:gd name="T46" fmla="*/ 2586 w 2807"/>
                <a:gd name="T47" fmla="*/ 303 h 743"/>
                <a:gd name="T48" fmla="*/ 2529 w 2807"/>
                <a:gd name="T49" fmla="*/ 256 h 743"/>
                <a:gd name="T50" fmla="*/ 2518 w 2807"/>
                <a:gd name="T51" fmla="*/ 294 h 743"/>
                <a:gd name="T52" fmla="*/ 2507 w 2807"/>
                <a:gd name="T53" fmla="*/ 381 h 743"/>
                <a:gd name="T54" fmla="*/ 2499 w 2807"/>
                <a:gd name="T55" fmla="*/ 413 h 743"/>
                <a:gd name="T56" fmla="*/ 2443 w 2807"/>
                <a:gd name="T57" fmla="*/ 391 h 743"/>
                <a:gd name="T58" fmla="*/ 2423 w 2807"/>
                <a:gd name="T59" fmla="*/ 381 h 743"/>
                <a:gd name="T60" fmla="*/ 2392 w 2807"/>
                <a:gd name="T61" fmla="*/ 357 h 743"/>
                <a:gd name="T62" fmla="*/ 2361 w 2807"/>
                <a:gd name="T63" fmla="*/ 324 h 743"/>
                <a:gd name="T64" fmla="*/ 2334 w 2807"/>
                <a:gd name="T65" fmla="*/ 283 h 743"/>
                <a:gd name="T66" fmla="*/ 2316 w 2807"/>
                <a:gd name="T67" fmla="*/ 235 h 743"/>
                <a:gd name="T68" fmla="*/ 2310 w 2807"/>
                <a:gd name="T69" fmla="*/ 199 h 743"/>
                <a:gd name="T70" fmla="*/ 2252 w 2807"/>
                <a:gd name="T71" fmla="*/ 195 h 743"/>
                <a:gd name="T72" fmla="*/ 2110 w 2807"/>
                <a:gd name="T73" fmla="*/ 243 h 743"/>
                <a:gd name="T74" fmla="*/ 1984 w 2807"/>
                <a:gd name="T75" fmla="*/ 277 h 743"/>
                <a:gd name="T76" fmla="*/ 1843 w 2807"/>
                <a:gd name="T77" fmla="*/ 303 h 743"/>
                <a:gd name="T78" fmla="*/ 1697 w 2807"/>
                <a:gd name="T79" fmla="*/ 319 h 743"/>
                <a:gd name="T80" fmla="*/ 1558 w 2807"/>
                <a:gd name="T81" fmla="*/ 322 h 743"/>
                <a:gd name="T82" fmla="*/ 1293 w 2807"/>
                <a:gd name="T83" fmla="*/ 312 h 743"/>
                <a:gd name="T84" fmla="*/ 1030 w 2807"/>
                <a:gd name="T85" fmla="*/ 282 h 743"/>
                <a:gd name="T86" fmla="*/ 855 w 2807"/>
                <a:gd name="T87" fmla="*/ 251 h 743"/>
                <a:gd name="T88" fmla="*/ 725 w 2807"/>
                <a:gd name="T89" fmla="*/ 221 h 743"/>
                <a:gd name="T90" fmla="*/ 594 w 2807"/>
                <a:gd name="T91" fmla="*/ 185 h 743"/>
                <a:gd name="T92" fmla="*/ 465 w 2807"/>
                <a:gd name="T93" fmla="*/ 143 h 743"/>
                <a:gd name="T94" fmla="*/ 336 w 2807"/>
                <a:gd name="T95" fmla="*/ 94 h 743"/>
                <a:gd name="T96" fmla="*/ 251 w 2807"/>
                <a:gd name="T97" fmla="*/ 58 h 743"/>
                <a:gd name="T98" fmla="*/ 122 w 2807"/>
                <a:gd name="T99" fmla="*/ 0 h 743"/>
                <a:gd name="T100" fmla="*/ 119 w 2807"/>
                <a:gd name="T101" fmla="*/ 19 h 743"/>
                <a:gd name="T102" fmla="*/ 121 w 2807"/>
                <a:gd name="T103" fmla="*/ 51 h 743"/>
                <a:gd name="T104" fmla="*/ 136 w 2807"/>
                <a:gd name="T105" fmla="*/ 96 h 743"/>
                <a:gd name="T106" fmla="*/ 171 w 2807"/>
                <a:gd name="T107" fmla="*/ 156 h 743"/>
                <a:gd name="T108" fmla="*/ 207 w 2807"/>
                <a:gd name="T109" fmla="*/ 204 h 743"/>
                <a:gd name="T110" fmla="*/ 151 w 2807"/>
                <a:gd name="T111" fmla="*/ 199 h 743"/>
                <a:gd name="T112" fmla="*/ 98 w 2807"/>
                <a:gd name="T113" fmla="*/ 204 h 743"/>
                <a:gd name="T114" fmla="*/ 69 w 2807"/>
                <a:gd name="T115" fmla="*/ 215 h 743"/>
                <a:gd name="T116" fmla="*/ 32 w 2807"/>
                <a:gd name="T117" fmla="*/ 244 h 743"/>
                <a:gd name="T118" fmla="*/ 7 w 2807"/>
                <a:gd name="T119" fmla="*/ 272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807" h="743">
                  <a:moveTo>
                    <a:pt x="0" y="284"/>
                  </a:moveTo>
                  <a:lnTo>
                    <a:pt x="0" y="284"/>
                  </a:lnTo>
                  <a:lnTo>
                    <a:pt x="87" y="343"/>
                  </a:lnTo>
                  <a:lnTo>
                    <a:pt x="127" y="369"/>
                  </a:lnTo>
                  <a:lnTo>
                    <a:pt x="166" y="394"/>
                  </a:lnTo>
                  <a:lnTo>
                    <a:pt x="203" y="417"/>
                  </a:lnTo>
                  <a:lnTo>
                    <a:pt x="241" y="438"/>
                  </a:lnTo>
                  <a:lnTo>
                    <a:pt x="280" y="460"/>
                  </a:lnTo>
                  <a:lnTo>
                    <a:pt x="319" y="479"/>
                  </a:lnTo>
                  <a:lnTo>
                    <a:pt x="319" y="479"/>
                  </a:lnTo>
                  <a:lnTo>
                    <a:pt x="372" y="504"/>
                  </a:lnTo>
                  <a:lnTo>
                    <a:pt x="430" y="529"/>
                  </a:lnTo>
                  <a:lnTo>
                    <a:pt x="495" y="556"/>
                  </a:lnTo>
                  <a:lnTo>
                    <a:pt x="565" y="581"/>
                  </a:lnTo>
                  <a:lnTo>
                    <a:pt x="603" y="595"/>
                  </a:lnTo>
                  <a:lnTo>
                    <a:pt x="642" y="607"/>
                  </a:lnTo>
                  <a:lnTo>
                    <a:pt x="682" y="620"/>
                  </a:lnTo>
                  <a:lnTo>
                    <a:pt x="724" y="633"/>
                  </a:lnTo>
                  <a:lnTo>
                    <a:pt x="767" y="644"/>
                  </a:lnTo>
                  <a:lnTo>
                    <a:pt x="811" y="655"/>
                  </a:lnTo>
                  <a:lnTo>
                    <a:pt x="857" y="666"/>
                  </a:lnTo>
                  <a:lnTo>
                    <a:pt x="903" y="677"/>
                  </a:lnTo>
                  <a:lnTo>
                    <a:pt x="952" y="687"/>
                  </a:lnTo>
                  <a:lnTo>
                    <a:pt x="1001" y="696"/>
                  </a:lnTo>
                  <a:lnTo>
                    <a:pt x="1052" y="705"/>
                  </a:lnTo>
                  <a:lnTo>
                    <a:pt x="1104" y="713"/>
                  </a:lnTo>
                  <a:lnTo>
                    <a:pt x="1157" y="719"/>
                  </a:lnTo>
                  <a:lnTo>
                    <a:pt x="1212" y="727"/>
                  </a:lnTo>
                  <a:lnTo>
                    <a:pt x="1267" y="732"/>
                  </a:lnTo>
                  <a:lnTo>
                    <a:pt x="1324" y="736"/>
                  </a:lnTo>
                  <a:lnTo>
                    <a:pt x="1382" y="739"/>
                  </a:lnTo>
                  <a:lnTo>
                    <a:pt x="1442" y="741"/>
                  </a:lnTo>
                  <a:lnTo>
                    <a:pt x="1502" y="743"/>
                  </a:lnTo>
                  <a:lnTo>
                    <a:pt x="1563" y="742"/>
                  </a:lnTo>
                  <a:lnTo>
                    <a:pt x="1626" y="741"/>
                  </a:lnTo>
                  <a:lnTo>
                    <a:pt x="1689" y="738"/>
                  </a:lnTo>
                  <a:lnTo>
                    <a:pt x="1754" y="734"/>
                  </a:lnTo>
                  <a:lnTo>
                    <a:pt x="1819" y="729"/>
                  </a:lnTo>
                  <a:lnTo>
                    <a:pt x="1819" y="729"/>
                  </a:lnTo>
                  <a:lnTo>
                    <a:pt x="1881" y="723"/>
                  </a:lnTo>
                  <a:lnTo>
                    <a:pt x="1941" y="714"/>
                  </a:lnTo>
                  <a:lnTo>
                    <a:pt x="1999" y="706"/>
                  </a:lnTo>
                  <a:lnTo>
                    <a:pt x="2054" y="697"/>
                  </a:lnTo>
                  <a:lnTo>
                    <a:pt x="2108" y="688"/>
                  </a:lnTo>
                  <a:lnTo>
                    <a:pt x="2159" y="678"/>
                  </a:lnTo>
                  <a:lnTo>
                    <a:pt x="2209" y="666"/>
                  </a:lnTo>
                  <a:lnTo>
                    <a:pt x="2257" y="655"/>
                  </a:lnTo>
                  <a:lnTo>
                    <a:pt x="2302" y="643"/>
                  </a:lnTo>
                  <a:lnTo>
                    <a:pt x="2346" y="631"/>
                  </a:lnTo>
                  <a:lnTo>
                    <a:pt x="2387" y="618"/>
                  </a:lnTo>
                  <a:lnTo>
                    <a:pt x="2426" y="605"/>
                  </a:lnTo>
                  <a:lnTo>
                    <a:pt x="2464" y="593"/>
                  </a:lnTo>
                  <a:lnTo>
                    <a:pt x="2500" y="579"/>
                  </a:lnTo>
                  <a:lnTo>
                    <a:pt x="2533" y="566"/>
                  </a:lnTo>
                  <a:lnTo>
                    <a:pt x="2564" y="554"/>
                  </a:lnTo>
                  <a:lnTo>
                    <a:pt x="2622" y="528"/>
                  </a:lnTo>
                  <a:lnTo>
                    <a:pt x="2672" y="505"/>
                  </a:lnTo>
                  <a:lnTo>
                    <a:pt x="2713" y="483"/>
                  </a:lnTo>
                  <a:lnTo>
                    <a:pt x="2747" y="465"/>
                  </a:lnTo>
                  <a:lnTo>
                    <a:pt x="2773" y="449"/>
                  </a:lnTo>
                  <a:lnTo>
                    <a:pt x="2792" y="436"/>
                  </a:lnTo>
                  <a:lnTo>
                    <a:pt x="2807" y="426"/>
                  </a:lnTo>
                  <a:lnTo>
                    <a:pt x="2807" y="426"/>
                  </a:lnTo>
                  <a:lnTo>
                    <a:pt x="2786" y="419"/>
                  </a:lnTo>
                  <a:lnTo>
                    <a:pt x="2766" y="410"/>
                  </a:lnTo>
                  <a:lnTo>
                    <a:pt x="2745" y="402"/>
                  </a:lnTo>
                  <a:lnTo>
                    <a:pt x="2726" y="391"/>
                  </a:lnTo>
                  <a:lnTo>
                    <a:pt x="2706" y="382"/>
                  </a:lnTo>
                  <a:lnTo>
                    <a:pt x="2688" y="372"/>
                  </a:lnTo>
                  <a:lnTo>
                    <a:pt x="2651" y="349"/>
                  </a:lnTo>
                  <a:lnTo>
                    <a:pt x="2618" y="327"/>
                  </a:lnTo>
                  <a:lnTo>
                    <a:pt x="2586" y="303"/>
                  </a:lnTo>
                  <a:lnTo>
                    <a:pt x="2556" y="280"/>
                  </a:lnTo>
                  <a:lnTo>
                    <a:pt x="2529" y="256"/>
                  </a:lnTo>
                  <a:lnTo>
                    <a:pt x="2529" y="256"/>
                  </a:lnTo>
                  <a:lnTo>
                    <a:pt x="2524" y="266"/>
                  </a:lnTo>
                  <a:lnTo>
                    <a:pt x="2521" y="279"/>
                  </a:lnTo>
                  <a:lnTo>
                    <a:pt x="2518" y="294"/>
                  </a:lnTo>
                  <a:lnTo>
                    <a:pt x="2515" y="312"/>
                  </a:lnTo>
                  <a:lnTo>
                    <a:pt x="2515" y="312"/>
                  </a:lnTo>
                  <a:lnTo>
                    <a:pt x="2507" y="381"/>
                  </a:lnTo>
                  <a:lnTo>
                    <a:pt x="2503" y="414"/>
                  </a:lnTo>
                  <a:lnTo>
                    <a:pt x="2503" y="414"/>
                  </a:lnTo>
                  <a:lnTo>
                    <a:pt x="2499" y="413"/>
                  </a:lnTo>
                  <a:lnTo>
                    <a:pt x="2489" y="410"/>
                  </a:lnTo>
                  <a:lnTo>
                    <a:pt x="2470" y="403"/>
                  </a:lnTo>
                  <a:lnTo>
                    <a:pt x="2443" y="391"/>
                  </a:lnTo>
                  <a:lnTo>
                    <a:pt x="2443" y="391"/>
                  </a:lnTo>
                  <a:lnTo>
                    <a:pt x="2433" y="387"/>
                  </a:lnTo>
                  <a:lnTo>
                    <a:pt x="2423" y="381"/>
                  </a:lnTo>
                  <a:lnTo>
                    <a:pt x="2413" y="374"/>
                  </a:lnTo>
                  <a:lnTo>
                    <a:pt x="2403" y="366"/>
                  </a:lnTo>
                  <a:lnTo>
                    <a:pt x="2392" y="357"/>
                  </a:lnTo>
                  <a:lnTo>
                    <a:pt x="2381" y="347"/>
                  </a:lnTo>
                  <a:lnTo>
                    <a:pt x="2371" y="336"/>
                  </a:lnTo>
                  <a:lnTo>
                    <a:pt x="2361" y="324"/>
                  </a:lnTo>
                  <a:lnTo>
                    <a:pt x="2351" y="312"/>
                  </a:lnTo>
                  <a:lnTo>
                    <a:pt x="2342" y="297"/>
                  </a:lnTo>
                  <a:lnTo>
                    <a:pt x="2334" y="283"/>
                  </a:lnTo>
                  <a:lnTo>
                    <a:pt x="2326" y="268"/>
                  </a:lnTo>
                  <a:lnTo>
                    <a:pt x="2320" y="251"/>
                  </a:lnTo>
                  <a:lnTo>
                    <a:pt x="2316" y="235"/>
                  </a:lnTo>
                  <a:lnTo>
                    <a:pt x="2312" y="216"/>
                  </a:lnTo>
                  <a:lnTo>
                    <a:pt x="2310" y="199"/>
                  </a:lnTo>
                  <a:lnTo>
                    <a:pt x="2310" y="199"/>
                  </a:lnTo>
                  <a:lnTo>
                    <a:pt x="2309" y="174"/>
                  </a:lnTo>
                  <a:lnTo>
                    <a:pt x="2309" y="174"/>
                  </a:lnTo>
                  <a:lnTo>
                    <a:pt x="2252" y="195"/>
                  </a:lnTo>
                  <a:lnTo>
                    <a:pt x="2186" y="218"/>
                  </a:lnTo>
                  <a:lnTo>
                    <a:pt x="2149" y="231"/>
                  </a:lnTo>
                  <a:lnTo>
                    <a:pt x="2110" y="243"/>
                  </a:lnTo>
                  <a:lnTo>
                    <a:pt x="2069" y="254"/>
                  </a:lnTo>
                  <a:lnTo>
                    <a:pt x="2028" y="266"/>
                  </a:lnTo>
                  <a:lnTo>
                    <a:pt x="1984" y="277"/>
                  </a:lnTo>
                  <a:lnTo>
                    <a:pt x="1938" y="286"/>
                  </a:lnTo>
                  <a:lnTo>
                    <a:pt x="1892" y="295"/>
                  </a:lnTo>
                  <a:lnTo>
                    <a:pt x="1843" y="303"/>
                  </a:lnTo>
                  <a:lnTo>
                    <a:pt x="1795" y="311"/>
                  </a:lnTo>
                  <a:lnTo>
                    <a:pt x="1746" y="316"/>
                  </a:lnTo>
                  <a:lnTo>
                    <a:pt x="1697" y="319"/>
                  </a:lnTo>
                  <a:lnTo>
                    <a:pt x="1647" y="321"/>
                  </a:lnTo>
                  <a:lnTo>
                    <a:pt x="1647" y="321"/>
                  </a:lnTo>
                  <a:lnTo>
                    <a:pt x="1558" y="322"/>
                  </a:lnTo>
                  <a:lnTo>
                    <a:pt x="1470" y="321"/>
                  </a:lnTo>
                  <a:lnTo>
                    <a:pt x="1382" y="317"/>
                  </a:lnTo>
                  <a:lnTo>
                    <a:pt x="1293" y="312"/>
                  </a:lnTo>
                  <a:lnTo>
                    <a:pt x="1205" y="304"/>
                  </a:lnTo>
                  <a:lnTo>
                    <a:pt x="1118" y="294"/>
                  </a:lnTo>
                  <a:lnTo>
                    <a:pt x="1030" y="282"/>
                  </a:lnTo>
                  <a:lnTo>
                    <a:pt x="943" y="268"/>
                  </a:lnTo>
                  <a:lnTo>
                    <a:pt x="899" y="259"/>
                  </a:lnTo>
                  <a:lnTo>
                    <a:pt x="855" y="251"/>
                  </a:lnTo>
                  <a:lnTo>
                    <a:pt x="812" y="241"/>
                  </a:lnTo>
                  <a:lnTo>
                    <a:pt x="768" y="231"/>
                  </a:lnTo>
                  <a:lnTo>
                    <a:pt x="725" y="221"/>
                  </a:lnTo>
                  <a:lnTo>
                    <a:pt x="681" y="209"/>
                  </a:lnTo>
                  <a:lnTo>
                    <a:pt x="638" y="197"/>
                  </a:lnTo>
                  <a:lnTo>
                    <a:pt x="594" y="185"/>
                  </a:lnTo>
                  <a:lnTo>
                    <a:pt x="551" y="171"/>
                  </a:lnTo>
                  <a:lnTo>
                    <a:pt x="508" y="157"/>
                  </a:lnTo>
                  <a:lnTo>
                    <a:pt x="465" y="143"/>
                  </a:lnTo>
                  <a:lnTo>
                    <a:pt x="422" y="127"/>
                  </a:lnTo>
                  <a:lnTo>
                    <a:pt x="379" y="111"/>
                  </a:lnTo>
                  <a:lnTo>
                    <a:pt x="336" y="94"/>
                  </a:lnTo>
                  <a:lnTo>
                    <a:pt x="294" y="76"/>
                  </a:lnTo>
                  <a:lnTo>
                    <a:pt x="251" y="58"/>
                  </a:lnTo>
                  <a:lnTo>
                    <a:pt x="251" y="58"/>
                  </a:lnTo>
                  <a:lnTo>
                    <a:pt x="165" y="19"/>
                  </a:lnTo>
                  <a:lnTo>
                    <a:pt x="122" y="0"/>
                  </a:lnTo>
                  <a:lnTo>
                    <a:pt x="122" y="0"/>
                  </a:lnTo>
                  <a:lnTo>
                    <a:pt x="121" y="3"/>
                  </a:lnTo>
                  <a:lnTo>
                    <a:pt x="119" y="12"/>
                  </a:lnTo>
                  <a:lnTo>
                    <a:pt x="119" y="19"/>
                  </a:lnTo>
                  <a:lnTo>
                    <a:pt x="119" y="28"/>
                  </a:lnTo>
                  <a:lnTo>
                    <a:pt x="119" y="39"/>
                  </a:lnTo>
                  <a:lnTo>
                    <a:pt x="121" y="51"/>
                  </a:lnTo>
                  <a:lnTo>
                    <a:pt x="125" y="64"/>
                  </a:lnTo>
                  <a:lnTo>
                    <a:pt x="129" y="79"/>
                  </a:lnTo>
                  <a:lnTo>
                    <a:pt x="136" y="96"/>
                  </a:lnTo>
                  <a:lnTo>
                    <a:pt x="145" y="114"/>
                  </a:lnTo>
                  <a:lnTo>
                    <a:pt x="156" y="135"/>
                  </a:lnTo>
                  <a:lnTo>
                    <a:pt x="171" y="156"/>
                  </a:lnTo>
                  <a:lnTo>
                    <a:pt x="187" y="180"/>
                  </a:lnTo>
                  <a:lnTo>
                    <a:pt x="207" y="204"/>
                  </a:lnTo>
                  <a:lnTo>
                    <a:pt x="207" y="204"/>
                  </a:lnTo>
                  <a:lnTo>
                    <a:pt x="189" y="201"/>
                  </a:lnTo>
                  <a:lnTo>
                    <a:pt x="170" y="199"/>
                  </a:lnTo>
                  <a:lnTo>
                    <a:pt x="151" y="199"/>
                  </a:lnTo>
                  <a:lnTo>
                    <a:pt x="132" y="199"/>
                  </a:lnTo>
                  <a:lnTo>
                    <a:pt x="114" y="201"/>
                  </a:lnTo>
                  <a:lnTo>
                    <a:pt x="98" y="204"/>
                  </a:lnTo>
                  <a:lnTo>
                    <a:pt x="83" y="209"/>
                  </a:lnTo>
                  <a:lnTo>
                    <a:pt x="69" y="215"/>
                  </a:lnTo>
                  <a:lnTo>
                    <a:pt x="69" y="215"/>
                  </a:lnTo>
                  <a:lnTo>
                    <a:pt x="55" y="224"/>
                  </a:lnTo>
                  <a:lnTo>
                    <a:pt x="42" y="234"/>
                  </a:lnTo>
                  <a:lnTo>
                    <a:pt x="32" y="244"/>
                  </a:lnTo>
                  <a:lnTo>
                    <a:pt x="21" y="253"/>
                  </a:lnTo>
                  <a:lnTo>
                    <a:pt x="13" y="262"/>
                  </a:lnTo>
                  <a:lnTo>
                    <a:pt x="7" y="272"/>
                  </a:lnTo>
                  <a:lnTo>
                    <a:pt x="0" y="28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78" name="Freeform 31"/>
            <p:cNvSpPr>
              <a:spLocks/>
            </p:cNvSpPr>
            <p:nvPr userDrawn="1"/>
          </p:nvSpPr>
          <p:spPr bwMode="auto">
            <a:xfrm>
              <a:off x="5840658" y="854243"/>
              <a:ext cx="377825" cy="271463"/>
            </a:xfrm>
            <a:custGeom>
              <a:avLst/>
              <a:gdLst>
                <a:gd name="T0" fmla="*/ 2491 w 2863"/>
                <a:gd name="T1" fmla="*/ 103 h 2054"/>
                <a:gd name="T2" fmla="*/ 2575 w 2863"/>
                <a:gd name="T3" fmla="*/ 23 h 2054"/>
                <a:gd name="T4" fmla="*/ 2196 w 2863"/>
                <a:gd name="T5" fmla="*/ 132 h 2054"/>
                <a:gd name="T6" fmla="*/ 1671 w 2863"/>
                <a:gd name="T7" fmla="*/ 429 h 2054"/>
                <a:gd name="T8" fmla="*/ 1528 w 2863"/>
                <a:gd name="T9" fmla="*/ 462 h 2054"/>
                <a:gd name="T10" fmla="*/ 1416 w 2863"/>
                <a:gd name="T11" fmla="*/ 568 h 2054"/>
                <a:gd name="T12" fmla="*/ 1409 w 2863"/>
                <a:gd name="T13" fmla="*/ 634 h 2054"/>
                <a:gd name="T14" fmla="*/ 1479 w 2863"/>
                <a:gd name="T15" fmla="*/ 748 h 2054"/>
                <a:gd name="T16" fmla="*/ 1586 w 2863"/>
                <a:gd name="T17" fmla="*/ 787 h 2054"/>
                <a:gd name="T18" fmla="*/ 1476 w 2863"/>
                <a:gd name="T19" fmla="*/ 974 h 2054"/>
                <a:gd name="T20" fmla="*/ 1133 w 2863"/>
                <a:gd name="T21" fmla="*/ 1199 h 2054"/>
                <a:gd name="T22" fmla="*/ 799 w 2863"/>
                <a:gd name="T23" fmla="*/ 1254 h 2054"/>
                <a:gd name="T24" fmla="*/ 634 w 2863"/>
                <a:gd name="T25" fmla="*/ 1102 h 2054"/>
                <a:gd name="T26" fmla="*/ 539 w 2863"/>
                <a:gd name="T27" fmla="*/ 1015 h 2054"/>
                <a:gd name="T28" fmla="*/ 406 w 2863"/>
                <a:gd name="T29" fmla="*/ 1023 h 2054"/>
                <a:gd name="T30" fmla="*/ 231 w 2863"/>
                <a:gd name="T31" fmla="*/ 1090 h 2054"/>
                <a:gd name="T32" fmla="*/ 382 w 2863"/>
                <a:gd name="T33" fmla="*/ 1121 h 2054"/>
                <a:gd name="T34" fmla="*/ 351 w 2863"/>
                <a:gd name="T35" fmla="*/ 1168 h 2054"/>
                <a:gd name="T36" fmla="*/ 418 w 2863"/>
                <a:gd name="T37" fmla="*/ 1270 h 2054"/>
                <a:gd name="T38" fmla="*/ 608 w 2863"/>
                <a:gd name="T39" fmla="*/ 1387 h 2054"/>
                <a:gd name="T40" fmla="*/ 314 w 2863"/>
                <a:gd name="T41" fmla="*/ 1296 h 2054"/>
                <a:gd name="T42" fmla="*/ 234 w 2863"/>
                <a:gd name="T43" fmla="*/ 1324 h 2054"/>
                <a:gd name="T44" fmla="*/ 77 w 2863"/>
                <a:gd name="T45" fmla="*/ 1367 h 2054"/>
                <a:gd name="T46" fmla="*/ 0 w 2863"/>
                <a:gd name="T47" fmla="*/ 1480 h 2054"/>
                <a:gd name="T48" fmla="*/ 63 w 2863"/>
                <a:gd name="T49" fmla="*/ 1501 h 2054"/>
                <a:gd name="T50" fmla="*/ 166 w 2863"/>
                <a:gd name="T51" fmla="*/ 1461 h 2054"/>
                <a:gd name="T52" fmla="*/ 187 w 2863"/>
                <a:gd name="T53" fmla="*/ 1573 h 2054"/>
                <a:gd name="T54" fmla="*/ 354 w 2863"/>
                <a:gd name="T55" fmla="*/ 1597 h 2054"/>
                <a:gd name="T56" fmla="*/ 616 w 2863"/>
                <a:gd name="T57" fmla="*/ 1588 h 2054"/>
                <a:gd name="T58" fmla="*/ 382 w 2863"/>
                <a:gd name="T59" fmla="*/ 1636 h 2054"/>
                <a:gd name="T60" fmla="*/ 295 w 2863"/>
                <a:gd name="T61" fmla="*/ 1696 h 2054"/>
                <a:gd name="T62" fmla="*/ 254 w 2863"/>
                <a:gd name="T63" fmla="*/ 1795 h 2054"/>
                <a:gd name="T64" fmla="*/ 239 w 2863"/>
                <a:gd name="T65" fmla="*/ 1953 h 2054"/>
                <a:gd name="T66" fmla="*/ 335 w 2863"/>
                <a:gd name="T67" fmla="*/ 2045 h 2054"/>
                <a:gd name="T68" fmla="*/ 341 w 2863"/>
                <a:gd name="T69" fmla="*/ 1906 h 2054"/>
                <a:gd name="T70" fmla="*/ 417 w 2863"/>
                <a:gd name="T71" fmla="*/ 1946 h 2054"/>
                <a:gd name="T72" fmla="*/ 509 w 2863"/>
                <a:gd name="T73" fmla="*/ 1935 h 2054"/>
                <a:gd name="T74" fmla="*/ 732 w 2863"/>
                <a:gd name="T75" fmla="*/ 1733 h 2054"/>
                <a:gd name="T76" fmla="*/ 874 w 2863"/>
                <a:gd name="T77" fmla="*/ 1691 h 2054"/>
                <a:gd name="T78" fmla="*/ 870 w 2863"/>
                <a:gd name="T79" fmla="*/ 1786 h 2054"/>
                <a:gd name="T80" fmla="*/ 945 w 2863"/>
                <a:gd name="T81" fmla="*/ 1834 h 2054"/>
                <a:gd name="T82" fmla="*/ 875 w 2863"/>
                <a:gd name="T83" fmla="*/ 1948 h 2054"/>
                <a:gd name="T84" fmla="*/ 1004 w 2863"/>
                <a:gd name="T85" fmla="*/ 1919 h 2054"/>
                <a:gd name="T86" fmla="*/ 1100 w 2863"/>
                <a:gd name="T87" fmla="*/ 1787 h 2054"/>
                <a:gd name="T88" fmla="*/ 1159 w 2863"/>
                <a:gd name="T89" fmla="*/ 1734 h 2054"/>
                <a:gd name="T90" fmla="*/ 1183 w 2863"/>
                <a:gd name="T91" fmla="*/ 1628 h 2054"/>
                <a:gd name="T92" fmla="*/ 1338 w 2863"/>
                <a:gd name="T93" fmla="*/ 1564 h 2054"/>
                <a:gd name="T94" fmla="*/ 1370 w 2863"/>
                <a:gd name="T95" fmla="*/ 1465 h 2054"/>
                <a:gd name="T96" fmla="*/ 1461 w 2863"/>
                <a:gd name="T97" fmla="*/ 1462 h 2054"/>
                <a:gd name="T98" fmla="*/ 1684 w 2863"/>
                <a:gd name="T99" fmla="*/ 1556 h 2054"/>
                <a:gd name="T100" fmla="*/ 1888 w 2863"/>
                <a:gd name="T101" fmla="*/ 1440 h 2054"/>
                <a:gd name="T102" fmla="*/ 1799 w 2863"/>
                <a:gd name="T103" fmla="*/ 1308 h 2054"/>
                <a:gd name="T104" fmla="*/ 1857 w 2863"/>
                <a:gd name="T105" fmla="*/ 1327 h 2054"/>
                <a:gd name="T106" fmla="*/ 2183 w 2863"/>
                <a:gd name="T107" fmla="*/ 1273 h 2054"/>
                <a:gd name="T108" fmla="*/ 2142 w 2863"/>
                <a:gd name="T109" fmla="*/ 1164 h 2054"/>
                <a:gd name="T110" fmla="*/ 2112 w 2863"/>
                <a:gd name="T111" fmla="*/ 1069 h 2054"/>
                <a:gd name="T112" fmla="*/ 2121 w 2863"/>
                <a:gd name="T113" fmla="*/ 977 h 2054"/>
                <a:gd name="T114" fmla="*/ 2085 w 2863"/>
                <a:gd name="T115" fmla="*/ 807 h 2054"/>
                <a:gd name="T116" fmla="*/ 2859 w 2863"/>
                <a:gd name="T117" fmla="*/ 408 h 20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863" h="2054">
                  <a:moveTo>
                    <a:pt x="2759" y="252"/>
                  </a:moveTo>
                  <a:lnTo>
                    <a:pt x="2759" y="252"/>
                  </a:lnTo>
                  <a:lnTo>
                    <a:pt x="2742" y="239"/>
                  </a:lnTo>
                  <a:lnTo>
                    <a:pt x="2725" y="227"/>
                  </a:lnTo>
                  <a:lnTo>
                    <a:pt x="2708" y="214"/>
                  </a:lnTo>
                  <a:lnTo>
                    <a:pt x="2690" y="203"/>
                  </a:lnTo>
                  <a:lnTo>
                    <a:pt x="2655" y="184"/>
                  </a:lnTo>
                  <a:lnTo>
                    <a:pt x="2621" y="165"/>
                  </a:lnTo>
                  <a:lnTo>
                    <a:pt x="2586" y="148"/>
                  </a:lnTo>
                  <a:lnTo>
                    <a:pt x="2553" y="133"/>
                  </a:lnTo>
                  <a:lnTo>
                    <a:pt x="2522" y="118"/>
                  </a:lnTo>
                  <a:lnTo>
                    <a:pt x="2491" y="103"/>
                  </a:lnTo>
                  <a:lnTo>
                    <a:pt x="2491" y="103"/>
                  </a:lnTo>
                  <a:lnTo>
                    <a:pt x="2507" y="93"/>
                  </a:lnTo>
                  <a:lnTo>
                    <a:pt x="2523" y="82"/>
                  </a:lnTo>
                  <a:lnTo>
                    <a:pt x="2540" y="68"/>
                  </a:lnTo>
                  <a:lnTo>
                    <a:pt x="2556" y="54"/>
                  </a:lnTo>
                  <a:lnTo>
                    <a:pt x="2570" y="41"/>
                  </a:lnTo>
                  <a:lnTo>
                    <a:pt x="2574" y="35"/>
                  </a:lnTo>
                  <a:lnTo>
                    <a:pt x="2577" y="30"/>
                  </a:lnTo>
                  <a:lnTo>
                    <a:pt x="2577" y="26"/>
                  </a:lnTo>
                  <a:lnTo>
                    <a:pt x="2577" y="24"/>
                  </a:lnTo>
                  <a:lnTo>
                    <a:pt x="2575" y="23"/>
                  </a:lnTo>
                  <a:lnTo>
                    <a:pt x="2575" y="23"/>
                  </a:lnTo>
                  <a:lnTo>
                    <a:pt x="2562" y="16"/>
                  </a:lnTo>
                  <a:lnTo>
                    <a:pt x="2550" y="10"/>
                  </a:lnTo>
                  <a:lnTo>
                    <a:pt x="2538" y="6"/>
                  </a:lnTo>
                  <a:lnTo>
                    <a:pt x="2527" y="4"/>
                  </a:lnTo>
                  <a:lnTo>
                    <a:pt x="2508" y="1"/>
                  </a:lnTo>
                  <a:lnTo>
                    <a:pt x="2501" y="0"/>
                  </a:lnTo>
                  <a:lnTo>
                    <a:pt x="2501" y="0"/>
                  </a:lnTo>
                  <a:lnTo>
                    <a:pt x="2440" y="24"/>
                  </a:lnTo>
                  <a:lnTo>
                    <a:pt x="2377" y="50"/>
                  </a:lnTo>
                  <a:lnTo>
                    <a:pt x="2317" y="76"/>
                  </a:lnTo>
                  <a:lnTo>
                    <a:pt x="2256" y="103"/>
                  </a:lnTo>
                  <a:lnTo>
                    <a:pt x="2196" y="132"/>
                  </a:lnTo>
                  <a:lnTo>
                    <a:pt x="2138" y="160"/>
                  </a:lnTo>
                  <a:lnTo>
                    <a:pt x="2081" y="189"/>
                  </a:lnTo>
                  <a:lnTo>
                    <a:pt x="2026" y="219"/>
                  </a:lnTo>
                  <a:lnTo>
                    <a:pt x="1972" y="247"/>
                  </a:lnTo>
                  <a:lnTo>
                    <a:pt x="1921" y="276"/>
                  </a:lnTo>
                  <a:lnTo>
                    <a:pt x="1872" y="303"/>
                  </a:lnTo>
                  <a:lnTo>
                    <a:pt x="1825" y="331"/>
                  </a:lnTo>
                  <a:lnTo>
                    <a:pt x="1782" y="358"/>
                  </a:lnTo>
                  <a:lnTo>
                    <a:pt x="1741" y="383"/>
                  </a:lnTo>
                  <a:lnTo>
                    <a:pt x="1705" y="407"/>
                  </a:lnTo>
                  <a:lnTo>
                    <a:pt x="1671" y="429"/>
                  </a:lnTo>
                  <a:lnTo>
                    <a:pt x="1671" y="429"/>
                  </a:lnTo>
                  <a:lnTo>
                    <a:pt x="1666" y="432"/>
                  </a:lnTo>
                  <a:lnTo>
                    <a:pt x="1666" y="432"/>
                  </a:lnTo>
                  <a:lnTo>
                    <a:pt x="1654" y="439"/>
                  </a:lnTo>
                  <a:lnTo>
                    <a:pt x="1643" y="446"/>
                  </a:lnTo>
                  <a:lnTo>
                    <a:pt x="1632" y="451"/>
                  </a:lnTo>
                  <a:lnTo>
                    <a:pt x="1620" y="455"/>
                  </a:lnTo>
                  <a:lnTo>
                    <a:pt x="1608" y="458"/>
                  </a:lnTo>
                  <a:lnTo>
                    <a:pt x="1597" y="461"/>
                  </a:lnTo>
                  <a:lnTo>
                    <a:pt x="1585" y="462"/>
                  </a:lnTo>
                  <a:lnTo>
                    <a:pt x="1574" y="463"/>
                  </a:lnTo>
                  <a:lnTo>
                    <a:pt x="1550" y="464"/>
                  </a:lnTo>
                  <a:lnTo>
                    <a:pt x="1528" y="462"/>
                  </a:lnTo>
                  <a:lnTo>
                    <a:pt x="1505" y="459"/>
                  </a:lnTo>
                  <a:lnTo>
                    <a:pt x="1485" y="454"/>
                  </a:lnTo>
                  <a:lnTo>
                    <a:pt x="1465" y="449"/>
                  </a:lnTo>
                  <a:lnTo>
                    <a:pt x="1448" y="442"/>
                  </a:lnTo>
                  <a:lnTo>
                    <a:pt x="1433" y="436"/>
                  </a:lnTo>
                  <a:lnTo>
                    <a:pt x="1418" y="430"/>
                  </a:lnTo>
                  <a:lnTo>
                    <a:pt x="1399" y="420"/>
                  </a:lnTo>
                  <a:lnTo>
                    <a:pt x="1393" y="416"/>
                  </a:lnTo>
                  <a:lnTo>
                    <a:pt x="1372" y="544"/>
                  </a:lnTo>
                  <a:lnTo>
                    <a:pt x="1372" y="544"/>
                  </a:lnTo>
                  <a:lnTo>
                    <a:pt x="1395" y="557"/>
                  </a:lnTo>
                  <a:lnTo>
                    <a:pt x="1416" y="568"/>
                  </a:lnTo>
                  <a:lnTo>
                    <a:pt x="1437" y="577"/>
                  </a:lnTo>
                  <a:lnTo>
                    <a:pt x="1454" y="586"/>
                  </a:lnTo>
                  <a:lnTo>
                    <a:pt x="1470" y="592"/>
                  </a:lnTo>
                  <a:lnTo>
                    <a:pt x="1486" y="596"/>
                  </a:lnTo>
                  <a:lnTo>
                    <a:pt x="1499" y="600"/>
                  </a:lnTo>
                  <a:lnTo>
                    <a:pt x="1510" y="602"/>
                  </a:lnTo>
                  <a:lnTo>
                    <a:pt x="1510" y="602"/>
                  </a:lnTo>
                  <a:lnTo>
                    <a:pt x="1491" y="606"/>
                  </a:lnTo>
                  <a:lnTo>
                    <a:pt x="1470" y="611"/>
                  </a:lnTo>
                  <a:lnTo>
                    <a:pt x="1450" y="617"/>
                  </a:lnTo>
                  <a:lnTo>
                    <a:pt x="1428" y="625"/>
                  </a:lnTo>
                  <a:lnTo>
                    <a:pt x="1409" y="634"/>
                  </a:lnTo>
                  <a:lnTo>
                    <a:pt x="1391" y="645"/>
                  </a:lnTo>
                  <a:lnTo>
                    <a:pt x="1381" y="650"/>
                  </a:lnTo>
                  <a:lnTo>
                    <a:pt x="1373" y="656"/>
                  </a:lnTo>
                  <a:lnTo>
                    <a:pt x="1366" y="663"/>
                  </a:lnTo>
                  <a:lnTo>
                    <a:pt x="1360" y="670"/>
                  </a:lnTo>
                  <a:lnTo>
                    <a:pt x="1404" y="788"/>
                  </a:lnTo>
                  <a:lnTo>
                    <a:pt x="1404" y="788"/>
                  </a:lnTo>
                  <a:lnTo>
                    <a:pt x="1416" y="779"/>
                  </a:lnTo>
                  <a:lnTo>
                    <a:pt x="1432" y="770"/>
                  </a:lnTo>
                  <a:lnTo>
                    <a:pt x="1453" y="758"/>
                  </a:lnTo>
                  <a:lnTo>
                    <a:pt x="1465" y="753"/>
                  </a:lnTo>
                  <a:lnTo>
                    <a:pt x="1479" y="748"/>
                  </a:lnTo>
                  <a:lnTo>
                    <a:pt x="1494" y="743"/>
                  </a:lnTo>
                  <a:lnTo>
                    <a:pt x="1509" y="738"/>
                  </a:lnTo>
                  <a:lnTo>
                    <a:pt x="1527" y="734"/>
                  </a:lnTo>
                  <a:lnTo>
                    <a:pt x="1545" y="731"/>
                  </a:lnTo>
                  <a:lnTo>
                    <a:pt x="1564" y="729"/>
                  </a:lnTo>
                  <a:lnTo>
                    <a:pt x="1585" y="728"/>
                  </a:lnTo>
                  <a:lnTo>
                    <a:pt x="1585" y="728"/>
                  </a:lnTo>
                  <a:lnTo>
                    <a:pt x="1588" y="744"/>
                  </a:lnTo>
                  <a:lnTo>
                    <a:pt x="1588" y="744"/>
                  </a:lnTo>
                  <a:lnTo>
                    <a:pt x="1588" y="758"/>
                  </a:lnTo>
                  <a:lnTo>
                    <a:pt x="1588" y="773"/>
                  </a:lnTo>
                  <a:lnTo>
                    <a:pt x="1586" y="787"/>
                  </a:lnTo>
                  <a:lnTo>
                    <a:pt x="1583" y="802"/>
                  </a:lnTo>
                  <a:lnTo>
                    <a:pt x="1578" y="818"/>
                  </a:lnTo>
                  <a:lnTo>
                    <a:pt x="1573" y="833"/>
                  </a:lnTo>
                  <a:lnTo>
                    <a:pt x="1565" y="848"/>
                  </a:lnTo>
                  <a:lnTo>
                    <a:pt x="1557" y="864"/>
                  </a:lnTo>
                  <a:lnTo>
                    <a:pt x="1549" y="880"/>
                  </a:lnTo>
                  <a:lnTo>
                    <a:pt x="1539" y="895"/>
                  </a:lnTo>
                  <a:lnTo>
                    <a:pt x="1528" y="912"/>
                  </a:lnTo>
                  <a:lnTo>
                    <a:pt x="1516" y="927"/>
                  </a:lnTo>
                  <a:lnTo>
                    <a:pt x="1503" y="943"/>
                  </a:lnTo>
                  <a:lnTo>
                    <a:pt x="1490" y="959"/>
                  </a:lnTo>
                  <a:lnTo>
                    <a:pt x="1476" y="974"/>
                  </a:lnTo>
                  <a:lnTo>
                    <a:pt x="1461" y="989"/>
                  </a:lnTo>
                  <a:lnTo>
                    <a:pt x="1429" y="1020"/>
                  </a:lnTo>
                  <a:lnTo>
                    <a:pt x="1396" y="1049"/>
                  </a:lnTo>
                  <a:lnTo>
                    <a:pt x="1360" y="1076"/>
                  </a:lnTo>
                  <a:lnTo>
                    <a:pt x="1323" y="1102"/>
                  </a:lnTo>
                  <a:lnTo>
                    <a:pt x="1285" y="1126"/>
                  </a:lnTo>
                  <a:lnTo>
                    <a:pt x="1247" y="1148"/>
                  </a:lnTo>
                  <a:lnTo>
                    <a:pt x="1209" y="1167"/>
                  </a:lnTo>
                  <a:lnTo>
                    <a:pt x="1189" y="1177"/>
                  </a:lnTo>
                  <a:lnTo>
                    <a:pt x="1171" y="1185"/>
                  </a:lnTo>
                  <a:lnTo>
                    <a:pt x="1171" y="1185"/>
                  </a:lnTo>
                  <a:lnTo>
                    <a:pt x="1133" y="1199"/>
                  </a:lnTo>
                  <a:lnTo>
                    <a:pt x="1095" y="1211"/>
                  </a:lnTo>
                  <a:lnTo>
                    <a:pt x="1060" y="1223"/>
                  </a:lnTo>
                  <a:lnTo>
                    <a:pt x="1026" y="1232"/>
                  </a:lnTo>
                  <a:lnTo>
                    <a:pt x="993" y="1240"/>
                  </a:lnTo>
                  <a:lnTo>
                    <a:pt x="962" y="1246"/>
                  </a:lnTo>
                  <a:lnTo>
                    <a:pt x="933" y="1250"/>
                  </a:lnTo>
                  <a:lnTo>
                    <a:pt x="905" y="1254"/>
                  </a:lnTo>
                  <a:lnTo>
                    <a:pt x="879" y="1256"/>
                  </a:lnTo>
                  <a:lnTo>
                    <a:pt x="856" y="1257"/>
                  </a:lnTo>
                  <a:lnTo>
                    <a:pt x="834" y="1257"/>
                  </a:lnTo>
                  <a:lnTo>
                    <a:pt x="815" y="1256"/>
                  </a:lnTo>
                  <a:lnTo>
                    <a:pt x="799" y="1254"/>
                  </a:lnTo>
                  <a:lnTo>
                    <a:pt x="785" y="1251"/>
                  </a:lnTo>
                  <a:lnTo>
                    <a:pt x="774" y="1247"/>
                  </a:lnTo>
                  <a:lnTo>
                    <a:pt x="765" y="1243"/>
                  </a:lnTo>
                  <a:lnTo>
                    <a:pt x="765" y="1243"/>
                  </a:lnTo>
                  <a:lnTo>
                    <a:pt x="741" y="1227"/>
                  </a:lnTo>
                  <a:lnTo>
                    <a:pt x="720" y="1209"/>
                  </a:lnTo>
                  <a:lnTo>
                    <a:pt x="701" y="1191"/>
                  </a:lnTo>
                  <a:lnTo>
                    <a:pt x="685" y="1172"/>
                  </a:lnTo>
                  <a:lnTo>
                    <a:pt x="670" y="1155"/>
                  </a:lnTo>
                  <a:lnTo>
                    <a:pt x="656" y="1137"/>
                  </a:lnTo>
                  <a:lnTo>
                    <a:pt x="645" y="1119"/>
                  </a:lnTo>
                  <a:lnTo>
                    <a:pt x="634" y="1102"/>
                  </a:lnTo>
                  <a:lnTo>
                    <a:pt x="615" y="1071"/>
                  </a:lnTo>
                  <a:lnTo>
                    <a:pt x="605" y="1057"/>
                  </a:lnTo>
                  <a:lnTo>
                    <a:pt x="596" y="1045"/>
                  </a:lnTo>
                  <a:lnTo>
                    <a:pt x="587" y="1033"/>
                  </a:lnTo>
                  <a:lnTo>
                    <a:pt x="577" y="1025"/>
                  </a:lnTo>
                  <a:lnTo>
                    <a:pt x="565" y="1018"/>
                  </a:lnTo>
                  <a:lnTo>
                    <a:pt x="559" y="1015"/>
                  </a:lnTo>
                  <a:lnTo>
                    <a:pt x="553" y="1013"/>
                  </a:lnTo>
                  <a:lnTo>
                    <a:pt x="553" y="1013"/>
                  </a:lnTo>
                  <a:lnTo>
                    <a:pt x="549" y="1013"/>
                  </a:lnTo>
                  <a:lnTo>
                    <a:pt x="546" y="1013"/>
                  </a:lnTo>
                  <a:lnTo>
                    <a:pt x="539" y="1015"/>
                  </a:lnTo>
                  <a:lnTo>
                    <a:pt x="532" y="1018"/>
                  </a:lnTo>
                  <a:lnTo>
                    <a:pt x="524" y="1022"/>
                  </a:lnTo>
                  <a:lnTo>
                    <a:pt x="516" y="1026"/>
                  </a:lnTo>
                  <a:lnTo>
                    <a:pt x="507" y="1029"/>
                  </a:lnTo>
                  <a:lnTo>
                    <a:pt x="499" y="1031"/>
                  </a:lnTo>
                  <a:lnTo>
                    <a:pt x="494" y="1031"/>
                  </a:lnTo>
                  <a:lnTo>
                    <a:pt x="489" y="1031"/>
                  </a:lnTo>
                  <a:lnTo>
                    <a:pt x="489" y="1031"/>
                  </a:lnTo>
                  <a:lnTo>
                    <a:pt x="468" y="1028"/>
                  </a:lnTo>
                  <a:lnTo>
                    <a:pt x="448" y="1025"/>
                  </a:lnTo>
                  <a:lnTo>
                    <a:pt x="427" y="1024"/>
                  </a:lnTo>
                  <a:lnTo>
                    <a:pt x="406" y="1023"/>
                  </a:lnTo>
                  <a:lnTo>
                    <a:pt x="386" y="1023"/>
                  </a:lnTo>
                  <a:lnTo>
                    <a:pt x="366" y="1025"/>
                  </a:lnTo>
                  <a:lnTo>
                    <a:pt x="347" y="1027"/>
                  </a:lnTo>
                  <a:lnTo>
                    <a:pt x="327" y="1031"/>
                  </a:lnTo>
                  <a:lnTo>
                    <a:pt x="309" y="1035"/>
                  </a:lnTo>
                  <a:lnTo>
                    <a:pt x="292" y="1043"/>
                  </a:lnTo>
                  <a:lnTo>
                    <a:pt x="276" y="1050"/>
                  </a:lnTo>
                  <a:lnTo>
                    <a:pt x="262" y="1059"/>
                  </a:lnTo>
                  <a:lnTo>
                    <a:pt x="248" y="1070"/>
                  </a:lnTo>
                  <a:lnTo>
                    <a:pt x="242" y="1076"/>
                  </a:lnTo>
                  <a:lnTo>
                    <a:pt x="236" y="1082"/>
                  </a:lnTo>
                  <a:lnTo>
                    <a:pt x="231" y="1090"/>
                  </a:lnTo>
                  <a:lnTo>
                    <a:pt x="227" y="1098"/>
                  </a:lnTo>
                  <a:lnTo>
                    <a:pt x="223" y="1105"/>
                  </a:lnTo>
                  <a:lnTo>
                    <a:pt x="219" y="1114"/>
                  </a:lnTo>
                  <a:lnTo>
                    <a:pt x="219" y="1114"/>
                  </a:lnTo>
                  <a:lnTo>
                    <a:pt x="257" y="1112"/>
                  </a:lnTo>
                  <a:lnTo>
                    <a:pt x="292" y="1111"/>
                  </a:lnTo>
                  <a:lnTo>
                    <a:pt x="312" y="1111"/>
                  </a:lnTo>
                  <a:lnTo>
                    <a:pt x="331" y="1112"/>
                  </a:lnTo>
                  <a:lnTo>
                    <a:pt x="349" y="1113"/>
                  </a:lnTo>
                  <a:lnTo>
                    <a:pt x="364" y="1116"/>
                  </a:lnTo>
                  <a:lnTo>
                    <a:pt x="377" y="1119"/>
                  </a:lnTo>
                  <a:lnTo>
                    <a:pt x="382" y="1121"/>
                  </a:lnTo>
                  <a:lnTo>
                    <a:pt x="387" y="1123"/>
                  </a:lnTo>
                  <a:lnTo>
                    <a:pt x="389" y="1126"/>
                  </a:lnTo>
                  <a:lnTo>
                    <a:pt x="391" y="1130"/>
                  </a:lnTo>
                  <a:lnTo>
                    <a:pt x="391" y="1133"/>
                  </a:lnTo>
                  <a:lnTo>
                    <a:pt x="389" y="1137"/>
                  </a:lnTo>
                  <a:lnTo>
                    <a:pt x="386" y="1141"/>
                  </a:lnTo>
                  <a:lnTo>
                    <a:pt x="381" y="1146"/>
                  </a:lnTo>
                  <a:lnTo>
                    <a:pt x="374" y="1151"/>
                  </a:lnTo>
                  <a:lnTo>
                    <a:pt x="366" y="1156"/>
                  </a:lnTo>
                  <a:lnTo>
                    <a:pt x="366" y="1156"/>
                  </a:lnTo>
                  <a:lnTo>
                    <a:pt x="357" y="1162"/>
                  </a:lnTo>
                  <a:lnTo>
                    <a:pt x="351" y="1168"/>
                  </a:lnTo>
                  <a:lnTo>
                    <a:pt x="346" y="1175"/>
                  </a:lnTo>
                  <a:lnTo>
                    <a:pt x="344" y="1182"/>
                  </a:lnTo>
                  <a:lnTo>
                    <a:pt x="343" y="1189"/>
                  </a:lnTo>
                  <a:lnTo>
                    <a:pt x="344" y="1195"/>
                  </a:lnTo>
                  <a:lnTo>
                    <a:pt x="346" y="1202"/>
                  </a:lnTo>
                  <a:lnTo>
                    <a:pt x="349" y="1209"/>
                  </a:lnTo>
                  <a:lnTo>
                    <a:pt x="354" y="1217"/>
                  </a:lnTo>
                  <a:lnTo>
                    <a:pt x="360" y="1225"/>
                  </a:lnTo>
                  <a:lnTo>
                    <a:pt x="368" y="1232"/>
                  </a:lnTo>
                  <a:lnTo>
                    <a:pt x="376" y="1239"/>
                  </a:lnTo>
                  <a:lnTo>
                    <a:pt x="396" y="1254"/>
                  </a:lnTo>
                  <a:lnTo>
                    <a:pt x="418" y="1270"/>
                  </a:lnTo>
                  <a:lnTo>
                    <a:pt x="442" y="1285"/>
                  </a:lnTo>
                  <a:lnTo>
                    <a:pt x="467" y="1299"/>
                  </a:lnTo>
                  <a:lnTo>
                    <a:pt x="519" y="1327"/>
                  </a:lnTo>
                  <a:lnTo>
                    <a:pt x="565" y="1350"/>
                  </a:lnTo>
                  <a:lnTo>
                    <a:pt x="585" y="1361"/>
                  </a:lnTo>
                  <a:lnTo>
                    <a:pt x="601" y="1370"/>
                  </a:lnTo>
                  <a:lnTo>
                    <a:pt x="601" y="1370"/>
                  </a:lnTo>
                  <a:lnTo>
                    <a:pt x="608" y="1375"/>
                  </a:lnTo>
                  <a:lnTo>
                    <a:pt x="611" y="1379"/>
                  </a:lnTo>
                  <a:lnTo>
                    <a:pt x="613" y="1382"/>
                  </a:lnTo>
                  <a:lnTo>
                    <a:pt x="611" y="1385"/>
                  </a:lnTo>
                  <a:lnTo>
                    <a:pt x="608" y="1387"/>
                  </a:lnTo>
                  <a:lnTo>
                    <a:pt x="604" y="1389"/>
                  </a:lnTo>
                  <a:lnTo>
                    <a:pt x="598" y="1390"/>
                  </a:lnTo>
                  <a:lnTo>
                    <a:pt x="598" y="1390"/>
                  </a:lnTo>
                  <a:lnTo>
                    <a:pt x="588" y="1390"/>
                  </a:lnTo>
                  <a:lnTo>
                    <a:pt x="576" y="1388"/>
                  </a:lnTo>
                  <a:lnTo>
                    <a:pt x="561" y="1385"/>
                  </a:lnTo>
                  <a:lnTo>
                    <a:pt x="545" y="1380"/>
                  </a:lnTo>
                  <a:lnTo>
                    <a:pt x="509" y="1369"/>
                  </a:lnTo>
                  <a:lnTo>
                    <a:pt x="469" y="1354"/>
                  </a:lnTo>
                  <a:lnTo>
                    <a:pt x="387" y="1323"/>
                  </a:lnTo>
                  <a:lnTo>
                    <a:pt x="349" y="1307"/>
                  </a:lnTo>
                  <a:lnTo>
                    <a:pt x="314" y="1296"/>
                  </a:lnTo>
                  <a:lnTo>
                    <a:pt x="314" y="1296"/>
                  </a:lnTo>
                  <a:lnTo>
                    <a:pt x="303" y="1293"/>
                  </a:lnTo>
                  <a:lnTo>
                    <a:pt x="292" y="1291"/>
                  </a:lnTo>
                  <a:lnTo>
                    <a:pt x="283" y="1291"/>
                  </a:lnTo>
                  <a:lnTo>
                    <a:pt x="275" y="1292"/>
                  </a:lnTo>
                  <a:lnTo>
                    <a:pt x="268" y="1294"/>
                  </a:lnTo>
                  <a:lnTo>
                    <a:pt x="262" y="1297"/>
                  </a:lnTo>
                  <a:lnTo>
                    <a:pt x="257" y="1300"/>
                  </a:lnTo>
                  <a:lnTo>
                    <a:pt x="253" y="1303"/>
                  </a:lnTo>
                  <a:lnTo>
                    <a:pt x="244" y="1312"/>
                  </a:lnTo>
                  <a:lnTo>
                    <a:pt x="238" y="1319"/>
                  </a:lnTo>
                  <a:lnTo>
                    <a:pt x="234" y="1324"/>
                  </a:lnTo>
                  <a:lnTo>
                    <a:pt x="231" y="1325"/>
                  </a:lnTo>
                  <a:lnTo>
                    <a:pt x="229" y="1326"/>
                  </a:lnTo>
                  <a:lnTo>
                    <a:pt x="229" y="1326"/>
                  </a:lnTo>
                  <a:lnTo>
                    <a:pt x="220" y="1325"/>
                  </a:lnTo>
                  <a:lnTo>
                    <a:pt x="210" y="1324"/>
                  </a:lnTo>
                  <a:lnTo>
                    <a:pt x="198" y="1325"/>
                  </a:lnTo>
                  <a:lnTo>
                    <a:pt x="188" y="1325"/>
                  </a:lnTo>
                  <a:lnTo>
                    <a:pt x="166" y="1329"/>
                  </a:lnTo>
                  <a:lnTo>
                    <a:pt x="143" y="1335"/>
                  </a:lnTo>
                  <a:lnTo>
                    <a:pt x="121" y="1343"/>
                  </a:lnTo>
                  <a:lnTo>
                    <a:pt x="98" y="1353"/>
                  </a:lnTo>
                  <a:lnTo>
                    <a:pt x="77" y="1367"/>
                  </a:lnTo>
                  <a:lnTo>
                    <a:pt x="66" y="1374"/>
                  </a:lnTo>
                  <a:lnTo>
                    <a:pt x="57" y="1381"/>
                  </a:lnTo>
                  <a:lnTo>
                    <a:pt x="48" y="1389"/>
                  </a:lnTo>
                  <a:lnTo>
                    <a:pt x="40" y="1397"/>
                  </a:lnTo>
                  <a:lnTo>
                    <a:pt x="32" y="1407"/>
                  </a:lnTo>
                  <a:lnTo>
                    <a:pt x="25" y="1416"/>
                  </a:lnTo>
                  <a:lnTo>
                    <a:pt x="18" y="1426"/>
                  </a:lnTo>
                  <a:lnTo>
                    <a:pt x="12" y="1435"/>
                  </a:lnTo>
                  <a:lnTo>
                    <a:pt x="8" y="1446"/>
                  </a:lnTo>
                  <a:lnTo>
                    <a:pt x="4" y="1458"/>
                  </a:lnTo>
                  <a:lnTo>
                    <a:pt x="2" y="1469"/>
                  </a:lnTo>
                  <a:lnTo>
                    <a:pt x="0" y="1480"/>
                  </a:lnTo>
                  <a:lnTo>
                    <a:pt x="0" y="1492"/>
                  </a:lnTo>
                  <a:lnTo>
                    <a:pt x="0" y="1505"/>
                  </a:lnTo>
                  <a:lnTo>
                    <a:pt x="3" y="1518"/>
                  </a:lnTo>
                  <a:lnTo>
                    <a:pt x="6" y="1530"/>
                  </a:lnTo>
                  <a:lnTo>
                    <a:pt x="11" y="1544"/>
                  </a:lnTo>
                  <a:lnTo>
                    <a:pt x="17" y="1558"/>
                  </a:lnTo>
                  <a:lnTo>
                    <a:pt x="17" y="1558"/>
                  </a:lnTo>
                  <a:lnTo>
                    <a:pt x="20" y="1553"/>
                  </a:lnTo>
                  <a:lnTo>
                    <a:pt x="30" y="1540"/>
                  </a:lnTo>
                  <a:lnTo>
                    <a:pt x="45" y="1521"/>
                  </a:lnTo>
                  <a:lnTo>
                    <a:pt x="53" y="1511"/>
                  </a:lnTo>
                  <a:lnTo>
                    <a:pt x="63" y="1501"/>
                  </a:lnTo>
                  <a:lnTo>
                    <a:pt x="75" y="1490"/>
                  </a:lnTo>
                  <a:lnTo>
                    <a:pt x="86" y="1481"/>
                  </a:lnTo>
                  <a:lnTo>
                    <a:pt x="98" y="1473"/>
                  </a:lnTo>
                  <a:lnTo>
                    <a:pt x="111" y="1466"/>
                  </a:lnTo>
                  <a:lnTo>
                    <a:pt x="125" y="1461"/>
                  </a:lnTo>
                  <a:lnTo>
                    <a:pt x="131" y="1459"/>
                  </a:lnTo>
                  <a:lnTo>
                    <a:pt x="138" y="1458"/>
                  </a:lnTo>
                  <a:lnTo>
                    <a:pt x="145" y="1458"/>
                  </a:lnTo>
                  <a:lnTo>
                    <a:pt x="151" y="1458"/>
                  </a:lnTo>
                  <a:lnTo>
                    <a:pt x="159" y="1459"/>
                  </a:lnTo>
                  <a:lnTo>
                    <a:pt x="166" y="1461"/>
                  </a:lnTo>
                  <a:lnTo>
                    <a:pt x="166" y="1461"/>
                  </a:lnTo>
                  <a:lnTo>
                    <a:pt x="171" y="1463"/>
                  </a:lnTo>
                  <a:lnTo>
                    <a:pt x="174" y="1467"/>
                  </a:lnTo>
                  <a:lnTo>
                    <a:pt x="175" y="1473"/>
                  </a:lnTo>
                  <a:lnTo>
                    <a:pt x="176" y="1479"/>
                  </a:lnTo>
                  <a:lnTo>
                    <a:pt x="176" y="1496"/>
                  </a:lnTo>
                  <a:lnTo>
                    <a:pt x="174" y="1514"/>
                  </a:lnTo>
                  <a:lnTo>
                    <a:pt x="174" y="1524"/>
                  </a:lnTo>
                  <a:lnTo>
                    <a:pt x="174" y="1534"/>
                  </a:lnTo>
                  <a:lnTo>
                    <a:pt x="176" y="1545"/>
                  </a:lnTo>
                  <a:lnTo>
                    <a:pt x="178" y="1554"/>
                  </a:lnTo>
                  <a:lnTo>
                    <a:pt x="182" y="1564"/>
                  </a:lnTo>
                  <a:lnTo>
                    <a:pt x="187" y="1573"/>
                  </a:lnTo>
                  <a:lnTo>
                    <a:pt x="195" y="1581"/>
                  </a:lnTo>
                  <a:lnTo>
                    <a:pt x="205" y="1589"/>
                  </a:lnTo>
                  <a:lnTo>
                    <a:pt x="205" y="1589"/>
                  </a:lnTo>
                  <a:lnTo>
                    <a:pt x="213" y="1593"/>
                  </a:lnTo>
                  <a:lnTo>
                    <a:pt x="221" y="1596"/>
                  </a:lnTo>
                  <a:lnTo>
                    <a:pt x="231" y="1599"/>
                  </a:lnTo>
                  <a:lnTo>
                    <a:pt x="242" y="1600"/>
                  </a:lnTo>
                  <a:lnTo>
                    <a:pt x="254" y="1602"/>
                  </a:lnTo>
                  <a:lnTo>
                    <a:pt x="267" y="1602"/>
                  </a:lnTo>
                  <a:lnTo>
                    <a:pt x="293" y="1602"/>
                  </a:lnTo>
                  <a:lnTo>
                    <a:pt x="323" y="1600"/>
                  </a:lnTo>
                  <a:lnTo>
                    <a:pt x="354" y="1597"/>
                  </a:lnTo>
                  <a:lnTo>
                    <a:pt x="418" y="1589"/>
                  </a:lnTo>
                  <a:lnTo>
                    <a:pt x="481" y="1580"/>
                  </a:lnTo>
                  <a:lnTo>
                    <a:pt x="510" y="1576"/>
                  </a:lnTo>
                  <a:lnTo>
                    <a:pt x="538" y="1574"/>
                  </a:lnTo>
                  <a:lnTo>
                    <a:pt x="562" y="1573"/>
                  </a:lnTo>
                  <a:lnTo>
                    <a:pt x="583" y="1574"/>
                  </a:lnTo>
                  <a:lnTo>
                    <a:pt x="592" y="1575"/>
                  </a:lnTo>
                  <a:lnTo>
                    <a:pt x="600" y="1577"/>
                  </a:lnTo>
                  <a:lnTo>
                    <a:pt x="607" y="1580"/>
                  </a:lnTo>
                  <a:lnTo>
                    <a:pt x="613" y="1585"/>
                  </a:lnTo>
                  <a:lnTo>
                    <a:pt x="613" y="1585"/>
                  </a:lnTo>
                  <a:lnTo>
                    <a:pt x="616" y="1588"/>
                  </a:lnTo>
                  <a:lnTo>
                    <a:pt x="617" y="1591"/>
                  </a:lnTo>
                  <a:lnTo>
                    <a:pt x="616" y="1593"/>
                  </a:lnTo>
                  <a:lnTo>
                    <a:pt x="611" y="1596"/>
                  </a:lnTo>
                  <a:lnTo>
                    <a:pt x="607" y="1598"/>
                  </a:lnTo>
                  <a:lnTo>
                    <a:pt x="600" y="1601"/>
                  </a:lnTo>
                  <a:lnTo>
                    <a:pt x="583" y="1605"/>
                  </a:lnTo>
                  <a:lnTo>
                    <a:pt x="560" y="1609"/>
                  </a:lnTo>
                  <a:lnTo>
                    <a:pt x="535" y="1612"/>
                  </a:lnTo>
                  <a:lnTo>
                    <a:pt x="474" y="1620"/>
                  </a:lnTo>
                  <a:lnTo>
                    <a:pt x="443" y="1624"/>
                  </a:lnTo>
                  <a:lnTo>
                    <a:pt x="412" y="1629"/>
                  </a:lnTo>
                  <a:lnTo>
                    <a:pt x="382" y="1636"/>
                  </a:lnTo>
                  <a:lnTo>
                    <a:pt x="356" y="1642"/>
                  </a:lnTo>
                  <a:lnTo>
                    <a:pt x="344" y="1646"/>
                  </a:lnTo>
                  <a:lnTo>
                    <a:pt x="332" y="1650"/>
                  </a:lnTo>
                  <a:lnTo>
                    <a:pt x="322" y="1654"/>
                  </a:lnTo>
                  <a:lnTo>
                    <a:pt x="314" y="1659"/>
                  </a:lnTo>
                  <a:lnTo>
                    <a:pt x="307" y="1664"/>
                  </a:lnTo>
                  <a:lnTo>
                    <a:pt x="302" y="1669"/>
                  </a:lnTo>
                  <a:lnTo>
                    <a:pt x="298" y="1676"/>
                  </a:lnTo>
                  <a:lnTo>
                    <a:pt x="296" y="1682"/>
                  </a:lnTo>
                  <a:lnTo>
                    <a:pt x="296" y="1682"/>
                  </a:lnTo>
                  <a:lnTo>
                    <a:pt x="295" y="1687"/>
                  </a:lnTo>
                  <a:lnTo>
                    <a:pt x="295" y="1696"/>
                  </a:lnTo>
                  <a:lnTo>
                    <a:pt x="296" y="1707"/>
                  </a:lnTo>
                  <a:lnTo>
                    <a:pt x="298" y="1713"/>
                  </a:lnTo>
                  <a:lnTo>
                    <a:pt x="300" y="1718"/>
                  </a:lnTo>
                  <a:lnTo>
                    <a:pt x="300" y="1718"/>
                  </a:lnTo>
                  <a:lnTo>
                    <a:pt x="301" y="1725"/>
                  </a:lnTo>
                  <a:lnTo>
                    <a:pt x="301" y="1731"/>
                  </a:lnTo>
                  <a:lnTo>
                    <a:pt x="298" y="1737"/>
                  </a:lnTo>
                  <a:lnTo>
                    <a:pt x="293" y="1743"/>
                  </a:lnTo>
                  <a:lnTo>
                    <a:pt x="283" y="1757"/>
                  </a:lnTo>
                  <a:lnTo>
                    <a:pt x="269" y="1775"/>
                  </a:lnTo>
                  <a:lnTo>
                    <a:pt x="261" y="1785"/>
                  </a:lnTo>
                  <a:lnTo>
                    <a:pt x="254" y="1795"/>
                  </a:lnTo>
                  <a:lnTo>
                    <a:pt x="246" y="1807"/>
                  </a:lnTo>
                  <a:lnTo>
                    <a:pt x="240" y="1820"/>
                  </a:lnTo>
                  <a:lnTo>
                    <a:pt x="234" y="1834"/>
                  </a:lnTo>
                  <a:lnTo>
                    <a:pt x="230" y="1849"/>
                  </a:lnTo>
                  <a:lnTo>
                    <a:pt x="226" y="1866"/>
                  </a:lnTo>
                  <a:lnTo>
                    <a:pt x="225" y="1884"/>
                  </a:lnTo>
                  <a:lnTo>
                    <a:pt x="225" y="1884"/>
                  </a:lnTo>
                  <a:lnTo>
                    <a:pt x="225" y="1893"/>
                  </a:lnTo>
                  <a:lnTo>
                    <a:pt x="225" y="1902"/>
                  </a:lnTo>
                  <a:lnTo>
                    <a:pt x="228" y="1920"/>
                  </a:lnTo>
                  <a:lnTo>
                    <a:pt x="233" y="1937"/>
                  </a:lnTo>
                  <a:lnTo>
                    <a:pt x="239" y="1953"/>
                  </a:lnTo>
                  <a:lnTo>
                    <a:pt x="247" y="1968"/>
                  </a:lnTo>
                  <a:lnTo>
                    <a:pt x="257" y="1982"/>
                  </a:lnTo>
                  <a:lnTo>
                    <a:pt x="267" y="1995"/>
                  </a:lnTo>
                  <a:lnTo>
                    <a:pt x="277" y="2007"/>
                  </a:lnTo>
                  <a:lnTo>
                    <a:pt x="287" y="2017"/>
                  </a:lnTo>
                  <a:lnTo>
                    <a:pt x="298" y="2026"/>
                  </a:lnTo>
                  <a:lnTo>
                    <a:pt x="315" y="2042"/>
                  </a:lnTo>
                  <a:lnTo>
                    <a:pt x="327" y="2050"/>
                  </a:lnTo>
                  <a:lnTo>
                    <a:pt x="332" y="2054"/>
                  </a:lnTo>
                  <a:lnTo>
                    <a:pt x="332" y="2054"/>
                  </a:lnTo>
                  <a:lnTo>
                    <a:pt x="334" y="2050"/>
                  </a:lnTo>
                  <a:lnTo>
                    <a:pt x="335" y="2045"/>
                  </a:lnTo>
                  <a:lnTo>
                    <a:pt x="335" y="2036"/>
                  </a:lnTo>
                  <a:lnTo>
                    <a:pt x="334" y="2027"/>
                  </a:lnTo>
                  <a:lnTo>
                    <a:pt x="331" y="2006"/>
                  </a:lnTo>
                  <a:lnTo>
                    <a:pt x="328" y="1980"/>
                  </a:lnTo>
                  <a:lnTo>
                    <a:pt x="327" y="1968"/>
                  </a:lnTo>
                  <a:lnTo>
                    <a:pt x="326" y="1955"/>
                  </a:lnTo>
                  <a:lnTo>
                    <a:pt x="326" y="1943"/>
                  </a:lnTo>
                  <a:lnTo>
                    <a:pt x="328" y="1932"/>
                  </a:lnTo>
                  <a:lnTo>
                    <a:pt x="330" y="1922"/>
                  </a:lnTo>
                  <a:lnTo>
                    <a:pt x="334" y="1913"/>
                  </a:lnTo>
                  <a:lnTo>
                    <a:pt x="337" y="1910"/>
                  </a:lnTo>
                  <a:lnTo>
                    <a:pt x="341" y="1906"/>
                  </a:lnTo>
                  <a:lnTo>
                    <a:pt x="344" y="1904"/>
                  </a:lnTo>
                  <a:lnTo>
                    <a:pt x="348" y="1901"/>
                  </a:lnTo>
                  <a:lnTo>
                    <a:pt x="348" y="1901"/>
                  </a:lnTo>
                  <a:lnTo>
                    <a:pt x="353" y="1900"/>
                  </a:lnTo>
                  <a:lnTo>
                    <a:pt x="357" y="1900"/>
                  </a:lnTo>
                  <a:lnTo>
                    <a:pt x="362" y="1901"/>
                  </a:lnTo>
                  <a:lnTo>
                    <a:pt x="366" y="1905"/>
                  </a:lnTo>
                  <a:lnTo>
                    <a:pt x="375" y="1912"/>
                  </a:lnTo>
                  <a:lnTo>
                    <a:pt x="386" y="1921"/>
                  </a:lnTo>
                  <a:lnTo>
                    <a:pt x="397" y="1932"/>
                  </a:lnTo>
                  <a:lnTo>
                    <a:pt x="410" y="1941"/>
                  </a:lnTo>
                  <a:lnTo>
                    <a:pt x="417" y="1946"/>
                  </a:lnTo>
                  <a:lnTo>
                    <a:pt x="424" y="1950"/>
                  </a:lnTo>
                  <a:lnTo>
                    <a:pt x="434" y="1953"/>
                  </a:lnTo>
                  <a:lnTo>
                    <a:pt x="442" y="1955"/>
                  </a:lnTo>
                  <a:lnTo>
                    <a:pt x="442" y="1955"/>
                  </a:lnTo>
                  <a:lnTo>
                    <a:pt x="451" y="1955"/>
                  </a:lnTo>
                  <a:lnTo>
                    <a:pt x="460" y="1955"/>
                  </a:lnTo>
                  <a:lnTo>
                    <a:pt x="468" y="1954"/>
                  </a:lnTo>
                  <a:lnTo>
                    <a:pt x="478" y="1952"/>
                  </a:lnTo>
                  <a:lnTo>
                    <a:pt x="486" y="1948"/>
                  </a:lnTo>
                  <a:lnTo>
                    <a:pt x="494" y="1944"/>
                  </a:lnTo>
                  <a:lnTo>
                    <a:pt x="501" y="1940"/>
                  </a:lnTo>
                  <a:lnTo>
                    <a:pt x="509" y="1935"/>
                  </a:lnTo>
                  <a:lnTo>
                    <a:pt x="525" y="1923"/>
                  </a:lnTo>
                  <a:lnTo>
                    <a:pt x="539" y="1909"/>
                  </a:lnTo>
                  <a:lnTo>
                    <a:pt x="554" y="1892"/>
                  </a:lnTo>
                  <a:lnTo>
                    <a:pt x="571" y="1875"/>
                  </a:lnTo>
                  <a:lnTo>
                    <a:pt x="604" y="1836"/>
                  </a:lnTo>
                  <a:lnTo>
                    <a:pt x="624" y="1817"/>
                  </a:lnTo>
                  <a:lnTo>
                    <a:pt x="644" y="1797"/>
                  </a:lnTo>
                  <a:lnTo>
                    <a:pt x="667" y="1777"/>
                  </a:lnTo>
                  <a:lnTo>
                    <a:pt x="691" y="1758"/>
                  </a:lnTo>
                  <a:lnTo>
                    <a:pt x="705" y="1749"/>
                  </a:lnTo>
                  <a:lnTo>
                    <a:pt x="718" y="1741"/>
                  </a:lnTo>
                  <a:lnTo>
                    <a:pt x="732" y="1733"/>
                  </a:lnTo>
                  <a:lnTo>
                    <a:pt x="747" y="1725"/>
                  </a:lnTo>
                  <a:lnTo>
                    <a:pt x="747" y="1725"/>
                  </a:lnTo>
                  <a:lnTo>
                    <a:pt x="787" y="1706"/>
                  </a:lnTo>
                  <a:lnTo>
                    <a:pt x="819" y="1694"/>
                  </a:lnTo>
                  <a:lnTo>
                    <a:pt x="831" y="1689"/>
                  </a:lnTo>
                  <a:lnTo>
                    <a:pt x="843" y="1686"/>
                  </a:lnTo>
                  <a:lnTo>
                    <a:pt x="852" y="1685"/>
                  </a:lnTo>
                  <a:lnTo>
                    <a:pt x="859" y="1684"/>
                  </a:lnTo>
                  <a:lnTo>
                    <a:pt x="865" y="1684"/>
                  </a:lnTo>
                  <a:lnTo>
                    <a:pt x="869" y="1686"/>
                  </a:lnTo>
                  <a:lnTo>
                    <a:pt x="872" y="1688"/>
                  </a:lnTo>
                  <a:lnTo>
                    <a:pt x="874" y="1691"/>
                  </a:lnTo>
                  <a:lnTo>
                    <a:pt x="876" y="1694"/>
                  </a:lnTo>
                  <a:lnTo>
                    <a:pt x="876" y="1698"/>
                  </a:lnTo>
                  <a:lnTo>
                    <a:pt x="875" y="1708"/>
                  </a:lnTo>
                  <a:lnTo>
                    <a:pt x="872" y="1720"/>
                  </a:lnTo>
                  <a:lnTo>
                    <a:pt x="868" y="1734"/>
                  </a:lnTo>
                  <a:lnTo>
                    <a:pt x="865" y="1747"/>
                  </a:lnTo>
                  <a:lnTo>
                    <a:pt x="863" y="1759"/>
                  </a:lnTo>
                  <a:lnTo>
                    <a:pt x="863" y="1765"/>
                  </a:lnTo>
                  <a:lnTo>
                    <a:pt x="863" y="1772"/>
                  </a:lnTo>
                  <a:lnTo>
                    <a:pt x="865" y="1777"/>
                  </a:lnTo>
                  <a:lnTo>
                    <a:pt x="867" y="1782"/>
                  </a:lnTo>
                  <a:lnTo>
                    <a:pt x="870" y="1786"/>
                  </a:lnTo>
                  <a:lnTo>
                    <a:pt x="875" y="1790"/>
                  </a:lnTo>
                  <a:lnTo>
                    <a:pt x="881" y="1793"/>
                  </a:lnTo>
                  <a:lnTo>
                    <a:pt x="889" y="1795"/>
                  </a:lnTo>
                  <a:lnTo>
                    <a:pt x="889" y="1795"/>
                  </a:lnTo>
                  <a:lnTo>
                    <a:pt x="901" y="1799"/>
                  </a:lnTo>
                  <a:lnTo>
                    <a:pt x="912" y="1802"/>
                  </a:lnTo>
                  <a:lnTo>
                    <a:pt x="921" y="1807"/>
                  </a:lnTo>
                  <a:lnTo>
                    <a:pt x="928" y="1811"/>
                  </a:lnTo>
                  <a:lnTo>
                    <a:pt x="935" y="1817"/>
                  </a:lnTo>
                  <a:lnTo>
                    <a:pt x="940" y="1822"/>
                  </a:lnTo>
                  <a:lnTo>
                    <a:pt x="943" y="1828"/>
                  </a:lnTo>
                  <a:lnTo>
                    <a:pt x="945" y="1834"/>
                  </a:lnTo>
                  <a:lnTo>
                    <a:pt x="947" y="1840"/>
                  </a:lnTo>
                  <a:lnTo>
                    <a:pt x="947" y="1846"/>
                  </a:lnTo>
                  <a:lnTo>
                    <a:pt x="946" y="1853"/>
                  </a:lnTo>
                  <a:lnTo>
                    <a:pt x="945" y="1860"/>
                  </a:lnTo>
                  <a:lnTo>
                    <a:pt x="943" y="1867"/>
                  </a:lnTo>
                  <a:lnTo>
                    <a:pt x="940" y="1874"/>
                  </a:lnTo>
                  <a:lnTo>
                    <a:pt x="932" y="1887"/>
                  </a:lnTo>
                  <a:lnTo>
                    <a:pt x="922" y="1900"/>
                  </a:lnTo>
                  <a:lnTo>
                    <a:pt x="912" y="1913"/>
                  </a:lnTo>
                  <a:lnTo>
                    <a:pt x="902" y="1924"/>
                  </a:lnTo>
                  <a:lnTo>
                    <a:pt x="892" y="1934"/>
                  </a:lnTo>
                  <a:lnTo>
                    <a:pt x="875" y="1948"/>
                  </a:lnTo>
                  <a:lnTo>
                    <a:pt x="869" y="1955"/>
                  </a:lnTo>
                  <a:lnTo>
                    <a:pt x="869" y="1955"/>
                  </a:lnTo>
                  <a:lnTo>
                    <a:pt x="877" y="1959"/>
                  </a:lnTo>
                  <a:lnTo>
                    <a:pt x="888" y="1961"/>
                  </a:lnTo>
                  <a:lnTo>
                    <a:pt x="899" y="1962"/>
                  </a:lnTo>
                  <a:lnTo>
                    <a:pt x="912" y="1961"/>
                  </a:lnTo>
                  <a:lnTo>
                    <a:pt x="926" y="1958"/>
                  </a:lnTo>
                  <a:lnTo>
                    <a:pt x="941" y="1954"/>
                  </a:lnTo>
                  <a:lnTo>
                    <a:pt x="957" y="1947"/>
                  </a:lnTo>
                  <a:lnTo>
                    <a:pt x="972" y="1939"/>
                  </a:lnTo>
                  <a:lnTo>
                    <a:pt x="989" y="1930"/>
                  </a:lnTo>
                  <a:lnTo>
                    <a:pt x="1004" y="1919"/>
                  </a:lnTo>
                  <a:lnTo>
                    <a:pt x="1019" y="1906"/>
                  </a:lnTo>
                  <a:lnTo>
                    <a:pt x="1035" y="1891"/>
                  </a:lnTo>
                  <a:lnTo>
                    <a:pt x="1048" y="1874"/>
                  </a:lnTo>
                  <a:lnTo>
                    <a:pt x="1061" y="1855"/>
                  </a:lnTo>
                  <a:lnTo>
                    <a:pt x="1073" y="1835"/>
                  </a:lnTo>
                  <a:lnTo>
                    <a:pt x="1083" y="1814"/>
                  </a:lnTo>
                  <a:lnTo>
                    <a:pt x="1083" y="1814"/>
                  </a:lnTo>
                  <a:lnTo>
                    <a:pt x="1086" y="1805"/>
                  </a:lnTo>
                  <a:lnTo>
                    <a:pt x="1089" y="1799"/>
                  </a:lnTo>
                  <a:lnTo>
                    <a:pt x="1092" y="1794"/>
                  </a:lnTo>
                  <a:lnTo>
                    <a:pt x="1096" y="1790"/>
                  </a:lnTo>
                  <a:lnTo>
                    <a:pt x="1100" y="1787"/>
                  </a:lnTo>
                  <a:lnTo>
                    <a:pt x="1103" y="1784"/>
                  </a:lnTo>
                  <a:lnTo>
                    <a:pt x="1111" y="1781"/>
                  </a:lnTo>
                  <a:lnTo>
                    <a:pt x="1120" y="1778"/>
                  </a:lnTo>
                  <a:lnTo>
                    <a:pt x="1129" y="1774"/>
                  </a:lnTo>
                  <a:lnTo>
                    <a:pt x="1138" y="1768"/>
                  </a:lnTo>
                  <a:lnTo>
                    <a:pt x="1143" y="1763"/>
                  </a:lnTo>
                  <a:lnTo>
                    <a:pt x="1148" y="1758"/>
                  </a:lnTo>
                  <a:lnTo>
                    <a:pt x="1148" y="1758"/>
                  </a:lnTo>
                  <a:lnTo>
                    <a:pt x="1151" y="1752"/>
                  </a:lnTo>
                  <a:lnTo>
                    <a:pt x="1154" y="1746"/>
                  </a:lnTo>
                  <a:lnTo>
                    <a:pt x="1158" y="1740"/>
                  </a:lnTo>
                  <a:lnTo>
                    <a:pt x="1159" y="1734"/>
                  </a:lnTo>
                  <a:lnTo>
                    <a:pt x="1160" y="1719"/>
                  </a:lnTo>
                  <a:lnTo>
                    <a:pt x="1160" y="1705"/>
                  </a:lnTo>
                  <a:lnTo>
                    <a:pt x="1160" y="1690"/>
                  </a:lnTo>
                  <a:lnTo>
                    <a:pt x="1160" y="1676"/>
                  </a:lnTo>
                  <a:lnTo>
                    <a:pt x="1162" y="1661"/>
                  </a:lnTo>
                  <a:lnTo>
                    <a:pt x="1164" y="1655"/>
                  </a:lnTo>
                  <a:lnTo>
                    <a:pt x="1166" y="1649"/>
                  </a:lnTo>
                  <a:lnTo>
                    <a:pt x="1166" y="1649"/>
                  </a:lnTo>
                  <a:lnTo>
                    <a:pt x="1170" y="1643"/>
                  </a:lnTo>
                  <a:lnTo>
                    <a:pt x="1174" y="1638"/>
                  </a:lnTo>
                  <a:lnTo>
                    <a:pt x="1178" y="1633"/>
                  </a:lnTo>
                  <a:lnTo>
                    <a:pt x="1183" y="1628"/>
                  </a:lnTo>
                  <a:lnTo>
                    <a:pt x="1195" y="1620"/>
                  </a:lnTo>
                  <a:lnTo>
                    <a:pt x="1209" y="1614"/>
                  </a:lnTo>
                  <a:lnTo>
                    <a:pt x="1223" y="1609"/>
                  </a:lnTo>
                  <a:lnTo>
                    <a:pt x="1237" y="1605"/>
                  </a:lnTo>
                  <a:lnTo>
                    <a:pt x="1268" y="1597"/>
                  </a:lnTo>
                  <a:lnTo>
                    <a:pt x="1298" y="1591"/>
                  </a:lnTo>
                  <a:lnTo>
                    <a:pt x="1310" y="1587"/>
                  </a:lnTo>
                  <a:lnTo>
                    <a:pt x="1321" y="1581"/>
                  </a:lnTo>
                  <a:lnTo>
                    <a:pt x="1329" y="1575"/>
                  </a:lnTo>
                  <a:lnTo>
                    <a:pt x="1333" y="1572"/>
                  </a:lnTo>
                  <a:lnTo>
                    <a:pt x="1335" y="1568"/>
                  </a:lnTo>
                  <a:lnTo>
                    <a:pt x="1338" y="1564"/>
                  </a:lnTo>
                  <a:lnTo>
                    <a:pt x="1340" y="1559"/>
                  </a:lnTo>
                  <a:lnTo>
                    <a:pt x="1340" y="1554"/>
                  </a:lnTo>
                  <a:lnTo>
                    <a:pt x="1340" y="1549"/>
                  </a:lnTo>
                  <a:lnTo>
                    <a:pt x="1340" y="1549"/>
                  </a:lnTo>
                  <a:lnTo>
                    <a:pt x="1338" y="1534"/>
                  </a:lnTo>
                  <a:lnTo>
                    <a:pt x="1338" y="1521"/>
                  </a:lnTo>
                  <a:lnTo>
                    <a:pt x="1341" y="1509"/>
                  </a:lnTo>
                  <a:lnTo>
                    <a:pt x="1345" y="1499"/>
                  </a:lnTo>
                  <a:lnTo>
                    <a:pt x="1350" y="1488"/>
                  </a:lnTo>
                  <a:lnTo>
                    <a:pt x="1355" y="1480"/>
                  </a:lnTo>
                  <a:lnTo>
                    <a:pt x="1362" y="1472"/>
                  </a:lnTo>
                  <a:lnTo>
                    <a:pt x="1370" y="1465"/>
                  </a:lnTo>
                  <a:lnTo>
                    <a:pt x="1378" y="1459"/>
                  </a:lnTo>
                  <a:lnTo>
                    <a:pt x="1388" y="1453"/>
                  </a:lnTo>
                  <a:lnTo>
                    <a:pt x="1406" y="1443"/>
                  </a:lnTo>
                  <a:lnTo>
                    <a:pt x="1424" y="1435"/>
                  </a:lnTo>
                  <a:lnTo>
                    <a:pt x="1441" y="1428"/>
                  </a:lnTo>
                  <a:lnTo>
                    <a:pt x="1441" y="1428"/>
                  </a:lnTo>
                  <a:lnTo>
                    <a:pt x="1443" y="1428"/>
                  </a:lnTo>
                  <a:lnTo>
                    <a:pt x="1444" y="1429"/>
                  </a:lnTo>
                  <a:lnTo>
                    <a:pt x="1447" y="1431"/>
                  </a:lnTo>
                  <a:lnTo>
                    <a:pt x="1449" y="1436"/>
                  </a:lnTo>
                  <a:lnTo>
                    <a:pt x="1453" y="1443"/>
                  </a:lnTo>
                  <a:lnTo>
                    <a:pt x="1461" y="1462"/>
                  </a:lnTo>
                  <a:lnTo>
                    <a:pt x="1467" y="1473"/>
                  </a:lnTo>
                  <a:lnTo>
                    <a:pt x="1474" y="1485"/>
                  </a:lnTo>
                  <a:lnTo>
                    <a:pt x="1484" y="1498"/>
                  </a:lnTo>
                  <a:lnTo>
                    <a:pt x="1494" y="1511"/>
                  </a:lnTo>
                  <a:lnTo>
                    <a:pt x="1506" y="1525"/>
                  </a:lnTo>
                  <a:lnTo>
                    <a:pt x="1522" y="1539"/>
                  </a:lnTo>
                  <a:lnTo>
                    <a:pt x="1539" y="1552"/>
                  </a:lnTo>
                  <a:lnTo>
                    <a:pt x="1559" y="1564"/>
                  </a:lnTo>
                  <a:lnTo>
                    <a:pt x="1583" y="1576"/>
                  </a:lnTo>
                  <a:lnTo>
                    <a:pt x="1609" y="1587"/>
                  </a:lnTo>
                  <a:lnTo>
                    <a:pt x="1609" y="1587"/>
                  </a:lnTo>
                  <a:lnTo>
                    <a:pt x="1684" y="1556"/>
                  </a:lnTo>
                  <a:lnTo>
                    <a:pt x="1730" y="1534"/>
                  </a:lnTo>
                  <a:lnTo>
                    <a:pt x="1757" y="1521"/>
                  </a:lnTo>
                  <a:lnTo>
                    <a:pt x="1786" y="1506"/>
                  </a:lnTo>
                  <a:lnTo>
                    <a:pt x="1786" y="1506"/>
                  </a:lnTo>
                  <a:lnTo>
                    <a:pt x="1818" y="1489"/>
                  </a:lnTo>
                  <a:lnTo>
                    <a:pt x="1848" y="1472"/>
                  </a:lnTo>
                  <a:lnTo>
                    <a:pt x="1860" y="1464"/>
                  </a:lnTo>
                  <a:lnTo>
                    <a:pt x="1871" y="1457"/>
                  </a:lnTo>
                  <a:lnTo>
                    <a:pt x="1881" y="1449"/>
                  </a:lnTo>
                  <a:lnTo>
                    <a:pt x="1889" y="1442"/>
                  </a:lnTo>
                  <a:lnTo>
                    <a:pt x="1889" y="1442"/>
                  </a:lnTo>
                  <a:lnTo>
                    <a:pt x="1888" y="1440"/>
                  </a:lnTo>
                  <a:lnTo>
                    <a:pt x="1887" y="1438"/>
                  </a:lnTo>
                  <a:lnTo>
                    <a:pt x="1879" y="1431"/>
                  </a:lnTo>
                  <a:lnTo>
                    <a:pt x="1868" y="1420"/>
                  </a:lnTo>
                  <a:lnTo>
                    <a:pt x="1855" y="1406"/>
                  </a:lnTo>
                  <a:lnTo>
                    <a:pt x="1840" y="1388"/>
                  </a:lnTo>
                  <a:lnTo>
                    <a:pt x="1825" y="1369"/>
                  </a:lnTo>
                  <a:lnTo>
                    <a:pt x="1818" y="1358"/>
                  </a:lnTo>
                  <a:lnTo>
                    <a:pt x="1812" y="1345"/>
                  </a:lnTo>
                  <a:lnTo>
                    <a:pt x="1807" y="1334"/>
                  </a:lnTo>
                  <a:lnTo>
                    <a:pt x="1802" y="1321"/>
                  </a:lnTo>
                  <a:lnTo>
                    <a:pt x="1802" y="1321"/>
                  </a:lnTo>
                  <a:lnTo>
                    <a:pt x="1799" y="1308"/>
                  </a:lnTo>
                  <a:lnTo>
                    <a:pt x="1796" y="1297"/>
                  </a:lnTo>
                  <a:lnTo>
                    <a:pt x="1794" y="1288"/>
                  </a:lnTo>
                  <a:lnTo>
                    <a:pt x="1794" y="1279"/>
                  </a:lnTo>
                  <a:lnTo>
                    <a:pt x="1794" y="1272"/>
                  </a:lnTo>
                  <a:lnTo>
                    <a:pt x="1794" y="1267"/>
                  </a:lnTo>
                  <a:lnTo>
                    <a:pt x="1795" y="1263"/>
                  </a:lnTo>
                  <a:lnTo>
                    <a:pt x="1796" y="1261"/>
                  </a:lnTo>
                  <a:lnTo>
                    <a:pt x="1796" y="1261"/>
                  </a:lnTo>
                  <a:lnTo>
                    <a:pt x="1809" y="1278"/>
                  </a:lnTo>
                  <a:lnTo>
                    <a:pt x="1824" y="1295"/>
                  </a:lnTo>
                  <a:lnTo>
                    <a:pt x="1845" y="1316"/>
                  </a:lnTo>
                  <a:lnTo>
                    <a:pt x="1857" y="1327"/>
                  </a:lnTo>
                  <a:lnTo>
                    <a:pt x="1869" y="1338"/>
                  </a:lnTo>
                  <a:lnTo>
                    <a:pt x="1883" y="1349"/>
                  </a:lnTo>
                  <a:lnTo>
                    <a:pt x="1899" y="1361"/>
                  </a:lnTo>
                  <a:lnTo>
                    <a:pt x="1915" y="1372"/>
                  </a:lnTo>
                  <a:lnTo>
                    <a:pt x="1932" y="1381"/>
                  </a:lnTo>
                  <a:lnTo>
                    <a:pt x="1949" y="1390"/>
                  </a:lnTo>
                  <a:lnTo>
                    <a:pt x="1967" y="1398"/>
                  </a:lnTo>
                  <a:lnTo>
                    <a:pt x="1967" y="1398"/>
                  </a:lnTo>
                  <a:lnTo>
                    <a:pt x="2021" y="1370"/>
                  </a:lnTo>
                  <a:lnTo>
                    <a:pt x="2075" y="1340"/>
                  </a:lnTo>
                  <a:lnTo>
                    <a:pt x="2129" y="1307"/>
                  </a:lnTo>
                  <a:lnTo>
                    <a:pt x="2183" y="1273"/>
                  </a:lnTo>
                  <a:lnTo>
                    <a:pt x="2183" y="1273"/>
                  </a:lnTo>
                  <a:lnTo>
                    <a:pt x="2218" y="1249"/>
                  </a:lnTo>
                  <a:lnTo>
                    <a:pt x="2218" y="1249"/>
                  </a:lnTo>
                  <a:lnTo>
                    <a:pt x="2219" y="1248"/>
                  </a:lnTo>
                  <a:lnTo>
                    <a:pt x="2219" y="1248"/>
                  </a:lnTo>
                  <a:lnTo>
                    <a:pt x="2220" y="1246"/>
                  </a:lnTo>
                  <a:lnTo>
                    <a:pt x="2219" y="1244"/>
                  </a:lnTo>
                  <a:lnTo>
                    <a:pt x="2215" y="1237"/>
                  </a:lnTo>
                  <a:lnTo>
                    <a:pt x="2207" y="1228"/>
                  </a:lnTo>
                  <a:lnTo>
                    <a:pt x="2196" y="1217"/>
                  </a:lnTo>
                  <a:lnTo>
                    <a:pt x="2171" y="1193"/>
                  </a:lnTo>
                  <a:lnTo>
                    <a:pt x="2142" y="1164"/>
                  </a:lnTo>
                  <a:lnTo>
                    <a:pt x="2129" y="1150"/>
                  </a:lnTo>
                  <a:lnTo>
                    <a:pt x="2118" y="1136"/>
                  </a:lnTo>
                  <a:lnTo>
                    <a:pt x="2108" y="1121"/>
                  </a:lnTo>
                  <a:lnTo>
                    <a:pt x="2104" y="1114"/>
                  </a:lnTo>
                  <a:lnTo>
                    <a:pt x="2101" y="1108"/>
                  </a:lnTo>
                  <a:lnTo>
                    <a:pt x="2100" y="1101"/>
                  </a:lnTo>
                  <a:lnTo>
                    <a:pt x="2099" y="1095"/>
                  </a:lnTo>
                  <a:lnTo>
                    <a:pt x="2099" y="1089"/>
                  </a:lnTo>
                  <a:lnTo>
                    <a:pt x="2100" y="1084"/>
                  </a:lnTo>
                  <a:lnTo>
                    <a:pt x="2102" y="1078"/>
                  </a:lnTo>
                  <a:lnTo>
                    <a:pt x="2106" y="1073"/>
                  </a:lnTo>
                  <a:lnTo>
                    <a:pt x="2112" y="1069"/>
                  </a:lnTo>
                  <a:lnTo>
                    <a:pt x="2119" y="1065"/>
                  </a:lnTo>
                  <a:lnTo>
                    <a:pt x="2119" y="1065"/>
                  </a:lnTo>
                  <a:lnTo>
                    <a:pt x="2125" y="1061"/>
                  </a:lnTo>
                  <a:lnTo>
                    <a:pt x="2130" y="1056"/>
                  </a:lnTo>
                  <a:lnTo>
                    <a:pt x="2133" y="1051"/>
                  </a:lnTo>
                  <a:lnTo>
                    <a:pt x="2135" y="1045"/>
                  </a:lnTo>
                  <a:lnTo>
                    <a:pt x="2136" y="1039"/>
                  </a:lnTo>
                  <a:lnTo>
                    <a:pt x="2136" y="1030"/>
                  </a:lnTo>
                  <a:lnTo>
                    <a:pt x="2136" y="1023"/>
                  </a:lnTo>
                  <a:lnTo>
                    <a:pt x="2134" y="1014"/>
                  </a:lnTo>
                  <a:lnTo>
                    <a:pt x="2129" y="997"/>
                  </a:lnTo>
                  <a:lnTo>
                    <a:pt x="2121" y="977"/>
                  </a:lnTo>
                  <a:lnTo>
                    <a:pt x="2102" y="935"/>
                  </a:lnTo>
                  <a:lnTo>
                    <a:pt x="2093" y="914"/>
                  </a:lnTo>
                  <a:lnTo>
                    <a:pt x="2085" y="893"/>
                  </a:lnTo>
                  <a:lnTo>
                    <a:pt x="2078" y="873"/>
                  </a:lnTo>
                  <a:lnTo>
                    <a:pt x="2076" y="863"/>
                  </a:lnTo>
                  <a:lnTo>
                    <a:pt x="2074" y="853"/>
                  </a:lnTo>
                  <a:lnTo>
                    <a:pt x="2074" y="844"/>
                  </a:lnTo>
                  <a:lnTo>
                    <a:pt x="2074" y="836"/>
                  </a:lnTo>
                  <a:lnTo>
                    <a:pt x="2075" y="828"/>
                  </a:lnTo>
                  <a:lnTo>
                    <a:pt x="2077" y="821"/>
                  </a:lnTo>
                  <a:lnTo>
                    <a:pt x="2080" y="814"/>
                  </a:lnTo>
                  <a:lnTo>
                    <a:pt x="2085" y="807"/>
                  </a:lnTo>
                  <a:lnTo>
                    <a:pt x="2091" y="801"/>
                  </a:lnTo>
                  <a:lnTo>
                    <a:pt x="2099" y="797"/>
                  </a:lnTo>
                  <a:lnTo>
                    <a:pt x="2099" y="797"/>
                  </a:lnTo>
                  <a:lnTo>
                    <a:pt x="2200" y="744"/>
                  </a:lnTo>
                  <a:lnTo>
                    <a:pt x="2306" y="693"/>
                  </a:lnTo>
                  <a:lnTo>
                    <a:pt x="2410" y="642"/>
                  </a:lnTo>
                  <a:lnTo>
                    <a:pt x="2513" y="592"/>
                  </a:lnTo>
                  <a:lnTo>
                    <a:pt x="2705" y="501"/>
                  </a:lnTo>
                  <a:lnTo>
                    <a:pt x="2788" y="461"/>
                  </a:lnTo>
                  <a:lnTo>
                    <a:pt x="2863" y="424"/>
                  </a:lnTo>
                  <a:lnTo>
                    <a:pt x="2863" y="424"/>
                  </a:lnTo>
                  <a:lnTo>
                    <a:pt x="2859" y="408"/>
                  </a:lnTo>
                  <a:lnTo>
                    <a:pt x="2853" y="389"/>
                  </a:lnTo>
                  <a:lnTo>
                    <a:pt x="2843" y="366"/>
                  </a:lnTo>
                  <a:lnTo>
                    <a:pt x="2836" y="354"/>
                  </a:lnTo>
                  <a:lnTo>
                    <a:pt x="2829" y="339"/>
                  </a:lnTo>
                  <a:lnTo>
                    <a:pt x="2821" y="325"/>
                  </a:lnTo>
                  <a:lnTo>
                    <a:pt x="2812" y="311"/>
                  </a:lnTo>
                  <a:lnTo>
                    <a:pt x="2801" y="296"/>
                  </a:lnTo>
                  <a:lnTo>
                    <a:pt x="2788" y="281"/>
                  </a:lnTo>
                  <a:lnTo>
                    <a:pt x="2774" y="267"/>
                  </a:lnTo>
                  <a:lnTo>
                    <a:pt x="2759" y="25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79" name="Freeform 32"/>
            <p:cNvSpPr>
              <a:spLocks/>
            </p:cNvSpPr>
            <p:nvPr userDrawn="1"/>
          </p:nvSpPr>
          <p:spPr bwMode="auto">
            <a:xfrm>
              <a:off x="5786685" y="1097131"/>
              <a:ext cx="161925" cy="153988"/>
            </a:xfrm>
            <a:custGeom>
              <a:avLst/>
              <a:gdLst>
                <a:gd name="T0" fmla="*/ 2 w 1226"/>
                <a:gd name="T1" fmla="*/ 386 h 1168"/>
                <a:gd name="T2" fmla="*/ 22 w 1226"/>
                <a:gd name="T3" fmla="*/ 434 h 1168"/>
                <a:gd name="T4" fmla="*/ 61 w 1226"/>
                <a:gd name="T5" fmla="*/ 466 h 1168"/>
                <a:gd name="T6" fmla="*/ 120 w 1226"/>
                <a:gd name="T7" fmla="*/ 479 h 1168"/>
                <a:gd name="T8" fmla="*/ 142 w 1226"/>
                <a:gd name="T9" fmla="*/ 469 h 1168"/>
                <a:gd name="T10" fmla="*/ 160 w 1226"/>
                <a:gd name="T11" fmla="*/ 436 h 1168"/>
                <a:gd name="T12" fmla="*/ 164 w 1226"/>
                <a:gd name="T13" fmla="*/ 370 h 1168"/>
                <a:gd name="T14" fmla="*/ 174 w 1226"/>
                <a:gd name="T15" fmla="*/ 344 h 1168"/>
                <a:gd name="T16" fmla="*/ 198 w 1226"/>
                <a:gd name="T17" fmla="*/ 331 h 1168"/>
                <a:gd name="T18" fmla="*/ 223 w 1226"/>
                <a:gd name="T19" fmla="*/ 318 h 1168"/>
                <a:gd name="T20" fmla="*/ 427 w 1226"/>
                <a:gd name="T21" fmla="*/ 416 h 1168"/>
                <a:gd name="T22" fmla="*/ 628 w 1226"/>
                <a:gd name="T23" fmla="*/ 534 h 1168"/>
                <a:gd name="T24" fmla="*/ 876 w 1226"/>
                <a:gd name="T25" fmla="*/ 703 h 1168"/>
                <a:gd name="T26" fmla="*/ 868 w 1226"/>
                <a:gd name="T27" fmla="*/ 783 h 1168"/>
                <a:gd name="T28" fmla="*/ 779 w 1226"/>
                <a:gd name="T29" fmla="*/ 957 h 1168"/>
                <a:gd name="T30" fmla="*/ 753 w 1226"/>
                <a:gd name="T31" fmla="*/ 1040 h 1168"/>
                <a:gd name="T32" fmla="*/ 754 w 1226"/>
                <a:gd name="T33" fmla="*/ 1090 h 1168"/>
                <a:gd name="T34" fmla="*/ 771 w 1226"/>
                <a:gd name="T35" fmla="*/ 1130 h 1168"/>
                <a:gd name="T36" fmla="*/ 801 w 1226"/>
                <a:gd name="T37" fmla="*/ 1157 h 1168"/>
                <a:gd name="T38" fmla="*/ 842 w 1226"/>
                <a:gd name="T39" fmla="*/ 1168 h 1168"/>
                <a:gd name="T40" fmla="*/ 880 w 1226"/>
                <a:gd name="T41" fmla="*/ 1163 h 1168"/>
                <a:gd name="T42" fmla="*/ 919 w 1226"/>
                <a:gd name="T43" fmla="*/ 1140 h 1168"/>
                <a:gd name="T44" fmla="*/ 944 w 1226"/>
                <a:gd name="T45" fmla="*/ 1107 h 1168"/>
                <a:gd name="T46" fmla="*/ 952 w 1226"/>
                <a:gd name="T47" fmla="*/ 1060 h 1168"/>
                <a:gd name="T48" fmla="*/ 930 w 1226"/>
                <a:gd name="T49" fmla="*/ 1010 h 1168"/>
                <a:gd name="T50" fmla="*/ 885 w 1226"/>
                <a:gd name="T51" fmla="*/ 989 h 1168"/>
                <a:gd name="T52" fmla="*/ 919 w 1226"/>
                <a:gd name="T53" fmla="*/ 879 h 1168"/>
                <a:gd name="T54" fmla="*/ 954 w 1226"/>
                <a:gd name="T55" fmla="*/ 807 h 1168"/>
                <a:gd name="T56" fmla="*/ 1024 w 1226"/>
                <a:gd name="T57" fmla="*/ 715 h 1168"/>
                <a:gd name="T58" fmla="*/ 1095 w 1226"/>
                <a:gd name="T59" fmla="*/ 673 h 1168"/>
                <a:gd name="T60" fmla="*/ 1125 w 1226"/>
                <a:gd name="T61" fmla="*/ 670 h 1168"/>
                <a:gd name="T62" fmla="*/ 1099 w 1226"/>
                <a:gd name="T63" fmla="*/ 633 h 1168"/>
                <a:gd name="T64" fmla="*/ 1083 w 1226"/>
                <a:gd name="T65" fmla="*/ 543 h 1168"/>
                <a:gd name="T66" fmla="*/ 1096 w 1226"/>
                <a:gd name="T67" fmla="*/ 477 h 1168"/>
                <a:gd name="T68" fmla="*/ 1132 w 1226"/>
                <a:gd name="T69" fmla="*/ 395 h 1168"/>
                <a:gd name="T70" fmla="*/ 1195 w 1226"/>
                <a:gd name="T71" fmla="*/ 258 h 1168"/>
                <a:gd name="T72" fmla="*/ 1225 w 1226"/>
                <a:gd name="T73" fmla="*/ 141 h 1168"/>
                <a:gd name="T74" fmla="*/ 1217 w 1226"/>
                <a:gd name="T75" fmla="*/ 95 h 1168"/>
                <a:gd name="T76" fmla="*/ 1187 w 1226"/>
                <a:gd name="T77" fmla="*/ 55 h 1168"/>
                <a:gd name="T78" fmla="*/ 1144 w 1226"/>
                <a:gd name="T79" fmla="*/ 34 h 1168"/>
                <a:gd name="T80" fmla="*/ 1104 w 1226"/>
                <a:gd name="T81" fmla="*/ 35 h 1168"/>
                <a:gd name="T82" fmla="*/ 1061 w 1226"/>
                <a:gd name="T83" fmla="*/ 57 h 1168"/>
                <a:gd name="T84" fmla="*/ 1033 w 1226"/>
                <a:gd name="T85" fmla="*/ 94 h 1168"/>
                <a:gd name="T86" fmla="*/ 1025 w 1226"/>
                <a:gd name="T87" fmla="*/ 139 h 1168"/>
                <a:gd name="T88" fmla="*/ 1048 w 1226"/>
                <a:gd name="T89" fmla="*/ 205 h 1168"/>
                <a:gd name="T90" fmla="*/ 1095 w 1226"/>
                <a:gd name="T91" fmla="*/ 230 h 1168"/>
                <a:gd name="T92" fmla="*/ 1107 w 1226"/>
                <a:gd name="T93" fmla="*/ 240 h 1168"/>
                <a:gd name="T94" fmla="*/ 1044 w 1226"/>
                <a:gd name="T95" fmla="*/ 390 h 1168"/>
                <a:gd name="T96" fmla="*/ 975 w 1226"/>
                <a:gd name="T97" fmla="*/ 431 h 1168"/>
                <a:gd name="T98" fmla="*/ 717 w 1226"/>
                <a:gd name="T99" fmla="*/ 289 h 1168"/>
                <a:gd name="T100" fmla="*/ 529 w 1226"/>
                <a:gd name="T101" fmla="*/ 205 h 1168"/>
                <a:gd name="T102" fmla="*/ 317 w 1226"/>
                <a:gd name="T103" fmla="*/ 140 h 1168"/>
                <a:gd name="T104" fmla="*/ 378 w 1226"/>
                <a:gd name="T105" fmla="*/ 31 h 1168"/>
                <a:gd name="T106" fmla="*/ 389 w 1226"/>
                <a:gd name="T107" fmla="*/ 0 h 1168"/>
                <a:gd name="T108" fmla="*/ 367 w 1226"/>
                <a:gd name="T109" fmla="*/ 10 h 1168"/>
                <a:gd name="T110" fmla="*/ 285 w 1226"/>
                <a:gd name="T111" fmla="*/ 57 h 1168"/>
                <a:gd name="T112" fmla="*/ 211 w 1226"/>
                <a:gd name="T113" fmla="*/ 85 h 1168"/>
                <a:gd name="T114" fmla="*/ 147 w 1226"/>
                <a:gd name="T115" fmla="*/ 85 h 1168"/>
                <a:gd name="T116" fmla="*/ 114 w 1226"/>
                <a:gd name="T117" fmla="*/ 85 h 1168"/>
                <a:gd name="T118" fmla="*/ 87 w 1226"/>
                <a:gd name="T119" fmla="*/ 134 h 1168"/>
                <a:gd name="T120" fmla="*/ 42 w 1226"/>
                <a:gd name="T121" fmla="*/ 261 h 1168"/>
                <a:gd name="T122" fmla="*/ 6 w 1226"/>
                <a:gd name="T123" fmla="*/ 327 h 1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26" h="1168">
                  <a:moveTo>
                    <a:pt x="1" y="345"/>
                  </a:moveTo>
                  <a:lnTo>
                    <a:pt x="1" y="345"/>
                  </a:lnTo>
                  <a:lnTo>
                    <a:pt x="0" y="359"/>
                  </a:lnTo>
                  <a:lnTo>
                    <a:pt x="0" y="370"/>
                  </a:lnTo>
                  <a:lnTo>
                    <a:pt x="2" y="386"/>
                  </a:lnTo>
                  <a:lnTo>
                    <a:pt x="5" y="401"/>
                  </a:lnTo>
                  <a:lnTo>
                    <a:pt x="8" y="409"/>
                  </a:lnTo>
                  <a:lnTo>
                    <a:pt x="11" y="417"/>
                  </a:lnTo>
                  <a:lnTo>
                    <a:pt x="16" y="425"/>
                  </a:lnTo>
                  <a:lnTo>
                    <a:pt x="22" y="434"/>
                  </a:lnTo>
                  <a:lnTo>
                    <a:pt x="28" y="442"/>
                  </a:lnTo>
                  <a:lnTo>
                    <a:pt x="36" y="449"/>
                  </a:lnTo>
                  <a:lnTo>
                    <a:pt x="36" y="449"/>
                  </a:lnTo>
                  <a:lnTo>
                    <a:pt x="48" y="458"/>
                  </a:lnTo>
                  <a:lnTo>
                    <a:pt x="61" y="466"/>
                  </a:lnTo>
                  <a:lnTo>
                    <a:pt x="76" y="473"/>
                  </a:lnTo>
                  <a:lnTo>
                    <a:pt x="91" y="478"/>
                  </a:lnTo>
                  <a:lnTo>
                    <a:pt x="105" y="480"/>
                  </a:lnTo>
                  <a:lnTo>
                    <a:pt x="113" y="480"/>
                  </a:lnTo>
                  <a:lnTo>
                    <a:pt x="120" y="479"/>
                  </a:lnTo>
                  <a:lnTo>
                    <a:pt x="126" y="478"/>
                  </a:lnTo>
                  <a:lnTo>
                    <a:pt x="132" y="476"/>
                  </a:lnTo>
                  <a:lnTo>
                    <a:pt x="137" y="473"/>
                  </a:lnTo>
                  <a:lnTo>
                    <a:pt x="142" y="469"/>
                  </a:lnTo>
                  <a:lnTo>
                    <a:pt x="142" y="469"/>
                  </a:lnTo>
                  <a:lnTo>
                    <a:pt x="147" y="464"/>
                  </a:lnTo>
                  <a:lnTo>
                    <a:pt x="152" y="457"/>
                  </a:lnTo>
                  <a:lnTo>
                    <a:pt x="155" y="451"/>
                  </a:lnTo>
                  <a:lnTo>
                    <a:pt x="158" y="444"/>
                  </a:lnTo>
                  <a:lnTo>
                    <a:pt x="160" y="436"/>
                  </a:lnTo>
                  <a:lnTo>
                    <a:pt x="161" y="428"/>
                  </a:lnTo>
                  <a:lnTo>
                    <a:pt x="162" y="411"/>
                  </a:lnTo>
                  <a:lnTo>
                    <a:pt x="162" y="395"/>
                  </a:lnTo>
                  <a:lnTo>
                    <a:pt x="163" y="378"/>
                  </a:lnTo>
                  <a:lnTo>
                    <a:pt x="164" y="370"/>
                  </a:lnTo>
                  <a:lnTo>
                    <a:pt x="166" y="362"/>
                  </a:lnTo>
                  <a:lnTo>
                    <a:pt x="168" y="355"/>
                  </a:lnTo>
                  <a:lnTo>
                    <a:pt x="172" y="347"/>
                  </a:lnTo>
                  <a:lnTo>
                    <a:pt x="172" y="347"/>
                  </a:lnTo>
                  <a:lnTo>
                    <a:pt x="174" y="344"/>
                  </a:lnTo>
                  <a:lnTo>
                    <a:pt x="178" y="341"/>
                  </a:lnTo>
                  <a:lnTo>
                    <a:pt x="187" y="335"/>
                  </a:lnTo>
                  <a:lnTo>
                    <a:pt x="195" y="332"/>
                  </a:lnTo>
                  <a:lnTo>
                    <a:pt x="198" y="331"/>
                  </a:lnTo>
                  <a:lnTo>
                    <a:pt x="198" y="331"/>
                  </a:lnTo>
                  <a:lnTo>
                    <a:pt x="205" y="329"/>
                  </a:lnTo>
                  <a:lnTo>
                    <a:pt x="211" y="326"/>
                  </a:lnTo>
                  <a:lnTo>
                    <a:pt x="217" y="323"/>
                  </a:lnTo>
                  <a:lnTo>
                    <a:pt x="223" y="318"/>
                  </a:lnTo>
                  <a:lnTo>
                    <a:pt x="223" y="318"/>
                  </a:lnTo>
                  <a:lnTo>
                    <a:pt x="264" y="337"/>
                  </a:lnTo>
                  <a:lnTo>
                    <a:pt x="305" y="355"/>
                  </a:lnTo>
                  <a:lnTo>
                    <a:pt x="347" y="374"/>
                  </a:lnTo>
                  <a:lnTo>
                    <a:pt x="388" y="395"/>
                  </a:lnTo>
                  <a:lnTo>
                    <a:pt x="427" y="416"/>
                  </a:lnTo>
                  <a:lnTo>
                    <a:pt x="468" y="439"/>
                  </a:lnTo>
                  <a:lnTo>
                    <a:pt x="509" y="461"/>
                  </a:lnTo>
                  <a:lnTo>
                    <a:pt x="549" y="485"/>
                  </a:lnTo>
                  <a:lnTo>
                    <a:pt x="589" y="509"/>
                  </a:lnTo>
                  <a:lnTo>
                    <a:pt x="628" y="534"/>
                  </a:lnTo>
                  <a:lnTo>
                    <a:pt x="706" y="584"/>
                  </a:lnTo>
                  <a:lnTo>
                    <a:pt x="782" y="636"/>
                  </a:lnTo>
                  <a:lnTo>
                    <a:pt x="857" y="689"/>
                  </a:lnTo>
                  <a:lnTo>
                    <a:pt x="857" y="689"/>
                  </a:lnTo>
                  <a:lnTo>
                    <a:pt x="876" y="703"/>
                  </a:lnTo>
                  <a:lnTo>
                    <a:pt x="894" y="714"/>
                  </a:lnTo>
                  <a:lnTo>
                    <a:pt x="894" y="714"/>
                  </a:lnTo>
                  <a:lnTo>
                    <a:pt x="887" y="736"/>
                  </a:lnTo>
                  <a:lnTo>
                    <a:pt x="878" y="759"/>
                  </a:lnTo>
                  <a:lnTo>
                    <a:pt x="868" y="783"/>
                  </a:lnTo>
                  <a:lnTo>
                    <a:pt x="856" y="809"/>
                  </a:lnTo>
                  <a:lnTo>
                    <a:pt x="856" y="809"/>
                  </a:lnTo>
                  <a:lnTo>
                    <a:pt x="816" y="885"/>
                  </a:lnTo>
                  <a:lnTo>
                    <a:pt x="797" y="921"/>
                  </a:lnTo>
                  <a:lnTo>
                    <a:pt x="779" y="957"/>
                  </a:lnTo>
                  <a:lnTo>
                    <a:pt x="772" y="975"/>
                  </a:lnTo>
                  <a:lnTo>
                    <a:pt x="766" y="992"/>
                  </a:lnTo>
                  <a:lnTo>
                    <a:pt x="760" y="1008"/>
                  </a:lnTo>
                  <a:lnTo>
                    <a:pt x="756" y="1025"/>
                  </a:lnTo>
                  <a:lnTo>
                    <a:pt x="753" y="1040"/>
                  </a:lnTo>
                  <a:lnTo>
                    <a:pt x="751" y="1054"/>
                  </a:lnTo>
                  <a:lnTo>
                    <a:pt x="751" y="1069"/>
                  </a:lnTo>
                  <a:lnTo>
                    <a:pt x="752" y="1081"/>
                  </a:lnTo>
                  <a:lnTo>
                    <a:pt x="752" y="1081"/>
                  </a:lnTo>
                  <a:lnTo>
                    <a:pt x="754" y="1090"/>
                  </a:lnTo>
                  <a:lnTo>
                    <a:pt x="756" y="1099"/>
                  </a:lnTo>
                  <a:lnTo>
                    <a:pt x="759" y="1107"/>
                  </a:lnTo>
                  <a:lnTo>
                    <a:pt x="762" y="1116"/>
                  </a:lnTo>
                  <a:lnTo>
                    <a:pt x="766" y="1123"/>
                  </a:lnTo>
                  <a:lnTo>
                    <a:pt x="771" y="1130"/>
                  </a:lnTo>
                  <a:lnTo>
                    <a:pt x="776" y="1136"/>
                  </a:lnTo>
                  <a:lnTo>
                    <a:pt x="781" y="1142"/>
                  </a:lnTo>
                  <a:lnTo>
                    <a:pt x="787" y="1147"/>
                  </a:lnTo>
                  <a:lnTo>
                    <a:pt x="794" y="1152"/>
                  </a:lnTo>
                  <a:lnTo>
                    <a:pt x="801" y="1157"/>
                  </a:lnTo>
                  <a:lnTo>
                    <a:pt x="808" y="1160"/>
                  </a:lnTo>
                  <a:lnTo>
                    <a:pt x="816" y="1163"/>
                  </a:lnTo>
                  <a:lnTo>
                    <a:pt x="824" y="1165"/>
                  </a:lnTo>
                  <a:lnTo>
                    <a:pt x="833" y="1167"/>
                  </a:lnTo>
                  <a:lnTo>
                    <a:pt x="842" y="1168"/>
                  </a:lnTo>
                  <a:lnTo>
                    <a:pt x="842" y="1168"/>
                  </a:lnTo>
                  <a:lnTo>
                    <a:pt x="852" y="1168"/>
                  </a:lnTo>
                  <a:lnTo>
                    <a:pt x="862" y="1167"/>
                  </a:lnTo>
                  <a:lnTo>
                    <a:pt x="871" y="1165"/>
                  </a:lnTo>
                  <a:lnTo>
                    <a:pt x="880" y="1163"/>
                  </a:lnTo>
                  <a:lnTo>
                    <a:pt x="889" y="1160"/>
                  </a:lnTo>
                  <a:lnTo>
                    <a:pt x="897" y="1155"/>
                  </a:lnTo>
                  <a:lnTo>
                    <a:pt x="905" y="1151"/>
                  </a:lnTo>
                  <a:lnTo>
                    <a:pt x="912" y="1146"/>
                  </a:lnTo>
                  <a:lnTo>
                    <a:pt x="919" y="1140"/>
                  </a:lnTo>
                  <a:lnTo>
                    <a:pt x="925" y="1135"/>
                  </a:lnTo>
                  <a:lnTo>
                    <a:pt x="931" y="1129"/>
                  </a:lnTo>
                  <a:lnTo>
                    <a:pt x="936" y="1122"/>
                  </a:lnTo>
                  <a:lnTo>
                    <a:pt x="940" y="1115"/>
                  </a:lnTo>
                  <a:lnTo>
                    <a:pt x="944" y="1107"/>
                  </a:lnTo>
                  <a:lnTo>
                    <a:pt x="947" y="1100"/>
                  </a:lnTo>
                  <a:lnTo>
                    <a:pt x="949" y="1092"/>
                  </a:lnTo>
                  <a:lnTo>
                    <a:pt x="949" y="1092"/>
                  </a:lnTo>
                  <a:lnTo>
                    <a:pt x="951" y="1076"/>
                  </a:lnTo>
                  <a:lnTo>
                    <a:pt x="952" y="1060"/>
                  </a:lnTo>
                  <a:lnTo>
                    <a:pt x="950" y="1048"/>
                  </a:lnTo>
                  <a:lnTo>
                    <a:pt x="947" y="1036"/>
                  </a:lnTo>
                  <a:lnTo>
                    <a:pt x="942" y="1027"/>
                  </a:lnTo>
                  <a:lnTo>
                    <a:pt x="937" y="1017"/>
                  </a:lnTo>
                  <a:lnTo>
                    <a:pt x="930" y="1010"/>
                  </a:lnTo>
                  <a:lnTo>
                    <a:pt x="922" y="1005"/>
                  </a:lnTo>
                  <a:lnTo>
                    <a:pt x="915" y="1000"/>
                  </a:lnTo>
                  <a:lnTo>
                    <a:pt x="908" y="996"/>
                  </a:lnTo>
                  <a:lnTo>
                    <a:pt x="894" y="991"/>
                  </a:lnTo>
                  <a:lnTo>
                    <a:pt x="885" y="989"/>
                  </a:lnTo>
                  <a:lnTo>
                    <a:pt x="880" y="989"/>
                  </a:lnTo>
                  <a:lnTo>
                    <a:pt x="880" y="989"/>
                  </a:lnTo>
                  <a:lnTo>
                    <a:pt x="896" y="944"/>
                  </a:lnTo>
                  <a:lnTo>
                    <a:pt x="908" y="908"/>
                  </a:lnTo>
                  <a:lnTo>
                    <a:pt x="919" y="879"/>
                  </a:lnTo>
                  <a:lnTo>
                    <a:pt x="919" y="879"/>
                  </a:lnTo>
                  <a:lnTo>
                    <a:pt x="927" y="859"/>
                  </a:lnTo>
                  <a:lnTo>
                    <a:pt x="937" y="841"/>
                  </a:lnTo>
                  <a:lnTo>
                    <a:pt x="945" y="823"/>
                  </a:lnTo>
                  <a:lnTo>
                    <a:pt x="954" y="807"/>
                  </a:lnTo>
                  <a:lnTo>
                    <a:pt x="962" y="792"/>
                  </a:lnTo>
                  <a:lnTo>
                    <a:pt x="971" y="777"/>
                  </a:lnTo>
                  <a:lnTo>
                    <a:pt x="989" y="753"/>
                  </a:lnTo>
                  <a:lnTo>
                    <a:pt x="1006" y="732"/>
                  </a:lnTo>
                  <a:lnTo>
                    <a:pt x="1024" y="715"/>
                  </a:lnTo>
                  <a:lnTo>
                    <a:pt x="1040" y="702"/>
                  </a:lnTo>
                  <a:lnTo>
                    <a:pt x="1055" y="690"/>
                  </a:lnTo>
                  <a:lnTo>
                    <a:pt x="1070" y="683"/>
                  </a:lnTo>
                  <a:lnTo>
                    <a:pt x="1083" y="677"/>
                  </a:lnTo>
                  <a:lnTo>
                    <a:pt x="1095" y="673"/>
                  </a:lnTo>
                  <a:lnTo>
                    <a:pt x="1105" y="671"/>
                  </a:lnTo>
                  <a:lnTo>
                    <a:pt x="1114" y="670"/>
                  </a:lnTo>
                  <a:lnTo>
                    <a:pt x="1120" y="670"/>
                  </a:lnTo>
                  <a:lnTo>
                    <a:pt x="1125" y="670"/>
                  </a:lnTo>
                  <a:lnTo>
                    <a:pt x="1125" y="670"/>
                  </a:lnTo>
                  <a:lnTo>
                    <a:pt x="1121" y="666"/>
                  </a:lnTo>
                  <a:lnTo>
                    <a:pt x="1116" y="661"/>
                  </a:lnTo>
                  <a:lnTo>
                    <a:pt x="1111" y="653"/>
                  </a:lnTo>
                  <a:lnTo>
                    <a:pt x="1104" y="644"/>
                  </a:lnTo>
                  <a:lnTo>
                    <a:pt x="1099" y="633"/>
                  </a:lnTo>
                  <a:lnTo>
                    <a:pt x="1093" y="620"/>
                  </a:lnTo>
                  <a:lnTo>
                    <a:pt x="1088" y="603"/>
                  </a:lnTo>
                  <a:lnTo>
                    <a:pt x="1085" y="586"/>
                  </a:lnTo>
                  <a:lnTo>
                    <a:pt x="1083" y="566"/>
                  </a:lnTo>
                  <a:lnTo>
                    <a:pt x="1083" y="543"/>
                  </a:lnTo>
                  <a:lnTo>
                    <a:pt x="1084" y="531"/>
                  </a:lnTo>
                  <a:lnTo>
                    <a:pt x="1086" y="519"/>
                  </a:lnTo>
                  <a:lnTo>
                    <a:pt x="1088" y="505"/>
                  </a:lnTo>
                  <a:lnTo>
                    <a:pt x="1092" y="491"/>
                  </a:lnTo>
                  <a:lnTo>
                    <a:pt x="1096" y="477"/>
                  </a:lnTo>
                  <a:lnTo>
                    <a:pt x="1101" y="461"/>
                  </a:lnTo>
                  <a:lnTo>
                    <a:pt x="1107" y="446"/>
                  </a:lnTo>
                  <a:lnTo>
                    <a:pt x="1115" y="430"/>
                  </a:lnTo>
                  <a:lnTo>
                    <a:pt x="1123" y="412"/>
                  </a:lnTo>
                  <a:lnTo>
                    <a:pt x="1132" y="395"/>
                  </a:lnTo>
                  <a:lnTo>
                    <a:pt x="1132" y="395"/>
                  </a:lnTo>
                  <a:lnTo>
                    <a:pt x="1152" y="358"/>
                  </a:lnTo>
                  <a:lnTo>
                    <a:pt x="1169" y="322"/>
                  </a:lnTo>
                  <a:lnTo>
                    <a:pt x="1184" y="289"/>
                  </a:lnTo>
                  <a:lnTo>
                    <a:pt x="1195" y="258"/>
                  </a:lnTo>
                  <a:lnTo>
                    <a:pt x="1206" y="227"/>
                  </a:lnTo>
                  <a:lnTo>
                    <a:pt x="1214" y="197"/>
                  </a:lnTo>
                  <a:lnTo>
                    <a:pt x="1220" y="169"/>
                  </a:lnTo>
                  <a:lnTo>
                    <a:pt x="1225" y="141"/>
                  </a:lnTo>
                  <a:lnTo>
                    <a:pt x="1225" y="141"/>
                  </a:lnTo>
                  <a:lnTo>
                    <a:pt x="1226" y="132"/>
                  </a:lnTo>
                  <a:lnTo>
                    <a:pt x="1225" y="123"/>
                  </a:lnTo>
                  <a:lnTo>
                    <a:pt x="1224" y="114"/>
                  </a:lnTo>
                  <a:lnTo>
                    <a:pt x="1221" y="104"/>
                  </a:lnTo>
                  <a:lnTo>
                    <a:pt x="1217" y="95"/>
                  </a:lnTo>
                  <a:lnTo>
                    <a:pt x="1213" y="87"/>
                  </a:lnTo>
                  <a:lnTo>
                    <a:pt x="1208" y="78"/>
                  </a:lnTo>
                  <a:lnTo>
                    <a:pt x="1202" y="70"/>
                  </a:lnTo>
                  <a:lnTo>
                    <a:pt x="1194" y="63"/>
                  </a:lnTo>
                  <a:lnTo>
                    <a:pt x="1187" y="55"/>
                  </a:lnTo>
                  <a:lnTo>
                    <a:pt x="1179" y="49"/>
                  </a:lnTo>
                  <a:lnTo>
                    <a:pt x="1171" y="44"/>
                  </a:lnTo>
                  <a:lnTo>
                    <a:pt x="1163" y="39"/>
                  </a:lnTo>
                  <a:lnTo>
                    <a:pt x="1153" y="36"/>
                  </a:lnTo>
                  <a:lnTo>
                    <a:pt x="1144" y="34"/>
                  </a:lnTo>
                  <a:lnTo>
                    <a:pt x="1134" y="32"/>
                  </a:lnTo>
                  <a:lnTo>
                    <a:pt x="1134" y="32"/>
                  </a:lnTo>
                  <a:lnTo>
                    <a:pt x="1124" y="32"/>
                  </a:lnTo>
                  <a:lnTo>
                    <a:pt x="1115" y="33"/>
                  </a:lnTo>
                  <a:lnTo>
                    <a:pt x="1104" y="35"/>
                  </a:lnTo>
                  <a:lnTo>
                    <a:pt x="1095" y="38"/>
                  </a:lnTo>
                  <a:lnTo>
                    <a:pt x="1086" y="42"/>
                  </a:lnTo>
                  <a:lnTo>
                    <a:pt x="1078" y="46"/>
                  </a:lnTo>
                  <a:lnTo>
                    <a:pt x="1070" y="52"/>
                  </a:lnTo>
                  <a:lnTo>
                    <a:pt x="1061" y="57"/>
                  </a:lnTo>
                  <a:lnTo>
                    <a:pt x="1054" y="65"/>
                  </a:lnTo>
                  <a:lnTo>
                    <a:pt x="1048" y="71"/>
                  </a:lnTo>
                  <a:lnTo>
                    <a:pt x="1042" y="78"/>
                  </a:lnTo>
                  <a:lnTo>
                    <a:pt x="1037" y="86"/>
                  </a:lnTo>
                  <a:lnTo>
                    <a:pt x="1033" y="94"/>
                  </a:lnTo>
                  <a:lnTo>
                    <a:pt x="1029" y="102"/>
                  </a:lnTo>
                  <a:lnTo>
                    <a:pt x="1027" y="111"/>
                  </a:lnTo>
                  <a:lnTo>
                    <a:pt x="1026" y="119"/>
                  </a:lnTo>
                  <a:lnTo>
                    <a:pt x="1026" y="119"/>
                  </a:lnTo>
                  <a:lnTo>
                    <a:pt x="1025" y="139"/>
                  </a:lnTo>
                  <a:lnTo>
                    <a:pt x="1026" y="158"/>
                  </a:lnTo>
                  <a:lnTo>
                    <a:pt x="1030" y="173"/>
                  </a:lnTo>
                  <a:lnTo>
                    <a:pt x="1035" y="185"/>
                  </a:lnTo>
                  <a:lnTo>
                    <a:pt x="1041" y="195"/>
                  </a:lnTo>
                  <a:lnTo>
                    <a:pt x="1048" y="205"/>
                  </a:lnTo>
                  <a:lnTo>
                    <a:pt x="1056" y="212"/>
                  </a:lnTo>
                  <a:lnTo>
                    <a:pt x="1065" y="217"/>
                  </a:lnTo>
                  <a:lnTo>
                    <a:pt x="1073" y="221"/>
                  </a:lnTo>
                  <a:lnTo>
                    <a:pt x="1081" y="225"/>
                  </a:lnTo>
                  <a:lnTo>
                    <a:pt x="1095" y="230"/>
                  </a:lnTo>
                  <a:lnTo>
                    <a:pt x="1101" y="232"/>
                  </a:lnTo>
                  <a:lnTo>
                    <a:pt x="1104" y="234"/>
                  </a:lnTo>
                  <a:lnTo>
                    <a:pt x="1107" y="237"/>
                  </a:lnTo>
                  <a:lnTo>
                    <a:pt x="1107" y="240"/>
                  </a:lnTo>
                  <a:lnTo>
                    <a:pt x="1107" y="240"/>
                  </a:lnTo>
                  <a:lnTo>
                    <a:pt x="1096" y="276"/>
                  </a:lnTo>
                  <a:lnTo>
                    <a:pt x="1084" y="309"/>
                  </a:lnTo>
                  <a:lnTo>
                    <a:pt x="1071" y="339"/>
                  </a:lnTo>
                  <a:lnTo>
                    <a:pt x="1057" y="365"/>
                  </a:lnTo>
                  <a:lnTo>
                    <a:pt x="1044" y="390"/>
                  </a:lnTo>
                  <a:lnTo>
                    <a:pt x="1031" y="411"/>
                  </a:lnTo>
                  <a:lnTo>
                    <a:pt x="1016" y="431"/>
                  </a:lnTo>
                  <a:lnTo>
                    <a:pt x="1002" y="447"/>
                  </a:lnTo>
                  <a:lnTo>
                    <a:pt x="1002" y="447"/>
                  </a:lnTo>
                  <a:lnTo>
                    <a:pt x="975" y="431"/>
                  </a:lnTo>
                  <a:lnTo>
                    <a:pt x="942" y="411"/>
                  </a:lnTo>
                  <a:lnTo>
                    <a:pt x="942" y="411"/>
                  </a:lnTo>
                  <a:lnTo>
                    <a:pt x="865" y="369"/>
                  </a:lnTo>
                  <a:lnTo>
                    <a:pt x="790" y="328"/>
                  </a:lnTo>
                  <a:lnTo>
                    <a:pt x="717" y="289"/>
                  </a:lnTo>
                  <a:lnTo>
                    <a:pt x="680" y="271"/>
                  </a:lnTo>
                  <a:lnTo>
                    <a:pt x="643" y="254"/>
                  </a:lnTo>
                  <a:lnTo>
                    <a:pt x="606" y="236"/>
                  </a:lnTo>
                  <a:lnTo>
                    <a:pt x="568" y="221"/>
                  </a:lnTo>
                  <a:lnTo>
                    <a:pt x="529" y="205"/>
                  </a:lnTo>
                  <a:lnTo>
                    <a:pt x="489" y="190"/>
                  </a:lnTo>
                  <a:lnTo>
                    <a:pt x="448" y="176"/>
                  </a:lnTo>
                  <a:lnTo>
                    <a:pt x="406" y="164"/>
                  </a:lnTo>
                  <a:lnTo>
                    <a:pt x="362" y="151"/>
                  </a:lnTo>
                  <a:lnTo>
                    <a:pt x="317" y="140"/>
                  </a:lnTo>
                  <a:lnTo>
                    <a:pt x="317" y="140"/>
                  </a:lnTo>
                  <a:lnTo>
                    <a:pt x="334" y="107"/>
                  </a:lnTo>
                  <a:lnTo>
                    <a:pt x="334" y="107"/>
                  </a:lnTo>
                  <a:lnTo>
                    <a:pt x="360" y="63"/>
                  </a:lnTo>
                  <a:lnTo>
                    <a:pt x="378" y="31"/>
                  </a:lnTo>
                  <a:lnTo>
                    <a:pt x="385" y="20"/>
                  </a:lnTo>
                  <a:lnTo>
                    <a:pt x="389" y="10"/>
                  </a:lnTo>
                  <a:lnTo>
                    <a:pt x="391" y="4"/>
                  </a:lnTo>
                  <a:lnTo>
                    <a:pt x="390" y="2"/>
                  </a:lnTo>
                  <a:lnTo>
                    <a:pt x="389" y="0"/>
                  </a:lnTo>
                  <a:lnTo>
                    <a:pt x="389" y="0"/>
                  </a:lnTo>
                  <a:lnTo>
                    <a:pt x="388" y="0"/>
                  </a:lnTo>
                  <a:lnTo>
                    <a:pt x="387" y="0"/>
                  </a:lnTo>
                  <a:lnTo>
                    <a:pt x="381" y="1"/>
                  </a:lnTo>
                  <a:lnTo>
                    <a:pt x="367" y="10"/>
                  </a:lnTo>
                  <a:lnTo>
                    <a:pt x="343" y="26"/>
                  </a:lnTo>
                  <a:lnTo>
                    <a:pt x="326" y="35"/>
                  </a:lnTo>
                  <a:lnTo>
                    <a:pt x="307" y="46"/>
                  </a:lnTo>
                  <a:lnTo>
                    <a:pt x="307" y="46"/>
                  </a:lnTo>
                  <a:lnTo>
                    <a:pt x="285" y="57"/>
                  </a:lnTo>
                  <a:lnTo>
                    <a:pt x="267" y="67"/>
                  </a:lnTo>
                  <a:lnTo>
                    <a:pt x="252" y="73"/>
                  </a:lnTo>
                  <a:lnTo>
                    <a:pt x="237" y="78"/>
                  </a:lnTo>
                  <a:lnTo>
                    <a:pt x="224" y="82"/>
                  </a:lnTo>
                  <a:lnTo>
                    <a:pt x="211" y="85"/>
                  </a:lnTo>
                  <a:lnTo>
                    <a:pt x="183" y="89"/>
                  </a:lnTo>
                  <a:lnTo>
                    <a:pt x="183" y="89"/>
                  </a:lnTo>
                  <a:lnTo>
                    <a:pt x="174" y="89"/>
                  </a:lnTo>
                  <a:lnTo>
                    <a:pt x="165" y="88"/>
                  </a:lnTo>
                  <a:lnTo>
                    <a:pt x="147" y="85"/>
                  </a:lnTo>
                  <a:lnTo>
                    <a:pt x="132" y="81"/>
                  </a:lnTo>
                  <a:lnTo>
                    <a:pt x="125" y="81"/>
                  </a:lnTo>
                  <a:lnTo>
                    <a:pt x="120" y="82"/>
                  </a:lnTo>
                  <a:lnTo>
                    <a:pt x="120" y="82"/>
                  </a:lnTo>
                  <a:lnTo>
                    <a:pt x="114" y="85"/>
                  </a:lnTo>
                  <a:lnTo>
                    <a:pt x="107" y="91"/>
                  </a:lnTo>
                  <a:lnTo>
                    <a:pt x="102" y="98"/>
                  </a:lnTo>
                  <a:lnTo>
                    <a:pt x="97" y="107"/>
                  </a:lnTo>
                  <a:lnTo>
                    <a:pt x="92" y="120"/>
                  </a:lnTo>
                  <a:lnTo>
                    <a:pt x="87" y="134"/>
                  </a:lnTo>
                  <a:lnTo>
                    <a:pt x="74" y="171"/>
                  </a:lnTo>
                  <a:lnTo>
                    <a:pt x="74" y="171"/>
                  </a:lnTo>
                  <a:lnTo>
                    <a:pt x="49" y="242"/>
                  </a:lnTo>
                  <a:lnTo>
                    <a:pt x="42" y="261"/>
                  </a:lnTo>
                  <a:lnTo>
                    <a:pt x="42" y="261"/>
                  </a:lnTo>
                  <a:lnTo>
                    <a:pt x="34" y="279"/>
                  </a:lnTo>
                  <a:lnTo>
                    <a:pt x="27" y="293"/>
                  </a:lnTo>
                  <a:lnTo>
                    <a:pt x="14" y="312"/>
                  </a:lnTo>
                  <a:lnTo>
                    <a:pt x="10" y="320"/>
                  </a:lnTo>
                  <a:lnTo>
                    <a:pt x="6" y="327"/>
                  </a:lnTo>
                  <a:lnTo>
                    <a:pt x="3" y="335"/>
                  </a:lnTo>
                  <a:lnTo>
                    <a:pt x="1" y="34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80" name="Freeform 33"/>
            <p:cNvSpPr>
              <a:spLocks/>
            </p:cNvSpPr>
            <p:nvPr userDrawn="1"/>
          </p:nvSpPr>
          <p:spPr bwMode="auto">
            <a:xfrm>
              <a:off x="5781921" y="449430"/>
              <a:ext cx="39687" cy="46038"/>
            </a:xfrm>
            <a:custGeom>
              <a:avLst/>
              <a:gdLst>
                <a:gd name="T0" fmla="*/ 103 w 296"/>
                <a:gd name="T1" fmla="*/ 350 h 350"/>
                <a:gd name="T2" fmla="*/ 103 w 296"/>
                <a:gd name="T3" fmla="*/ 350 h 350"/>
                <a:gd name="T4" fmla="*/ 132 w 296"/>
                <a:gd name="T5" fmla="*/ 349 h 350"/>
                <a:gd name="T6" fmla="*/ 164 w 296"/>
                <a:gd name="T7" fmla="*/ 346 h 350"/>
                <a:gd name="T8" fmla="*/ 196 w 296"/>
                <a:gd name="T9" fmla="*/ 343 h 350"/>
                <a:gd name="T10" fmla="*/ 226 w 296"/>
                <a:gd name="T11" fmla="*/ 339 h 350"/>
                <a:gd name="T12" fmla="*/ 276 w 296"/>
                <a:gd name="T13" fmla="*/ 333 h 350"/>
                <a:gd name="T14" fmla="*/ 296 w 296"/>
                <a:gd name="T15" fmla="*/ 329 h 350"/>
                <a:gd name="T16" fmla="*/ 293 w 296"/>
                <a:gd name="T17" fmla="*/ 25 h 350"/>
                <a:gd name="T18" fmla="*/ 293 w 296"/>
                <a:gd name="T19" fmla="*/ 25 h 350"/>
                <a:gd name="T20" fmla="*/ 244 w 296"/>
                <a:gd name="T21" fmla="*/ 18 h 350"/>
                <a:gd name="T22" fmla="*/ 142 w 296"/>
                <a:gd name="T23" fmla="*/ 2 h 350"/>
                <a:gd name="T24" fmla="*/ 142 w 296"/>
                <a:gd name="T25" fmla="*/ 2 h 350"/>
                <a:gd name="T26" fmla="*/ 129 w 296"/>
                <a:gd name="T27" fmla="*/ 1 h 350"/>
                <a:gd name="T28" fmla="*/ 117 w 296"/>
                <a:gd name="T29" fmla="*/ 0 h 350"/>
                <a:gd name="T30" fmla="*/ 105 w 296"/>
                <a:gd name="T31" fmla="*/ 0 h 350"/>
                <a:gd name="T32" fmla="*/ 94 w 296"/>
                <a:gd name="T33" fmla="*/ 1 h 350"/>
                <a:gd name="T34" fmla="*/ 84 w 296"/>
                <a:gd name="T35" fmla="*/ 3 h 350"/>
                <a:gd name="T36" fmla="*/ 75 w 296"/>
                <a:gd name="T37" fmla="*/ 6 h 350"/>
                <a:gd name="T38" fmla="*/ 66 w 296"/>
                <a:gd name="T39" fmla="*/ 9 h 350"/>
                <a:gd name="T40" fmla="*/ 59 w 296"/>
                <a:gd name="T41" fmla="*/ 13 h 350"/>
                <a:gd name="T42" fmla="*/ 51 w 296"/>
                <a:gd name="T43" fmla="*/ 17 h 350"/>
                <a:gd name="T44" fmla="*/ 44 w 296"/>
                <a:gd name="T45" fmla="*/ 22 h 350"/>
                <a:gd name="T46" fmla="*/ 38 w 296"/>
                <a:gd name="T47" fmla="*/ 27 h 350"/>
                <a:gd name="T48" fmla="*/ 33 w 296"/>
                <a:gd name="T49" fmla="*/ 32 h 350"/>
                <a:gd name="T50" fmla="*/ 24 w 296"/>
                <a:gd name="T51" fmla="*/ 45 h 350"/>
                <a:gd name="T52" fmla="*/ 17 w 296"/>
                <a:gd name="T53" fmla="*/ 57 h 350"/>
                <a:gd name="T54" fmla="*/ 11 w 296"/>
                <a:gd name="T55" fmla="*/ 70 h 350"/>
                <a:gd name="T56" fmla="*/ 6 w 296"/>
                <a:gd name="T57" fmla="*/ 83 h 350"/>
                <a:gd name="T58" fmla="*/ 3 w 296"/>
                <a:gd name="T59" fmla="*/ 96 h 350"/>
                <a:gd name="T60" fmla="*/ 1 w 296"/>
                <a:gd name="T61" fmla="*/ 106 h 350"/>
                <a:gd name="T62" fmla="*/ 0 w 296"/>
                <a:gd name="T63" fmla="*/ 123 h 350"/>
                <a:gd name="T64" fmla="*/ 0 w 296"/>
                <a:gd name="T65" fmla="*/ 129 h 350"/>
                <a:gd name="T66" fmla="*/ 4 w 296"/>
                <a:gd name="T67" fmla="*/ 213 h 350"/>
                <a:gd name="T68" fmla="*/ 4 w 296"/>
                <a:gd name="T69" fmla="*/ 213 h 350"/>
                <a:gd name="T70" fmla="*/ 4 w 296"/>
                <a:gd name="T71" fmla="*/ 219 h 350"/>
                <a:gd name="T72" fmla="*/ 6 w 296"/>
                <a:gd name="T73" fmla="*/ 235 h 350"/>
                <a:gd name="T74" fmla="*/ 11 w 296"/>
                <a:gd name="T75" fmla="*/ 256 h 350"/>
                <a:gd name="T76" fmla="*/ 15 w 296"/>
                <a:gd name="T77" fmla="*/ 268 h 350"/>
                <a:gd name="T78" fmla="*/ 19 w 296"/>
                <a:gd name="T79" fmla="*/ 282 h 350"/>
                <a:gd name="T80" fmla="*/ 24 w 296"/>
                <a:gd name="T81" fmla="*/ 294 h 350"/>
                <a:gd name="T82" fmla="*/ 31 w 296"/>
                <a:gd name="T83" fmla="*/ 306 h 350"/>
                <a:gd name="T84" fmla="*/ 39 w 296"/>
                <a:gd name="T85" fmla="*/ 319 h 350"/>
                <a:gd name="T86" fmla="*/ 48 w 296"/>
                <a:gd name="T87" fmla="*/ 329 h 350"/>
                <a:gd name="T88" fmla="*/ 53 w 296"/>
                <a:gd name="T89" fmla="*/ 333 h 350"/>
                <a:gd name="T90" fmla="*/ 60 w 296"/>
                <a:gd name="T91" fmla="*/ 337 h 350"/>
                <a:gd name="T92" fmla="*/ 66 w 296"/>
                <a:gd name="T93" fmla="*/ 341 h 350"/>
                <a:gd name="T94" fmla="*/ 72 w 296"/>
                <a:gd name="T95" fmla="*/ 344 h 350"/>
                <a:gd name="T96" fmla="*/ 79 w 296"/>
                <a:gd name="T97" fmla="*/ 346 h 350"/>
                <a:gd name="T98" fmla="*/ 86 w 296"/>
                <a:gd name="T99" fmla="*/ 348 h 350"/>
                <a:gd name="T100" fmla="*/ 94 w 296"/>
                <a:gd name="T101" fmla="*/ 349 h 350"/>
                <a:gd name="T102" fmla="*/ 103 w 296"/>
                <a:gd name="T103" fmla="*/ 35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96" h="350">
                  <a:moveTo>
                    <a:pt x="103" y="350"/>
                  </a:moveTo>
                  <a:lnTo>
                    <a:pt x="103" y="350"/>
                  </a:lnTo>
                  <a:lnTo>
                    <a:pt x="132" y="349"/>
                  </a:lnTo>
                  <a:lnTo>
                    <a:pt x="164" y="346"/>
                  </a:lnTo>
                  <a:lnTo>
                    <a:pt x="196" y="343"/>
                  </a:lnTo>
                  <a:lnTo>
                    <a:pt x="226" y="339"/>
                  </a:lnTo>
                  <a:lnTo>
                    <a:pt x="276" y="333"/>
                  </a:lnTo>
                  <a:lnTo>
                    <a:pt x="296" y="329"/>
                  </a:lnTo>
                  <a:lnTo>
                    <a:pt x="293" y="25"/>
                  </a:lnTo>
                  <a:lnTo>
                    <a:pt x="293" y="25"/>
                  </a:lnTo>
                  <a:lnTo>
                    <a:pt x="244" y="18"/>
                  </a:lnTo>
                  <a:lnTo>
                    <a:pt x="142" y="2"/>
                  </a:lnTo>
                  <a:lnTo>
                    <a:pt x="142" y="2"/>
                  </a:lnTo>
                  <a:lnTo>
                    <a:pt x="129" y="1"/>
                  </a:lnTo>
                  <a:lnTo>
                    <a:pt x="117" y="0"/>
                  </a:lnTo>
                  <a:lnTo>
                    <a:pt x="105" y="0"/>
                  </a:lnTo>
                  <a:lnTo>
                    <a:pt x="94" y="1"/>
                  </a:lnTo>
                  <a:lnTo>
                    <a:pt x="84" y="3"/>
                  </a:lnTo>
                  <a:lnTo>
                    <a:pt x="75" y="6"/>
                  </a:lnTo>
                  <a:lnTo>
                    <a:pt x="66" y="9"/>
                  </a:lnTo>
                  <a:lnTo>
                    <a:pt x="59" y="13"/>
                  </a:lnTo>
                  <a:lnTo>
                    <a:pt x="51" y="17"/>
                  </a:lnTo>
                  <a:lnTo>
                    <a:pt x="44" y="22"/>
                  </a:lnTo>
                  <a:lnTo>
                    <a:pt x="38" y="27"/>
                  </a:lnTo>
                  <a:lnTo>
                    <a:pt x="33" y="32"/>
                  </a:lnTo>
                  <a:lnTo>
                    <a:pt x="24" y="45"/>
                  </a:lnTo>
                  <a:lnTo>
                    <a:pt x="17" y="57"/>
                  </a:lnTo>
                  <a:lnTo>
                    <a:pt x="11" y="70"/>
                  </a:lnTo>
                  <a:lnTo>
                    <a:pt x="6" y="83"/>
                  </a:lnTo>
                  <a:lnTo>
                    <a:pt x="3" y="96"/>
                  </a:lnTo>
                  <a:lnTo>
                    <a:pt x="1" y="106"/>
                  </a:lnTo>
                  <a:lnTo>
                    <a:pt x="0" y="123"/>
                  </a:lnTo>
                  <a:lnTo>
                    <a:pt x="0" y="129"/>
                  </a:lnTo>
                  <a:lnTo>
                    <a:pt x="4" y="213"/>
                  </a:lnTo>
                  <a:lnTo>
                    <a:pt x="4" y="213"/>
                  </a:lnTo>
                  <a:lnTo>
                    <a:pt x="4" y="219"/>
                  </a:lnTo>
                  <a:lnTo>
                    <a:pt x="6" y="235"/>
                  </a:lnTo>
                  <a:lnTo>
                    <a:pt x="11" y="256"/>
                  </a:lnTo>
                  <a:lnTo>
                    <a:pt x="15" y="268"/>
                  </a:lnTo>
                  <a:lnTo>
                    <a:pt x="19" y="282"/>
                  </a:lnTo>
                  <a:lnTo>
                    <a:pt x="24" y="294"/>
                  </a:lnTo>
                  <a:lnTo>
                    <a:pt x="31" y="306"/>
                  </a:lnTo>
                  <a:lnTo>
                    <a:pt x="39" y="319"/>
                  </a:lnTo>
                  <a:lnTo>
                    <a:pt x="48" y="329"/>
                  </a:lnTo>
                  <a:lnTo>
                    <a:pt x="53" y="333"/>
                  </a:lnTo>
                  <a:lnTo>
                    <a:pt x="60" y="337"/>
                  </a:lnTo>
                  <a:lnTo>
                    <a:pt x="66" y="341"/>
                  </a:lnTo>
                  <a:lnTo>
                    <a:pt x="72" y="344"/>
                  </a:lnTo>
                  <a:lnTo>
                    <a:pt x="79" y="346"/>
                  </a:lnTo>
                  <a:lnTo>
                    <a:pt x="86" y="348"/>
                  </a:lnTo>
                  <a:lnTo>
                    <a:pt x="94" y="349"/>
                  </a:lnTo>
                  <a:lnTo>
                    <a:pt x="103" y="35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81" name="Freeform 34"/>
            <p:cNvSpPr>
              <a:spLocks/>
            </p:cNvSpPr>
            <p:nvPr userDrawn="1"/>
          </p:nvSpPr>
          <p:spPr bwMode="auto">
            <a:xfrm>
              <a:off x="5829546" y="438318"/>
              <a:ext cx="60325" cy="57150"/>
            </a:xfrm>
            <a:custGeom>
              <a:avLst/>
              <a:gdLst>
                <a:gd name="T0" fmla="*/ 450 w 450"/>
                <a:gd name="T1" fmla="*/ 290 h 425"/>
                <a:gd name="T2" fmla="*/ 450 w 450"/>
                <a:gd name="T3" fmla="*/ 225 h 425"/>
                <a:gd name="T4" fmla="*/ 449 w 450"/>
                <a:gd name="T5" fmla="*/ 54 h 425"/>
                <a:gd name="T6" fmla="*/ 444 w 450"/>
                <a:gd name="T7" fmla="*/ 20 h 425"/>
                <a:gd name="T8" fmla="*/ 436 w 450"/>
                <a:gd name="T9" fmla="*/ 3 h 425"/>
                <a:gd name="T10" fmla="*/ 429 w 450"/>
                <a:gd name="T11" fmla="*/ 0 h 425"/>
                <a:gd name="T12" fmla="*/ 367 w 450"/>
                <a:gd name="T13" fmla="*/ 2 h 425"/>
                <a:gd name="T14" fmla="*/ 362 w 450"/>
                <a:gd name="T15" fmla="*/ 14 h 425"/>
                <a:gd name="T16" fmla="*/ 347 w 450"/>
                <a:gd name="T17" fmla="*/ 59 h 425"/>
                <a:gd name="T18" fmla="*/ 325 w 450"/>
                <a:gd name="T19" fmla="*/ 2 h 425"/>
                <a:gd name="T20" fmla="*/ 261 w 450"/>
                <a:gd name="T21" fmla="*/ 2 h 425"/>
                <a:gd name="T22" fmla="*/ 242 w 450"/>
                <a:gd name="T23" fmla="*/ 16 h 425"/>
                <a:gd name="T24" fmla="*/ 224 w 450"/>
                <a:gd name="T25" fmla="*/ 64 h 425"/>
                <a:gd name="T26" fmla="*/ 192 w 450"/>
                <a:gd name="T27" fmla="*/ 4 h 425"/>
                <a:gd name="T28" fmla="*/ 135 w 450"/>
                <a:gd name="T29" fmla="*/ 6 h 425"/>
                <a:gd name="T30" fmla="*/ 127 w 450"/>
                <a:gd name="T31" fmla="*/ 11 h 425"/>
                <a:gd name="T32" fmla="*/ 110 w 450"/>
                <a:gd name="T33" fmla="*/ 53 h 425"/>
                <a:gd name="T34" fmla="*/ 86 w 450"/>
                <a:gd name="T35" fmla="*/ 6 h 425"/>
                <a:gd name="T36" fmla="*/ 38 w 450"/>
                <a:gd name="T37" fmla="*/ 6 h 425"/>
                <a:gd name="T38" fmla="*/ 25 w 450"/>
                <a:gd name="T39" fmla="*/ 10 h 425"/>
                <a:gd name="T40" fmla="*/ 10 w 450"/>
                <a:gd name="T41" fmla="*/ 28 h 425"/>
                <a:gd name="T42" fmla="*/ 1 w 450"/>
                <a:gd name="T43" fmla="*/ 55 h 425"/>
                <a:gd name="T44" fmla="*/ 1 w 450"/>
                <a:gd name="T45" fmla="*/ 141 h 425"/>
                <a:gd name="T46" fmla="*/ 5 w 450"/>
                <a:gd name="T47" fmla="*/ 324 h 425"/>
                <a:gd name="T48" fmla="*/ 27 w 450"/>
                <a:gd name="T49" fmla="*/ 401 h 425"/>
                <a:gd name="T50" fmla="*/ 54 w 450"/>
                <a:gd name="T51" fmla="*/ 396 h 425"/>
                <a:gd name="T52" fmla="*/ 74 w 450"/>
                <a:gd name="T53" fmla="*/ 384 h 425"/>
                <a:gd name="T54" fmla="*/ 83 w 450"/>
                <a:gd name="T55" fmla="*/ 374 h 425"/>
                <a:gd name="T56" fmla="*/ 100 w 450"/>
                <a:gd name="T57" fmla="*/ 341 h 425"/>
                <a:gd name="T58" fmla="*/ 105 w 450"/>
                <a:gd name="T59" fmla="*/ 317 h 425"/>
                <a:gd name="T60" fmla="*/ 105 w 450"/>
                <a:gd name="T61" fmla="*/ 367 h 425"/>
                <a:gd name="T62" fmla="*/ 108 w 450"/>
                <a:gd name="T63" fmla="*/ 420 h 425"/>
                <a:gd name="T64" fmla="*/ 116 w 450"/>
                <a:gd name="T65" fmla="*/ 424 h 425"/>
                <a:gd name="T66" fmla="*/ 150 w 450"/>
                <a:gd name="T67" fmla="*/ 423 h 425"/>
                <a:gd name="T68" fmla="*/ 176 w 450"/>
                <a:gd name="T69" fmla="*/ 412 h 425"/>
                <a:gd name="T70" fmla="*/ 189 w 450"/>
                <a:gd name="T71" fmla="*/ 402 h 425"/>
                <a:gd name="T72" fmla="*/ 209 w 450"/>
                <a:gd name="T73" fmla="*/ 368 h 425"/>
                <a:gd name="T74" fmla="*/ 224 w 450"/>
                <a:gd name="T75" fmla="*/ 317 h 425"/>
                <a:gd name="T76" fmla="*/ 225 w 450"/>
                <a:gd name="T77" fmla="*/ 381 h 425"/>
                <a:gd name="T78" fmla="*/ 229 w 450"/>
                <a:gd name="T79" fmla="*/ 419 h 425"/>
                <a:gd name="T80" fmla="*/ 237 w 450"/>
                <a:gd name="T81" fmla="*/ 421 h 425"/>
                <a:gd name="T82" fmla="*/ 266 w 450"/>
                <a:gd name="T83" fmla="*/ 418 h 425"/>
                <a:gd name="T84" fmla="*/ 300 w 450"/>
                <a:gd name="T85" fmla="*/ 405 h 425"/>
                <a:gd name="T86" fmla="*/ 309 w 450"/>
                <a:gd name="T87" fmla="*/ 397 h 425"/>
                <a:gd name="T88" fmla="*/ 331 w 450"/>
                <a:gd name="T89" fmla="*/ 367 h 425"/>
                <a:gd name="T90" fmla="*/ 342 w 450"/>
                <a:gd name="T91" fmla="*/ 334 h 425"/>
                <a:gd name="T92" fmla="*/ 345 w 450"/>
                <a:gd name="T93" fmla="*/ 346 h 425"/>
                <a:gd name="T94" fmla="*/ 348 w 450"/>
                <a:gd name="T95" fmla="*/ 391 h 425"/>
                <a:gd name="T96" fmla="*/ 379 w 450"/>
                <a:gd name="T97" fmla="*/ 386 h 425"/>
                <a:gd name="T98" fmla="*/ 404 w 450"/>
                <a:gd name="T99" fmla="*/ 375 h 425"/>
                <a:gd name="T100" fmla="*/ 425 w 450"/>
                <a:gd name="T101" fmla="*/ 360 h 425"/>
                <a:gd name="T102" fmla="*/ 439 w 450"/>
                <a:gd name="T103" fmla="*/ 342 h 425"/>
                <a:gd name="T104" fmla="*/ 448 w 450"/>
                <a:gd name="T105" fmla="*/ 311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50" h="425">
                  <a:moveTo>
                    <a:pt x="448" y="311"/>
                  </a:moveTo>
                  <a:lnTo>
                    <a:pt x="448" y="311"/>
                  </a:lnTo>
                  <a:lnTo>
                    <a:pt x="450" y="290"/>
                  </a:lnTo>
                  <a:lnTo>
                    <a:pt x="450" y="268"/>
                  </a:lnTo>
                  <a:lnTo>
                    <a:pt x="450" y="225"/>
                  </a:lnTo>
                  <a:lnTo>
                    <a:pt x="450" y="225"/>
                  </a:lnTo>
                  <a:lnTo>
                    <a:pt x="449" y="64"/>
                  </a:lnTo>
                  <a:lnTo>
                    <a:pt x="449" y="64"/>
                  </a:lnTo>
                  <a:lnTo>
                    <a:pt x="449" y="54"/>
                  </a:lnTo>
                  <a:lnTo>
                    <a:pt x="448" y="44"/>
                  </a:lnTo>
                  <a:lnTo>
                    <a:pt x="447" y="33"/>
                  </a:lnTo>
                  <a:lnTo>
                    <a:pt x="444" y="20"/>
                  </a:lnTo>
                  <a:lnTo>
                    <a:pt x="441" y="10"/>
                  </a:lnTo>
                  <a:lnTo>
                    <a:pt x="439" y="6"/>
                  </a:lnTo>
                  <a:lnTo>
                    <a:pt x="436" y="3"/>
                  </a:lnTo>
                  <a:lnTo>
                    <a:pt x="433" y="1"/>
                  </a:lnTo>
                  <a:lnTo>
                    <a:pt x="429" y="0"/>
                  </a:lnTo>
                  <a:lnTo>
                    <a:pt x="429" y="0"/>
                  </a:lnTo>
                  <a:lnTo>
                    <a:pt x="396" y="0"/>
                  </a:lnTo>
                  <a:lnTo>
                    <a:pt x="378" y="1"/>
                  </a:lnTo>
                  <a:lnTo>
                    <a:pt x="367" y="2"/>
                  </a:lnTo>
                  <a:lnTo>
                    <a:pt x="367" y="2"/>
                  </a:lnTo>
                  <a:lnTo>
                    <a:pt x="364" y="7"/>
                  </a:lnTo>
                  <a:lnTo>
                    <a:pt x="362" y="14"/>
                  </a:lnTo>
                  <a:lnTo>
                    <a:pt x="356" y="33"/>
                  </a:lnTo>
                  <a:lnTo>
                    <a:pt x="350" y="52"/>
                  </a:lnTo>
                  <a:lnTo>
                    <a:pt x="347" y="59"/>
                  </a:lnTo>
                  <a:lnTo>
                    <a:pt x="345" y="64"/>
                  </a:lnTo>
                  <a:lnTo>
                    <a:pt x="325" y="2"/>
                  </a:lnTo>
                  <a:lnTo>
                    <a:pt x="325" y="2"/>
                  </a:lnTo>
                  <a:lnTo>
                    <a:pt x="309" y="1"/>
                  </a:lnTo>
                  <a:lnTo>
                    <a:pt x="286" y="1"/>
                  </a:lnTo>
                  <a:lnTo>
                    <a:pt x="261" y="2"/>
                  </a:lnTo>
                  <a:lnTo>
                    <a:pt x="247" y="4"/>
                  </a:lnTo>
                  <a:lnTo>
                    <a:pt x="247" y="4"/>
                  </a:lnTo>
                  <a:lnTo>
                    <a:pt x="242" y="16"/>
                  </a:lnTo>
                  <a:lnTo>
                    <a:pt x="236" y="34"/>
                  </a:lnTo>
                  <a:lnTo>
                    <a:pt x="229" y="52"/>
                  </a:lnTo>
                  <a:lnTo>
                    <a:pt x="224" y="64"/>
                  </a:lnTo>
                  <a:lnTo>
                    <a:pt x="205" y="5"/>
                  </a:lnTo>
                  <a:lnTo>
                    <a:pt x="205" y="5"/>
                  </a:lnTo>
                  <a:lnTo>
                    <a:pt x="192" y="4"/>
                  </a:lnTo>
                  <a:lnTo>
                    <a:pt x="168" y="4"/>
                  </a:lnTo>
                  <a:lnTo>
                    <a:pt x="144" y="5"/>
                  </a:lnTo>
                  <a:lnTo>
                    <a:pt x="135" y="6"/>
                  </a:lnTo>
                  <a:lnTo>
                    <a:pt x="131" y="6"/>
                  </a:lnTo>
                  <a:lnTo>
                    <a:pt x="131" y="6"/>
                  </a:lnTo>
                  <a:lnTo>
                    <a:pt x="127" y="11"/>
                  </a:lnTo>
                  <a:lnTo>
                    <a:pt x="124" y="18"/>
                  </a:lnTo>
                  <a:lnTo>
                    <a:pt x="117" y="36"/>
                  </a:lnTo>
                  <a:lnTo>
                    <a:pt x="110" y="53"/>
                  </a:lnTo>
                  <a:lnTo>
                    <a:pt x="105" y="64"/>
                  </a:lnTo>
                  <a:lnTo>
                    <a:pt x="86" y="6"/>
                  </a:lnTo>
                  <a:lnTo>
                    <a:pt x="86" y="6"/>
                  </a:lnTo>
                  <a:lnTo>
                    <a:pt x="69" y="6"/>
                  </a:lnTo>
                  <a:lnTo>
                    <a:pt x="38" y="6"/>
                  </a:lnTo>
                  <a:lnTo>
                    <a:pt x="38" y="6"/>
                  </a:lnTo>
                  <a:lnTo>
                    <a:pt x="33" y="7"/>
                  </a:lnTo>
                  <a:lnTo>
                    <a:pt x="29" y="8"/>
                  </a:lnTo>
                  <a:lnTo>
                    <a:pt x="25" y="10"/>
                  </a:lnTo>
                  <a:lnTo>
                    <a:pt x="21" y="12"/>
                  </a:lnTo>
                  <a:lnTo>
                    <a:pt x="15" y="19"/>
                  </a:lnTo>
                  <a:lnTo>
                    <a:pt x="10" y="28"/>
                  </a:lnTo>
                  <a:lnTo>
                    <a:pt x="5" y="36"/>
                  </a:lnTo>
                  <a:lnTo>
                    <a:pt x="2" y="46"/>
                  </a:lnTo>
                  <a:lnTo>
                    <a:pt x="1" y="55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1" y="141"/>
                  </a:lnTo>
                  <a:lnTo>
                    <a:pt x="2" y="220"/>
                  </a:lnTo>
                  <a:lnTo>
                    <a:pt x="2" y="220"/>
                  </a:lnTo>
                  <a:lnTo>
                    <a:pt x="5" y="324"/>
                  </a:lnTo>
                  <a:lnTo>
                    <a:pt x="8" y="402"/>
                  </a:lnTo>
                  <a:lnTo>
                    <a:pt x="8" y="402"/>
                  </a:lnTo>
                  <a:lnTo>
                    <a:pt x="27" y="401"/>
                  </a:lnTo>
                  <a:lnTo>
                    <a:pt x="37" y="399"/>
                  </a:lnTo>
                  <a:lnTo>
                    <a:pt x="45" y="398"/>
                  </a:lnTo>
                  <a:lnTo>
                    <a:pt x="54" y="396"/>
                  </a:lnTo>
                  <a:lnTo>
                    <a:pt x="62" y="393"/>
                  </a:lnTo>
                  <a:lnTo>
                    <a:pt x="68" y="388"/>
                  </a:lnTo>
                  <a:lnTo>
                    <a:pt x="74" y="384"/>
                  </a:lnTo>
                  <a:lnTo>
                    <a:pt x="74" y="384"/>
                  </a:lnTo>
                  <a:lnTo>
                    <a:pt x="79" y="379"/>
                  </a:lnTo>
                  <a:lnTo>
                    <a:pt x="83" y="374"/>
                  </a:lnTo>
                  <a:lnTo>
                    <a:pt x="90" y="363"/>
                  </a:lnTo>
                  <a:lnTo>
                    <a:pt x="95" y="352"/>
                  </a:lnTo>
                  <a:lnTo>
                    <a:pt x="100" y="341"/>
                  </a:lnTo>
                  <a:lnTo>
                    <a:pt x="103" y="331"/>
                  </a:lnTo>
                  <a:lnTo>
                    <a:pt x="104" y="324"/>
                  </a:lnTo>
                  <a:lnTo>
                    <a:pt x="105" y="317"/>
                  </a:lnTo>
                  <a:lnTo>
                    <a:pt x="105" y="317"/>
                  </a:lnTo>
                  <a:lnTo>
                    <a:pt x="105" y="337"/>
                  </a:lnTo>
                  <a:lnTo>
                    <a:pt x="105" y="367"/>
                  </a:lnTo>
                  <a:lnTo>
                    <a:pt x="106" y="397"/>
                  </a:lnTo>
                  <a:lnTo>
                    <a:pt x="108" y="420"/>
                  </a:lnTo>
                  <a:lnTo>
                    <a:pt x="108" y="420"/>
                  </a:lnTo>
                  <a:lnTo>
                    <a:pt x="108" y="421"/>
                  </a:lnTo>
                  <a:lnTo>
                    <a:pt x="110" y="422"/>
                  </a:lnTo>
                  <a:lnTo>
                    <a:pt x="116" y="424"/>
                  </a:lnTo>
                  <a:lnTo>
                    <a:pt x="125" y="425"/>
                  </a:lnTo>
                  <a:lnTo>
                    <a:pt x="136" y="425"/>
                  </a:lnTo>
                  <a:lnTo>
                    <a:pt x="150" y="423"/>
                  </a:lnTo>
                  <a:lnTo>
                    <a:pt x="163" y="418"/>
                  </a:lnTo>
                  <a:lnTo>
                    <a:pt x="169" y="415"/>
                  </a:lnTo>
                  <a:lnTo>
                    <a:pt x="176" y="412"/>
                  </a:lnTo>
                  <a:lnTo>
                    <a:pt x="182" y="407"/>
                  </a:lnTo>
                  <a:lnTo>
                    <a:pt x="189" y="402"/>
                  </a:lnTo>
                  <a:lnTo>
                    <a:pt x="189" y="402"/>
                  </a:lnTo>
                  <a:lnTo>
                    <a:pt x="197" y="392"/>
                  </a:lnTo>
                  <a:lnTo>
                    <a:pt x="204" y="380"/>
                  </a:lnTo>
                  <a:lnTo>
                    <a:pt x="209" y="368"/>
                  </a:lnTo>
                  <a:lnTo>
                    <a:pt x="213" y="356"/>
                  </a:lnTo>
                  <a:lnTo>
                    <a:pt x="220" y="333"/>
                  </a:lnTo>
                  <a:lnTo>
                    <a:pt x="224" y="317"/>
                  </a:lnTo>
                  <a:lnTo>
                    <a:pt x="224" y="317"/>
                  </a:lnTo>
                  <a:lnTo>
                    <a:pt x="224" y="348"/>
                  </a:lnTo>
                  <a:lnTo>
                    <a:pt x="225" y="381"/>
                  </a:lnTo>
                  <a:lnTo>
                    <a:pt x="227" y="408"/>
                  </a:lnTo>
                  <a:lnTo>
                    <a:pt x="228" y="417"/>
                  </a:lnTo>
                  <a:lnTo>
                    <a:pt x="229" y="419"/>
                  </a:lnTo>
                  <a:lnTo>
                    <a:pt x="230" y="420"/>
                  </a:lnTo>
                  <a:lnTo>
                    <a:pt x="230" y="420"/>
                  </a:lnTo>
                  <a:lnTo>
                    <a:pt x="237" y="421"/>
                  </a:lnTo>
                  <a:lnTo>
                    <a:pt x="245" y="421"/>
                  </a:lnTo>
                  <a:lnTo>
                    <a:pt x="255" y="420"/>
                  </a:lnTo>
                  <a:lnTo>
                    <a:pt x="266" y="418"/>
                  </a:lnTo>
                  <a:lnTo>
                    <a:pt x="277" y="415"/>
                  </a:lnTo>
                  <a:lnTo>
                    <a:pt x="289" y="411"/>
                  </a:lnTo>
                  <a:lnTo>
                    <a:pt x="300" y="405"/>
                  </a:lnTo>
                  <a:lnTo>
                    <a:pt x="305" y="401"/>
                  </a:lnTo>
                  <a:lnTo>
                    <a:pt x="309" y="397"/>
                  </a:lnTo>
                  <a:lnTo>
                    <a:pt x="309" y="397"/>
                  </a:lnTo>
                  <a:lnTo>
                    <a:pt x="317" y="387"/>
                  </a:lnTo>
                  <a:lnTo>
                    <a:pt x="325" y="377"/>
                  </a:lnTo>
                  <a:lnTo>
                    <a:pt x="331" y="367"/>
                  </a:lnTo>
                  <a:lnTo>
                    <a:pt x="336" y="356"/>
                  </a:lnTo>
                  <a:lnTo>
                    <a:pt x="339" y="345"/>
                  </a:lnTo>
                  <a:lnTo>
                    <a:pt x="342" y="334"/>
                  </a:lnTo>
                  <a:lnTo>
                    <a:pt x="345" y="317"/>
                  </a:lnTo>
                  <a:lnTo>
                    <a:pt x="345" y="317"/>
                  </a:lnTo>
                  <a:lnTo>
                    <a:pt x="345" y="346"/>
                  </a:lnTo>
                  <a:lnTo>
                    <a:pt x="346" y="370"/>
                  </a:lnTo>
                  <a:lnTo>
                    <a:pt x="348" y="391"/>
                  </a:lnTo>
                  <a:lnTo>
                    <a:pt x="348" y="391"/>
                  </a:lnTo>
                  <a:lnTo>
                    <a:pt x="362" y="390"/>
                  </a:lnTo>
                  <a:lnTo>
                    <a:pt x="371" y="388"/>
                  </a:lnTo>
                  <a:lnTo>
                    <a:pt x="379" y="386"/>
                  </a:lnTo>
                  <a:lnTo>
                    <a:pt x="379" y="386"/>
                  </a:lnTo>
                  <a:lnTo>
                    <a:pt x="393" y="380"/>
                  </a:lnTo>
                  <a:lnTo>
                    <a:pt x="404" y="375"/>
                  </a:lnTo>
                  <a:lnTo>
                    <a:pt x="415" y="368"/>
                  </a:lnTo>
                  <a:lnTo>
                    <a:pt x="415" y="368"/>
                  </a:lnTo>
                  <a:lnTo>
                    <a:pt x="425" y="360"/>
                  </a:lnTo>
                  <a:lnTo>
                    <a:pt x="430" y="355"/>
                  </a:lnTo>
                  <a:lnTo>
                    <a:pt x="435" y="349"/>
                  </a:lnTo>
                  <a:lnTo>
                    <a:pt x="439" y="342"/>
                  </a:lnTo>
                  <a:lnTo>
                    <a:pt x="443" y="333"/>
                  </a:lnTo>
                  <a:lnTo>
                    <a:pt x="446" y="323"/>
                  </a:lnTo>
                  <a:lnTo>
                    <a:pt x="448" y="311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82" name="Freeform 35"/>
            <p:cNvSpPr>
              <a:spLocks/>
            </p:cNvSpPr>
            <p:nvPr userDrawn="1"/>
          </p:nvSpPr>
          <p:spPr bwMode="auto">
            <a:xfrm>
              <a:off x="5837484" y="441492"/>
              <a:ext cx="73026" cy="80964"/>
            </a:xfrm>
            <a:custGeom>
              <a:avLst/>
              <a:gdLst>
                <a:gd name="T0" fmla="*/ 554 w 554"/>
                <a:gd name="T1" fmla="*/ 356 h 620"/>
                <a:gd name="T2" fmla="*/ 549 w 554"/>
                <a:gd name="T3" fmla="*/ 350 h 620"/>
                <a:gd name="T4" fmla="*/ 535 w 554"/>
                <a:gd name="T5" fmla="*/ 331 h 620"/>
                <a:gd name="T6" fmla="*/ 525 w 554"/>
                <a:gd name="T7" fmla="*/ 306 h 620"/>
                <a:gd name="T8" fmla="*/ 520 w 554"/>
                <a:gd name="T9" fmla="*/ 285 h 620"/>
                <a:gd name="T10" fmla="*/ 516 w 554"/>
                <a:gd name="T11" fmla="*/ 258 h 620"/>
                <a:gd name="T12" fmla="*/ 515 w 554"/>
                <a:gd name="T13" fmla="*/ 243 h 620"/>
                <a:gd name="T14" fmla="*/ 516 w 554"/>
                <a:gd name="T15" fmla="*/ 222 h 620"/>
                <a:gd name="T16" fmla="*/ 520 w 554"/>
                <a:gd name="T17" fmla="*/ 202 h 620"/>
                <a:gd name="T18" fmla="*/ 532 w 554"/>
                <a:gd name="T19" fmla="*/ 167 h 620"/>
                <a:gd name="T20" fmla="*/ 546 w 554"/>
                <a:gd name="T21" fmla="*/ 142 h 620"/>
                <a:gd name="T22" fmla="*/ 551 w 554"/>
                <a:gd name="T23" fmla="*/ 43 h 620"/>
                <a:gd name="T24" fmla="*/ 542 w 554"/>
                <a:gd name="T25" fmla="*/ 36 h 620"/>
                <a:gd name="T26" fmla="*/ 504 w 554"/>
                <a:gd name="T27" fmla="*/ 13 h 620"/>
                <a:gd name="T28" fmla="*/ 482 w 554"/>
                <a:gd name="T29" fmla="*/ 2 h 620"/>
                <a:gd name="T30" fmla="*/ 470 w 554"/>
                <a:gd name="T31" fmla="*/ 0 h 620"/>
                <a:gd name="T32" fmla="*/ 465 w 554"/>
                <a:gd name="T33" fmla="*/ 327 h 620"/>
                <a:gd name="T34" fmla="*/ 465 w 554"/>
                <a:gd name="T35" fmla="*/ 339 h 620"/>
                <a:gd name="T36" fmla="*/ 458 w 554"/>
                <a:gd name="T37" fmla="*/ 360 h 620"/>
                <a:gd name="T38" fmla="*/ 444 w 554"/>
                <a:gd name="T39" fmla="*/ 382 h 620"/>
                <a:gd name="T40" fmla="*/ 426 w 554"/>
                <a:gd name="T41" fmla="*/ 402 h 620"/>
                <a:gd name="T42" fmla="*/ 405 w 554"/>
                <a:gd name="T43" fmla="*/ 421 h 620"/>
                <a:gd name="T44" fmla="*/ 380 w 554"/>
                <a:gd name="T45" fmla="*/ 437 h 620"/>
                <a:gd name="T46" fmla="*/ 353 w 554"/>
                <a:gd name="T47" fmla="*/ 449 h 620"/>
                <a:gd name="T48" fmla="*/ 327 w 554"/>
                <a:gd name="T49" fmla="*/ 458 h 620"/>
                <a:gd name="T50" fmla="*/ 314 w 554"/>
                <a:gd name="T51" fmla="*/ 461 h 620"/>
                <a:gd name="T52" fmla="*/ 255 w 554"/>
                <a:gd name="T53" fmla="*/ 471 h 620"/>
                <a:gd name="T54" fmla="*/ 199 w 554"/>
                <a:gd name="T55" fmla="*/ 477 h 620"/>
                <a:gd name="T56" fmla="*/ 98 w 554"/>
                <a:gd name="T57" fmla="*/ 482 h 620"/>
                <a:gd name="T58" fmla="*/ 27 w 554"/>
                <a:gd name="T59" fmla="*/ 482 h 620"/>
                <a:gd name="T60" fmla="*/ 0 w 554"/>
                <a:gd name="T61" fmla="*/ 481 h 620"/>
                <a:gd name="T62" fmla="*/ 4 w 554"/>
                <a:gd name="T63" fmla="*/ 508 h 620"/>
                <a:gd name="T64" fmla="*/ 13 w 554"/>
                <a:gd name="T65" fmla="*/ 550 h 620"/>
                <a:gd name="T66" fmla="*/ 18 w 554"/>
                <a:gd name="T67" fmla="*/ 566 h 620"/>
                <a:gd name="T68" fmla="*/ 29 w 554"/>
                <a:gd name="T69" fmla="*/ 586 h 620"/>
                <a:gd name="T70" fmla="*/ 44 w 554"/>
                <a:gd name="T71" fmla="*/ 604 h 620"/>
                <a:gd name="T72" fmla="*/ 62 w 554"/>
                <a:gd name="T73" fmla="*/ 620 h 620"/>
                <a:gd name="T74" fmla="*/ 554 w 554"/>
                <a:gd name="T75" fmla="*/ 450 h 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54" h="620">
                  <a:moveTo>
                    <a:pt x="554" y="450"/>
                  </a:moveTo>
                  <a:lnTo>
                    <a:pt x="554" y="356"/>
                  </a:lnTo>
                  <a:lnTo>
                    <a:pt x="554" y="356"/>
                  </a:lnTo>
                  <a:lnTo>
                    <a:pt x="549" y="350"/>
                  </a:lnTo>
                  <a:lnTo>
                    <a:pt x="543" y="342"/>
                  </a:lnTo>
                  <a:lnTo>
                    <a:pt x="535" y="331"/>
                  </a:lnTo>
                  <a:lnTo>
                    <a:pt x="528" y="315"/>
                  </a:lnTo>
                  <a:lnTo>
                    <a:pt x="525" y="306"/>
                  </a:lnTo>
                  <a:lnTo>
                    <a:pt x="522" y="296"/>
                  </a:lnTo>
                  <a:lnTo>
                    <a:pt x="520" y="285"/>
                  </a:lnTo>
                  <a:lnTo>
                    <a:pt x="517" y="271"/>
                  </a:lnTo>
                  <a:lnTo>
                    <a:pt x="516" y="258"/>
                  </a:lnTo>
                  <a:lnTo>
                    <a:pt x="515" y="243"/>
                  </a:lnTo>
                  <a:lnTo>
                    <a:pt x="515" y="243"/>
                  </a:lnTo>
                  <a:lnTo>
                    <a:pt x="515" y="232"/>
                  </a:lnTo>
                  <a:lnTo>
                    <a:pt x="516" y="222"/>
                  </a:lnTo>
                  <a:lnTo>
                    <a:pt x="517" y="212"/>
                  </a:lnTo>
                  <a:lnTo>
                    <a:pt x="520" y="202"/>
                  </a:lnTo>
                  <a:lnTo>
                    <a:pt x="526" y="183"/>
                  </a:lnTo>
                  <a:lnTo>
                    <a:pt x="532" y="167"/>
                  </a:lnTo>
                  <a:lnTo>
                    <a:pt x="540" y="154"/>
                  </a:lnTo>
                  <a:lnTo>
                    <a:pt x="546" y="142"/>
                  </a:lnTo>
                  <a:lnTo>
                    <a:pt x="552" y="133"/>
                  </a:lnTo>
                  <a:lnTo>
                    <a:pt x="551" y="43"/>
                  </a:lnTo>
                  <a:lnTo>
                    <a:pt x="551" y="43"/>
                  </a:lnTo>
                  <a:lnTo>
                    <a:pt x="542" y="36"/>
                  </a:lnTo>
                  <a:lnTo>
                    <a:pt x="518" y="21"/>
                  </a:lnTo>
                  <a:lnTo>
                    <a:pt x="504" y="13"/>
                  </a:lnTo>
                  <a:lnTo>
                    <a:pt x="489" y="5"/>
                  </a:lnTo>
                  <a:lnTo>
                    <a:pt x="482" y="2"/>
                  </a:lnTo>
                  <a:lnTo>
                    <a:pt x="476" y="1"/>
                  </a:lnTo>
                  <a:lnTo>
                    <a:pt x="470" y="0"/>
                  </a:lnTo>
                  <a:lnTo>
                    <a:pt x="464" y="0"/>
                  </a:lnTo>
                  <a:lnTo>
                    <a:pt x="465" y="327"/>
                  </a:lnTo>
                  <a:lnTo>
                    <a:pt x="465" y="327"/>
                  </a:lnTo>
                  <a:lnTo>
                    <a:pt x="465" y="339"/>
                  </a:lnTo>
                  <a:lnTo>
                    <a:pt x="462" y="349"/>
                  </a:lnTo>
                  <a:lnTo>
                    <a:pt x="458" y="360"/>
                  </a:lnTo>
                  <a:lnTo>
                    <a:pt x="452" y="370"/>
                  </a:lnTo>
                  <a:lnTo>
                    <a:pt x="444" y="382"/>
                  </a:lnTo>
                  <a:lnTo>
                    <a:pt x="436" y="392"/>
                  </a:lnTo>
                  <a:lnTo>
                    <a:pt x="426" y="402"/>
                  </a:lnTo>
                  <a:lnTo>
                    <a:pt x="416" y="411"/>
                  </a:lnTo>
                  <a:lnTo>
                    <a:pt x="405" y="421"/>
                  </a:lnTo>
                  <a:lnTo>
                    <a:pt x="392" y="429"/>
                  </a:lnTo>
                  <a:lnTo>
                    <a:pt x="380" y="437"/>
                  </a:lnTo>
                  <a:lnTo>
                    <a:pt x="367" y="443"/>
                  </a:lnTo>
                  <a:lnTo>
                    <a:pt x="353" y="449"/>
                  </a:lnTo>
                  <a:lnTo>
                    <a:pt x="340" y="454"/>
                  </a:lnTo>
                  <a:lnTo>
                    <a:pt x="327" y="458"/>
                  </a:lnTo>
                  <a:lnTo>
                    <a:pt x="314" y="461"/>
                  </a:lnTo>
                  <a:lnTo>
                    <a:pt x="314" y="461"/>
                  </a:lnTo>
                  <a:lnTo>
                    <a:pt x="284" y="467"/>
                  </a:lnTo>
                  <a:lnTo>
                    <a:pt x="255" y="471"/>
                  </a:lnTo>
                  <a:lnTo>
                    <a:pt x="227" y="474"/>
                  </a:lnTo>
                  <a:lnTo>
                    <a:pt x="199" y="477"/>
                  </a:lnTo>
                  <a:lnTo>
                    <a:pt x="146" y="480"/>
                  </a:lnTo>
                  <a:lnTo>
                    <a:pt x="98" y="482"/>
                  </a:lnTo>
                  <a:lnTo>
                    <a:pt x="58" y="482"/>
                  </a:lnTo>
                  <a:lnTo>
                    <a:pt x="27" y="482"/>
                  </a:lnTo>
                  <a:lnTo>
                    <a:pt x="0" y="481"/>
                  </a:lnTo>
                  <a:lnTo>
                    <a:pt x="0" y="481"/>
                  </a:lnTo>
                  <a:lnTo>
                    <a:pt x="1" y="488"/>
                  </a:lnTo>
                  <a:lnTo>
                    <a:pt x="4" y="508"/>
                  </a:lnTo>
                  <a:lnTo>
                    <a:pt x="10" y="535"/>
                  </a:lnTo>
                  <a:lnTo>
                    <a:pt x="13" y="550"/>
                  </a:lnTo>
                  <a:lnTo>
                    <a:pt x="18" y="566"/>
                  </a:lnTo>
                  <a:lnTo>
                    <a:pt x="18" y="566"/>
                  </a:lnTo>
                  <a:lnTo>
                    <a:pt x="23" y="576"/>
                  </a:lnTo>
                  <a:lnTo>
                    <a:pt x="29" y="586"/>
                  </a:lnTo>
                  <a:lnTo>
                    <a:pt x="36" y="595"/>
                  </a:lnTo>
                  <a:lnTo>
                    <a:pt x="44" y="604"/>
                  </a:lnTo>
                  <a:lnTo>
                    <a:pt x="57" y="616"/>
                  </a:lnTo>
                  <a:lnTo>
                    <a:pt x="62" y="620"/>
                  </a:lnTo>
                  <a:lnTo>
                    <a:pt x="451" y="620"/>
                  </a:lnTo>
                  <a:lnTo>
                    <a:pt x="554" y="45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83" name="Freeform 36"/>
            <p:cNvSpPr>
              <a:spLocks/>
            </p:cNvSpPr>
            <p:nvPr userDrawn="1"/>
          </p:nvSpPr>
          <p:spPr bwMode="auto">
            <a:xfrm>
              <a:off x="5843835" y="533568"/>
              <a:ext cx="57150" cy="17463"/>
            </a:xfrm>
            <a:custGeom>
              <a:avLst/>
              <a:gdLst>
                <a:gd name="T0" fmla="*/ 20 w 435"/>
                <a:gd name="T1" fmla="*/ 142 h 142"/>
                <a:gd name="T2" fmla="*/ 411 w 435"/>
                <a:gd name="T3" fmla="*/ 142 h 142"/>
                <a:gd name="T4" fmla="*/ 411 w 435"/>
                <a:gd name="T5" fmla="*/ 142 h 142"/>
                <a:gd name="T6" fmla="*/ 422 w 435"/>
                <a:gd name="T7" fmla="*/ 109 h 142"/>
                <a:gd name="T8" fmla="*/ 430 w 435"/>
                <a:gd name="T9" fmla="*/ 83 h 142"/>
                <a:gd name="T10" fmla="*/ 433 w 435"/>
                <a:gd name="T11" fmla="*/ 72 h 142"/>
                <a:gd name="T12" fmla="*/ 435 w 435"/>
                <a:gd name="T13" fmla="*/ 63 h 142"/>
                <a:gd name="T14" fmla="*/ 417 w 435"/>
                <a:gd name="T15" fmla="*/ 0 h 142"/>
                <a:gd name="T16" fmla="*/ 22 w 435"/>
                <a:gd name="T17" fmla="*/ 0 h 142"/>
                <a:gd name="T18" fmla="*/ 0 w 435"/>
                <a:gd name="T19" fmla="*/ 65 h 142"/>
                <a:gd name="T20" fmla="*/ 20 w 435"/>
                <a:gd name="T21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35" h="142">
                  <a:moveTo>
                    <a:pt x="20" y="142"/>
                  </a:moveTo>
                  <a:lnTo>
                    <a:pt x="411" y="142"/>
                  </a:lnTo>
                  <a:lnTo>
                    <a:pt x="411" y="142"/>
                  </a:lnTo>
                  <a:lnTo>
                    <a:pt x="422" y="109"/>
                  </a:lnTo>
                  <a:lnTo>
                    <a:pt x="430" y="83"/>
                  </a:lnTo>
                  <a:lnTo>
                    <a:pt x="433" y="72"/>
                  </a:lnTo>
                  <a:lnTo>
                    <a:pt x="435" y="63"/>
                  </a:lnTo>
                  <a:lnTo>
                    <a:pt x="417" y="0"/>
                  </a:lnTo>
                  <a:lnTo>
                    <a:pt x="22" y="0"/>
                  </a:lnTo>
                  <a:lnTo>
                    <a:pt x="0" y="65"/>
                  </a:lnTo>
                  <a:lnTo>
                    <a:pt x="20" y="14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84" name="Freeform 37"/>
            <p:cNvSpPr>
              <a:spLocks/>
            </p:cNvSpPr>
            <p:nvPr userDrawn="1"/>
          </p:nvSpPr>
          <p:spPr bwMode="auto">
            <a:xfrm>
              <a:off x="5847009" y="562141"/>
              <a:ext cx="57150" cy="66675"/>
            </a:xfrm>
            <a:custGeom>
              <a:avLst/>
              <a:gdLst>
                <a:gd name="T0" fmla="*/ 384 w 436"/>
                <a:gd name="T1" fmla="*/ 0 h 514"/>
                <a:gd name="T2" fmla="*/ 2 w 436"/>
                <a:gd name="T3" fmla="*/ 0 h 514"/>
                <a:gd name="T4" fmla="*/ 0 w 436"/>
                <a:gd name="T5" fmla="*/ 505 h 514"/>
                <a:gd name="T6" fmla="*/ 331 w 436"/>
                <a:gd name="T7" fmla="*/ 514 h 514"/>
                <a:gd name="T8" fmla="*/ 436 w 436"/>
                <a:gd name="T9" fmla="*/ 431 h 514"/>
                <a:gd name="T10" fmla="*/ 384 w 436"/>
                <a:gd name="T11" fmla="*/ 0 h 5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36" h="514">
                  <a:moveTo>
                    <a:pt x="384" y="0"/>
                  </a:moveTo>
                  <a:lnTo>
                    <a:pt x="2" y="0"/>
                  </a:lnTo>
                  <a:lnTo>
                    <a:pt x="0" y="505"/>
                  </a:lnTo>
                  <a:lnTo>
                    <a:pt x="331" y="514"/>
                  </a:lnTo>
                  <a:lnTo>
                    <a:pt x="436" y="431"/>
                  </a:lnTo>
                  <a:lnTo>
                    <a:pt x="38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85" name="Freeform 38"/>
            <p:cNvSpPr>
              <a:spLocks/>
            </p:cNvSpPr>
            <p:nvPr userDrawn="1"/>
          </p:nvSpPr>
          <p:spPr bwMode="auto">
            <a:xfrm>
              <a:off x="5843835" y="627230"/>
              <a:ext cx="77787" cy="68263"/>
            </a:xfrm>
            <a:custGeom>
              <a:avLst/>
              <a:gdLst>
                <a:gd name="T0" fmla="*/ 586 w 586"/>
                <a:gd name="T1" fmla="*/ 139 h 523"/>
                <a:gd name="T2" fmla="*/ 586 w 586"/>
                <a:gd name="T3" fmla="*/ 139 h 523"/>
                <a:gd name="T4" fmla="*/ 552 w 586"/>
                <a:gd name="T5" fmla="*/ 115 h 523"/>
                <a:gd name="T6" fmla="*/ 527 w 586"/>
                <a:gd name="T7" fmla="*/ 97 h 523"/>
                <a:gd name="T8" fmla="*/ 519 w 586"/>
                <a:gd name="T9" fmla="*/ 90 h 523"/>
                <a:gd name="T10" fmla="*/ 514 w 586"/>
                <a:gd name="T11" fmla="*/ 85 h 523"/>
                <a:gd name="T12" fmla="*/ 514 w 586"/>
                <a:gd name="T13" fmla="*/ 85 h 523"/>
                <a:gd name="T14" fmla="*/ 512 w 586"/>
                <a:gd name="T15" fmla="*/ 79 h 523"/>
                <a:gd name="T16" fmla="*/ 510 w 586"/>
                <a:gd name="T17" fmla="*/ 69 h 523"/>
                <a:gd name="T18" fmla="*/ 506 w 586"/>
                <a:gd name="T19" fmla="*/ 40 h 523"/>
                <a:gd name="T20" fmla="*/ 503 w 586"/>
                <a:gd name="T21" fmla="*/ 0 h 523"/>
                <a:gd name="T22" fmla="*/ 381 w 586"/>
                <a:gd name="T23" fmla="*/ 98 h 523"/>
                <a:gd name="T24" fmla="*/ 8 w 586"/>
                <a:gd name="T25" fmla="*/ 97 h 523"/>
                <a:gd name="T26" fmla="*/ 8 w 586"/>
                <a:gd name="T27" fmla="*/ 97 h 523"/>
                <a:gd name="T28" fmla="*/ 8 w 586"/>
                <a:gd name="T29" fmla="*/ 98 h 523"/>
                <a:gd name="T30" fmla="*/ 7 w 586"/>
                <a:gd name="T31" fmla="*/ 100 h 523"/>
                <a:gd name="T32" fmla="*/ 5 w 586"/>
                <a:gd name="T33" fmla="*/ 108 h 523"/>
                <a:gd name="T34" fmla="*/ 3 w 586"/>
                <a:gd name="T35" fmla="*/ 139 h 523"/>
                <a:gd name="T36" fmla="*/ 2 w 586"/>
                <a:gd name="T37" fmla="*/ 183 h 523"/>
                <a:gd name="T38" fmla="*/ 1 w 586"/>
                <a:gd name="T39" fmla="*/ 233 h 523"/>
                <a:gd name="T40" fmla="*/ 0 w 586"/>
                <a:gd name="T41" fmla="*/ 327 h 523"/>
                <a:gd name="T42" fmla="*/ 0 w 586"/>
                <a:gd name="T43" fmla="*/ 369 h 523"/>
                <a:gd name="T44" fmla="*/ 0 w 586"/>
                <a:gd name="T45" fmla="*/ 369 h 523"/>
                <a:gd name="T46" fmla="*/ 29 w 586"/>
                <a:gd name="T47" fmla="*/ 395 h 523"/>
                <a:gd name="T48" fmla="*/ 95 w 586"/>
                <a:gd name="T49" fmla="*/ 448 h 523"/>
                <a:gd name="T50" fmla="*/ 131 w 586"/>
                <a:gd name="T51" fmla="*/ 477 h 523"/>
                <a:gd name="T52" fmla="*/ 162 w 586"/>
                <a:gd name="T53" fmla="*/ 501 h 523"/>
                <a:gd name="T54" fmla="*/ 186 w 586"/>
                <a:gd name="T55" fmla="*/ 517 h 523"/>
                <a:gd name="T56" fmla="*/ 193 w 586"/>
                <a:gd name="T57" fmla="*/ 522 h 523"/>
                <a:gd name="T58" fmla="*/ 195 w 586"/>
                <a:gd name="T59" fmla="*/ 523 h 523"/>
                <a:gd name="T60" fmla="*/ 197 w 586"/>
                <a:gd name="T61" fmla="*/ 523 h 523"/>
                <a:gd name="T62" fmla="*/ 448 w 586"/>
                <a:gd name="T63" fmla="*/ 206 h 523"/>
                <a:gd name="T64" fmla="*/ 586 w 586"/>
                <a:gd name="T65" fmla="*/ 139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86" h="523">
                  <a:moveTo>
                    <a:pt x="586" y="139"/>
                  </a:moveTo>
                  <a:lnTo>
                    <a:pt x="586" y="139"/>
                  </a:lnTo>
                  <a:lnTo>
                    <a:pt x="552" y="115"/>
                  </a:lnTo>
                  <a:lnTo>
                    <a:pt x="527" y="97"/>
                  </a:lnTo>
                  <a:lnTo>
                    <a:pt x="519" y="90"/>
                  </a:lnTo>
                  <a:lnTo>
                    <a:pt x="514" y="85"/>
                  </a:lnTo>
                  <a:lnTo>
                    <a:pt x="514" y="85"/>
                  </a:lnTo>
                  <a:lnTo>
                    <a:pt x="512" y="79"/>
                  </a:lnTo>
                  <a:lnTo>
                    <a:pt x="510" y="69"/>
                  </a:lnTo>
                  <a:lnTo>
                    <a:pt x="506" y="40"/>
                  </a:lnTo>
                  <a:lnTo>
                    <a:pt x="503" y="0"/>
                  </a:lnTo>
                  <a:lnTo>
                    <a:pt x="381" y="98"/>
                  </a:lnTo>
                  <a:lnTo>
                    <a:pt x="8" y="97"/>
                  </a:lnTo>
                  <a:lnTo>
                    <a:pt x="8" y="97"/>
                  </a:lnTo>
                  <a:lnTo>
                    <a:pt x="8" y="98"/>
                  </a:lnTo>
                  <a:lnTo>
                    <a:pt x="7" y="100"/>
                  </a:lnTo>
                  <a:lnTo>
                    <a:pt x="5" y="108"/>
                  </a:lnTo>
                  <a:lnTo>
                    <a:pt x="3" y="139"/>
                  </a:lnTo>
                  <a:lnTo>
                    <a:pt x="2" y="183"/>
                  </a:lnTo>
                  <a:lnTo>
                    <a:pt x="1" y="233"/>
                  </a:lnTo>
                  <a:lnTo>
                    <a:pt x="0" y="327"/>
                  </a:lnTo>
                  <a:lnTo>
                    <a:pt x="0" y="369"/>
                  </a:lnTo>
                  <a:lnTo>
                    <a:pt x="0" y="369"/>
                  </a:lnTo>
                  <a:lnTo>
                    <a:pt x="29" y="395"/>
                  </a:lnTo>
                  <a:lnTo>
                    <a:pt x="95" y="448"/>
                  </a:lnTo>
                  <a:lnTo>
                    <a:pt x="131" y="477"/>
                  </a:lnTo>
                  <a:lnTo>
                    <a:pt x="162" y="501"/>
                  </a:lnTo>
                  <a:lnTo>
                    <a:pt x="186" y="517"/>
                  </a:lnTo>
                  <a:lnTo>
                    <a:pt x="193" y="522"/>
                  </a:lnTo>
                  <a:lnTo>
                    <a:pt x="195" y="523"/>
                  </a:lnTo>
                  <a:lnTo>
                    <a:pt x="197" y="523"/>
                  </a:lnTo>
                  <a:lnTo>
                    <a:pt x="448" y="206"/>
                  </a:lnTo>
                  <a:lnTo>
                    <a:pt x="586" y="139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86" name="Freeform 39"/>
            <p:cNvSpPr>
              <a:spLocks/>
            </p:cNvSpPr>
            <p:nvPr userDrawn="1"/>
          </p:nvSpPr>
          <p:spPr bwMode="auto">
            <a:xfrm>
              <a:off x="5880346" y="652630"/>
              <a:ext cx="115888" cy="66675"/>
            </a:xfrm>
            <a:custGeom>
              <a:avLst/>
              <a:gdLst>
                <a:gd name="T0" fmla="*/ 226 w 879"/>
                <a:gd name="T1" fmla="*/ 65 h 509"/>
                <a:gd name="T2" fmla="*/ 0 w 879"/>
                <a:gd name="T3" fmla="*/ 355 h 509"/>
                <a:gd name="T4" fmla="*/ 369 w 879"/>
                <a:gd name="T5" fmla="*/ 509 h 509"/>
                <a:gd name="T6" fmla="*/ 369 w 879"/>
                <a:gd name="T7" fmla="*/ 509 h 509"/>
                <a:gd name="T8" fmla="*/ 409 w 879"/>
                <a:gd name="T9" fmla="*/ 487 h 509"/>
                <a:gd name="T10" fmla="*/ 452 w 879"/>
                <a:gd name="T11" fmla="*/ 464 h 509"/>
                <a:gd name="T12" fmla="*/ 495 w 879"/>
                <a:gd name="T13" fmla="*/ 439 h 509"/>
                <a:gd name="T14" fmla="*/ 538 w 879"/>
                <a:gd name="T15" fmla="*/ 413 h 509"/>
                <a:gd name="T16" fmla="*/ 623 w 879"/>
                <a:gd name="T17" fmla="*/ 361 h 509"/>
                <a:gd name="T18" fmla="*/ 703 w 879"/>
                <a:gd name="T19" fmla="*/ 311 h 509"/>
                <a:gd name="T20" fmla="*/ 773 w 879"/>
                <a:gd name="T21" fmla="*/ 266 h 509"/>
                <a:gd name="T22" fmla="*/ 829 w 879"/>
                <a:gd name="T23" fmla="*/ 229 h 509"/>
                <a:gd name="T24" fmla="*/ 879 w 879"/>
                <a:gd name="T25" fmla="*/ 196 h 509"/>
                <a:gd name="T26" fmla="*/ 359 w 879"/>
                <a:gd name="T27" fmla="*/ 0 h 509"/>
                <a:gd name="T28" fmla="*/ 226 w 879"/>
                <a:gd name="T29" fmla="*/ 65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79" h="509">
                  <a:moveTo>
                    <a:pt x="226" y="65"/>
                  </a:moveTo>
                  <a:lnTo>
                    <a:pt x="0" y="355"/>
                  </a:lnTo>
                  <a:lnTo>
                    <a:pt x="369" y="509"/>
                  </a:lnTo>
                  <a:lnTo>
                    <a:pt x="369" y="509"/>
                  </a:lnTo>
                  <a:lnTo>
                    <a:pt x="409" y="487"/>
                  </a:lnTo>
                  <a:lnTo>
                    <a:pt x="452" y="464"/>
                  </a:lnTo>
                  <a:lnTo>
                    <a:pt x="495" y="439"/>
                  </a:lnTo>
                  <a:lnTo>
                    <a:pt x="538" y="413"/>
                  </a:lnTo>
                  <a:lnTo>
                    <a:pt x="623" y="361"/>
                  </a:lnTo>
                  <a:lnTo>
                    <a:pt x="703" y="311"/>
                  </a:lnTo>
                  <a:lnTo>
                    <a:pt x="773" y="266"/>
                  </a:lnTo>
                  <a:lnTo>
                    <a:pt x="829" y="229"/>
                  </a:lnTo>
                  <a:lnTo>
                    <a:pt x="879" y="196"/>
                  </a:lnTo>
                  <a:lnTo>
                    <a:pt x="359" y="0"/>
                  </a:lnTo>
                  <a:lnTo>
                    <a:pt x="226" y="6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87" name="Freeform 40"/>
            <p:cNvSpPr>
              <a:spLocks/>
            </p:cNvSpPr>
            <p:nvPr userDrawn="1"/>
          </p:nvSpPr>
          <p:spPr bwMode="auto">
            <a:xfrm>
              <a:off x="5915272" y="408154"/>
              <a:ext cx="26988" cy="123826"/>
            </a:xfrm>
            <a:custGeom>
              <a:avLst/>
              <a:gdLst>
                <a:gd name="T0" fmla="*/ 170 w 211"/>
                <a:gd name="T1" fmla="*/ 388 h 928"/>
                <a:gd name="T2" fmla="*/ 169 w 211"/>
                <a:gd name="T3" fmla="*/ 133 h 928"/>
                <a:gd name="T4" fmla="*/ 171 w 211"/>
                <a:gd name="T5" fmla="*/ 84 h 928"/>
                <a:gd name="T6" fmla="*/ 172 w 211"/>
                <a:gd name="T7" fmla="*/ 79 h 928"/>
                <a:gd name="T8" fmla="*/ 182 w 211"/>
                <a:gd name="T9" fmla="*/ 64 h 928"/>
                <a:gd name="T10" fmla="*/ 188 w 211"/>
                <a:gd name="T11" fmla="*/ 53 h 928"/>
                <a:gd name="T12" fmla="*/ 192 w 211"/>
                <a:gd name="T13" fmla="*/ 36 h 928"/>
                <a:gd name="T14" fmla="*/ 191 w 211"/>
                <a:gd name="T15" fmla="*/ 18 h 928"/>
                <a:gd name="T16" fmla="*/ 188 w 211"/>
                <a:gd name="T17" fmla="*/ 0 h 928"/>
                <a:gd name="T18" fmla="*/ 6 w 211"/>
                <a:gd name="T19" fmla="*/ 0 h 928"/>
                <a:gd name="T20" fmla="*/ 4 w 211"/>
                <a:gd name="T21" fmla="*/ 8 h 928"/>
                <a:gd name="T22" fmla="*/ 5 w 211"/>
                <a:gd name="T23" fmla="*/ 33 h 928"/>
                <a:gd name="T24" fmla="*/ 7 w 211"/>
                <a:gd name="T25" fmla="*/ 43 h 928"/>
                <a:gd name="T26" fmla="*/ 17 w 211"/>
                <a:gd name="T27" fmla="*/ 65 h 928"/>
                <a:gd name="T28" fmla="*/ 28 w 211"/>
                <a:gd name="T29" fmla="*/ 80 h 928"/>
                <a:gd name="T30" fmla="*/ 33 w 211"/>
                <a:gd name="T31" fmla="*/ 388 h 928"/>
                <a:gd name="T32" fmla="*/ 29 w 211"/>
                <a:gd name="T33" fmla="*/ 395 h 928"/>
                <a:gd name="T34" fmla="*/ 19 w 211"/>
                <a:gd name="T35" fmla="*/ 412 h 928"/>
                <a:gd name="T36" fmla="*/ 9 w 211"/>
                <a:gd name="T37" fmla="*/ 443 h 928"/>
                <a:gd name="T38" fmla="*/ 0 w 211"/>
                <a:gd name="T39" fmla="*/ 487 h 928"/>
                <a:gd name="T40" fmla="*/ 0 w 211"/>
                <a:gd name="T41" fmla="*/ 498 h 928"/>
                <a:gd name="T42" fmla="*/ 1 w 211"/>
                <a:gd name="T43" fmla="*/ 518 h 928"/>
                <a:gd name="T44" fmla="*/ 10 w 211"/>
                <a:gd name="T45" fmla="*/ 546 h 928"/>
                <a:gd name="T46" fmla="*/ 23 w 211"/>
                <a:gd name="T47" fmla="*/ 576 h 928"/>
                <a:gd name="T48" fmla="*/ 35 w 211"/>
                <a:gd name="T49" fmla="*/ 594 h 928"/>
                <a:gd name="T50" fmla="*/ 31 w 211"/>
                <a:gd name="T51" fmla="*/ 850 h 928"/>
                <a:gd name="T52" fmla="*/ 23 w 211"/>
                <a:gd name="T53" fmla="*/ 859 h 928"/>
                <a:gd name="T54" fmla="*/ 18 w 211"/>
                <a:gd name="T55" fmla="*/ 871 h 928"/>
                <a:gd name="T56" fmla="*/ 14 w 211"/>
                <a:gd name="T57" fmla="*/ 888 h 928"/>
                <a:gd name="T58" fmla="*/ 14 w 211"/>
                <a:gd name="T59" fmla="*/ 898 h 928"/>
                <a:gd name="T60" fmla="*/ 15 w 211"/>
                <a:gd name="T61" fmla="*/ 919 h 928"/>
                <a:gd name="T62" fmla="*/ 18 w 211"/>
                <a:gd name="T63" fmla="*/ 928 h 928"/>
                <a:gd name="T64" fmla="*/ 188 w 211"/>
                <a:gd name="T65" fmla="*/ 928 h 928"/>
                <a:gd name="T66" fmla="*/ 191 w 211"/>
                <a:gd name="T67" fmla="*/ 906 h 928"/>
                <a:gd name="T68" fmla="*/ 190 w 211"/>
                <a:gd name="T69" fmla="*/ 881 h 928"/>
                <a:gd name="T70" fmla="*/ 188 w 211"/>
                <a:gd name="T71" fmla="*/ 873 h 928"/>
                <a:gd name="T72" fmla="*/ 179 w 211"/>
                <a:gd name="T73" fmla="*/ 857 h 928"/>
                <a:gd name="T74" fmla="*/ 169 w 211"/>
                <a:gd name="T75" fmla="*/ 846 h 928"/>
                <a:gd name="T76" fmla="*/ 168 w 211"/>
                <a:gd name="T77" fmla="*/ 594 h 928"/>
                <a:gd name="T78" fmla="*/ 190 w 211"/>
                <a:gd name="T79" fmla="*/ 561 h 928"/>
                <a:gd name="T80" fmla="*/ 202 w 211"/>
                <a:gd name="T81" fmla="*/ 537 h 928"/>
                <a:gd name="T82" fmla="*/ 210 w 211"/>
                <a:gd name="T83" fmla="*/ 507 h 928"/>
                <a:gd name="T84" fmla="*/ 211 w 211"/>
                <a:gd name="T85" fmla="*/ 491 h 928"/>
                <a:gd name="T86" fmla="*/ 211 w 211"/>
                <a:gd name="T87" fmla="*/ 482 h 928"/>
                <a:gd name="T88" fmla="*/ 206 w 211"/>
                <a:gd name="T89" fmla="*/ 458 h 928"/>
                <a:gd name="T90" fmla="*/ 195 w 211"/>
                <a:gd name="T91" fmla="*/ 428 h 928"/>
                <a:gd name="T92" fmla="*/ 181 w 211"/>
                <a:gd name="T93" fmla="*/ 405 h 9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11" h="928">
                  <a:moveTo>
                    <a:pt x="170" y="388"/>
                  </a:moveTo>
                  <a:lnTo>
                    <a:pt x="170" y="388"/>
                  </a:lnTo>
                  <a:lnTo>
                    <a:pt x="169" y="238"/>
                  </a:lnTo>
                  <a:lnTo>
                    <a:pt x="169" y="133"/>
                  </a:lnTo>
                  <a:lnTo>
                    <a:pt x="170" y="96"/>
                  </a:lnTo>
                  <a:lnTo>
                    <a:pt x="171" y="84"/>
                  </a:lnTo>
                  <a:lnTo>
                    <a:pt x="172" y="79"/>
                  </a:lnTo>
                  <a:lnTo>
                    <a:pt x="172" y="79"/>
                  </a:lnTo>
                  <a:lnTo>
                    <a:pt x="177" y="71"/>
                  </a:lnTo>
                  <a:lnTo>
                    <a:pt x="182" y="64"/>
                  </a:lnTo>
                  <a:lnTo>
                    <a:pt x="188" y="53"/>
                  </a:lnTo>
                  <a:lnTo>
                    <a:pt x="188" y="53"/>
                  </a:lnTo>
                  <a:lnTo>
                    <a:pt x="191" y="45"/>
                  </a:lnTo>
                  <a:lnTo>
                    <a:pt x="192" y="36"/>
                  </a:lnTo>
                  <a:lnTo>
                    <a:pt x="192" y="28"/>
                  </a:lnTo>
                  <a:lnTo>
                    <a:pt x="191" y="18"/>
                  </a:lnTo>
                  <a:lnTo>
                    <a:pt x="189" y="5"/>
                  </a:lnTo>
                  <a:lnTo>
                    <a:pt x="18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5" y="4"/>
                  </a:lnTo>
                  <a:lnTo>
                    <a:pt x="4" y="8"/>
                  </a:lnTo>
                  <a:lnTo>
                    <a:pt x="4" y="20"/>
                  </a:lnTo>
                  <a:lnTo>
                    <a:pt x="5" y="33"/>
                  </a:lnTo>
                  <a:lnTo>
                    <a:pt x="7" y="43"/>
                  </a:lnTo>
                  <a:lnTo>
                    <a:pt x="7" y="43"/>
                  </a:lnTo>
                  <a:lnTo>
                    <a:pt x="11" y="54"/>
                  </a:lnTo>
                  <a:lnTo>
                    <a:pt x="17" y="65"/>
                  </a:lnTo>
                  <a:lnTo>
                    <a:pt x="24" y="76"/>
                  </a:lnTo>
                  <a:lnTo>
                    <a:pt x="28" y="80"/>
                  </a:lnTo>
                  <a:lnTo>
                    <a:pt x="33" y="83"/>
                  </a:lnTo>
                  <a:lnTo>
                    <a:pt x="33" y="388"/>
                  </a:lnTo>
                  <a:lnTo>
                    <a:pt x="33" y="388"/>
                  </a:lnTo>
                  <a:lnTo>
                    <a:pt x="29" y="395"/>
                  </a:lnTo>
                  <a:lnTo>
                    <a:pt x="24" y="402"/>
                  </a:lnTo>
                  <a:lnTo>
                    <a:pt x="19" y="412"/>
                  </a:lnTo>
                  <a:lnTo>
                    <a:pt x="14" y="426"/>
                  </a:lnTo>
                  <a:lnTo>
                    <a:pt x="9" y="443"/>
                  </a:lnTo>
                  <a:lnTo>
                    <a:pt x="4" y="463"/>
                  </a:lnTo>
                  <a:lnTo>
                    <a:pt x="0" y="487"/>
                  </a:lnTo>
                  <a:lnTo>
                    <a:pt x="0" y="487"/>
                  </a:lnTo>
                  <a:lnTo>
                    <a:pt x="0" y="498"/>
                  </a:lnTo>
                  <a:lnTo>
                    <a:pt x="0" y="508"/>
                  </a:lnTo>
                  <a:lnTo>
                    <a:pt x="1" y="518"/>
                  </a:lnTo>
                  <a:lnTo>
                    <a:pt x="4" y="529"/>
                  </a:lnTo>
                  <a:lnTo>
                    <a:pt x="10" y="546"/>
                  </a:lnTo>
                  <a:lnTo>
                    <a:pt x="16" y="562"/>
                  </a:lnTo>
                  <a:lnTo>
                    <a:pt x="23" y="576"/>
                  </a:lnTo>
                  <a:lnTo>
                    <a:pt x="29" y="585"/>
                  </a:lnTo>
                  <a:lnTo>
                    <a:pt x="35" y="594"/>
                  </a:lnTo>
                  <a:lnTo>
                    <a:pt x="31" y="850"/>
                  </a:lnTo>
                  <a:lnTo>
                    <a:pt x="31" y="850"/>
                  </a:lnTo>
                  <a:lnTo>
                    <a:pt x="29" y="852"/>
                  </a:lnTo>
                  <a:lnTo>
                    <a:pt x="23" y="859"/>
                  </a:lnTo>
                  <a:lnTo>
                    <a:pt x="20" y="864"/>
                  </a:lnTo>
                  <a:lnTo>
                    <a:pt x="18" y="871"/>
                  </a:lnTo>
                  <a:lnTo>
                    <a:pt x="15" y="879"/>
                  </a:lnTo>
                  <a:lnTo>
                    <a:pt x="14" y="888"/>
                  </a:lnTo>
                  <a:lnTo>
                    <a:pt x="14" y="888"/>
                  </a:lnTo>
                  <a:lnTo>
                    <a:pt x="14" y="898"/>
                  </a:lnTo>
                  <a:lnTo>
                    <a:pt x="14" y="906"/>
                  </a:lnTo>
                  <a:lnTo>
                    <a:pt x="15" y="919"/>
                  </a:lnTo>
                  <a:lnTo>
                    <a:pt x="17" y="926"/>
                  </a:lnTo>
                  <a:lnTo>
                    <a:pt x="18" y="928"/>
                  </a:lnTo>
                  <a:lnTo>
                    <a:pt x="188" y="928"/>
                  </a:lnTo>
                  <a:lnTo>
                    <a:pt x="188" y="928"/>
                  </a:lnTo>
                  <a:lnTo>
                    <a:pt x="190" y="920"/>
                  </a:lnTo>
                  <a:lnTo>
                    <a:pt x="191" y="906"/>
                  </a:lnTo>
                  <a:lnTo>
                    <a:pt x="190" y="889"/>
                  </a:lnTo>
                  <a:lnTo>
                    <a:pt x="190" y="881"/>
                  </a:lnTo>
                  <a:lnTo>
                    <a:pt x="188" y="873"/>
                  </a:lnTo>
                  <a:lnTo>
                    <a:pt x="188" y="873"/>
                  </a:lnTo>
                  <a:lnTo>
                    <a:pt x="185" y="864"/>
                  </a:lnTo>
                  <a:lnTo>
                    <a:pt x="179" y="857"/>
                  </a:lnTo>
                  <a:lnTo>
                    <a:pt x="174" y="851"/>
                  </a:lnTo>
                  <a:lnTo>
                    <a:pt x="169" y="846"/>
                  </a:lnTo>
                  <a:lnTo>
                    <a:pt x="168" y="594"/>
                  </a:lnTo>
                  <a:lnTo>
                    <a:pt x="168" y="594"/>
                  </a:lnTo>
                  <a:lnTo>
                    <a:pt x="181" y="573"/>
                  </a:lnTo>
                  <a:lnTo>
                    <a:pt x="190" y="561"/>
                  </a:lnTo>
                  <a:lnTo>
                    <a:pt x="196" y="550"/>
                  </a:lnTo>
                  <a:lnTo>
                    <a:pt x="202" y="537"/>
                  </a:lnTo>
                  <a:lnTo>
                    <a:pt x="207" y="522"/>
                  </a:lnTo>
                  <a:lnTo>
                    <a:pt x="210" y="507"/>
                  </a:lnTo>
                  <a:lnTo>
                    <a:pt x="211" y="499"/>
                  </a:lnTo>
                  <a:lnTo>
                    <a:pt x="211" y="491"/>
                  </a:lnTo>
                  <a:lnTo>
                    <a:pt x="211" y="491"/>
                  </a:lnTo>
                  <a:lnTo>
                    <a:pt x="211" y="482"/>
                  </a:lnTo>
                  <a:lnTo>
                    <a:pt x="210" y="473"/>
                  </a:lnTo>
                  <a:lnTo>
                    <a:pt x="206" y="458"/>
                  </a:lnTo>
                  <a:lnTo>
                    <a:pt x="201" y="443"/>
                  </a:lnTo>
                  <a:lnTo>
                    <a:pt x="195" y="428"/>
                  </a:lnTo>
                  <a:lnTo>
                    <a:pt x="189" y="416"/>
                  </a:lnTo>
                  <a:lnTo>
                    <a:pt x="181" y="405"/>
                  </a:lnTo>
                  <a:lnTo>
                    <a:pt x="170" y="38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88" name="Freeform 41"/>
            <p:cNvSpPr>
              <a:spLocks/>
            </p:cNvSpPr>
            <p:nvPr userDrawn="1"/>
          </p:nvSpPr>
          <p:spPr bwMode="auto">
            <a:xfrm>
              <a:off x="5943847" y="444667"/>
              <a:ext cx="80964" cy="58737"/>
            </a:xfrm>
            <a:custGeom>
              <a:avLst/>
              <a:gdLst>
                <a:gd name="T0" fmla="*/ 617 w 617"/>
                <a:gd name="T1" fmla="*/ 73 h 442"/>
                <a:gd name="T2" fmla="*/ 433 w 617"/>
                <a:gd name="T3" fmla="*/ 70 h 442"/>
                <a:gd name="T4" fmla="*/ 202 w 617"/>
                <a:gd name="T5" fmla="*/ 68 h 442"/>
                <a:gd name="T6" fmla="*/ 195 w 617"/>
                <a:gd name="T7" fmla="*/ 67 h 442"/>
                <a:gd name="T8" fmla="*/ 174 w 617"/>
                <a:gd name="T9" fmla="*/ 61 h 442"/>
                <a:gd name="T10" fmla="*/ 137 w 617"/>
                <a:gd name="T11" fmla="*/ 44 h 442"/>
                <a:gd name="T12" fmla="*/ 84 w 617"/>
                <a:gd name="T13" fmla="*/ 16 h 442"/>
                <a:gd name="T14" fmla="*/ 53 w 617"/>
                <a:gd name="T15" fmla="*/ 2 h 442"/>
                <a:gd name="T16" fmla="*/ 40 w 617"/>
                <a:gd name="T17" fmla="*/ 0 h 442"/>
                <a:gd name="T18" fmla="*/ 37 w 617"/>
                <a:gd name="T19" fmla="*/ 2 h 442"/>
                <a:gd name="T20" fmla="*/ 22 w 617"/>
                <a:gd name="T21" fmla="*/ 38 h 442"/>
                <a:gd name="T22" fmla="*/ 1 w 617"/>
                <a:gd name="T23" fmla="*/ 91 h 442"/>
                <a:gd name="T24" fmla="*/ 19 w 617"/>
                <a:gd name="T25" fmla="*/ 113 h 442"/>
                <a:gd name="T26" fmla="*/ 38 w 617"/>
                <a:gd name="T27" fmla="*/ 147 h 442"/>
                <a:gd name="T28" fmla="*/ 47 w 617"/>
                <a:gd name="T29" fmla="*/ 169 h 442"/>
                <a:gd name="T30" fmla="*/ 52 w 617"/>
                <a:gd name="T31" fmla="*/ 191 h 442"/>
                <a:gd name="T32" fmla="*/ 55 w 617"/>
                <a:gd name="T33" fmla="*/ 216 h 442"/>
                <a:gd name="T34" fmla="*/ 53 w 617"/>
                <a:gd name="T35" fmla="*/ 235 h 442"/>
                <a:gd name="T36" fmla="*/ 48 w 617"/>
                <a:gd name="T37" fmla="*/ 265 h 442"/>
                <a:gd name="T38" fmla="*/ 42 w 617"/>
                <a:gd name="T39" fmla="*/ 283 h 442"/>
                <a:gd name="T40" fmla="*/ 32 w 617"/>
                <a:gd name="T41" fmla="*/ 304 h 442"/>
                <a:gd name="T42" fmla="*/ 19 w 617"/>
                <a:gd name="T43" fmla="*/ 324 h 442"/>
                <a:gd name="T44" fmla="*/ 0 w 617"/>
                <a:gd name="T45" fmla="*/ 345 h 442"/>
                <a:gd name="T46" fmla="*/ 23 w 617"/>
                <a:gd name="T47" fmla="*/ 391 h 442"/>
                <a:gd name="T48" fmla="*/ 47 w 617"/>
                <a:gd name="T49" fmla="*/ 435 h 442"/>
                <a:gd name="T50" fmla="*/ 52 w 617"/>
                <a:gd name="T51" fmla="*/ 442 h 442"/>
                <a:gd name="T52" fmla="*/ 84 w 617"/>
                <a:gd name="T53" fmla="*/ 423 h 442"/>
                <a:gd name="T54" fmla="*/ 129 w 617"/>
                <a:gd name="T55" fmla="*/ 400 h 442"/>
                <a:gd name="T56" fmla="*/ 183 w 617"/>
                <a:gd name="T57" fmla="*/ 378 h 442"/>
                <a:gd name="T58" fmla="*/ 211 w 617"/>
                <a:gd name="T59" fmla="*/ 371 h 442"/>
                <a:gd name="T60" fmla="*/ 224 w 617"/>
                <a:gd name="T61" fmla="*/ 369 h 442"/>
                <a:gd name="T62" fmla="*/ 330 w 617"/>
                <a:gd name="T63" fmla="*/ 363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617" h="442">
                  <a:moveTo>
                    <a:pt x="330" y="363"/>
                  </a:moveTo>
                  <a:lnTo>
                    <a:pt x="617" y="73"/>
                  </a:lnTo>
                  <a:lnTo>
                    <a:pt x="617" y="73"/>
                  </a:lnTo>
                  <a:lnTo>
                    <a:pt x="433" y="70"/>
                  </a:lnTo>
                  <a:lnTo>
                    <a:pt x="324" y="69"/>
                  </a:lnTo>
                  <a:lnTo>
                    <a:pt x="202" y="68"/>
                  </a:lnTo>
                  <a:lnTo>
                    <a:pt x="202" y="68"/>
                  </a:lnTo>
                  <a:lnTo>
                    <a:pt x="195" y="67"/>
                  </a:lnTo>
                  <a:lnTo>
                    <a:pt x="185" y="65"/>
                  </a:lnTo>
                  <a:lnTo>
                    <a:pt x="174" y="61"/>
                  </a:lnTo>
                  <a:lnTo>
                    <a:pt x="163" y="56"/>
                  </a:lnTo>
                  <a:lnTo>
                    <a:pt x="137" y="44"/>
                  </a:lnTo>
                  <a:lnTo>
                    <a:pt x="110" y="30"/>
                  </a:lnTo>
                  <a:lnTo>
                    <a:pt x="84" y="16"/>
                  </a:lnTo>
                  <a:lnTo>
                    <a:pt x="63" y="6"/>
                  </a:lnTo>
                  <a:lnTo>
                    <a:pt x="53" y="2"/>
                  </a:lnTo>
                  <a:lnTo>
                    <a:pt x="45" y="1"/>
                  </a:lnTo>
                  <a:lnTo>
                    <a:pt x="40" y="0"/>
                  </a:lnTo>
                  <a:lnTo>
                    <a:pt x="38" y="1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22" y="38"/>
                  </a:lnTo>
                  <a:lnTo>
                    <a:pt x="1" y="91"/>
                  </a:lnTo>
                  <a:lnTo>
                    <a:pt x="1" y="91"/>
                  </a:lnTo>
                  <a:lnTo>
                    <a:pt x="10" y="101"/>
                  </a:lnTo>
                  <a:lnTo>
                    <a:pt x="19" y="113"/>
                  </a:lnTo>
                  <a:lnTo>
                    <a:pt x="29" y="129"/>
                  </a:lnTo>
                  <a:lnTo>
                    <a:pt x="38" y="147"/>
                  </a:lnTo>
                  <a:lnTo>
                    <a:pt x="43" y="157"/>
                  </a:lnTo>
                  <a:lnTo>
                    <a:pt x="47" y="169"/>
                  </a:lnTo>
                  <a:lnTo>
                    <a:pt x="50" y="180"/>
                  </a:lnTo>
                  <a:lnTo>
                    <a:pt x="52" y="191"/>
                  </a:lnTo>
                  <a:lnTo>
                    <a:pt x="55" y="203"/>
                  </a:lnTo>
                  <a:lnTo>
                    <a:pt x="55" y="216"/>
                  </a:lnTo>
                  <a:lnTo>
                    <a:pt x="55" y="216"/>
                  </a:lnTo>
                  <a:lnTo>
                    <a:pt x="53" y="235"/>
                  </a:lnTo>
                  <a:lnTo>
                    <a:pt x="51" y="248"/>
                  </a:lnTo>
                  <a:lnTo>
                    <a:pt x="48" y="265"/>
                  </a:lnTo>
                  <a:lnTo>
                    <a:pt x="45" y="274"/>
                  </a:lnTo>
                  <a:lnTo>
                    <a:pt x="42" y="283"/>
                  </a:lnTo>
                  <a:lnTo>
                    <a:pt x="38" y="293"/>
                  </a:lnTo>
                  <a:lnTo>
                    <a:pt x="32" y="304"/>
                  </a:lnTo>
                  <a:lnTo>
                    <a:pt x="26" y="313"/>
                  </a:lnTo>
                  <a:lnTo>
                    <a:pt x="19" y="324"/>
                  </a:lnTo>
                  <a:lnTo>
                    <a:pt x="11" y="334"/>
                  </a:lnTo>
                  <a:lnTo>
                    <a:pt x="0" y="345"/>
                  </a:lnTo>
                  <a:lnTo>
                    <a:pt x="0" y="345"/>
                  </a:lnTo>
                  <a:lnTo>
                    <a:pt x="23" y="391"/>
                  </a:lnTo>
                  <a:lnTo>
                    <a:pt x="40" y="423"/>
                  </a:lnTo>
                  <a:lnTo>
                    <a:pt x="47" y="435"/>
                  </a:lnTo>
                  <a:lnTo>
                    <a:pt x="52" y="442"/>
                  </a:lnTo>
                  <a:lnTo>
                    <a:pt x="52" y="442"/>
                  </a:lnTo>
                  <a:lnTo>
                    <a:pt x="67" y="433"/>
                  </a:lnTo>
                  <a:lnTo>
                    <a:pt x="84" y="423"/>
                  </a:lnTo>
                  <a:lnTo>
                    <a:pt x="105" y="412"/>
                  </a:lnTo>
                  <a:lnTo>
                    <a:pt x="129" y="400"/>
                  </a:lnTo>
                  <a:lnTo>
                    <a:pt x="156" y="388"/>
                  </a:lnTo>
                  <a:lnTo>
                    <a:pt x="183" y="378"/>
                  </a:lnTo>
                  <a:lnTo>
                    <a:pt x="198" y="374"/>
                  </a:lnTo>
                  <a:lnTo>
                    <a:pt x="211" y="371"/>
                  </a:lnTo>
                  <a:lnTo>
                    <a:pt x="211" y="371"/>
                  </a:lnTo>
                  <a:lnTo>
                    <a:pt x="224" y="369"/>
                  </a:lnTo>
                  <a:lnTo>
                    <a:pt x="248" y="367"/>
                  </a:lnTo>
                  <a:lnTo>
                    <a:pt x="330" y="36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89" name="Freeform 42"/>
            <p:cNvSpPr>
              <a:spLocks/>
            </p:cNvSpPr>
            <p:nvPr userDrawn="1"/>
          </p:nvSpPr>
          <p:spPr bwMode="auto">
            <a:xfrm>
              <a:off x="6045446" y="366879"/>
              <a:ext cx="158749" cy="127000"/>
            </a:xfrm>
            <a:custGeom>
              <a:avLst/>
              <a:gdLst>
                <a:gd name="T0" fmla="*/ 1179 w 1207"/>
                <a:gd name="T1" fmla="*/ 480 h 962"/>
                <a:gd name="T2" fmla="*/ 1115 w 1207"/>
                <a:gd name="T3" fmla="*/ 496 h 962"/>
                <a:gd name="T4" fmla="*/ 1079 w 1207"/>
                <a:gd name="T5" fmla="*/ 532 h 962"/>
                <a:gd name="T6" fmla="*/ 1057 w 1207"/>
                <a:gd name="T7" fmla="*/ 600 h 962"/>
                <a:gd name="T8" fmla="*/ 1046 w 1207"/>
                <a:gd name="T9" fmla="*/ 585 h 962"/>
                <a:gd name="T10" fmla="*/ 1007 w 1207"/>
                <a:gd name="T11" fmla="*/ 556 h 962"/>
                <a:gd name="T12" fmla="*/ 935 w 1207"/>
                <a:gd name="T13" fmla="*/ 562 h 962"/>
                <a:gd name="T14" fmla="*/ 930 w 1207"/>
                <a:gd name="T15" fmla="*/ 613 h 962"/>
                <a:gd name="T16" fmla="*/ 935 w 1207"/>
                <a:gd name="T17" fmla="*/ 696 h 962"/>
                <a:gd name="T18" fmla="*/ 890 w 1207"/>
                <a:gd name="T19" fmla="*/ 725 h 962"/>
                <a:gd name="T20" fmla="*/ 842 w 1207"/>
                <a:gd name="T21" fmla="*/ 709 h 962"/>
                <a:gd name="T22" fmla="*/ 816 w 1207"/>
                <a:gd name="T23" fmla="*/ 658 h 962"/>
                <a:gd name="T24" fmla="*/ 805 w 1207"/>
                <a:gd name="T25" fmla="*/ 643 h 962"/>
                <a:gd name="T26" fmla="*/ 749 w 1207"/>
                <a:gd name="T27" fmla="*/ 659 h 962"/>
                <a:gd name="T28" fmla="*/ 701 w 1207"/>
                <a:gd name="T29" fmla="*/ 634 h 962"/>
                <a:gd name="T30" fmla="*/ 694 w 1207"/>
                <a:gd name="T31" fmla="*/ 581 h 962"/>
                <a:gd name="T32" fmla="*/ 754 w 1207"/>
                <a:gd name="T33" fmla="*/ 540 h 962"/>
                <a:gd name="T34" fmla="*/ 824 w 1207"/>
                <a:gd name="T35" fmla="*/ 520 h 962"/>
                <a:gd name="T36" fmla="*/ 805 w 1207"/>
                <a:gd name="T37" fmla="*/ 460 h 962"/>
                <a:gd name="T38" fmla="*/ 764 w 1207"/>
                <a:gd name="T39" fmla="*/ 421 h 962"/>
                <a:gd name="T40" fmla="*/ 698 w 1207"/>
                <a:gd name="T41" fmla="*/ 414 h 962"/>
                <a:gd name="T42" fmla="*/ 672 w 1207"/>
                <a:gd name="T43" fmla="*/ 415 h 962"/>
                <a:gd name="T44" fmla="*/ 712 w 1207"/>
                <a:gd name="T45" fmla="*/ 360 h 962"/>
                <a:gd name="T46" fmla="*/ 709 w 1207"/>
                <a:gd name="T47" fmla="*/ 285 h 962"/>
                <a:gd name="T48" fmla="*/ 668 w 1207"/>
                <a:gd name="T49" fmla="*/ 214 h 962"/>
                <a:gd name="T50" fmla="*/ 606 w 1207"/>
                <a:gd name="T51" fmla="*/ 224 h 962"/>
                <a:gd name="T52" fmla="*/ 535 w 1207"/>
                <a:gd name="T53" fmla="*/ 272 h 962"/>
                <a:gd name="T54" fmla="*/ 516 w 1207"/>
                <a:gd name="T55" fmla="*/ 334 h 962"/>
                <a:gd name="T56" fmla="*/ 508 w 1207"/>
                <a:gd name="T57" fmla="*/ 341 h 962"/>
                <a:gd name="T58" fmla="*/ 458 w 1207"/>
                <a:gd name="T59" fmla="*/ 287 h 962"/>
                <a:gd name="T60" fmla="*/ 404 w 1207"/>
                <a:gd name="T61" fmla="*/ 278 h 962"/>
                <a:gd name="T62" fmla="*/ 345 w 1207"/>
                <a:gd name="T63" fmla="*/ 300 h 962"/>
                <a:gd name="T64" fmla="*/ 362 w 1207"/>
                <a:gd name="T65" fmla="*/ 357 h 962"/>
                <a:gd name="T66" fmla="*/ 382 w 1207"/>
                <a:gd name="T67" fmla="*/ 432 h 962"/>
                <a:gd name="T68" fmla="*/ 347 w 1207"/>
                <a:gd name="T69" fmla="*/ 472 h 962"/>
                <a:gd name="T70" fmla="*/ 292 w 1207"/>
                <a:gd name="T71" fmla="*/ 462 h 962"/>
                <a:gd name="T72" fmla="*/ 262 w 1207"/>
                <a:gd name="T73" fmla="*/ 417 h 962"/>
                <a:gd name="T74" fmla="*/ 249 w 1207"/>
                <a:gd name="T75" fmla="*/ 398 h 962"/>
                <a:gd name="T76" fmla="*/ 194 w 1207"/>
                <a:gd name="T77" fmla="*/ 421 h 962"/>
                <a:gd name="T78" fmla="*/ 147 w 1207"/>
                <a:gd name="T79" fmla="*/ 404 h 962"/>
                <a:gd name="T80" fmla="*/ 128 w 1207"/>
                <a:gd name="T81" fmla="*/ 354 h 962"/>
                <a:gd name="T82" fmla="*/ 178 w 1207"/>
                <a:gd name="T83" fmla="*/ 300 h 962"/>
                <a:gd name="T84" fmla="*/ 233 w 1207"/>
                <a:gd name="T85" fmla="*/ 262 h 962"/>
                <a:gd name="T86" fmla="*/ 195 w 1207"/>
                <a:gd name="T87" fmla="*/ 203 h 962"/>
                <a:gd name="T88" fmla="*/ 145 w 1207"/>
                <a:gd name="T89" fmla="*/ 185 h 962"/>
                <a:gd name="T90" fmla="*/ 115 w 1207"/>
                <a:gd name="T91" fmla="*/ 191 h 962"/>
                <a:gd name="T92" fmla="*/ 153 w 1207"/>
                <a:gd name="T93" fmla="*/ 136 h 962"/>
                <a:gd name="T94" fmla="*/ 157 w 1207"/>
                <a:gd name="T95" fmla="*/ 76 h 962"/>
                <a:gd name="T96" fmla="*/ 134 w 1207"/>
                <a:gd name="T97" fmla="*/ 28 h 962"/>
                <a:gd name="T98" fmla="*/ 269 w 1207"/>
                <a:gd name="T99" fmla="*/ 712 h 962"/>
                <a:gd name="T100" fmla="*/ 354 w 1207"/>
                <a:gd name="T101" fmla="*/ 656 h 962"/>
                <a:gd name="T102" fmla="*/ 437 w 1207"/>
                <a:gd name="T103" fmla="*/ 636 h 962"/>
                <a:gd name="T104" fmla="*/ 517 w 1207"/>
                <a:gd name="T105" fmla="*/ 643 h 962"/>
                <a:gd name="T106" fmla="*/ 610 w 1207"/>
                <a:gd name="T107" fmla="*/ 683 h 962"/>
                <a:gd name="T108" fmla="*/ 658 w 1207"/>
                <a:gd name="T109" fmla="*/ 735 h 962"/>
                <a:gd name="T110" fmla="*/ 673 w 1207"/>
                <a:gd name="T111" fmla="*/ 793 h 962"/>
                <a:gd name="T112" fmla="*/ 646 w 1207"/>
                <a:gd name="T113" fmla="*/ 877 h 9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207" h="962">
                  <a:moveTo>
                    <a:pt x="841" y="962"/>
                  </a:moveTo>
                  <a:lnTo>
                    <a:pt x="1207" y="484"/>
                  </a:lnTo>
                  <a:lnTo>
                    <a:pt x="1207" y="484"/>
                  </a:lnTo>
                  <a:lnTo>
                    <a:pt x="1200" y="482"/>
                  </a:lnTo>
                  <a:lnTo>
                    <a:pt x="1190" y="481"/>
                  </a:lnTo>
                  <a:lnTo>
                    <a:pt x="1179" y="480"/>
                  </a:lnTo>
                  <a:lnTo>
                    <a:pt x="1166" y="480"/>
                  </a:lnTo>
                  <a:lnTo>
                    <a:pt x="1149" y="483"/>
                  </a:lnTo>
                  <a:lnTo>
                    <a:pt x="1141" y="485"/>
                  </a:lnTo>
                  <a:lnTo>
                    <a:pt x="1133" y="488"/>
                  </a:lnTo>
                  <a:lnTo>
                    <a:pt x="1124" y="492"/>
                  </a:lnTo>
                  <a:lnTo>
                    <a:pt x="1115" y="496"/>
                  </a:lnTo>
                  <a:lnTo>
                    <a:pt x="1115" y="496"/>
                  </a:lnTo>
                  <a:lnTo>
                    <a:pt x="1106" y="502"/>
                  </a:lnTo>
                  <a:lnTo>
                    <a:pt x="1097" y="508"/>
                  </a:lnTo>
                  <a:lnTo>
                    <a:pt x="1090" y="515"/>
                  </a:lnTo>
                  <a:lnTo>
                    <a:pt x="1084" y="523"/>
                  </a:lnTo>
                  <a:lnTo>
                    <a:pt x="1079" y="532"/>
                  </a:lnTo>
                  <a:lnTo>
                    <a:pt x="1074" y="540"/>
                  </a:lnTo>
                  <a:lnTo>
                    <a:pt x="1070" y="548"/>
                  </a:lnTo>
                  <a:lnTo>
                    <a:pt x="1067" y="557"/>
                  </a:lnTo>
                  <a:lnTo>
                    <a:pt x="1062" y="574"/>
                  </a:lnTo>
                  <a:lnTo>
                    <a:pt x="1058" y="589"/>
                  </a:lnTo>
                  <a:lnTo>
                    <a:pt x="1057" y="600"/>
                  </a:lnTo>
                  <a:lnTo>
                    <a:pt x="1058" y="605"/>
                  </a:lnTo>
                  <a:lnTo>
                    <a:pt x="1059" y="608"/>
                  </a:lnTo>
                  <a:lnTo>
                    <a:pt x="1059" y="608"/>
                  </a:lnTo>
                  <a:lnTo>
                    <a:pt x="1055" y="599"/>
                  </a:lnTo>
                  <a:lnTo>
                    <a:pt x="1051" y="592"/>
                  </a:lnTo>
                  <a:lnTo>
                    <a:pt x="1046" y="585"/>
                  </a:lnTo>
                  <a:lnTo>
                    <a:pt x="1041" y="579"/>
                  </a:lnTo>
                  <a:lnTo>
                    <a:pt x="1036" y="574"/>
                  </a:lnTo>
                  <a:lnTo>
                    <a:pt x="1031" y="568"/>
                  </a:lnTo>
                  <a:lnTo>
                    <a:pt x="1025" y="564"/>
                  </a:lnTo>
                  <a:lnTo>
                    <a:pt x="1020" y="561"/>
                  </a:lnTo>
                  <a:lnTo>
                    <a:pt x="1007" y="556"/>
                  </a:lnTo>
                  <a:lnTo>
                    <a:pt x="994" y="554"/>
                  </a:lnTo>
                  <a:lnTo>
                    <a:pt x="982" y="553"/>
                  </a:lnTo>
                  <a:lnTo>
                    <a:pt x="970" y="554"/>
                  </a:lnTo>
                  <a:lnTo>
                    <a:pt x="957" y="556"/>
                  </a:lnTo>
                  <a:lnTo>
                    <a:pt x="946" y="558"/>
                  </a:lnTo>
                  <a:lnTo>
                    <a:pt x="935" y="562"/>
                  </a:lnTo>
                  <a:lnTo>
                    <a:pt x="927" y="565"/>
                  </a:lnTo>
                  <a:lnTo>
                    <a:pt x="913" y="572"/>
                  </a:lnTo>
                  <a:lnTo>
                    <a:pt x="908" y="574"/>
                  </a:lnTo>
                  <a:lnTo>
                    <a:pt x="908" y="574"/>
                  </a:lnTo>
                  <a:lnTo>
                    <a:pt x="920" y="594"/>
                  </a:lnTo>
                  <a:lnTo>
                    <a:pt x="930" y="613"/>
                  </a:lnTo>
                  <a:lnTo>
                    <a:pt x="936" y="632"/>
                  </a:lnTo>
                  <a:lnTo>
                    <a:pt x="940" y="647"/>
                  </a:lnTo>
                  <a:lnTo>
                    <a:pt x="941" y="663"/>
                  </a:lnTo>
                  <a:lnTo>
                    <a:pt x="941" y="675"/>
                  </a:lnTo>
                  <a:lnTo>
                    <a:pt x="939" y="687"/>
                  </a:lnTo>
                  <a:lnTo>
                    <a:pt x="935" y="696"/>
                  </a:lnTo>
                  <a:lnTo>
                    <a:pt x="930" y="705"/>
                  </a:lnTo>
                  <a:lnTo>
                    <a:pt x="924" y="712"/>
                  </a:lnTo>
                  <a:lnTo>
                    <a:pt x="915" y="718"/>
                  </a:lnTo>
                  <a:lnTo>
                    <a:pt x="907" y="722"/>
                  </a:lnTo>
                  <a:lnTo>
                    <a:pt x="899" y="724"/>
                  </a:lnTo>
                  <a:lnTo>
                    <a:pt x="890" y="725"/>
                  </a:lnTo>
                  <a:lnTo>
                    <a:pt x="881" y="725"/>
                  </a:lnTo>
                  <a:lnTo>
                    <a:pt x="871" y="724"/>
                  </a:lnTo>
                  <a:lnTo>
                    <a:pt x="871" y="724"/>
                  </a:lnTo>
                  <a:lnTo>
                    <a:pt x="859" y="720"/>
                  </a:lnTo>
                  <a:lnTo>
                    <a:pt x="850" y="715"/>
                  </a:lnTo>
                  <a:lnTo>
                    <a:pt x="842" y="709"/>
                  </a:lnTo>
                  <a:lnTo>
                    <a:pt x="835" y="702"/>
                  </a:lnTo>
                  <a:lnTo>
                    <a:pt x="829" y="695"/>
                  </a:lnTo>
                  <a:lnTo>
                    <a:pt x="825" y="688"/>
                  </a:lnTo>
                  <a:lnTo>
                    <a:pt x="821" y="680"/>
                  </a:lnTo>
                  <a:lnTo>
                    <a:pt x="819" y="673"/>
                  </a:lnTo>
                  <a:lnTo>
                    <a:pt x="816" y="658"/>
                  </a:lnTo>
                  <a:lnTo>
                    <a:pt x="816" y="646"/>
                  </a:lnTo>
                  <a:lnTo>
                    <a:pt x="816" y="638"/>
                  </a:lnTo>
                  <a:lnTo>
                    <a:pt x="816" y="635"/>
                  </a:lnTo>
                  <a:lnTo>
                    <a:pt x="816" y="635"/>
                  </a:lnTo>
                  <a:lnTo>
                    <a:pt x="813" y="637"/>
                  </a:lnTo>
                  <a:lnTo>
                    <a:pt x="805" y="643"/>
                  </a:lnTo>
                  <a:lnTo>
                    <a:pt x="793" y="650"/>
                  </a:lnTo>
                  <a:lnTo>
                    <a:pt x="785" y="653"/>
                  </a:lnTo>
                  <a:lnTo>
                    <a:pt x="777" y="656"/>
                  </a:lnTo>
                  <a:lnTo>
                    <a:pt x="768" y="658"/>
                  </a:lnTo>
                  <a:lnTo>
                    <a:pt x="759" y="659"/>
                  </a:lnTo>
                  <a:lnTo>
                    <a:pt x="749" y="659"/>
                  </a:lnTo>
                  <a:lnTo>
                    <a:pt x="739" y="658"/>
                  </a:lnTo>
                  <a:lnTo>
                    <a:pt x="729" y="655"/>
                  </a:lnTo>
                  <a:lnTo>
                    <a:pt x="720" y="650"/>
                  </a:lnTo>
                  <a:lnTo>
                    <a:pt x="710" y="643"/>
                  </a:lnTo>
                  <a:lnTo>
                    <a:pt x="701" y="634"/>
                  </a:lnTo>
                  <a:lnTo>
                    <a:pt x="701" y="634"/>
                  </a:lnTo>
                  <a:lnTo>
                    <a:pt x="694" y="625"/>
                  </a:lnTo>
                  <a:lnTo>
                    <a:pt x="690" y="616"/>
                  </a:lnTo>
                  <a:lnTo>
                    <a:pt x="688" y="607"/>
                  </a:lnTo>
                  <a:lnTo>
                    <a:pt x="689" y="598"/>
                  </a:lnTo>
                  <a:lnTo>
                    <a:pt x="690" y="589"/>
                  </a:lnTo>
                  <a:lnTo>
                    <a:pt x="694" y="581"/>
                  </a:lnTo>
                  <a:lnTo>
                    <a:pt x="701" y="572"/>
                  </a:lnTo>
                  <a:lnTo>
                    <a:pt x="708" y="564"/>
                  </a:lnTo>
                  <a:lnTo>
                    <a:pt x="717" y="557"/>
                  </a:lnTo>
                  <a:lnTo>
                    <a:pt x="727" y="550"/>
                  </a:lnTo>
                  <a:lnTo>
                    <a:pt x="740" y="544"/>
                  </a:lnTo>
                  <a:lnTo>
                    <a:pt x="754" y="540"/>
                  </a:lnTo>
                  <a:lnTo>
                    <a:pt x="769" y="536"/>
                  </a:lnTo>
                  <a:lnTo>
                    <a:pt x="786" y="533"/>
                  </a:lnTo>
                  <a:lnTo>
                    <a:pt x="804" y="532"/>
                  </a:lnTo>
                  <a:lnTo>
                    <a:pt x="823" y="531"/>
                  </a:lnTo>
                  <a:lnTo>
                    <a:pt x="823" y="531"/>
                  </a:lnTo>
                  <a:lnTo>
                    <a:pt x="824" y="520"/>
                  </a:lnTo>
                  <a:lnTo>
                    <a:pt x="823" y="509"/>
                  </a:lnTo>
                  <a:lnTo>
                    <a:pt x="820" y="494"/>
                  </a:lnTo>
                  <a:lnTo>
                    <a:pt x="817" y="486"/>
                  </a:lnTo>
                  <a:lnTo>
                    <a:pt x="814" y="477"/>
                  </a:lnTo>
                  <a:lnTo>
                    <a:pt x="810" y="469"/>
                  </a:lnTo>
                  <a:lnTo>
                    <a:pt x="805" y="460"/>
                  </a:lnTo>
                  <a:lnTo>
                    <a:pt x="799" y="451"/>
                  </a:lnTo>
                  <a:lnTo>
                    <a:pt x="792" y="443"/>
                  </a:lnTo>
                  <a:lnTo>
                    <a:pt x="782" y="435"/>
                  </a:lnTo>
                  <a:lnTo>
                    <a:pt x="772" y="426"/>
                  </a:lnTo>
                  <a:lnTo>
                    <a:pt x="772" y="426"/>
                  </a:lnTo>
                  <a:lnTo>
                    <a:pt x="764" y="421"/>
                  </a:lnTo>
                  <a:lnTo>
                    <a:pt x="755" y="417"/>
                  </a:lnTo>
                  <a:lnTo>
                    <a:pt x="745" y="415"/>
                  </a:lnTo>
                  <a:lnTo>
                    <a:pt x="735" y="413"/>
                  </a:lnTo>
                  <a:lnTo>
                    <a:pt x="725" y="412"/>
                  </a:lnTo>
                  <a:lnTo>
                    <a:pt x="716" y="412"/>
                  </a:lnTo>
                  <a:lnTo>
                    <a:pt x="698" y="414"/>
                  </a:lnTo>
                  <a:lnTo>
                    <a:pt x="681" y="418"/>
                  </a:lnTo>
                  <a:lnTo>
                    <a:pt x="668" y="421"/>
                  </a:lnTo>
                  <a:lnTo>
                    <a:pt x="657" y="425"/>
                  </a:lnTo>
                  <a:lnTo>
                    <a:pt x="657" y="425"/>
                  </a:lnTo>
                  <a:lnTo>
                    <a:pt x="664" y="421"/>
                  </a:lnTo>
                  <a:lnTo>
                    <a:pt x="672" y="415"/>
                  </a:lnTo>
                  <a:lnTo>
                    <a:pt x="681" y="408"/>
                  </a:lnTo>
                  <a:lnTo>
                    <a:pt x="691" y="397"/>
                  </a:lnTo>
                  <a:lnTo>
                    <a:pt x="701" y="384"/>
                  </a:lnTo>
                  <a:lnTo>
                    <a:pt x="705" y="376"/>
                  </a:lnTo>
                  <a:lnTo>
                    <a:pt x="709" y="369"/>
                  </a:lnTo>
                  <a:lnTo>
                    <a:pt x="712" y="360"/>
                  </a:lnTo>
                  <a:lnTo>
                    <a:pt x="714" y="351"/>
                  </a:lnTo>
                  <a:lnTo>
                    <a:pt x="714" y="351"/>
                  </a:lnTo>
                  <a:lnTo>
                    <a:pt x="716" y="336"/>
                  </a:lnTo>
                  <a:lnTo>
                    <a:pt x="715" y="320"/>
                  </a:lnTo>
                  <a:lnTo>
                    <a:pt x="713" y="303"/>
                  </a:lnTo>
                  <a:lnTo>
                    <a:pt x="709" y="285"/>
                  </a:lnTo>
                  <a:lnTo>
                    <a:pt x="702" y="267"/>
                  </a:lnTo>
                  <a:lnTo>
                    <a:pt x="693" y="249"/>
                  </a:lnTo>
                  <a:lnTo>
                    <a:pt x="682" y="232"/>
                  </a:lnTo>
                  <a:lnTo>
                    <a:pt x="676" y="223"/>
                  </a:lnTo>
                  <a:lnTo>
                    <a:pt x="669" y="216"/>
                  </a:lnTo>
                  <a:lnTo>
                    <a:pt x="668" y="214"/>
                  </a:lnTo>
                  <a:lnTo>
                    <a:pt x="665" y="214"/>
                  </a:lnTo>
                  <a:lnTo>
                    <a:pt x="665" y="214"/>
                  </a:lnTo>
                  <a:lnTo>
                    <a:pt x="655" y="214"/>
                  </a:lnTo>
                  <a:lnTo>
                    <a:pt x="644" y="215"/>
                  </a:lnTo>
                  <a:lnTo>
                    <a:pt x="624" y="219"/>
                  </a:lnTo>
                  <a:lnTo>
                    <a:pt x="606" y="224"/>
                  </a:lnTo>
                  <a:lnTo>
                    <a:pt x="587" y="232"/>
                  </a:lnTo>
                  <a:lnTo>
                    <a:pt x="572" y="240"/>
                  </a:lnTo>
                  <a:lnTo>
                    <a:pt x="557" y="250"/>
                  </a:lnTo>
                  <a:lnTo>
                    <a:pt x="545" y="261"/>
                  </a:lnTo>
                  <a:lnTo>
                    <a:pt x="535" y="272"/>
                  </a:lnTo>
                  <a:lnTo>
                    <a:pt x="535" y="272"/>
                  </a:lnTo>
                  <a:lnTo>
                    <a:pt x="530" y="280"/>
                  </a:lnTo>
                  <a:lnTo>
                    <a:pt x="526" y="288"/>
                  </a:lnTo>
                  <a:lnTo>
                    <a:pt x="523" y="297"/>
                  </a:lnTo>
                  <a:lnTo>
                    <a:pt x="520" y="305"/>
                  </a:lnTo>
                  <a:lnTo>
                    <a:pt x="517" y="320"/>
                  </a:lnTo>
                  <a:lnTo>
                    <a:pt x="516" y="334"/>
                  </a:lnTo>
                  <a:lnTo>
                    <a:pt x="516" y="347"/>
                  </a:lnTo>
                  <a:lnTo>
                    <a:pt x="517" y="357"/>
                  </a:lnTo>
                  <a:lnTo>
                    <a:pt x="519" y="365"/>
                  </a:lnTo>
                  <a:lnTo>
                    <a:pt x="519" y="365"/>
                  </a:lnTo>
                  <a:lnTo>
                    <a:pt x="513" y="354"/>
                  </a:lnTo>
                  <a:lnTo>
                    <a:pt x="508" y="341"/>
                  </a:lnTo>
                  <a:lnTo>
                    <a:pt x="499" y="327"/>
                  </a:lnTo>
                  <a:lnTo>
                    <a:pt x="488" y="313"/>
                  </a:lnTo>
                  <a:lnTo>
                    <a:pt x="482" y="306"/>
                  </a:lnTo>
                  <a:lnTo>
                    <a:pt x="475" y="299"/>
                  </a:lnTo>
                  <a:lnTo>
                    <a:pt x="467" y="292"/>
                  </a:lnTo>
                  <a:lnTo>
                    <a:pt x="458" y="287"/>
                  </a:lnTo>
                  <a:lnTo>
                    <a:pt x="450" y="283"/>
                  </a:lnTo>
                  <a:lnTo>
                    <a:pt x="440" y="281"/>
                  </a:lnTo>
                  <a:lnTo>
                    <a:pt x="440" y="281"/>
                  </a:lnTo>
                  <a:lnTo>
                    <a:pt x="428" y="278"/>
                  </a:lnTo>
                  <a:lnTo>
                    <a:pt x="415" y="278"/>
                  </a:lnTo>
                  <a:lnTo>
                    <a:pt x="404" y="278"/>
                  </a:lnTo>
                  <a:lnTo>
                    <a:pt x="393" y="279"/>
                  </a:lnTo>
                  <a:lnTo>
                    <a:pt x="384" y="281"/>
                  </a:lnTo>
                  <a:lnTo>
                    <a:pt x="374" y="284"/>
                  </a:lnTo>
                  <a:lnTo>
                    <a:pt x="365" y="287"/>
                  </a:lnTo>
                  <a:lnTo>
                    <a:pt x="358" y="291"/>
                  </a:lnTo>
                  <a:lnTo>
                    <a:pt x="345" y="300"/>
                  </a:lnTo>
                  <a:lnTo>
                    <a:pt x="336" y="307"/>
                  </a:lnTo>
                  <a:lnTo>
                    <a:pt x="328" y="314"/>
                  </a:lnTo>
                  <a:lnTo>
                    <a:pt x="328" y="314"/>
                  </a:lnTo>
                  <a:lnTo>
                    <a:pt x="342" y="328"/>
                  </a:lnTo>
                  <a:lnTo>
                    <a:pt x="353" y="343"/>
                  </a:lnTo>
                  <a:lnTo>
                    <a:pt x="362" y="357"/>
                  </a:lnTo>
                  <a:lnTo>
                    <a:pt x="369" y="371"/>
                  </a:lnTo>
                  <a:lnTo>
                    <a:pt x="375" y="384"/>
                  </a:lnTo>
                  <a:lnTo>
                    <a:pt x="380" y="398"/>
                  </a:lnTo>
                  <a:lnTo>
                    <a:pt x="382" y="410"/>
                  </a:lnTo>
                  <a:lnTo>
                    <a:pt x="383" y="421"/>
                  </a:lnTo>
                  <a:lnTo>
                    <a:pt x="382" y="432"/>
                  </a:lnTo>
                  <a:lnTo>
                    <a:pt x="380" y="442"/>
                  </a:lnTo>
                  <a:lnTo>
                    <a:pt x="375" y="451"/>
                  </a:lnTo>
                  <a:lnTo>
                    <a:pt x="370" y="458"/>
                  </a:lnTo>
                  <a:lnTo>
                    <a:pt x="363" y="464"/>
                  </a:lnTo>
                  <a:lnTo>
                    <a:pt x="356" y="469"/>
                  </a:lnTo>
                  <a:lnTo>
                    <a:pt x="347" y="472"/>
                  </a:lnTo>
                  <a:lnTo>
                    <a:pt x="337" y="473"/>
                  </a:lnTo>
                  <a:lnTo>
                    <a:pt x="337" y="473"/>
                  </a:lnTo>
                  <a:lnTo>
                    <a:pt x="322" y="473"/>
                  </a:lnTo>
                  <a:lnTo>
                    <a:pt x="311" y="471"/>
                  </a:lnTo>
                  <a:lnTo>
                    <a:pt x="301" y="467"/>
                  </a:lnTo>
                  <a:lnTo>
                    <a:pt x="292" y="462"/>
                  </a:lnTo>
                  <a:lnTo>
                    <a:pt x="283" y="456"/>
                  </a:lnTo>
                  <a:lnTo>
                    <a:pt x="277" y="449"/>
                  </a:lnTo>
                  <a:lnTo>
                    <a:pt x="272" y="441"/>
                  </a:lnTo>
                  <a:lnTo>
                    <a:pt x="268" y="432"/>
                  </a:lnTo>
                  <a:lnTo>
                    <a:pt x="264" y="424"/>
                  </a:lnTo>
                  <a:lnTo>
                    <a:pt x="262" y="417"/>
                  </a:lnTo>
                  <a:lnTo>
                    <a:pt x="259" y="403"/>
                  </a:lnTo>
                  <a:lnTo>
                    <a:pt x="257" y="393"/>
                  </a:lnTo>
                  <a:lnTo>
                    <a:pt x="257" y="390"/>
                  </a:lnTo>
                  <a:lnTo>
                    <a:pt x="257" y="390"/>
                  </a:lnTo>
                  <a:lnTo>
                    <a:pt x="255" y="392"/>
                  </a:lnTo>
                  <a:lnTo>
                    <a:pt x="249" y="398"/>
                  </a:lnTo>
                  <a:lnTo>
                    <a:pt x="239" y="405"/>
                  </a:lnTo>
                  <a:lnTo>
                    <a:pt x="227" y="413"/>
                  </a:lnTo>
                  <a:lnTo>
                    <a:pt x="220" y="416"/>
                  </a:lnTo>
                  <a:lnTo>
                    <a:pt x="212" y="419"/>
                  </a:lnTo>
                  <a:lnTo>
                    <a:pt x="204" y="420"/>
                  </a:lnTo>
                  <a:lnTo>
                    <a:pt x="194" y="421"/>
                  </a:lnTo>
                  <a:lnTo>
                    <a:pt x="185" y="421"/>
                  </a:lnTo>
                  <a:lnTo>
                    <a:pt x="175" y="419"/>
                  </a:lnTo>
                  <a:lnTo>
                    <a:pt x="165" y="415"/>
                  </a:lnTo>
                  <a:lnTo>
                    <a:pt x="155" y="409"/>
                  </a:lnTo>
                  <a:lnTo>
                    <a:pt x="155" y="409"/>
                  </a:lnTo>
                  <a:lnTo>
                    <a:pt x="147" y="404"/>
                  </a:lnTo>
                  <a:lnTo>
                    <a:pt x="140" y="397"/>
                  </a:lnTo>
                  <a:lnTo>
                    <a:pt x="135" y="390"/>
                  </a:lnTo>
                  <a:lnTo>
                    <a:pt x="131" y="381"/>
                  </a:lnTo>
                  <a:lnTo>
                    <a:pt x="129" y="372"/>
                  </a:lnTo>
                  <a:lnTo>
                    <a:pt x="128" y="363"/>
                  </a:lnTo>
                  <a:lnTo>
                    <a:pt x="128" y="354"/>
                  </a:lnTo>
                  <a:lnTo>
                    <a:pt x="131" y="345"/>
                  </a:lnTo>
                  <a:lnTo>
                    <a:pt x="136" y="334"/>
                  </a:lnTo>
                  <a:lnTo>
                    <a:pt x="142" y="325"/>
                  </a:lnTo>
                  <a:lnTo>
                    <a:pt x="153" y="316"/>
                  </a:lnTo>
                  <a:lnTo>
                    <a:pt x="164" y="308"/>
                  </a:lnTo>
                  <a:lnTo>
                    <a:pt x="178" y="300"/>
                  </a:lnTo>
                  <a:lnTo>
                    <a:pt x="195" y="292"/>
                  </a:lnTo>
                  <a:lnTo>
                    <a:pt x="216" y="286"/>
                  </a:lnTo>
                  <a:lnTo>
                    <a:pt x="239" y="280"/>
                  </a:lnTo>
                  <a:lnTo>
                    <a:pt x="239" y="280"/>
                  </a:lnTo>
                  <a:lnTo>
                    <a:pt x="238" y="275"/>
                  </a:lnTo>
                  <a:lnTo>
                    <a:pt x="233" y="262"/>
                  </a:lnTo>
                  <a:lnTo>
                    <a:pt x="230" y="253"/>
                  </a:lnTo>
                  <a:lnTo>
                    <a:pt x="225" y="242"/>
                  </a:lnTo>
                  <a:lnTo>
                    <a:pt x="220" y="232"/>
                  </a:lnTo>
                  <a:lnTo>
                    <a:pt x="213" y="222"/>
                  </a:lnTo>
                  <a:lnTo>
                    <a:pt x="205" y="213"/>
                  </a:lnTo>
                  <a:lnTo>
                    <a:pt x="195" y="203"/>
                  </a:lnTo>
                  <a:lnTo>
                    <a:pt x="185" y="196"/>
                  </a:lnTo>
                  <a:lnTo>
                    <a:pt x="173" y="190"/>
                  </a:lnTo>
                  <a:lnTo>
                    <a:pt x="167" y="188"/>
                  </a:lnTo>
                  <a:lnTo>
                    <a:pt x="161" y="187"/>
                  </a:lnTo>
                  <a:lnTo>
                    <a:pt x="154" y="186"/>
                  </a:lnTo>
                  <a:lnTo>
                    <a:pt x="145" y="185"/>
                  </a:lnTo>
                  <a:lnTo>
                    <a:pt x="138" y="186"/>
                  </a:lnTo>
                  <a:lnTo>
                    <a:pt x="129" y="187"/>
                  </a:lnTo>
                  <a:lnTo>
                    <a:pt x="121" y="190"/>
                  </a:lnTo>
                  <a:lnTo>
                    <a:pt x="112" y="193"/>
                  </a:lnTo>
                  <a:lnTo>
                    <a:pt x="112" y="193"/>
                  </a:lnTo>
                  <a:lnTo>
                    <a:pt x="115" y="191"/>
                  </a:lnTo>
                  <a:lnTo>
                    <a:pt x="119" y="188"/>
                  </a:lnTo>
                  <a:lnTo>
                    <a:pt x="127" y="180"/>
                  </a:lnTo>
                  <a:lnTo>
                    <a:pt x="136" y="168"/>
                  </a:lnTo>
                  <a:lnTo>
                    <a:pt x="144" y="153"/>
                  </a:lnTo>
                  <a:lnTo>
                    <a:pt x="148" y="144"/>
                  </a:lnTo>
                  <a:lnTo>
                    <a:pt x="153" y="136"/>
                  </a:lnTo>
                  <a:lnTo>
                    <a:pt x="156" y="127"/>
                  </a:lnTo>
                  <a:lnTo>
                    <a:pt x="158" y="117"/>
                  </a:lnTo>
                  <a:lnTo>
                    <a:pt x="159" y="106"/>
                  </a:lnTo>
                  <a:lnTo>
                    <a:pt x="160" y="97"/>
                  </a:lnTo>
                  <a:lnTo>
                    <a:pt x="159" y="86"/>
                  </a:lnTo>
                  <a:lnTo>
                    <a:pt x="157" y="76"/>
                  </a:lnTo>
                  <a:lnTo>
                    <a:pt x="157" y="76"/>
                  </a:lnTo>
                  <a:lnTo>
                    <a:pt x="155" y="66"/>
                  </a:lnTo>
                  <a:lnTo>
                    <a:pt x="150" y="57"/>
                  </a:lnTo>
                  <a:lnTo>
                    <a:pt x="147" y="49"/>
                  </a:lnTo>
                  <a:lnTo>
                    <a:pt x="143" y="41"/>
                  </a:lnTo>
                  <a:lnTo>
                    <a:pt x="134" y="28"/>
                  </a:lnTo>
                  <a:lnTo>
                    <a:pt x="125" y="17"/>
                  </a:lnTo>
                  <a:lnTo>
                    <a:pt x="117" y="9"/>
                  </a:lnTo>
                  <a:lnTo>
                    <a:pt x="110" y="4"/>
                  </a:lnTo>
                  <a:lnTo>
                    <a:pt x="103" y="0"/>
                  </a:lnTo>
                  <a:lnTo>
                    <a:pt x="0" y="593"/>
                  </a:lnTo>
                  <a:lnTo>
                    <a:pt x="269" y="712"/>
                  </a:lnTo>
                  <a:lnTo>
                    <a:pt x="269" y="712"/>
                  </a:lnTo>
                  <a:lnTo>
                    <a:pt x="293" y="693"/>
                  </a:lnTo>
                  <a:lnTo>
                    <a:pt x="315" y="677"/>
                  </a:lnTo>
                  <a:lnTo>
                    <a:pt x="336" y="665"/>
                  </a:lnTo>
                  <a:lnTo>
                    <a:pt x="354" y="656"/>
                  </a:lnTo>
                  <a:lnTo>
                    <a:pt x="354" y="656"/>
                  </a:lnTo>
                  <a:lnTo>
                    <a:pt x="367" y="650"/>
                  </a:lnTo>
                  <a:lnTo>
                    <a:pt x="382" y="646"/>
                  </a:lnTo>
                  <a:lnTo>
                    <a:pt x="396" y="642"/>
                  </a:lnTo>
                  <a:lnTo>
                    <a:pt x="409" y="639"/>
                  </a:lnTo>
                  <a:lnTo>
                    <a:pt x="423" y="637"/>
                  </a:lnTo>
                  <a:lnTo>
                    <a:pt x="437" y="636"/>
                  </a:lnTo>
                  <a:lnTo>
                    <a:pt x="450" y="635"/>
                  </a:lnTo>
                  <a:lnTo>
                    <a:pt x="464" y="635"/>
                  </a:lnTo>
                  <a:lnTo>
                    <a:pt x="478" y="636"/>
                  </a:lnTo>
                  <a:lnTo>
                    <a:pt x="491" y="638"/>
                  </a:lnTo>
                  <a:lnTo>
                    <a:pt x="504" y="640"/>
                  </a:lnTo>
                  <a:lnTo>
                    <a:pt x="517" y="643"/>
                  </a:lnTo>
                  <a:lnTo>
                    <a:pt x="542" y="650"/>
                  </a:lnTo>
                  <a:lnTo>
                    <a:pt x="566" y="658"/>
                  </a:lnTo>
                  <a:lnTo>
                    <a:pt x="566" y="658"/>
                  </a:lnTo>
                  <a:lnTo>
                    <a:pt x="582" y="667"/>
                  </a:lnTo>
                  <a:lnTo>
                    <a:pt x="596" y="675"/>
                  </a:lnTo>
                  <a:lnTo>
                    <a:pt x="610" y="683"/>
                  </a:lnTo>
                  <a:lnTo>
                    <a:pt x="621" y="691"/>
                  </a:lnTo>
                  <a:lnTo>
                    <a:pt x="631" y="699"/>
                  </a:lnTo>
                  <a:lnTo>
                    <a:pt x="639" y="709"/>
                  </a:lnTo>
                  <a:lnTo>
                    <a:pt x="646" y="717"/>
                  </a:lnTo>
                  <a:lnTo>
                    <a:pt x="653" y="726"/>
                  </a:lnTo>
                  <a:lnTo>
                    <a:pt x="658" y="735"/>
                  </a:lnTo>
                  <a:lnTo>
                    <a:pt x="662" y="743"/>
                  </a:lnTo>
                  <a:lnTo>
                    <a:pt x="665" y="753"/>
                  </a:lnTo>
                  <a:lnTo>
                    <a:pt x="668" y="761"/>
                  </a:lnTo>
                  <a:lnTo>
                    <a:pt x="671" y="778"/>
                  </a:lnTo>
                  <a:lnTo>
                    <a:pt x="673" y="793"/>
                  </a:lnTo>
                  <a:lnTo>
                    <a:pt x="673" y="793"/>
                  </a:lnTo>
                  <a:lnTo>
                    <a:pt x="672" y="804"/>
                  </a:lnTo>
                  <a:lnTo>
                    <a:pt x="670" y="815"/>
                  </a:lnTo>
                  <a:lnTo>
                    <a:pt x="667" y="827"/>
                  </a:lnTo>
                  <a:lnTo>
                    <a:pt x="663" y="839"/>
                  </a:lnTo>
                  <a:lnTo>
                    <a:pt x="654" y="863"/>
                  </a:lnTo>
                  <a:lnTo>
                    <a:pt x="646" y="877"/>
                  </a:lnTo>
                  <a:lnTo>
                    <a:pt x="841" y="96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90" name="Freeform 43"/>
            <p:cNvSpPr>
              <a:spLocks/>
            </p:cNvSpPr>
            <p:nvPr userDrawn="1"/>
          </p:nvSpPr>
          <p:spPr bwMode="auto">
            <a:xfrm>
              <a:off x="6174034" y="454192"/>
              <a:ext cx="193675" cy="33339"/>
            </a:xfrm>
            <a:custGeom>
              <a:avLst/>
              <a:gdLst>
                <a:gd name="T0" fmla="*/ 1228 w 1463"/>
                <a:gd name="T1" fmla="*/ 227 h 256"/>
                <a:gd name="T2" fmla="*/ 1463 w 1463"/>
                <a:gd name="T3" fmla="*/ 113 h 256"/>
                <a:gd name="T4" fmla="*/ 1225 w 1463"/>
                <a:gd name="T5" fmla="*/ 14 h 256"/>
                <a:gd name="T6" fmla="*/ 1225 w 1463"/>
                <a:gd name="T7" fmla="*/ 14 h 256"/>
                <a:gd name="T8" fmla="*/ 1152 w 1463"/>
                <a:gd name="T9" fmla="*/ 15 h 256"/>
                <a:gd name="T10" fmla="*/ 1060 w 1463"/>
                <a:gd name="T11" fmla="*/ 16 h 256"/>
                <a:gd name="T12" fmla="*/ 949 w 1463"/>
                <a:gd name="T13" fmla="*/ 15 h 256"/>
                <a:gd name="T14" fmla="*/ 824 w 1463"/>
                <a:gd name="T15" fmla="*/ 13 h 256"/>
                <a:gd name="T16" fmla="*/ 531 w 1463"/>
                <a:gd name="T17" fmla="*/ 7 h 256"/>
                <a:gd name="T18" fmla="*/ 197 w 1463"/>
                <a:gd name="T19" fmla="*/ 0 h 256"/>
                <a:gd name="T20" fmla="*/ 0 w 1463"/>
                <a:gd name="T21" fmla="*/ 256 h 256"/>
                <a:gd name="T22" fmla="*/ 0 w 1463"/>
                <a:gd name="T23" fmla="*/ 256 h 256"/>
                <a:gd name="T24" fmla="*/ 734 w 1463"/>
                <a:gd name="T25" fmla="*/ 240 h 256"/>
                <a:gd name="T26" fmla="*/ 1024 w 1463"/>
                <a:gd name="T27" fmla="*/ 234 h 256"/>
                <a:gd name="T28" fmla="*/ 1228 w 1463"/>
                <a:gd name="T29" fmla="*/ 227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63" h="256">
                  <a:moveTo>
                    <a:pt x="1228" y="227"/>
                  </a:moveTo>
                  <a:lnTo>
                    <a:pt x="1463" y="113"/>
                  </a:lnTo>
                  <a:lnTo>
                    <a:pt x="1225" y="14"/>
                  </a:lnTo>
                  <a:lnTo>
                    <a:pt x="1225" y="14"/>
                  </a:lnTo>
                  <a:lnTo>
                    <a:pt x="1152" y="15"/>
                  </a:lnTo>
                  <a:lnTo>
                    <a:pt x="1060" y="16"/>
                  </a:lnTo>
                  <a:lnTo>
                    <a:pt x="949" y="15"/>
                  </a:lnTo>
                  <a:lnTo>
                    <a:pt x="824" y="13"/>
                  </a:lnTo>
                  <a:lnTo>
                    <a:pt x="531" y="7"/>
                  </a:lnTo>
                  <a:lnTo>
                    <a:pt x="197" y="0"/>
                  </a:lnTo>
                  <a:lnTo>
                    <a:pt x="0" y="256"/>
                  </a:lnTo>
                  <a:lnTo>
                    <a:pt x="0" y="256"/>
                  </a:lnTo>
                  <a:lnTo>
                    <a:pt x="734" y="240"/>
                  </a:lnTo>
                  <a:lnTo>
                    <a:pt x="1024" y="234"/>
                  </a:lnTo>
                  <a:lnTo>
                    <a:pt x="1228" y="22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91" name="Freeform 44"/>
            <p:cNvSpPr>
              <a:spLocks/>
            </p:cNvSpPr>
            <p:nvPr userDrawn="1"/>
          </p:nvSpPr>
          <p:spPr bwMode="auto">
            <a:xfrm>
              <a:off x="6235946" y="536743"/>
              <a:ext cx="114300" cy="112713"/>
            </a:xfrm>
            <a:custGeom>
              <a:avLst/>
              <a:gdLst>
                <a:gd name="T0" fmla="*/ 386 w 869"/>
                <a:gd name="T1" fmla="*/ 818 h 851"/>
                <a:gd name="T2" fmla="*/ 235 w 869"/>
                <a:gd name="T3" fmla="*/ 737 h 851"/>
                <a:gd name="T4" fmla="*/ 156 w 869"/>
                <a:gd name="T5" fmla="*/ 685 h 851"/>
                <a:gd name="T6" fmla="*/ 90 w 869"/>
                <a:gd name="T7" fmla="*/ 626 h 851"/>
                <a:gd name="T8" fmla="*/ 37 w 869"/>
                <a:gd name="T9" fmla="*/ 557 h 851"/>
                <a:gd name="T10" fmla="*/ 24 w 869"/>
                <a:gd name="T11" fmla="*/ 531 h 851"/>
                <a:gd name="T12" fmla="*/ 10 w 869"/>
                <a:gd name="T13" fmla="*/ 487 h 851"/>
                <a:gd name="T14" fmla="*/ 2 w 869"/>
                <a:gd name="T15" fmla="*/ 439 h 851"/>
                <a:gd name="T16" fmla="*/ 0 w 869"/>
                <a:gd name="T17" fmla="*/ 389 h 851"/>
                <a:gd name="T18" fmla="*/ 5 w 869"/>
                <a:gd name="T19" fmla="*/ 336 h 851"/>
                <a:gd name="T20" fmla="*/ 15 w 869"/>
                <a:gd name="T21" fmla="*/ 283 h 851"/>
                <a:gd name="T22" fmla="*/ 34 w 869"/>
                <a:gd name="T23" fmla="*/ 231 h 851"/>
                <a:gd name="T24" fmla="*/ 59 w 869"/>
                <a:gd name="T25" fmla="*/ 182 h 851"/>
                <a:gd name="T26" fmla="*/ 93 w 869"/>
                <a:gd name="T27" fmla="*/ 136 h 851"/>
                <a:gd name="T28" fmla="*/ 134 w 869"/>
                <a:gd name="T29" fmla="*/ 94 h 851"/>
                <a:gd name="T30" fmla="*/ 183 w 869"/>
                <a:gd name="T31" fmla="*/ 59 h 851"/>
                <a:gd name="T32" fmla="*/ 198 w 869"/>
                <a:gd name="T33" fmla="*/ 75 h 851"/>
                <a:gd name="T34" fmla="*/ 217 w 869"/>
                <a:gd name="T35" fmla="*/ 106 h 851"/>
                <a:gd name="T36" fmla="*/ 227 w 869"/>
                <a:gd name="T37" fmla="*/ 141 h 851"/>
                <a:gd name="T38" fmla="*/ 247 w 869"/>
                <a:gd name="T39" fmla="*/ 150 h 851"/>
                <a:gd name="T40" fmla="*/ 379 w 869"/>
                <a:gd name="T41" fmla="*/ 144 h 851"/>
                <a:gd name="T42" fmla="*/ 424 w 869"/>
                <a:gd name="T43" fmla="*/ 143 h 851"/>
                <a:gd name="T44" fmla="*/ 424 w 869"/>
                <a:gd name="T45" fmla="*/ 94 h 851"/>
                <a:gd name="T46" fmla="*/ 414 w 869"/>
                <a:gd name="T47" fmla="*/ 37 h 851"/>
                <a:gd name="T48" fmla="*/ 397 w 869"/>
                <a:gd name="T49" fmla="*/ 0 h 851"/>
                <a:gd name="T50" fmla="*/ 431 w 869"/>
                <a:gd name="T51" fmla="*/ 27 h 851"/>
                <a:gd name="T52" fmla="*/ 459 w 869"/>
                <a:gd name="T53" fmla="*/ 55 h 851"/>
                <a:gd name="T54" fmla="*/ 475 w 869"/>
                <a:gd name="T55" fmla="*/ 82 h 851"/>
                <a:gd name="T56" fmla="*/ 487 w 869"/>
                <a:gd name="T57" fmla="*/ 116 h 851"/>
                <a:gd name="T58" fmla="*/ 493 w 869"/>
                <a:gd name="T59" fmla="*/ 143 h 851"/>
                <a:gd name="T60" fmla="*/ 671 w 869"/>
                <a:gd name="T61" fmla="*/ 133 h 851"/>
                <a:gd name="T62" fmla="*/ 662 w 869"/>
                <a:gd name="T63" fmla="*/ 88 h 851"/>
                <a:gd name="T64" fmla="*/ 643 w 869"/>
                <a:gd name="T65" fmla="*/ 50 h 851"/>
                <a:gd name="T66" fmla="*/ 651 w 869"/>
                <a:gd name="T67" fmla="*/ 46 h 851"/>
                <a:gd name="T68" fmla="*/ 699 w 869"/>
                <a:gd name="T69" fmla="*/ 73 h 851"/>
                <a:gd name="T70" fmla="*/ 740 w 869"/>
                <a:gd name="T71" fmla="*/ 104 h 851"/>
                <a:gd name="T72" fmla="*/ 775 w 869"/>
                <a:gd name="T73" fmla="*/ 138 h 851"/>
                <a:gd name="T74" fmla="*/ 803 w 869"/>
                <a:gd name="T75" fmla="*/ 175 h 851"/>
                <a:gd name="T76" fmla="*/ 837 w 869"/>
                <a:gd name="T77" fmla="*/ 238 h 851"/>
                <a:gd name="T78" fmla="*/ 861 w 869"/>
                <a:gd name="T79" fmla="*/ 312 h 851"/>
                <a:gd name="T80" fmla="*/ 869 w 869"/>
                <a:gd name="T81" fmla="*/ 379 h 851"/>
                <a:gd name="T82" fmla="*/ 869 w 869"/>
                <a:gd name="T83" fmla="*/ 423 h 851"/>
                <a:gd name="T84" fmla="*/ 859 w 869"/>
                <a:gd name="T85" fmla="*/ 499 h 851"/>
                <a:gd name="T86" fmla="*/ 834 w 869"/>
                <a:gd name="T87" fmla="*/ 569 h 851"/>
                <a:gd name="T88" fmla="*/ 796 w 869"/>
                <a:gd name="T89" fmla="*/ 631 h 851"/>
                <a:gd name="T90" fmla="*/ 749 w 869"/>
                <a:gd name="T91" fmla="*/ 684 h 851"/>
                <a:gd name="T92" fmla="*/ 693 w 869"/>
                <a:gd name="T93" fmla="*/ 727 h 851"/>
                <a:gd name="T94" fmla="*/ 626 w 869"/>
                <a:gd name="T95" fmla="*/ 766 h 851"/>
                <a:gd name="T96" fmla="*/ 506 w 869"/>
                <a:gd name="T97" fmla="*/ 826 h 8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869" h="851">
                  <a:moveTo>
                    <a:pt x="452" y="851"/>
                  </a:moveTo>
                  <a:lnTo>
                    <a:pt x="452" y="851"/>
                  </a:lnTo>
                  <a:lnTo>
                    <a:pt x="386" y="818"/>
                  </a:lnTo>
                  <a:lnTo>
                    <a:pt x="323" y="785"/>
                  </a:lnTo>
                  <a:lnTo>
                    <a:pt x="264" y="754"/>
                  </a:lnTo>
                  <a:lnTo>
                    <a:pt x="235" y="737"/>
                  </a:lnTo>
                  <a:lnTo>
                    <a:pt x="207" y="720"/>
                  </a:lnTo>
                  <a:lnTo>
                    <a:pt x="181" y="703"/>
                  </a:lnTo>
                  <a:lnTo>
                    <a:pt x="156" y="685"/>
                  </a:lnTo>
                  <a:lnTo>
                    <a:pt x="133" y="666"/>
                  </a:lnTo>
                  <a:lnTo>
                    <a:pt x="110" y="646"/>
                  </a:lnTo>
                  <a:lnTo>
                    <a:pt x="90" y="626"/>
                  </a:lnTo>
                  <a:lnTo>
                    <a:pt x="70" y="605"/>
                  </a:lnTo>
                  <a:lnTo>
                    <a:pt x="53" y="581"/>
                  </a:lnTo>
                  <a:lnTo>
                    <a:pt x="37" y="557"/>
                  </a:lnTo>
                  <a:lnTo>
                    <a:pt x="37" y="557"/>
                  </a:lnTo>
                  <a:lnTo>
                    <a:pt x="31" y="544"/>
                  </a:lnTo>
                  <a:lnTo>
                    <a:pt x="24" y="531"/>
                  </a:lnTo>
                  <a:lnTo>
                    <a:pt x="19" y="517"/>
                  </a:lnTo>
                  <a:lnTo>
                    <a:pt x="14" y="502"/>
                  </a:lnTo>
                  <a:lnTo>
                    <a:pt x="10" y="487"/>
                  </a:lnTo>
                  <a:lnTo>
                    <a:pt x="7" y="472"/>
                  </a:lnTo>
                  <a:lnTo>
                    <a:pt x="4" y="455"/>
                  </a:lnTo>
                  <a:lnTo>
                    <a:pt x="2" y="439"/>
                  </a:lnTo>
                  <a:lnTo>
                    <a:pt x="1" y="423"/>
                  </a:lnTo>
                  <a:lnTo>
                    <a:pt x="0" y="405"/>
                  </a:lnTo>
                  <a:lnTo>
                    <a:pt x="0" y="389"/>
                  </a:lnTo>
                  <a:lnTo>
                    <a:pt x="1" y="371"/>
                  </a:lnTo>
                  <a:lnTo>
                    <a:pt x="2" y="353"/>
                  </a:lnTo>
                  <a:lnTo>
                    <a:pt x="5" y="336"/>
                  </a:lnTo>
                  <a:lnTo>
                    <a:pt x="7" y="318"/>
                  </a:lnTo>
                  <a:lnTo>
                    <a:pt x="11" y="301"/>
                  </a:lnTo>
                  <a:lnTo>
                    <a:pt x="15" y="283"/>
                  </a:lnTo>
                  <a:lnTo>
                    <a:pt x="21" y="266"/>
                  </a:lnTo>
                  <a:lnTo>
                    <a:pt x="26" y="249"/>
                  </a:lnTo>
                  <a:lnTo>
                    <a:pt x="34" y="231"/>
                  </a:lnTo>
                  <a:lnTo>
                    <a:pt x="42" y="215"/>
                  </a:lnTo>
                  <a:lnTo>
                    <a:pt x="50" y="199"/>
                  </a:lnTo>
                  <a:lnTo>
                    <a:pt x="59" y="182"/>
                  </a:lnTo>
                  <a:lnTo>
                    <a:pt x="69" y="166"/>
                  </a:lnTo>
                  <a:lnTo>
                    <a:pt x="81" y="151"/>
                  </a:lnTo>
                  <a:lnTo>
                    <a:pt x="93" y="136"/>
                  </a:lnTo>
                  <a:lnTo>
                    <a:pt x="105" y="122"/>
                  </a:lnTo>
                  <a:lnTo>
                    <a:pt x="120" y="108"/>
                  </a:lnTo>
                  <a:lnTo>
                    <a:pt x="134" y="94"/>
                  </a:lnTo>
                  <a:lnTo>
                    <a:pt x="149" y="82"/>
                  </a:lnTo>
                  <a:lnTo>
                    <a:pt x="166" y="70"/>
                  </a:lnTo>
                  <a:lnTo>
                    <a:pt x="183" y="59"/>
                  </a:lnTo>
                  <a:lnTo>
                    <a:pt x="183" y="59"/>
                  </a:lnTo>
                  <a:lnTo>
                    <a:pt x="191" y="67"/>
                  </a:lnTo>
                  <a:lnTo>
                    <a:pt x="198" y="75"/>
                  </a:lnTo>
                  <a:lnTo>
                    <a:pt x="203" y="82"/>
                  </a:lnTo>
                  <a:lnTo>
                    <a:pt x="208" y="90"/>
                  </a:lnTo>
                  <a:lnTo>
                    <a:pt x="217" y="106"/>
                  </a:lnTo>
                  <a:lnTo>
                    <a:pt x="222" y="120"/>
                  </a:lnTo>
                  <a:lnTo>
                    <a:pt x="225" y="132"/>
                  </a:lnTo>
                  <a:lnTo>
                    <a:pt x="227" y="141"/>
                  </a:lnTo>
                  <a:lnTo>
                    <a:pt x="227" y="150"/>
                  </a:lnTo>
                  <a:lnTo>
                    <a:pt x="227" y="150"/>
                  </a:lnTo>
                  <a:lnTo>
                    <a:pt x="247" y="150"/>
                  </a:lnTo>
                  <a:lnTo>
                    <a:pt x="272" y="150"/>
                  </a:lnTo>
                  <a:lnTo>
                    <a:pt x="325" y="146"/>
                  </a:lnTo>
                  <a:lnTo>
                    <a:pt x="379" y="144"/>
                  </a:lnTo>
                  <a:lnTo>
                    <a:pt x="404" y="143"/>
                  </a:lnTo>
                  <a:lnTo>
                    <a:pt x="424" y="143"/>
                  </a:lnTo>
                  <a:lnTo>
                    <a:pt x="424" y="143"/>
                  </a:lnTo>
                  <a:lnTo>
                    <a:pt x="425" y="129"/>
                  </a:lnTo>
                  <a:lnTo>
                    <a:pt x="425" y="112"/>
                  </a:lnTo>
                  <a:lnTo>
                    <a:pt x="424" y="94"/>
                  </a:lnTo>
                  <a:lnTo>
                    <a:pt x="422" y="76"/>
                  </a:lnTo>
                  <a:lnTo>
                    <a:pt x="419" y="56"/>
                  </a:lnTo>
                  <a:lnTo>
                    <a:pt x="414" y="37"/>
                  </a:lnTo>
                  <a:lnTo>
                    <a:pt x="407" y="19"/>
                  </a:lnTo>
                  <a:lnTo>
                    <a:pt x="402" y="9"/>
                  </a:lnTo>
                  <a:lnTo>
                    <a:pt x="397" y="0"/>
                  </a:lnTo>
                  <a:lnTo>
                    <a:pt x="397" y="0"/>
                  </a:lnTo>
                  <a:lnTo>
                    <a:pt x="415" y="14"/>
                  </a:lnTo>
                  <a:lnTo>
                    <a:pt x="431" y="27"/>
                  </a:lnTo>
                  <a:lnTo>
                    <a:pt x="446" y="40"/>
                  </a:lnTo>
                  <a:lnTo>
                    <a:pt x="453" y="47"/>
                  </a:lnTo>
                  <a:lnTo>
                    <a:pt x="459" y="55"/>
                  </a:lnTo>
                  <a:lnTo>
                    <a:pt x="465" y="64"/>
                  </a:lnTo>
                  <a:lnTo>
                    <a:pt x="470" y="73"/>
                  </a:lnTo>
                  <a:lnTo>
                    <a:pt x="475" y="82"/>
                  </a:lnTo>
                  <a:lnTo>
                    <a:pt x="479" y="92"/>
                  </a:lnTo>
                  <a:lnTo>
                    <a:pt x="484" y="104"/>
                  </a:lnTo>
                  <a:lnTo>
                    <a:pt x="487" y="116"/>
                  </a:lnTo>
                  <a:lnTo>
                    <a:pt x="490" y="129"/>
                  </a:lnTo>
                  <a:lnTo>
                    <a:pt x="493" y="143"/>
                  </a:lnTo>
                  <a:lnTo>
                    <a:pt x="493" y="143"/>
                  </a:lnTo>
                  <a:lnTo>
                    <a:pt x="671" y="150"/>
                  </a:lnTo>
                  <a:lnTo>
                    <a:pt x="671" y="150"/>
                  </a:lnTo>
                  <a:lnTo>
                    <a:pt x="671" y="133"/>
                  </a:lnTo>
                  <a:lnTo>
                    <a:pt x="670" y="118"/>
                  </a:lnTo>
                  <a:lnTo>
                    <a:pt x="667" y="103"/>
                  </a:lnTo>
                  <a:lnTo>
                    <a:pt x="662" y="88"/>
                  </a:lnTo>
                  <a:lnTo>
                    <a:pt x="657" y="75"/>
                  </a:lnTo>
                  <a:lnTo>
                    <a:pt x="651" y="62"/>
                  </a:lnTo>
                  <a:lnTo>
                    <a:pt x="643" y="50"/>
                  </a:lnTo>
                  <a:lnTo>
                    <a:pt x="634" y="38"/>
                  </a:lnTo>
                  <a:lnTo>
                    <a:pt x="634" y="38"/>
                  </a:lnTo>
                  <a:lnTo>
                    <a:pt x="651" y="46"/>
                  </a:lnTo>
                  <a:lnTo>
                    <a:pt x="669" y="54"/>
                  </a:lnTo>
                  <a:lnTo>
                    <a:pt x="684" y="64"/>
                  </a:lnTo>
                  <a:lnTo>
                    <a:pt x="699" y="73"/>
                  </a:lnTo>
                  <a:lnTo>
                    <a:pt x="714" y="83"/>
                  </a:lnTo>
                  <a:lnTo>
                    <a:pt x="728" y="93"/>
                  </a:lnTo>
                  <a:lnTo>
                    <a:pt x="740" y="104"/>
                  </a:lnTo>
                  <a:lnTo>
                    <a:pt x="752" y="115"/>
                  </a:lnTo>
                  <a:lnTo>
                    <a:pt x="764" y="126"/>
                  </a:lnTo>
                  <a:lnTo>
                    <a:pt x="775" y="138"/>
                  </a:lnTo>
                  <a:lnTo>
                    <a:pt x="785" y="151"/>
                  </a:lnTo>
                  <a:lnTo>
                    <a:pt x="794" y="163"/>
                  </a:lnTo>
                  <a:lnTo>
                    <a:pt x="803" y="175"/>
                  </a:lnTo>
                  <a:lnTo>
                    <a:pt x="811" y="187"/>
                  </a:lnTo>
                  <a:lnTo>
                    <a:pt x="825" y="213"/>
                  </a:lnTo>
                  <a:lnTo>
                    <a:pt x="837" y="238"/>
                  </a:lnTo>
                  <a:lnTo>
                    <a:pt x="848" y="263"/>
                  </a:lnTo>
                  <a:lnTo>
                    <a:pt x="855" y="289"/>
                  </a:lnTo>
                  <a:lnTo>
                    <a:pt x="861" y="312"/>
                  </a:lnTo>
                  <a:lnTo>
                    <a:pt x="865" y="336"/>
                  </a:lnTo>
                  <a:lnTo>
                    <a:pt x="868" y="358"/>
                  </a:lnTo>
                  <a:lnTo>
                    <a:pt x="869" y="379"/>
                  </a:lnTo>
                  <a:lnTo>
                    <a:pt x="869" y="397"/>
                  </a:lnTo>
                  <a:lnTo>
                    <a:pt x="869" y="397"/>
                  </a:lnTo>
                  <a:lnTo>
                    <a:pt x="869" y="423"/>
                  </a:lnTo>
                  <a:lnTo>
                    <a:pt x="868" y="449"/>
                  </a:lnTo>
                  <a:lnTo>
                    <a:pt x="864" y="474"/>
                  </a:lnTo>
                  <a:lnTo>
                    <a:pt x="859" y="499"/>
                  </a:lnTo>
                  <a:lnTo>
                    <a:pt x="852" y="523"/>
                  </a:lnTo>
                  <a:lnTo>
                    <a:pt x="843" y="546"/>
                  </a:lnTo>
                  <a:lnTo>
                    <a:pt x="834" y="569"/>
                  </a:lnTo>
                  <a:lnTo>
                    <a:pt x="823" y="590"/>
                  </a:lnTo>
                  <a:lnTo>
                    <a:pt x="811" y="612"/>
                  </a:lnTo>
                  <a:lnTo>
                    <a:pt x="796" y="631"/>
                  </a:lnTo>
                  <a:lnTo>
                    <a:pt x="782" y="651"/>
                  </a:lnTo>
                  <a:lnTo>
                    <a:pt x="766" y="668"/>
                  </a:lnTo>
                  <a:lnTo>
                    <a:pt x="749" y="684"/>
                  </a:lnTo>
                  <a:lnTo>
                    <a:pt x="731" y="700"/>
                  </a:lnTo>
                  <a:lnTo>
                    <a:pt x="713" y="714"/>
                  </a:lnTo>
                  <a:lnTo>
                    <a:pt x="693" y="727"/>
                  </a:lnTo>
                  <a:lnTo>
                    <a:pt x="693" y="727"/>
                  </a:lnTo>
                  <a:lnTo>
                    <a:pt x="658" y="748"/>
                  </a:lnTo>
                  <a:lnTo>
                    <a:pt x="626" y="766"/>
                  </a:lnTo>
                  <a:lnTo>
                    <a:pt x="594" y="783"/>
                  </a:lnTo>
                  <a:lnTo>
                    <a:pt x="563" y="799"/>
                  </a:lnTo>
                  <a:lnTo>
                    <a:pt x="506" y="826"/>
                  </a:lnTo>
                  <a:lnTo>
                    <a:pt x="452" y="851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92" name="Freeform 45"/>
            <p:cNvSpPr>
              <a:spLocks/>
            </p:cNvSpPr>
            <p:nvPr userDrawn="1"/>
          </p:nvSpPr>
          <p:spPr bwMode="auto">
            <a:xfrm>
              <a:off x="6269285" y="814554"/>
              <a:ext cx="1587" cy="0"/>
            </a:xfrm>
            <a:custGeom>
              <a:avLst/>
              <a:gdLst>
                <a:gd name="T0" fmla="*/ 22 w 22"/>
                <a:gd name="T1" fmla="*/ 9 h 9"/>
                <a:gd name="T2" fmla="*/ 22 w 22"/>
                <a:gd name="T3" fmla="*/ 9 h 9"/>
                <a:gd name="T4" fmla="*/ 3 w 22"/>
                <a:gd name="T5" fmla="*/ 2 h 9"/>
                <a:gd name="T6" fmla="*/ 3 w 22"/>
                <a:gd name="T7" fmla="*/ 2 h 9"/>
                <a:gd name="T8" fmla="*/ 0 w 22"/>
                <a:gd name="T9" fmla="*/ 0 h 9"/>
                <a:gd name="T10" fmla="*/ 0 w 22"/>
                <a:gd name="T11" fmla="*/ 0 h 9"/>
                <a:gd name="T12" fmla="*/ 22 w 22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9">
                  <a:moveTo>
                    <a:pt x="22" y="9"/>
                  </a:moveTo>
                  <a:lnTo>
                    <a:pt x="22" y="9"/>
                  </a:lnTo>
                  <a:lnTo>
                    <a:pt x="3" y="2"/>
                  </a:lnTo>
                  <a:lnTo>
                    <a:pt x="3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22" y="9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93" name="Freeform 46"/>
            <p:cNvSpPr>
              <a:spLocks/>
            </p:cNvSpPr>
            <p:nvPr userDrawn="1"/>
          </p:nvSpPr>
          <p:spPr bwMode="auto">
            <a:xfrm>
              <a:off x="6021634" y="497054"/>
              <a:ext cx="20637" cy="12699"/>
            </a:xfrm>
            <a:custGeom>
              <a:avLst/>
              <a:gdLst>
                <a:gd name="T0" fmla="*/ 166 w 166"/>
                <a:gd name="T1" fmla="*/ 69 h 96"/>
                <a:gd name="T2" fmla="*/ 166 w 166"/>
                <a:gd name="T3" fmla="*/ 69 h 96"/>
                <a:gd name="T4" fmla="*/ 166 w 166"/>
                <a:gd name="T5" fmla="*/ 70 h 96"/>
                <a:gd name="T6" fmla="*/ 165 w 166"/>
                <a:gd name="T7" fmla="*/ 72 h 96"/>
                <a:gd name="T8" fmla="*/ 161 w 166"/>
                <a:gd name="T9" fmla="*/ 74 h 96"/>
                <a:gd name="T10" fmla="*/ 155 w 166"/>
                <a:gd name="T11" fmla="*/ 77 h 96"/>
                <a:gd name="T12" fmla="*/ 145 w 166"/>
                <a:gd name="T13" fmla="*/ 79 h 96"/>
                <a:gd name="T14" fmla="*/ 123 w 166"/>
                <a:gd name="T15" fmla="*/ 85 h 96"/>
                <a:gd name="T16" fmla="*/ 95 w 166"/>
                <a:gd name="T17" fmla="*/ 90 h 96"/>
                <a:gd name="T18" fmla="*/ 68 w 166"/>
                <a:gd name="T19" fmla="*/ 94 h 96"/>
                <a:gd name="T20" fmla="*/ 42 w 166"/>
                <a:gd name="T21" fmla="*/ 96 h 96"/>
                <a:gd name="T22" fmla="*/ 24 w 166"/>
                <a:gd name="T23" fmla="*/ 96 h 96"/>
                <a:gd name="T24" fmla="*/ 17 w 166"/>
                <a:gd name="T25" fmla="*/ 95 h 96"/>
                <a:gd name="T26" fmla="*/ 13 w 166"/>
                <a:gd name="T27" fmla="*/ 94 h 96"/>
                <a:gd name="T28" fmla="*/ 13 w 166"/>
                <a:gd name="T29" fmla="*/ 94 h 96"/>
                <a:gd name="T30" fmla="*/ 10 w 166"/>
                <a:gd name="T31" fmla="*/ 92 h 96"/>
                <a:gd name="T32" fmla="*/ 8 w 166"/>
                <a:gd name="T33" fmla="*/ 88 h 96"/>
                <a:gd name="T34" fmla="*/ 5 w 166"/>
                <a:gd name="T35" fmla="*/ 77 h 96"/>
                <a:gd name="T36" fmla="*/ 2 w 166"/>
                <a:gd name="T37" fmla="*/ 65 h 96"/>
                <a:gd name="T38" fmla="*/ 0 w 166"/>
                <a:gd name="T39" fmla="*/ 51 h 96"/>
                <a:gd name="T40" fmla="*/ 0 w 166"/>
                <a:gd name="T41" fmla="*/ 36 h 96"/>
                <a:gd name="T42" fmla="*/ 0 w 166"/>
                <a:gd name="T43" fmla="*/ 23 h 96"/>
                <a:gd name="T44" fmla="*/ 1 w 166"/>
                <a:gd name="T45" fmla="*/ 13 h 96"/>
                <a:gd name="T46" fmla="*/ 2 w 166"/>
                <a:gd name="T47" fmla="*/ 8 h 96"/>
                <a:gd name="T48" fmla="*/ 4 w 166"/>
                <a:gd name="T49" fmla="*/ 5 h 96"/>
                <a:gd name="T50" fmla="*/ 4 w 166"/>
                <a:gd name="T51" fmla="*/ 5 h 96"/>
                <a:gd name="T52" fmla="*/ 5 w 166"/>
                <a:gd name="T53" fmla="*/ 4 h 96"/>
                <a:gd name="T54" fmla="*/ 7 w 166"/>
                <a:gd name="T55" fmla="*/ 2 h 96"/>
                <a:gd name="T56" fmla="*/ 13 w 166"/>
                <a:gd name="T57" fmla="*/ 1 h 96"/>
                <a:gd name="T58" fmla="*/ 22 w 166"/>
                <a:gd name="T59" fmla="*/ 0 h 96"/>
                <a:gd name="T60" fmla="*/ 32 w 166"/>
                <a:gd name="T61" fmla="*/ 0 h 96"/>
                <a:gd name="T62" fmla="*/ 43 w 166"/>
                <a:gd name="T63" fmla="*/ 1 h 96"/>
                <a:gd name="T64" fmla="*/ 55 w 166"/>
                <a:gd name="T65" fmla="*/ 3 h 96"/>
                <a:gd name="T66" fmla="*/ 69 w 166"/>
                <a:gd name="T67" fmla="*/ 6 h 96"/>
                <a:gd name="T68" fmla="*/ 83 w 166"/>
                <a:gd name="T69" fmla="*/ 10 h 96"/>
                <a:gd name="T70" fmla="*/ 96 w 166"/>
                <a:gd name="T71" fmla="*/ 15 h 96"/>
                <a:gd name="T72" fmla="*/ 110 w 166"/>
                <a:gd name="T73" fmla="*/ 20 h 96"/>
                <a:gd name="T74" fmla="*/ 123 w 166"/>
                <a:gd name="T75" fmla="*/ 27 h 96"/>
                <a:gd name="T76" fmla="*/ 135 w 166"/>
                <a:gd name="T77" fmla="*/ 34 h 96"/>
                <a:gd name="T78" fmla="*/ 145 w 166"/>
                <a:gd name="T79" fmla="*/ 42 h 96"/>
                <a:gd name="T80" fmla="*/ 155 w 166"/>
                <a:gd name="T81" fmla="*/ 51 h 96"/>
                <a:gd name="T82" fmla="*/ 162 w 166"/>
                <a:gd name="T83" fmla="*/ 60 h 96"/>
                <a:gd name="T84" fmla="*/ 164 w 166"/>
                <a:gd name="T85" fmla="*/ 64 h 96"/>
                <a:gd name="T86" fmla="*/ 166 w 166"/>
                <a:gd name="T87" fmla="*/ 6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66" h="96">
                  <a:moveTo>
                    <a:pt x="166" y="69"/>
                  </a:moveTo>
                  <a:lnTo>
                    <a:pt x="166" y="69"/>
                  </a:lnTo>
                  <a:lnTo>
                    <a:pt x="166" y="70"/>
                  </a:lnTo>
                  <a:lnTo>
                    <a:pt x="165" y="72"/>
                  </a:lnTo>
                  <a:lnTo>
                    <a:pt x="161" y="74"/>
                  </a:lnTo>
                  <a:lnTo>
                    <a:pt x="155" y="77"/>
                  </a:lnTo>
                  <a:lnTo>
                    <a:pt x="145" y="79"/>
                  </a:lnTo>
                  <a:lnTo>
                    <a:pt x="123" y="85"/>
                  </a:lnTo>
                  <a:lnTo>
                    <a:pt x="95" y="90"/>
                  </a:lnTo>
                  <a:lnTo>
                    <a:pt x="68" y="94"/>
                  </a:lnTo>
                  <a:lnTo>
                    <a:pt x="42" y="96"/>
                  </a:lnTo>
                  <a:lnTo>
                    <a:pt x="24" y="96"/>
                  </a:lnTo>
                  <a:lnTo>
                    <a:pt x="17" y="95"/>
                  </a:lnTo>
                  <a:lnTo>
                    <a:pt x="13" y="94"/>
                  </a:lnTo>
                  <a:lnTo>
                    <a:pt x="13" y="94"/>
                  </a:lnTo>
                  <a:lnTo>
                    <a:pt x="10" y="92"/>
                  </a:lnTo>
                  <a:lnTo>
                    <a:pt x="8" y="88"/>
                  </a:lnTo>
                  <a:lnTo>
                    <a:pt x="5" y="77"/>
                  </a:lnTo>
                  <a:lnTo>
                    <a:pt x="2" y="65"/>
                  </a:lnTo>
                  <a:lnTo>
                    <a:pt x="0" y="51"/>
                  </a:lnTo>
                  <a:lnTo>
                    <a:pt x="0" y="36"/>
                  </a:lnTo>
                  <a:lnTo>
                    <a:pt x="0" y="23"/>
                  </a:lnTo>
                  <a:lnTo>
                    <a:pt x="1" y="13"/>
                  </a:lnTo>
                  <a:lnTo>
                    <a:pt x="2" y="8"/>
                  </a:lnTo>
                  <a:lnTo>
                    <a:pt x="4" y="5"/>
                  </a:lnTo>
                  <a:lnTo>
                    <a:pt x="4" y="5"/>
                  </a:lnTo>
                  <a:lnTo>
                    <a:pt x="5" y="4"/>
                  </a:lnTo>
                  <a:lnTo>
                    <a:pt x="7" y="2"/>
                  </a:lnTo>
                  <a:lnTo>
                    <a:pt x="13" y="1"/>
                  </a:lnTo>
                  <a:lnTo>
                    <a:pt x="22" y="0"/>
                  </a:lnTo>
                  <a:lnTo>
                    <a:pt x="32" y="0"/>
                  </a:lnTo>
                  <a:lnTo>
                    <a:pt x="43" y="1"/>
                  </a:lnTo>
                  <a:lnTo>
                    <a:pt x="55" y="3"/>
                  </a:lnTo>
                  <a:lnTo>
                    <a:pt x="69" y="6"/>
                  </a:lnTo>
                  <a:lnTo>
                    <a:pt x="83" y="10"/>
                  </a:lnTo>
                  <a:lnTo>
                    <a:pt x="96" y="15"/>
                  </a:lnTo>
                  <a:lnTo>
                    <a:pt x="110" y="20"/>
                  </a:lnTo>
                  <a:lnTo>
                    <a:pt x="123" y="27"/>
                  </a:lnTo>
                  <a:lnTo>
                    <a:pt x="135" y="34"/>
                  </a:lnTo>
                  <a:lnTo>
                    <a:pt x="145" y="42"/>
                  </a:lnTo>
                  <a:lnTo>
                    <a:pt x="155" y="51"/>
                  </a:lnTo>
                  <a:lnTo>
                    <a:pt x="162" y="60"/>
                  </a:lnTo>
                  <a:lnTo>
                    <a:pt x="164" y="64"/>
                  </a:lnTo>
                  <a:lnTo>
                    <a:pt x="166" y="69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  <p:sp>
          <p:nvSpPr>
            <p:cNvPr id="94" name="Freeform 47"/>
            <p:cNvSpPr>
              <a:spLocks/>
            </p:cNvSpPr>
            <p:nvPr userDrawn="1"/>
          </p:nvSpPr>
          <p:spPr bwMode="auto">
            <a:xfrm>
              <a:off x="5743823" y="454192"/>
              <a:ext cx="657225" cy="776290"/>
            </a:xfrm>
            <a:custGeom>
              <a:avLst/>
              <a:gdLst>
                <a:gd name="T0" fmla="*/ 4703 w 4973"/>
                <a:gd name="T1" fmla="*/ 1877 h 5865"/>
                <a:gd name="T2" fmla="*/ 4733 w 4973"/>
                <a:gd name="T3" fmla="*/ 1183 h 5865"/>
                <a:gd name="T4" fmla="*/ 4302 w 4973"/>
                <a:gd name="T5" fmla="*/ 476 h 5865"/>
                <a:gd name="T6" fmla="*/ 3581 w 4973"/>
                <a:gd name="T7" fmla="*/ 813 h 5865"/>
                <a:gd name="T8" fmla="*/ 3899 w 4973"/>
                <a:gd name="T9" fmla="*/ 1529 h 5865"/>
                <a:gd name="T10" fmla="*/ 3757 w 4973"/>
                <a:gd name="T11" fmla="*/ 2227 h 5865"/>
                <a:gd name="T12" fmla="*/ 3939 w 4973"/>
                <a:gd name="T13" fmla="*/ 2068 h 5865"/>
                <a:gd name="T14" fmla="*/ 4069 w 4973"/>
                <a:gd name="T15" fmla="*/ 1928 h 5865"/>
                <a:gd name="T16" fmla="*/ 4545 w 4973"/>
                <a:gd name="T17" fmla="*/ 1985 h 5865"/>
                <a:gd name="T18" fmla="*/ 4487 w 4973"/>
                <a:gd name="T19" fmla="*/ 2697 h 5865"/>
                <a:gd name="T20" fmla="*/ 3601 w 4973"/>
                <a:gd name="T21" fmla="*/ 2477 h 5865"/>
                <a:gd name="T22" fmla="*/ 3285 w 4973"/>
                <a:gd name="T23" fmla="*/ 1581 h 5865"/>
                <a:gd name="T24" fmla="*/ 3364 w 4973"/>
                <a:gd name="T25" fmla="*/ 1421 h 5865"/>
                <a:gd name="T26" fmla="*/ 3101 w 4973"/>
                <a:gd name="T27" fmla="*/ 996 h 5865"/>
                <a:gd name="T28" fmla="*/ 3251 w 4973"/>
                <a:gd name="T29" fmla="*/ 599 h 5865"/>
                <a:gd name="T30" fmla="*/ 2863 w 4973"/>
                <a:gd name="T31" fmla="*/ 144 h 5865"/>
                <a:gd name="T32" fmla="*/ 1960 w 4973"/>
                <a:gd name="T33" fmla="*/ 304 h 5865"/>
                <a:gd name="T34" fmla="*/ 1819 w 4973"/>
                <a:gd name="T35" fmla="*/ 748 h 5865"/>
                <a:gd name="T36" fmla="*/ 2202 w 4973"/>
                <a:gd name="T37" fmla="*/ 626 h 5865"/>
                <a:gd name="T38" fmla="*/ 2215 w 4973"/>
                <a:gd name="T39" fmla="*/ 803 h 5865"/>
                <a:gd name="T40" fmla="*/ 1623 w 4973"/>
                <a:gd name="T41" fmla="*/ 851 h 5865"/>
                <a:gd name="T42" fmla="*/ 1602 w 4973"/>
                <a:gd name="T43" fmla="*/ 1055 h 5865"/>
                <a:gd name="T44" fmla="*/ 2246 w 4973"/>
                <a:gd name="T45" fmla="*/ 924 h 5865"/>
                <a:gd name="T46" fmla="*/ 2036 w 4973"/>
                <a:gd name="T47" fmla="*/ 981 h 5865"/>
                <a:gd name="T48" fmla="*/ 1754 w 4973"/>
                <a:gd name="T49" fmla="*/ 1278 h 5865"/>
                <a:gd name="T50" fmla="*/ 2105 w 4973"/>
                <a:gd name="T51" fmla="*/ 1619 h 5865"/>
                <a:gd name="T52" fmla="*/ 863 w 4973"/>
                <a:gd name="T53" fmla="*/ 2239 h 5865"/>
                <a:gd name="T54" fmla="*/ 310 w 4973"/>
                <a:gd name="T55" fmla="*/ 2027 h 5865"/>
                <a:gd name="T56" fmla="*/ 319 w 4973"/>
                <a:gd name="T57" fmla="*/ 2172 h 5865"/>
                <a:gd name="T58" fmla="*/ 380 w 4973"/>
                <a:gd name="T59" fmla="*/ 2295 h 5865"/>
                <a:gd name="T60" fmla="*/ 39 w 4973"/>
                <a:gd name="T61" fmla="*/ 2396 h 5865"/>
                <a:gd name="T62" fmla="*/ 189 w 4973"/>
                <a:gd name="T63" fmla="*/ 2511 h 5865"/>
                <a:gd name="T64" fmla="*/ 322 w 4973"/>
                <a:gd name="T65" fmla="*/ 2588 h 5865"/>
                <a:gd name="T66" fmla="*/ 272 w 4973"/>
                <a:gd name="T67" fmla="*/ 2893 h 5865"/>
                <a:gd name="T68" fmla="*/ 630 w 4973"/>
                <a:gd name="T69" fmla="*/ 2730 h 5865"/>
                <a:gd name="T70" fmla="*/ 811 w 4973"/>
                <a:gd name="T71" fmla="*/ 2843 h 5865"/>
                <a:gd name="T72" fmla="*/ 1024 w 4973"/>
                <a:gd name="T73" fmla="*/ 2773 h 5865"/>
                <a:gd name="T74" fmla="*/ 1290 w 4973"/>
                <a:gd name="T75" fmla="*/ 2556 h 5865"/>
                <a:gd name="T76" fmla="*/ 1713 w 4973"/>
                <a:gd name="T77" fmla="*/ 2519 h 5865"/>
                <a:gd name="T78" fmla="*/ 2306 w 4973"/>
                <a:gd name="T79" fmla="*/ 2641 h 5865"/>
                <a:gd name="T80" fmla="*/ 3357 w 4973"/>
                <a:gd name="T81" fmla="*/ 3092 h 5865"/>
                <a:gd name="T82" fmla="*/ 3742 w 4973"/>
                <a:gd name="T83" fmla="*/ 3928 h 5865"/>
                <a:gd name="T84" fmla="*/ 3685 w 4973"/>
                <a:gd name="T85" fmla="*/ 4224 h 5865"/>
                <a:gd name="T86" fmla="*/ 4224 w 4973"/>
                <a:gd name="T87" fmla="*/ 4337 h 5865"/>
                <a:gd name="T88" fmla="*/ 4264 w 4973"/>
                <a:gd name="T89" fmla="*/ 5017 h 5865"/>
                <a:gd name="T90" fmla="*/ 3761 w 4973"/>
                <a:gd name="T91" fmla="*/ 5058 h 5865"/>
                <a:gd name="T92" fmla="*/ 3894 w 4973"/>
                <a:gd name="T93" fmla="*/ 5210 h 5865"/>
                <a:gd name="T94" fmla="*/ 3894 w 4973"/>
                <a:gd name="T95" fmla="*/ 5294 h 5865"/>
                <a:gd name="T96" fmla="*/ 3751 w 4973"/>
                <a:gd name="T97" fmla="*/ 5644 h 5865"/>
                <a:gd name="T98" fmla="*/ 3926 w 4973"/>
                <a:gd name="T99" fmla="*/ 5586 h 5865"/>
                <a:gd name="T100" fmla="*/ 4212 w 4973"/>
                <a:gd name="T101" fmla="*/ 5447 h 5865"/>
                <a:gd name="T102" fmla="*/ 4257 w 4973"/>
                <a:gd name="T103" fmla="*/ 5812 h 5865"/>
                <a:gd name="T104" fmla="*/ 4352 w 4973"/>
                <a:gd name="T105" fmla="*/ 5675 h 5865"/>
                <a:gd name="T106" fmla="*/ 4557 w 4973"/>
                <a:gd name="T107" fmla="*/ 5328 h 5865"/>
                <a:gd name="T108" fmla="*/ 4736 w 4973"/>
                <a:gd name="T109" fmla="*/ 5505 h 5865"/>
                <a:gd name="T110" fmla="*/ 4753 w 4973"/>
                <a:gd name="T111" fmla="*/ 5108 h 5865"/>
                <a:gd name="T112" fmla="*/ 4693 w 4973"/>
                <a:gd name="T113" fmla="*/ 4810 h 5865"/>
                <a:gd name="T114" fmla="*/ 4677 w 4973"/>
                <a:gd name="T115" fmla="*/ 4437 h 5865"/>
                <a:gd name="T116" fmla="*/ 4640 w 4973"/>
                <a:gd name="T117" fmla="*/ 4108 h 5865"/>
                <a:gd name="T118" fmla="*/ 4297 w 4973"/>
                <a:gd name="T119" fmla="*/ 3793 h 5865"/>
                <a:gd name="T120" fmla="*/ 4267 w 4973"/>
                <a:gd name="T121" fmla="*/ 3366 h 5865"/>
                <a:gd name="T122" fmla="*/ 4428 w 4973"/>
                <a:gd name="T123" fmla="*/ 2994 h 5865"/>
                <a:gd name="T124" fmla="*/ 4923 w 4973"/>
                <a:gd name="T125" fmla="*/ 2543 h 58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973" h="5865">
                  <a:moveTo>
                    <a:pt x="4842" y="2253"/>
                  </a:moveTo>
                  <a:lnTo>
                    <a:pt x="4842" y="2253"/>
                  </a:lnTo>
                  <a:lnTo>
                    <a:pt x="4862" y="2257"/>
                  </a:lnTo>
                  <a:lnTo>
                    <a:pt x="4881" y="2259"/>
                  </a:lnTo>
                  <a:lnTo>
                    <a:pt x="4900" y="2260"/>
                  </a:lnTo>
                  <a:lnTo>
                    <a:pt x="4916" y="2259"/>
                  </a:lnTo>
                  <a:lnTo>
                    <a:pt x="4932" y="2257"/>
                  </a:lnTo>
                  <a:lnTo>
                    <a:pt x="4946" y="2254"/>
                  </a:lnTo>
                  <a:lnTo>
                    <a:pt x="4958" y="2249"/>
                  </a:lnTo>
                  <a:lnTo>
                    <a:pt x="4969" y="2243"/>
                  </a:lnTo>
                  <a:lnTo>
                    <a:pt x="4969" y="2243"/>
                  </a:lnTo>
                  <a:lnTo>
                    <a:pt x="4967" y="2217"/>
                  </a:lnTo>
                  <a:lnTo>
                    <a:pt x="4960" y="2157"/>
                  </a:lnTo>
                  <a:lnTo>
                    <a:pt x="4951" y="2084"/>
                  </a:lnTo>
                  <a:lnTo>
                    <a:pt x="4946" y="2052"/>
                  </a:lnTo>
                  <a:lnTo>
                    <a:pt x="4940" y="2024"/>
                  </a:lnTo>
                  <a:lnTo>
                    <a:pt x="4940" y="2024"/>
                  </a:lnTo>
                  <a:lnTo>
                    <a:pt x="4922" y="2027"/>
                  </a:lnTo>
                  <a:lnTo>
                    <a:pt x="4902" y="2030"/>
                  </a:lnTo>
                  <a:lnTo>
                    <a:pt x="4891" y="2030"/>
                  </a:lnTo>
                  <a:lnTo>
                    <a:pt x="4879" y="2030"/>
                  </a:lnTo>
                  <a:lnTo>
                    <a:pt x="4867" y="2029"/>
                  </a:lnTo>
                  <a:lnTo>
                    <a:pt x="4855" y="2027"/>
                  </a:lnTo>
                  <a:lnTo>
                    <a:pt x="4843" y="2024"/>
                  </a:lnTo>
                  <a:lnTo>
                    <a:pt x="4830" y="2020"/>
                  </a:lnTo>
                  <a:lnTo>
                    <a:pt x="4818" y="2015"/>
                  </a:lnTo>
                  <a:lnTo>
                    <a:pt x="4806" y="2008"/>
                  </a:lnTo>
                  <a:lnTo>
                    <a:pt x="4794" y="1998"/>
                  </a:lnTo>
                  <a:lnTo>
                    <a:pt x="4782" y="1988"/>
                  </a:lnTo>
                  <a:lnTo>
                    <a:pt x="4771" y="1976"/>
                  </a:lnTo>
                  <a:lnTo>
                    <a:pt x="4761" y="1962"/>
                  </a:lnTo>
                  <a:lnTo>
                    <a:pt x="4761" y="1962"/>
                  </a:lnTo>
                  <a:lnTo>
                    <a:pt x="4743" y="1933"/>
                  </a:lnTo>
                  <a:lnTo>
                    <a:pt x="4724" y="1905"/>
                  </a:lnTo>
                  <a:lnTo>
                    <a:pt x="4724" y="1905"/>
                  </a:lnTo>
                  <a:lnTo>
                    <a:pt x="4703" y="1877"/>
                  </a:lnTo>
                  <a:lnTo>
                    <a:pt x="4680" y="1849"/>
                  </a:lnTo>
                  <a:lnTo>
                    <a:pt x="4658" y="1823"/>
                  </a:lnTo>
                  <a:lnTo>
                    <a:pt x="4634" y="1797"/>
                  </a:lnTo>
                  <a:lnTo>
                    <a:pt x="4611" y="1773"/>
                  </a:lnTo>
                  <a:lnTo>
                    <a:pt x="4586" y="1750"/>
                  </a:lnTo>
                  <a:lnTo>
                    <a:pt x="4562" y="1727"/>
                  </a:lnTo>
                  <a:lnTo>
                    <a:pt x="4538" y="1707"/>
                  </a:lnTo>
                  <a:lnTo>
                    <a:pt x="4513" y="1687"/>
                  </a:lnTo>
                  <a:lnTo>
                    <a:pt x="4489" y="1667"/>
                  </a:lnTo>
                  <a:lnTo>
                    <a:pt x="4463" y="1649"/>
                  </a:lnTo>
                  <a:lnTo>
                    <a:pt x="4439" y="1630"/>
                  </a:lnTo>
                  <a:lnTo>
                    <a:pt x="4413" y="1614"/>
                  </a:lnTo>
                  <a:lnTo>
                    <a:pt x="4389" y="1598"/>
                  </a:lnTo>
                  <a:lnTo>
                    <a:pt x="4337" y="1566"/>
                  </a:lnTo>
                  <a:lnTo>
                    <a:pt x="4337" y="1566"/>
                  </a:lnTo>
                  <a:lnTo>
                    <a:pt x="4381" y="1543"/>
                  </a:lnTo>
                  <a:lnTo>
                    <a:pt x="4422" y="1521"/>
                  </a:lnTo>
                  <a:lnTo>
                    <a:pt x="4459" y="1498"/>
                  </a:lnTo>
                  <a:lnTo>
                    <a:pt x="4492" y="1477"/>
                  </a:lnTo>
                  <a:lnTo>
                    <a:pt x="4523" y="1455"/>
                  </a:lnTo>
                  <a:lnTo>
                    <a:pt x="4549" y="1434"/>
                  </a:lnTo>
                  <a:lnTo>
                    <a:pt x="4574" y="1414"/>
                  </a:lnTo>
                  <a:lnTo>
                    <a:pt x="4595" y="1393"/>
                  </a:lnTo>
                  <a:lnTo>
                    <a:pt x="4615" y="1374"/>
                  </a:lnTo>
                  <a:lnTo>
                    <a:pt x="4632" y="1355"/>
                  </a:lnTo>
                  <a:lnTo>
                    <a:pt x="4647" y="1337"/>
                  </a:lnTo>
                  <a:lnTo>
                    <a:pt x="4661" y="1319"/>
                  </a:lnTo>
                  <a:lnTo>
                    <a:pt x="4673" y="1303"/>
                  </a:lnTo>
                  <a:lnTo>
                    <a:pt x="4683" y="1288"/>
                  </a:lnTo>
                  <a:lnTo>
                    <a:pt x="4700" y="1260"/>
                  </a:lnTo>
                  <a:lnTo>
                    <a:pt x="4700" y="1260"/>
                  </a:lnTo>
                  <a:lnTo>
                    <a:pt x="4708" y="1248"/>
                  </a:lnTo>
                  <a:lnTo>
                    <a:pt x="4714" y="1234"/>
                  </a:lnTo>
                  <a:lnTo>
                    <a:pt x="4721" y="1218"/>
                  </a:lnTo>
                  <a:lnTo>
                    <a:pt x="4727" y="1202"/>
                  </a:lnTo>
                  <a:lnTo>
                    <a:pt x="4733" y="1183"/>
                  </a:lnTo>
                  <a:lnTo>
                    <a:pt x="4739" y="1164"/>
                  </a:lnTo>
                  <a:lnTo>
                    <a:pt x="4743" y="1144"/>
                  </a:lnTo>
                  <a:lnTo>
                    <a:pt x="4749" y="1123"/>
                  </a:lnTo>
                  <a:lnTo>
                    <a:pt x="4753" y="1101"/>
                  </a:lnTo>
                  <a:lnTo>
                    <a:pt x="4756" y="1078"/>
                  </a:lnTo>
                  <a:lnTo>
                    <a:pt x="4758" y="1054"/>
                  </a:lnTo>
                  <a:lnTo>
                    <a:pt x="4759" y="1030"/>
                  </a:lnTo>
                  <a:lnTo>
                    <a:pt x="4760" y="1005"/>
                  </a:lnTo>
                  <a:lnTo>
                    <a:pt x="4759" y="980"/>
                  </a:lnTo>
                  <a:lnTo>
                    <a:pt x="4758" y="954"/>
                  </a:lnTo>
                  <a:lnTo>
                    <a:pt x="4755" y="928"/>
                  </a:lnTo>
                  <a:lnTo>
                    <a:pt x="4751" y="902"/>
                  </a:lnTo>
                  <a:lnTo>
                    <a:pt x="4745" y="876"/>
                  </a:lnTo>
                  <a:lnTo>
                    <a:pt x="4738" y="849"/>
                  </a:lnTo>
                  <a:lnTo>
                    <a:pt x="4730" y="824"/>
                  </a:lnTo>
                  <a:lnTo>
                    <a:pt x="4720" y="797"/>
                  </a:lnTo>
                  <a:lnTo>
                    <a:pt x="4709" y="771"/>
                  </a:lnTo>
                  <a:lnTo>
                    <a:pt x="4695" y="746"/>
                  </a:lnTo>
                  <a:lnTo>
                    <a:pt x="4681" y="721"/>
                  </a:lnTo>
                  <a:lnTo>
                    <a:pt x="4665" y="697"/>
                  </a:lnTo>
                  <a:lnTo>
                    <a:pt x="4646" y="672"/>
                  </a:lnTo>
                  <a:lnTo>
                    <a:pt x="4625" y="649"/>
                  </a:lnTo>
                  <a:lnTo>
                    <a:pt x="4602" y="626"/>
                  </a:lnTo>
                  <a:lnTo>
                    <a:pt x="4578" y="605"/>
                  </a:lnTo>
                  <a:lnTo>
                    <a:pt x="4551" y="584"/>
                  </a:lnTo>
                  <a:lnTo>
                    <a:pt x="4522" y="565"/>
                  </a:lnTo>
                  <a:lnTo>
                    <a:pt x="4490" y="545"/>
                  </a:lnTo>
                  <a:lnTo>
                    <a:pt x="4490" y="545"/>
                  </a:lnTo>
                  <a:lnTo>
                    <a:pt x="4466" y="533"/>
                  </a:lnTo>
                  <a:lnTo>
                    <a:pt x="4443" y="522"/>
                  </a:lnTo>
                  <a:lnTo>
                    <a:pt x="4419" y="512"/>
                  </a:lnTo>
                  <a:lnTo>
                    <a:pt x="4396" y="503"/>
                  </a:lnTo>
                  <a:lnTo>
                    <a:pt x="4372" y="494"/>
                  </a:lnTo>
                  <a:lnTo>
                    <a:pt x="4348" y="487"/>
                  </a:lnTo>
                  <a:lnTo>
                    <a:pt x="4325" y="481"/>
                  </a:lnTo>
                  <a:lnTo>
                    <a:pt x="4302" y="476"/>
                  </a:lnTo>
                  <a:lnTo>
                    <a:pt x="4278" y="471"/>
                  </a:lnTo>
                  <a:lnTo>
                    <a:pt x="4256" y="468"/>
                  </a:lnTo>
                  <a:lnTo>
                    <a:pt x="4233" y="465"/>
                  </a:lnTo>
                  <a:lnTo>
                    <a:pt x="4211" y="463"/>
                  </a:lnTo>
                  <a:lnTo>
                    <a:pt x="4188" y="461"/>
                  </a:lnTo>
                  <a:lnTo>
                    <a:pt x="4167" y="461"/>
                  </a:lnTo>
                  <a:lnTo>
                    <a:pt x="4145" y="461"/>
                  </a:lnTo>
                  <a:lnTo>
                    <a:pt x="4124" y="461"/>
                  </a:lnTo>
                  <a:lnTo>
                    <a:pt x="4083" y="464"/>
                  </a:lnTo>
                  <a:lnTo>
                    <a:pt x="4044" y="468"/>
                  </a:lnTo>
                  <a:lnTo>
                    <a:pt x="4007" y="474"/>
                  </a:lnTo>
                  <a:lnTo>
                    <a:pt x="3973" y="482"/>
                  </a:lnTo>
                  <a:lnTo>
                    <a:pt x="3941" y="490"/>
                  </a:lnTo>
                  <a:lnTo>
                    <a:pt x="3912" y="499"/>
                  </a:lnTo>
                  <a:lnTo>
                    <a:pt x="3887" y="510"/>
                  </a:lnTo>
                  <a:lnTo>
                    <a:pt x="3864" y="519"/>
                  </a:lnTo>
                  <a:lnTo>
                    <a:pt x="3864" y="519"/>
                  </a:lnTo>
                  <a:lnTo>
                    <a:pt x="3844" y="529"/>
                  </a:lnTo>
                  <a:lnTo>
                    <a:pt x="3824" y="539"/>
                  </a:lnTo>
                  <a:lnTo>
                    <a:pt x="3806" y="551"/>
                  </a:lnTo>
                  <a:lnTo>
                    <a:pt x="3787" y="562"/>
                  </a:lnTo>
                  <a:lnTo>
                    <a:pt x="3769" y="575"/>
                  </a:lnTo>
                  <a:lnTo>
                    <a:pt x="3752" y="587"/>
                  </a:lnTo>
                  <a:lnTo>
                    <a:pt x="3735" y="602"/>
                  </a:lnTo>
                  <a:lnTo>
                    <a:pt x="3719" y="616"/>
                  </a:lnTo>
                  <a:lnTo>
                    <a:pt x="3703" y="631"/>
                  </a:lnTo>
                  <a:lnTo>
                    <a:pt x="3687" y="647"/>
                  </a:lnTo>
                  <a:lnTo>
                    <a:pt x="3673" y="663"/>
                  </a:lnTo>
                  <a:lnTo>
                    <a:pt x="3659" y="679"/>
                  </a:lnTo>
                  <a:lnTo>
                    <a:pt x="3645" y="697"/>
                  </a:lnTo>
                  <a:lnTo>
                    <a:pt x="3633" y="715"/>
                  </a:lnTo>
                  <a:lnTo>
                    <a:pt x="3621" y="734"/>
                  </a:lnTo>
                  <a:lnTo>
                    <a:pt x="3609" y="753"/>
                  </a:lnTo>
                  <a:lnTo>
                    <a:pt x="3599" y="772"/>
                  </a:lnTo>
                  <a:lnTo>
                    <a:pt x="3589" y="793"/>
                  </a:lnTo>
                  <a:lnTo>
                    <a:pt x="3581" y="813"/>
                  </a:lnTo>
                  <a:lnTo>
                    <a:pt x="3573" y="835"/>
                  </a:lnTo>
                  <a:lnTo>
                    <a:pt x="3565" y="856"/>
                  </a:lnTo>
                  <a:lnTo>
                    <a:pt x="3559" y="879"/>
                  </a:lnTo>
                  <a:lnTo>
                    <a:pt x="3554" y="901"/>
                  </a:lnTo>
                  <a:lnTo>
                    <a:pt x="3550" y="924"/>
                  </a:lnTo>
                  <a:lnTo>
                    <a:pt x="3547" y="947"/>
                  </a:lnTo>
                  <a:lnTo>
                    <a:pt x="3545" y="972"/>
                  </a:lnTo>
                  <a:lnTo>
                    <a:pt x="3544" y="996"/>
                  </a:lnTo>
                  <a:lnTo>
                    <a:pt x="3543" y="1021"/>
                  </a:lnTo>
                  <a:lnTo>
                    <a:pt x="3544" y="1046"/>
                  </a:lnTo>
                  <a:lnTo>
                    <a:pt x="3546" y="1072"/>
                  </a:lnTo>
                  <a:lnTo>
                    <a:pt x="3550" y="1098"/>
                  </a:lnTo>
                  <a:lnTo>
                    <a:pt x="3554" y="1124"/>
                  </a:lnTo>
                  <a:lnTo>
                    <a:pt x="3554" y="1124"/>
                  </a:lnTo>
                  <a:lnTo>
                    <a:pt x="3559" y="1148"/>
                  </a:lnTo>
                  <a:lnTo>
                    <a:pt x="3564" y="1169"/>
                  </a:lnTo>
                  <a:lnTo>
                    <a:pt x="3571" y="1191"/>
                  </a:lnTo>
                  <a:lnTo>
                    <a:pt x="3577" y="1211"/>
                  </a:lnTo>
                  <a:lnTo>
                    <a:pt x="3585" y="1231"/>
                  </a:lnTo>
                  <a:lnTo>
                    <a:pt x="3592" y="1249"/>
                  </a:lnTo>
                  <a:lnTo>
                    <a:pt x="3601" y="1267"/>
                  </a:lnTo>
                  <a:lnTo>
                    <a:pt x="3610" y="1285"/>
                  </a:lnTo>
                  <a:lnTo>
                    <a:pt x="3620" y="1301"/>
                  </a:lnTo>
                  <a:lnTo>
                    <a:pt x="3631" y="1316"/>
                  </a:lnTo>
                  <a:lnTo>
                    <a:pt x="3641" y="1332"/>
                  </a:lnTo>
                  <a:lnTo>
                    <a:pt x="3652" y="1347"/>
                  </a:lnTo>
                  <a:lnTo>
                    <a:pt x="3665" y="1361"/>
                  </a:lnTo>
                  <a:lnTo>
                    <a:pt x="3677" y="1375"/>
                  </a:lnTo>
                  <a:lnTo>
                    <a:pt x="3690" y="1388"/>
                  </a:lnTo>
                  <a:lnTo>
                    <a:pt x="3704" y="1400"/>
                  </a:lnTo>
                  <a:lnTo>
                    <a:pt x="3732" y="1425"/>
                  </a:lnTo>
                  <a:lnTo>
                    <a:pt x="3763" y="1447"/>
                  </a:lnTo>
                  <a:lnTo>
                    <a:pt x="3795" y="1469"/>
                  </a:lnTo>
                  <a:lnTo>
                    <a:pt x="3828" y="1489"/>
                  </a:lnTo>
                  <a:lnTo>
                    <a:pt x="3863" y="1510"/>
                  </a:lnTo>
                  <a:lnTo>
                    <a:pt x="3899" y="1529"/>
                  </a:lnTo>
                  <a:lnTo>
                    <a:pt x="3976" y="1567"/>
                  </a:lnTo>
                  <a:lnTo>
                    <a:pt x="3976" y="1567"/>
                  </a:lnTo>
                  <a:lnTo>
                    <a:pt x="3945" y="1584"/>
                  </a:lnTo>
                  <a:lnTo>
                    <a:pt x="3916" y="1601"/>
                  </a:lnTo>
                  <a:lnTo>
                    <a:pt x="3890" y="1618"/>
                  </a:lnTo>
                  <a:lnTo>
                    <a:pt x="3864" y="1636"/>
                  </a:lnTo>
                  <a:lnTo>
                    <a:pt x="3840" y="1656"/>
                  </a:lnTo>
                  <a:lnTo>
                    <a:pt x="3817" y="1675"/>
                  </a:lnTo>
                  <a:lnTo>
                    <a:pt x="3797" y="1696"/>
                  </a:lnTo>
                  <a:lnTo>
                    <a:pt x="3778" y="1717"/>
                  </a:lnTo>
                  <a:lnTo>
                    <a:pt x="3761" y="1741"/>
                  </a:lnTo>
                  <a:lnTo>
                    <a:pt x="3754" y="1753"/>
                  </a:lnTo>
                  <a:lnTo>
                    <a:pt x="3746" y="1765"/>
                  </a:lnTo>
                  <a:lnTo>
                    <a:pt x="3739" y="1778"/>
                  </a:lnTo>
                  <a:lnTo>
                    <a:pt x="3733" y="1791"/>
                  </a:lnTo>
                  <a:lnTo>
                    <a:pt x="3728" y="1804"/>
                  </a:lnTo>
                  <a:lnTo>
                    <a:pt x="3723" y="1818"/>
                  </a:lnTo>
                  <a:lnTo>
                    <a:pt x="3718" y="1833"/>
                  </a:lnTo>
                  <a:lnTo>
                    <a:pt x="3714" y="1848"/>
                  </a:lnTo>
                  <a:lnTo>
                    <a:pt x="3711" y="1863"/>
                  </a:lnTo>
                  <a:lnTo>
                    <a:pt x="3708" y="1879"/>
                  </a:lnTo>
                  <a:lnTo>
                    <a:pt x="3706" y="1895"/>
                  </a:lnTo>
                  <a:lnTo>
                    <a:pt x="3705" y="1912"/>
                  </a:lnTo>
                  <a:lnTo>
                    <a:pt x="3704" y="1930"/>
                  </a:lnTo>
                  <a:lnTo>
                    <a:pt x="3703" y="1947"/>
                  </a:lnTo>
                  <a:lnTo>
                    <a:pt x="3703" y="1947"/>
                  </a:lnTo>
                  <a:lnTo>
                    <a:pt x="3704" y="1970"/>
                  </a:lnTo>
                  <a:lnTo>
                    <a:pt x="3707" y="1993"/>
                  </a:lnTo>
                  <a:lnTo>
                    <a:pt x="3711" y="2016"/>
                  </a:lnTo>
                  <a:lnTo>
                    <a:pt x="3716" y="2039"/>
                  </a:lnTo>
                  <a:lnTo>
                    <a:pt x="3729" y="2087"/>
                  </a:lnTo>
                  <a:lnTo>
                    <a:pt x="3736" y="2113"/>
                  </a:lnTo>
                  <a:lnTo>
                    <a:pt x="3742" y="2139"/>
                  </a:lnTo>
                  <a:lnTo>
                    <a:pt x="3749" y="2168"/>
                  </a:lnTo>
                  <a:lnTo>
                    <a:pt x="3753" y="2197"/>
                  </a:lnTo>
                  <a:lnTo>
                    <a:pt x="3757" y="2227"/>
                  </a:lnTo>
                  <a:lnTo>
                    <a:pt x="3758" y="2260"/>
                  </a:lnTo>
                  <a:lnTo>
                    <a:pt x="3758" y="2295"/>
                  </a:lnTo>
                  <a:lnTo>
                    <a:pt x="3757" y="2313"/>
                  </a:lnTo>
                  <a:lnTo>
                    <a:pt x="3755" y="2332"/>
                  </a:lnTo>
                  <a:lnTo>
                    <a:pt x="3753" y="2350"/>
                  </a:lnTo>
                  <a:lnTo>
                    <a:pt x="3750" y="2371"/>
                  </a:lnTo>
                  <a:lnTo>
                    <a:pt x="3745" y="2391"/>
                  </a:lnTo>
                  <a:lnTo>
                    <a:pt x="3741" y="2411"/>
                  </a:lnTo>
                  <a:lnTo>
                    <a:pt x="3741" y="2411"/>
                  </a:lnTo>
                  <a:lnTo>
                    <a:pt x="3741" y="2413"/>
                  </a:lnTo>
                  <a:lnTo>
                    <a:pt x="3741" y="2414"/>
                  </a:lnTo>
                  <a:lnTo>
                    <a:pt x="3743" y="2414"/>
                  </a:lnTo>
                  <a:lnTo>
                    <a:pt x="3745" y="2416"/>
                  </a:lnTo>
                  <a:lnTo>
                    <a:pt x="3753" y="2413"/>
                  </a:lnTo>
                  <a:lnTo>
                    <a:pt x="3762" y="2411"/>
                  </a:lnTo>
                  <a:lnTo>
                    <a:pt x="3785" y="2401"/>
                  </a:lnTo>
                  <a:lnTo>
                    <a:pt x="3814" y="2389"/>
                  </a:lnTo>
                  <a:lnTo>
                    <a:pt x="3842" y="2374"/>
                  </a:lnTo>
                  <a:lnTo>
                    <a:pt x="3867" y="2360"/>
                  </a:lnTo>
                  <a:lnTo>
                    <a:pt x="3886" y="2349"/>
                  </a:lnTo>
                  <a:lnTo>
                    <a:pt x="3891" y="2345"/>
                  </a:lnTo>
                  <a:lnTo>
                    <a:pt x="3894" y="2343"/>
                  </a:lnTo>
                  <a:lnTo>
                    <a:pt x="3894" y="2343"/>
                  </a:lnTo>
                  <a:lnTo>
                    <a:pt x="3903" y="2319"/>
                  </a:lnTo>
                  <a:lnTo>
                    <a:pt x="3910" y="2296"/>
                  </a:lnTo>
                  <a:lnTo>
                    <a:pt x="3916" y="2272"/>
                  </a:lnTo>
                  <a:lnTo>
                    <a:pt x="3921" y="2248"/>
                  </a:lnTo>
                  <a:lnTo>
                    <a:pt x="3925" y="2224"/>
                  </a:lnTo>
                  <a:lnTo>
                    <a:pt x="3928" y="2201"/>
                  </a:lnTo>
                  <a:lnTo>
                    <a:pt x="3930" y="2178"/>
                  </a:lnTo>
                  <a:lnTo>
                    <a:pt x="3932" y="2156"/>
                  </a:lnTo>
                  <a:lnTo>
                    <a:pt x="3932" y="2117"/>
                  </a:lnTo>
                  <a:lnTo>
                    <a:pt x="3931" y="2086"/>
                  </a:lnTo>
                  <a:lnTo>
                    <a:pt x="3928" y="2059"/>
                  </a:lnTo>
                  <a:lnTo>
                    <a:pt x="3928" y="2059"/>
                  </a:lnTo>
                  <a:lnTo>
                    <a:pt x="3939" y="2068"/>
                  </a:lnTo>
                  <a:lnTo>
                    <a:pt x="3947" y="2079"/>
                  </a:lnTo>
                  <a:lnTo>
                    <a:pt x="3954" y="2091"/>
                  </a:lnTo>
                  <a:lnTo>
                    <a:pt x="3960" y="2105"/>
                  </a:lnTo>
                  <a:lnTo>
                    <a:pt x="3964" y="2120"/>
                  </a:lnTo>
                  <a:lnTo>
                    <a:pt x="3968" y="2135"/>
                  </a:lnTo>
                  <a:lnTo>
                    <a:pt x="3971" y="2152"/>
                  </a:lnTo>
                  <a:lnTo>
                    <a:pt x="3973" y="2168"/>
                  </a:lnTo>
                  <a:lnTo>
                    <a:pt x="3975" y="2185"/>
                  </a:lnTo>
                  <a:lnTo>
                    <a:pt x="3976" y="2203"/>
                  </a:lnTo>
                  <a:lnTo>
                    <a:pt x="3976" y="2219"/>
                  </a:lnTo>
                  <a:lnTo>
                    <a:pt x="3975" y="2237"/>
                  </a:lnTo>
                  <a:lnTo>
                    <a:pt x="3971" y="2268"/>
                  </a:lnTo>
                  <a:lnTo>
                    <a:pt x="3965" y="2297"/>
                  </a:lnTo>
                  <a:lnTo>
                    <a:pt x="3965" y="2297"/>
                  </a:lnTo>
                  <a:lnTo>
                    <a:pt x="3982" y="2288"/>
                  </a:lnTo>
                  <a:lnTo>
                    <a:pt x="3998" y="2276"/>
                  </a:lnTo>
                  <a:lnTo>
                    <a:pt x="4016" y="2263"/>
                  </a:lnTo>
                  <a:lnTo>
                    <a:pt x="4036" y="2249"/>
                  </a:lnTo>
                  <a:lnTo>
                    <a:pt x="4053" y="2234"/>
                  </a:lnTo>
                  <a:lnTo>
                    <a:pt x="4061" y="2226"/>
                  </a:lnTo>
                  <a:lnTo>
                    <a:pt x="4068" y="2219"/>
                  </a:lnTo>
                  <a:lnTo>
                    <a:pt x="4072" y="2212"/>
                  </a:lnTo>
                  <a:lnTo>
                    <a:pt x="4075" y="2206"/>
                  </a:lnTo>
                  <a:lnTo>
                    <a:pt x="4075" y="2206"/>
                  </a:lnTo>
                  <a:lnTo>
                    <a:pt x="4083" y="2176"/>
                  </a:lnTo>
                  <a:lnTo>
                    <a:pt x="4090" y="2148"/>
                  </a:lnTo>
                  <a:lnTo>
                    <a:pt x="4094" y="2121"/>
                  </a:lnTo>
                  <a:lnTo>
                    <a:pt x="4096" y="2095"/>
                  </a:lnTo>
                  <a:lnTo>
                    <a:pt x="4096" y="2071"/>
                  </a:lnTo>
                  <a:lnTo>
                    <a:pt x="4095" y="2047"/>
                  </a:lnTo>
                  <a:lnTo>
                    <a:pt x="4093" y="2025"/>
                  </a:lnTo>
                  <a:lnTo>
                    <a:pt x="4090" y="2003"/>
                  </a:lnTo>
                  <a:lnTo>
                    <a:pt x="4085" y="1983"/>
                  </a:lnTo>
                  <a:lnTo>
                    <a:pt x="4080" y="1964"/>
                  </a:lnTo>
                  <a:lnTo>
                    <a:pt x="4075" y="1945"/>
                  </a:lnTo>
                  <a:lnTo>
                    <a:pt x="4069" y="1928"/>
                  </a:lnTo>
                  <a:lnTo>
                    <a:pt x="4055" y="1894"/>
                  </a:lnTo>
                  <a:lnTo>
                    <a:pt x="4043" y="1862"/>
                  </a:lnTo>
                  <a:lnTo>
                    <a:pt x="4043" y="1862"/>
                  </a:lnTo>
                  <a:lnTo>
                    <a:pt x="4038" y="1847"/>
                  </a:lnTo>
                  <a:lnTo>
                    <a:pt x="4035" y="1832"/>
                  </a:lnTo>
                  <a:lnTo>
                    <a:pt x="4034" y="1817"/>
                  </a:lnTo>
                  <a:lnTo>
                    <a:pt x="4035" y="1802"/>
                  </a:lnTo>
                  <a:lnTo>
                    <a:pt x="4037" y="1788"/>
                  </a:lnTo>
                  <a:lnTo>
                    <a:pt x="4041" y="1773"/>
                  </a:lnTo>
                  <a:lnTo>
                    <a:pt x="4046" y="1759"/>
                  </a:lnTo>
                  <a:lnTo>
                    <a:pt x="4053" y="1746"/>
                  </a:lnTo>
                  <a:lnTo>
                    <a:pt x="4061" y="1733"/>
                  </a:lnTo>
                  <a:lnTo>
                    <a:pt x="4071" y="1719"/>
                  </a:lnTo>
                  <a:lnTo>
                    <a:pt x="4081" y="1707"/>
                  </a:lnTo>
                  <a:lnTo>
                    <a:pt x="4092" y="1696"/>
                  </a:lnTo>
                  <a:lnTo>
                    <a:pt x="4103" y="1684"/>
                  </a:lnTo>
                  <a:lnTo>
                    <a:pt x="4117" y="1673"/>
                  </a:lnTo>
                  <a:lnTo>
                    <a:pt x="4130" y="1664"/>
                  </a:lnTo>
                  <a:lnTo>
                    <a:pt x="4145" y="1655"/>
                  </a:lnTo>
                  <a:lnTo>
                    <a:pt x="4145" y="1655"/>
                  </a:lnTo>
                  <a:lnTo>
                    <a:pt x="4180" y="1674"/>
                  </a:lnTo>
                  <a:lnTo>
                    <a:pt x="4215" y="1695"/>
                  </a:lnTo>
                  <a:lnTo>
                    <a:pt x="4251" y="1716"/>
                  </a:lnTo>
                  <a:lnTo>
                    <a:pt x="4286" y="1740"/>
                  </a:lnTo>
                  <a:lnTo>
                    <a:pt x="4286" y="1740"/>
                  </a:lnTo>
                  <a:lnTo>
                    <a:pt x="4307" y="1754"/>
                  </a:lnTo>
                  <a:lnTo>
                    <a:pt x="4341" y="1779"/>
                  </a:lnTo>
                  <a:lnTo>
                    <a:pt x="4361" y="1794"/>
                  </a:lnTo>
                  <a:lnTo>
                    <a:pt x="4382" y="1812"/>
                  </a:lnTo>
                  <a:lnTo>
                    <a:pt x="4405" y="1832"/>
                  </a:lnTo>
                  <a:lnTo>
                    <a:pt x="4430" y="1853"/>
                  </a:lnTo>
                  <a:lnTo>
                    <a:pt x="4453" y="1877"/>
                  </a:lnTo>
                  <a:lnTo>
                    <a:pt x="4478" y="1901"/>
                  </a:lnTo>
                  <a:lnTo>
                    <a:pt x="4501" y="1928"/>
                  </a:lnTo>
                  <a:lnTo>
                    <a:pt x="4524" y="1956"/>
                  </a:lnTo>
                  <a:lnTo>
                    <a:pt x="4545" y="1985"/>
                  </a:lnTo>
                  <a:lnTo>
                    <a:pt x="4564" y="2016"/>
                  </a:lnTo>
                  <a:lnTo>
                    <a:pt x="4574" y="2031"/>
                  </a:lnTo>
                  <a:lnTo>
                    <a:pt x="4582" y="2047"/>
                  </a:lnTo>
                  <a:lnTo>
                    <a:pt x="4590" y="2064"/>
                  </a:lnTo>
                  <a:lnTo>
                    <a:pt x="4596" y="2080"/>
                  </a:lnTo>
                  <a:lnTo>
                    <a:pt x="4596" y="2080"/>
                  </a:lnTo>
                  <a:lnTo>
                    <a:pt x="4606" y="2106"/>
                  </a:lnTo>
                  <a:lnTo>
                    <a:pt x="4616" y="2130"/>
                  </a:lnTo>
                  <a:lnTo>
                    <a:pt x="4624" y="2155"/>
                  </a:lnTo>
                  <a:lnTo>
                    <a:pt x="4630" y="2178"/>
                  </a:lnTo>
                  <a:lnTo>
                    <a:pt x="4636" y="2202"/>
                  </a:lnTo>
                  <a:lnTo>
                    <a:pt x="4641" y="2224"/>
                  </a:lnTo>
                  <a:lnTo>
                    <a:pt x="4645" y="2246"/>
                  </a:lnTo>
                  <a:lnTo>
                    <a:pt x="4649" y="2266"/>
                  </a:lnTo>
                  <a:lnTo>
                    <a:pt x="4651" y="2287"/>
                  </a:lnTo>
                  <a:lnTo>
                    <a:pt x="4653" y="2306"/>
                  </a:lnTo>
                  <a:lnTo>
                    <a:pt x="4654" y="2325"/>
                  </a:lnTo>
                  <a:lnTo>
                    <a:pt x="4655" y="2343"/>
                  </a:lnTo>
                  <a:lnTo>
                    <a:pt x="4654" y="2377"/>
                  </a:lnTo>
                  <a:lnTo>
                    <a:pt x="4652" y="2408"/>
                  </a:lnTo>
                  <a:lnTo>
                    <a:pt x="4648" y="2437"/>
                  </a:lnTo>
                  <a:lnTo>
                    <a:pt x="4642" y="2464"/>
                  </a:lnTo>
                  <a:lnTo>
                    <a:pt x="4635" y="2487"/>
                  </a:lnTo>
                  <a:lnTo>
                    <a:pt x="4628" y="2509"/>
                  </a:lnTo>
                  <a:lnTo>
                    <a:pt x="4620" y="2527"/>
                  </a:lnTo>
                  <a:lnTo>
                    <a:pt x="4612" y="2544"/>
                  </a:lnTo>
                  <a:lnTo>
                    <a:pt x="4603" y="2559"/>
                  </a:lnTo>
                  <a:lnTo>
                    <a:pt x="4596" y="2570"/>
                  </a:lnTo>
                  <a:lnTo>
                    <a:pt x="4596" y="2570"/>
                  </a:lnTo>
                  <a:lnTo>
                    <a:pt x="4582" y="2590"/>
                  </a:lnTo>
                  <a:lnTo>
                    <a:pt x="4568" y="2611"/>
                  </a:lnTo>
                  <a:lnTo>
                    <a:pt x="4553" y="2629"/>
                  </a:lnTo>
                  <a:lnTo>
                    <a:pt x="4538" y="2648"/>
                  </a:lnTo>
                  <a:lnTo>
                    <a:pt x="4522" y="2665"/>
                  </a:lnTo>
                  <a:lnTo>
                    <a:pt x="4505" y="2681"/>
                  </a:lnTo>
                  <a:lnTo>
                    <a:pt x="4487" y="2697"/>
                  </a:lnTo>
                  <a:lnTo>
                    <a:pt x="4469" y="2711"/>
                  </a:lnTo>
                  <a:lnTo>
                    <a:pt x="4450" y="2724"/>
                  </a:lnTo>
                  <a:lnTo>
                    <a:pt x="4430" y="2736"/>
                  </a:lnTo>
                  <a:lnTo>
                    <a:pt x="4409" y="2747"/>
                  </a:lnTo>
                  <a:lnTo>
                    <a:pt x="4388" y="2756"/>
                  </a:lnTo>
                  <a:lnTo>
                    <a:pt x="4364" y="2764"/>
                  </a:lnTo>
                  <a:lnTo>
                    <a:pt x="4341" y="2771"/>
                  </a:lnTo>
                  <a:lnTo>
                    <a:pt x="4316" y="2776"/>
                  </a:lnTo>
                  <a:lnTo>
                    <a:pt x="4290" y="2779"/>
                  </a:lnTo>
                  <a:lnTo>
                    <a:pt x="4290" y="2779"/>
                  </a:lnTo>
                  <a:lnTo>
                    <a:pt x="4283" y="2778"/>
                  </a:lnTo>
                  <a:lnTo>
                    <a:pt x="4275" y="2778"/>
                  </a:lnTo>
                  <a:lnTo>
                    <a:pt x="4275" y="2778"/>
                  </a:lnTo>
                  <a:lnTo>
                    <a:pt x="4242" y="2779"/>
                  </a:lnTo>
                  <a:lnTo>
                    <a:pt x="4213" y="2779"/>
                  </a:lnTo>
                  <a:lnTo>
                    <a:pt x="4185" y="2778"/>
                  </a:lnTo>
                  <a:lnTo>
                    <a:pt x="4159" y="2775"/>
                  </a:lnTo>
                  <a:lnTo>
                    <a:pt x="4159" y="2775"/>
                  </a:lnTo>
                  <a:lnTo>
                    <a:pt x="4131" y="2770"/>
                  </a:lnTo>
                  <a:lnTo>
                    <a:pt x="4103" y="2765"/>
                  </a:lnTo>
                  <a:lnTo>
                    <a:pt x="4077" y="2758"/>
                  </a:lnTo>
                  <a:lnTo>
                    <a:pt x="4052" y="2751"/>
                  </a:lnTo>
                  <a:lnTo>
                    <a:pt x="4052" y="2751"/>
                  </a:lnTo>
                  <a:lnTo>
                    <a:pt x="4009" y="2736"/>
                  </a:lnTo>
                  <a:lnTo>
                    <a:pt x="3965" y="2717"/>
                  </a:lnTo>
                  <a:lnTo>
                    <a:pt x="3965" y="2717"/>
                  </a:lnTo>
                  <a:lnTo>
                    <a:pt x="3925" y="2697"/>
                  </a:lnTo>
                  <a:lnTo>
                    <a:pt x="3874" y="2669"/>
                  </a:lnTo>
                  <a:lnTo>
                    <a:pt x="3846" y="2652"/>
                  </a:lnTo>
                  <a:lnTo>
                    <a:pt x="3815" y="2632"/>
                  </a:lnTo>
                  <a:lnTo>
                    <a:pt x="3782" y="2612"/>
                  </a:lnTo>
                  <a:lnTo>
                    <a:pt x="3748" y="2588"/>
                  </a:lnTo>
                  <a:lnTo>
                    <a:pt x="3712" y="2564"/>
                  </a:lnTo>
                  <a:lnTo>
                    <a:pt x="3676" y="2536"/>
                  </a:lnTo>
                  <a:lnTo>
                    <a:pt x="3638" y="2508"/>
                  </a:lnTo>
                  <a:lnTo>
                    <a:pt x="3601" y="2477"/>
                  </a:lnTo>
                  <a:lnTo>
                    <a:pt x="3563" y="2444"/>
                  </a:lnTo>
                  <a:lnTo>
                    <a:pt x="3526" y="2409"/>
                  </a:lnTo>
                  <a:lnTo>
                    <a:pt x="3488" y="2373"/>
                  </a:lnTo>
                  <a:lnTo>
                    <a:pt x="3451" y="2335"/>
                  </a:lnTo>
                  <a:lnTo>
                    <a:pt x="3451" y="2335"/>
                  </a:lnTo>
                  <a:lnTo>
                    <a:pt x="3394" y="2271"/>
                  </a:lnTo>
                  <a:lnTo>
                    <a:pt x="3342" y="2212"/>
                  </a:lnTo>
                  <a:lnTo>
                    <a:pt x="3295" y="2157"/>
                  </a:lnTo>
                  <a:lnTo>
                    <a:pt x="3253" y="2107"/>
                  </a:lnTo>
                  <a:lnTo>
                    <a:pt x="3215" y="2060"/>
                  </a:lnTo>
                  <a:lnTo>
                    <a:pt x="3180" y="2017"/>
                  </a:lnTo>
                  <a:lnTo>
                    <a:pt x="3120" y="1940"/>
                  </a:lnTo>
                  <a:lnTo>
                    <a:pt x="3120" y="1940"/>
                  </a:lnTo>
                  <a:lnTo>
                    <a:pt x="3138" y="1947"/>
                  </a:lnTo>
                  <a:lnTo>
                    <a:pt x="3156" y="1953"/>
                  </a:lnTo>
                  <a:lnTo>
                    <a:pt x="3175" y="1958"/>
                  </a:lnTo>
                  <a:lnTo>
                    <a:pt x="3193" y="1963"/>
                  </a:lnTo>
                  <a:lnTo>
                    <a:pt x="3211" y="1966"/>
                  </a:lnTo>
                  <a:lnTo>
                    <a:pt x="3229" y="1968"/>
                  </a:lnTo>
                  <a:lnTo>
                    <a:pt x="3262" y="1971"/>
                  </a:lnTo>
                  <a:lnTo>
                    <a:pt x="3289" y="1971"/>
                  </a:lnTo>
                  <a:lnTo>
                    <a:pt x="3312" y="1970"/>
                  </a:lnTo>
                  <a:lnTo>
                    <a:pt x="3332" y="1968"/>
                  </a:lnTo>
                  <a:lnTo>
                    <a:pt x="3332" y="1968"/>
                  </a:lnTo>
                  <a:lnTo>
                    <a:pt x="3336" y="1918"/>
                  </a:lnTo>
                  <a:lnTo>
                    <a:pt x="3338" y="1873"/>
                  </a:lnTo>
                  <a:lnTo>
                    <a:pt x="3340" y="1833"/>
                  </a:lnTo>
                  <a:lnTo>
                    <a:pt x="3346" y="1698"/>
                  </a:lnTo>
                  <a:lnTo>
                    <a:pt x="3346" y="1698"/>
                  </a:lnTo>
                  <a:lnTo>
                    <a:pt x="3349" y="1661"/>
                  </a:lnTo>
                  <a:lnTo>
                    <a:pt x="3351" y="1626"/>
                  </a:lnTo>
                  <a:lnTo>
                    <a:pt x="3352" y="1589"/>
                  </a:lnTo>
                  <a:lnTo>
                    <a:pt x="3352" y="1589"/>
                  </a:lnTo>
                  <a:lnTo>
                    <a:pt x="3340" y="1588"/>
                  </a:lnTo>
                  <a:lnTo>
                    <a:pt x="3307" y="1584"/>
                  </a:lnTo>
                  <a:lnTo>
                    <a:pt x="3285" y="1581"/>
                  </a:lnTo>
                  <a:lnTo>
                    <a:pt x="3260" y="1576"/>
                  </a:lnTo>
                  <a:lnTo>
                    <a:pt x="3233" y="1571"/>
                  </a:lnTo>
                  <a:lnTo>
                    <a:pt x="3206" y="1564"/>
                  </a:lnTo>
                  <a:lnTo>
                    <a:pt x="3176" y="1555"/>
                  </a:lnTo>
                  <a:lnTo>
                    <a:pt x="3147" y="1544"/>
                  </a:lnTo>
                  <a:lnTo>
                    <a:pt x="3120" y="1532"/>
                  </a:lnTo>
                  <a:lnTo>
                    <a:pt x="3106" y="1526"/>
                  </a:lnTo>
                  <a:lnTo>
                    <a:pt x="3093" y="1519"/>
                  </a:lnTo>
                  <a:lnTo>
                    <a:pt x="3081" y="1511"/>
                  </a:lnTo>
                  <a:lnTo>
                    <a:pt x="3070" y="1502"/>
                  </a:lnTo>
                  <a:lnTo>
                    <a:pt x="3058" y="1493"/>
                  </a:lnTo>
                  <a:lnTo>
                    <a:pt x="3049" y="1484"/>
                  </a:lnTo>
                  <a:lnTo>
                    <a:pt x="3040" y="1474"/>
                  </a:lnTo>
                  <a:lnTo>
                    <a:pt x="3032" y="1463"/>
                  </a:lnTo>
                  <a:lnTo>
                    <a:pt x="3025" y="1451"/>
                  </a:lnTo>
                  <a:lnTo>
                    <a:pt x="3019" y="1439"/>
                  </a:lnTo>
                  <a:lnTo>
                    <a:pt x="3019" y="1439"/>
                  </a:lnTo>
                  <a:lnTo>
                    <a:pt x="3030" y="1445"/>
                  </a:lnTo>
                  <a:lnTo>
                    <a:pt x="3042" y="1450"/>
                  </a:lnTo>
                  <a:lnTo>
                    <a:pt x="3059" y="1457"/>
                  </a:lnTo>
                  <a:lnTo>
                    <a:pt x="3081" y="1465"/>
                  </a:lnTo>
                  <a:lnTo>
                    <a:pt x="3106" y="1472"/>
                  </a:lnTo>
                  <a:lnTo>
                    <a:pt x="3136" y="1477"/>
                  </a:lnTo>
                  <a:lnTo>
                    <a:pt x="3152" y="1479"/>
                  </a:lnTo>
                  <a:lnTo>
                    <a:pt x="3169" y="1480"/>
                  </a:lnTo>
                  <a:lnTo>
                    <a:pt x="3169" y="1480"/>
                  </a:lnTo>
                  <a:lnTo>
                    <a:pt x="3201" y="1481"/>
                  </a:lnTo>
                  <a:lnTo>
                    <a:pt x="3234" y="1481"/>
                  </a:lnTo>
                  <a:lnTo>
                    <a:pt x="3266" y="1479"/>
                  </a:lnTo>
                  <a:lnTo>
                    <a:pt x="3295" y="1477"/>
                  </a:lnTo>
                  <a:lnTo>
                    <a:pt x="3340" y="1471"/>
                  </a:lnTo>
                  <a:lnTo>
                    <a:pt x="3357" y="1469"/>
                  </a:lnTo>
                  <a:lnTo>
                    <a:pt x="3357" y="1469"/>
                  </a:lnTo>
                  <a:lnTo>
                    <a:pt x="3359" y="1463"/>
                  </a:lnTo>
                  <a:lnTo>
                    <a:pt x="3361" y="1451"/>
                  </a:lnTo>
                  <a:lnTo>
                    <a:pt x="3364" y="1421"/>
                  </a:lnTo>
                  <a:lnTo>
                    <a:pt x="3367" y="1381"/>
                  </a:lnTo>
                  <a:lnTo>
                    <a:pt x="3369" y="1337"/>
                  </a:lnTo>
                  <a:lnTo>
                    <a:pt x="3373" y="1257"/>
                  </a:lnTo>
                  <a:lnTo>
                    <a:pt x="3375" y="1222"/>
                  </a:lnTo>
                  <a:lnTo>
                    <a:pt x="3375" y="1222"/>
                  </a:lnTo>
                  <a:lnTo>
                    <a:pt x="3376" y="1194"/>
                  </a:lnTo>
                  <a:lnTo>
                    <a:pt x="3377" y="1154"/>
                  </a:lnTo>
                  <a:lnTo>
                    <a:pt x="3377" y="1105"/>
                  </a:lnTo>
                  <a:lnTo>
                    <a:pt x="3377" y="1105"/>
                  </a:lnTo>
                  <a:lnTo>
                    <a:pt x="3369" y="1107"/>
                  </a:lnTo>
                  <a:lnTo>
                    <a:pt x="3359" y="1108"/>
                  </a:lnTo>
                  <a:lnTo>
                    <a:pt x="3338" y="1110"/>
                  </a:lnTo>
                  <a:lnTo>
                    <a:pt x="3315" y="1109"/>
                  </a:lnTo>
                  <a:lnTo>
                    <a:pt x="3290" y="1107"/>
                  </a:lnTo>
                  <a:lnTo>
                    <a:pt x="3264" y="1104"/>
                  </a:lnTo>
                  <a:lnTo>
                    <a:pt x="3236" y="1100"/>
                  </a:lnTo>
                  <a:lnTo>
                    <a:pt x="3208" y="1094"/>
                  </a:lnTo>
                  <a:lnTo>
                    <a:pt x="3178" y="1086"/>
                  </a:lnTo>
                  <a:lnTo>
                    <a:pt x="3178" y="1086"/>
                  </a:lnTo>
                  <a:lnTo>
                    <a:pt x="3158" y="1080"/>
                  </a:lnTo>
                  <a:lnTo>
                    <a:pt x="3135" y="1071"/>
                  </a:lnTo>
                  <a:lnTo>
                    <a:pt x="3112" y="1059"/>
                  </a:lnTo>
                  <a:lnTo>
                    <a:pt x="3088" y="1044"/>
                  </a:lnTo>
                  <a:lnTo>
                    <a:pt x="3064" y="1028"/>
                  </a:lnTo>
                  <a:lnTo>
                    <a:pt x="3053" y="1019"/>
                  </a:lnTo>
                  <a:lnTo>
                    <a:pt x="3043" y="1010"/>
                  </a:lnTo>
                  <a:lnTo>
                    <a:pt x="3034" y="999"/>
                  </a:lnTo>
                  <a:lnTo>
                    <a:pt x="3025" y="990"/>
                  </a:lnTo>
                  <a:lnTo>
                    <a:pt x="3017" y="980"/>
                  </a:lnTo>
                  <a:lnTo>
                    <a:pt x="3010" y="969"/>
                  </a:lnTo>
                  <a:lnTo>
                    <a:pt x="3010" y="969"/>
                  </a:lnTo>
                  <a:lnTo>
                    <a:pt x="3022" y="974"/>
                  </a:lnTo>
                  <a:lnTo>
                    <a:pt x="3035" y="978"/>
                  </a:lnTo>
                  <a:lnTo>
                    <a:pt x="3052" y="984"/>
                  </a:lnTo>
                  <a:lnTo>
                    <a:pt x="3075" y="990"/>
                  </a:lnTo>
                  <a:lnTo>
                    <a:pt x="3101" y="996"/>
                  </a:lnTo>
                  <a:lnTo>
                    <a:pt x="3132" y="1003"/>
                  </a:lnTo>
                  <a:lnTo>
                    <a:pt x="3167" y="1008"/>
                  </a:lnTo>
                  <a:lnTo>
                    <a:pt x="3167" y="1008"/>
                  </a:lnTo>
                  <a:lnTo>
                    <a:pt x="3187" y="1010"/>
                  </a:lnTo>
                  <a:lnTo>
                    <a:pt x="3207" y="1011"/>
                  </a:lnTo>
                  <a:lnTo>
                    <a:pt x="3226" y="1012"/>
                  </a:lnTo>
                  <a:lnTo>
                    <a:pt x="3245" y="1012"/>
                  </a:lnTo>
                  <a:lnTo>
                    <a:pt x="3283" y="1010"/>
                  </a:lnTo>
                  <a:lnTo>
                    <a:pt x="3317" y="1007"/>
                  </a:lnTo>
                  <a:lnTo>
                    <a:pt x="3346" y="1001"/>
                  </a:lnTo>
                  <a:lnTo>
                    <a:pt x="3369" y="996"/>
                  </a:lnTo>
                  <a:lnTo>
                    <a:pt x="3377" y="993"/>
                  </a:lnTo>
                  <a:lnTo>
                    <a:pt x="3383" y="991"/>
                  </a:lnTo>
                  <a:lnTo>
                    <a:pt x="3388" y="988"/>
                  </a:lnTo>
                  <a:lnTo>
                    <a:pt x="3390" y="985"/>
                  </a:lnTo>
                  <a:lnTo>
                    <a:pt x="3390" y="985"/>
                  </a:lnTo>
                  <a:lnTo>
                    <a:pt x="3392" y="959"/>
                  </a:lnTo>
                  <a:lnTo>
                    <a:pt x="3393" y="925"/>
                  </a:lnTo>
                  <a:lnTo>
                    <a:pt x="3394" y="848"/>
                  </a:lnTo>
                  <a:lnTo>
                    <a:pt x="3394" y="750"/>
                  </a:lnTo>
                  <a:lnTo>
                    <a:pt x="3394" y="750"/>
                  </a:lnTo>
                  <a:lnTo>
                    <a:pt x="3399" y="686"/>
                  </a:lnTo>
                  <a:lnTo>
                    <a:pt x="3400" y="642"/>
                  </a:lnTo>
                  <a:lnTo>
                    <a:pt x="3400" y="627"/>
                  </a:lnTo>
                  <a:lnTo>
                    <a:pt x="3399" y="623"/>
                  </a:lnTo>
                  <a:lnTo>
                    <a:pt x="3398" y="622"/>
                  </a:lnTo>
                  <a:lnTo>
                    <a:pt x="3398" y="622"/>
                  </a:lnTo>
                  <a:lnTo>
                    <a:pt x="3392" y="622"/>
                  </a:lnTo>
                  <a:lnTo>
                    <a:pt x="3381" y="623"/>
                  </a:lnTo>
                  <a:lnTo>
                    <a:pt x="3368" y="623"/>
                  </a:lnTo>
                  <a:lnTo>
                    <a:pt x="3354" y="622"/>
                  </a:lnTo>
                  <a:lnTo>
                    <a:pt x="3336" y="620"/>
                  </a:lnTo>
                  <a:lnTo>
                    <a:pt x="3317" y="617"/>
                  </a:lnTo>
                  <a:lnTo>
                    <a:pt x="3297" y="612"/>
                  </a:lnTo>
                  <a:lnTo>
                    <a:pt x="3274" y="607"/>
                  </a:lnTo>
                  <a:lnTo>
                    <a:pt x="3251" y="599"/>
                  </a:lnTo>
                  <a:lnTo>
                    <a:pt x="3226" y="589"/>
                  </a:lnTo>
                  <a:lnTo>
                    <a:pt x="3200" y="578"/>
                  </a:lnTo>
                  <a:lnTo>
                    <a:pt x="3175" y="564"/>
                  </a:lnTo>
                  <a:lnTo>
                    <a:pt x="3149" y="548"/>
                  </a:lnTo>
                  <a:lnTo>
                    <a:pt x="3123" y="529"/>
                  </a:lnTo>
                  <a:lnTo>
                    <a:pt x="3110" y="519"/>
                  </a:lnTo>
                  <a:lnTo>
                    <a:pt x="3097" y="508"/>
                  </a:lnTo>
                  <a:lnTo>
                    <a:pt x="3085" y="495"/>
                  </a:lnTo>
                  <a:lnTo>
                    <a:pt x="3073" y="483"/>
                  </a:lnTo>
                  <a:lnTo>
                    <a:pt x="3073" y="483"/>
                  </a:lnTo>
                  <a:lnTo>
                    <a:pt x="3071" y="481"/>
                  </a:lnTo>
                  <a:lnTo>
                    <a:pt x="3065" y="476"/>
                  </a:lnTo>
                  <a:lnTo>
                    <a:pt x="3059" y="467"/>
                  </a:lnTo>
                  <a:lnTo>
                    <a:pt x="3056" y="461"/>
                  </a:lnTo>
                  <a:lnTo>
                    <a:pt x="3053" y="454"/>
                  </a:lnTo>
                  <a:lnTo>
                    <a:pt x="3051" y="447"/>
                  </a:lnTo>
                  <a:lnTo>
                    <a:pt x="3050" y="439"/>
                  </a:lnTo>
                  <a:lnTo>
                    <a:pt x="3049" y="430"/>
                  </a:lnTo>
                  <a:lnTo>
                    <a:pt x="3050" y="420"/>
                  </a:lnTo>
                  <a:lnTo>
                    <a:pt x="3053" y="410"/>
                  </a:lnTo>
                  <a:lnTo>
                    <a:pt x="3056" y="398"/>
                  </a:lnTo>
                  <a:lnTo>
                    <a:pt x="3062" y="386"/>
                  </a:lnTo>
                  <a:lnTo>
                    <a:pt x="3071" y="373"/>
                  </a:lnTo>
                  <a:lnTo>
                    <a:pt x="3071" y="373"/>
                  </a:lnTo>
                  <a:lnTo>
                    <a:pt x="2806" y="254"/>
                  </a:lnTo>
                  <a:lnTo>
                    <a:pt x="2806" y="254"/>
                  </a:lnTo>
                  <a:lnTo>
                    <a:pt x="2815" y="245"/>
                  </a:lnTo>
                  <a:lnTo>
                    <a:pt x="2824" y="234"/>
                  </a:lnTo>
                  <a:lnTo>
                    <a:pt x="2834" y="219"/>
                  </a:lnTo>
                  <a:lnTo>
                    <a:pt x="2845" y="203"/>
                  </a:lnTo>
                  <a:lnTo>
                    <a:pt x="2850" y="194"/>
                  </a:lnTo>
                  <a:lnTo>
                    <a:pt x="2854" y="185"/>
                  </a:lnTo>
                  <a:lnTo>
                    <a:pt x="2858" y="174"/>
                  </a:lnTo>
                  <a:lnTo>
                    <a:pt x="2861" y="164"/>
                  </a:lnTo>
                  <a:lnTo>
                    <a:pt x="2863" y="154"/>
                  </a:lnTo>
                  <a:lnTo>
                    <a:pt x="2863" y="144"/>
                  </a:lnTo>
                  <a:lnTo>
                    <a:pt x="2863" y="144"/>
                  </a:lnTo>
                  <a:lnTo>
                    <a:pt x="2863" y="132"/>
                  </a:lnTo>
                  <a:lnTo>
                    <a:pt x="2860" y="122"/>
                  </a:lnTo>
                  <a:lnTo>
                    <a:pt x="2855" y="112"/>
                  </a:lnTo>
                  <a:lnTo>
                    <a:pt x="2849" y="103"/>
                  </a:lnTo>
                  <a:lnTo>
                    <a:pt x="2841" y="94"/>
                  </a:lnTo>
                  <a:lnTo>
                    <a:pt x="2830" y="86"/>
                  </a:lnTo>
                  <a:lnTo>
                    <a:pt x="2820" y="79"/>
                  </a:lnTo>
                  <a:lnTo>
                    <a:pt x="2808" y="73"/>
                  </a:lnTo>
                  <a:lnTo>
                    <a:pt x="2795" y="68"/>
                  </a:lnTo>
                  <a:lnTo>
                    <a:pt x="2781" y="64"/>
                  </a:lnTo>
                  <a:lnTo>
                    <a:pt x="2767" y="60"/>
                  </a:lnTo>
                  <a:lnTo>
                    <a:pt x="2753" y="58"/>
                  </a:lnTo>
                  <a:lnTo>
                    <a:pt x="2738" y="56"/>
                  </a:lnTo>
                  <a:lnTo>
                    <a:pt x="2723" y="56"/>
                  </a:lnTo>
                  <a:lnTo>
                    <a:pt x="2709" y="57"/>
                  </a:lnTo>
                  <a:lnTo>
                    <a:pt x="2694" y="59"/>
                  </a:lnTo>
                  <a:lnTo>
                    <a:pt x="2694" y="59"/>
                  </a:lnTo>
                  <a:lnTo>
                    <a:pt x="2681" y="62"/>
                  </a:lnTo>
                  <a:lnTo>
                    <a:pt x="2669" y="66"/>
                  </a:lnTo>
                  <a:lnTo>
                    <a:pt x="2656" y="71"/>
                  </a:lnTo>
                  <a:lnTo>
                    <a:pt x="2644" y="77"/>
                  </a:lnTo>
                  <a:lnTo>
                    <a:pt x="2634" y="84"/>
                  </a:lnTo>
                  <a:lnTo>
                    <a:pt x="2623" y="92"/>
                  </a:lnTo>
                  <a:lnTo>
                    <a:pt x="2604" y="107"/>
                  </a:lnTo>
                  <a:lnTo>
                    <a:pt x="2589" y="122"/>
                  </a:lnTo>
                  <a:lnTo>
                    <a:pt x="2578" y="134"/>
                  </a:lnTo>
                  <a:lnTo>
                    <a:pt x="2569" y="147"/>
                  </a:lnTo>
                  <a:lnTo>
                    <a:pt x="2238" y="0"/>
                  </a:lnTo>
                  <a:lnTo>
                    <a:pt x="1977" y="263"/>
                  </a:lnTo>
                  <a:lnTo>
                    <a:pt x="1977" y="263"/>
                  </a:lnTo>
                  <a:lnTo>
                    <a:pt x="1972" y="268"/>
                  </a:lnTo>
                  <a:lnTo>
                    <a:pt x="1966" y="280"/>
                  </a:lnTo>
                  <a:lnTo>
                    <a:pt x="1963" y="287"/>
                  </a:lnTo>
                  <a:lnTo>
                    <a:pt x="1961" y="295"/>
                  </a:lnTo>
                  <a:lnTo>
                    <a:pt x="1960" y="304"/>
                  </a:lnTo>
                  <a:lnTo>
                    <a:pt x="1960" y="313"/>
                  </a:lnTo>
                  <a:lnTo>
                    <a:pt x="1964" y="337"/>
                  </a:lnTo>
                  <a:lnTo>
                    <a:pt x="1964" y="337"/>
                  </a:lnTo>
                  <a:lnTo>
                    <a:pt x="1964" y="343"/>
                  </a:lnTo>
                  <a:lnTo>
                    <a:pt x="1963" y="349"/>
                  </a:lnTo>
                  <a:lnTo>
                    <a:pt x="1962" y="354"/>
                  </a:lnTo>
                  <a:lnTo>
                    <a:pt x="1961" y="358"/>
                  </a:lnTo>
                  <a:lnTo>
                    <a:pt x="1957" y="366"/>
                  </a:lnTo>
                  <a:lnTo>
                    <a:pt x="1955" y="370"/>
                  </a:lnTo>
                  <a:lnTo>
                    <a:pt x="1955" y="370"/>
                  </a:lnTo>
                  <a:lnTo>
                    <a:pt x="1936" y="392"/>
                  </a:lnTo>
                  <a:lnTo>
                    <a:pt x="1916" y="416"/>
                  </a:lnTo>
                  <a:lnTo>
                    <a:pt x="1896" y="438"/>
                  </a:lnTo>
                  <a:lnTo>
                    <a:pt x="1876" y="461"/>
                  </a:lnTo>
                  <a:lnTo>
                    <a:pt x="1876" y="461"/>
                  </a:lnTo>
                  <a:lnTo>
                    <a:pt x="1847" y="499"/>
                  </a:lnTo>
                  <a:lnTo>
                    <a:pt x="1836" y="515"/>
                  </a:lnTo>
                  <a:lnTo>
                    <a:pt x="1828" y="527"/>
                  </a:lnTo>
                  <a:lnTo>
                    <a:pt x="1828" y="527"/>
                  </a:lnTo>
                  <a:lnTo>
                    <a:pt x="1819" y="542"/>
                  </a:lnTo>
                  <a:lnTo>
                    <a:pt x="1811" y="558"/>
                  </a:lnTo>
                  <a:lnTo>
                    <a:pt x="1799" y="583"/>
                  </a:lnTo>
                  <a:lnTo>
                    <a:pt x="1789" y="607"/>
                  </a:lnTo>
                  <a:lnTo>
                    <a:pt x="1781" y="628"/>
                  </a:lnTo>
                  <a:lnTo>
                    <a:pt x="1781" y="628"/>
                  </a:lnTo>
                  <a:lnTo>
                    <a:pt x="1780" y="631"/>
                  </a:lnTo>
                  <a:lnTo>
                    <a:pt x="1778" y="642"/>
                  </a:lnTo>
                  <a:lnTo>
                    <a:pt x="1778" y="649"/>
                  </a:lnTo>
                  <a:lnTo>
                    <a:pt x="1777" y="657"/>
                  </a:lnTo>
                  <a:lnTo>
                    <a:pt x="1778" y="666"/>
                  </a:lnTo>
                  <a:lnTo>
                    <a:pt x="1780" y="677"/>
                  </a:lnTo>
                  <a:lnTo>
                    <a:pt x="1784" y="690"/>
                  </a:lnTo>
                  <a:lnTo>
                    <a:pt x="1789" y="703"/>
                  </a:lnTo>
                  <a:lnTo>
                    <a:pt x="1797" y="716"/>
                  </a:lnTo>
                  <a:lnTo>
                    <a:pt x="1807" y="732"/>
                  </a:lnTo>
                  <a:lnTo>
                    <a:pt x="1819" y="748"/>
                  </a:lnTo>
                  <a:lnTo>
                    <a:pt x="1833" y="764"/>
                  </a:lnTo>
                  <a:lnTo>
                    <a:pt x="1852" y="782"/>
                  </a:lnTo>
                  <a:lnTo>
                    <a:pt x="1874" y="800"/>
                  </a:lnTo>
                  <a:lnTo>
                    <a:pt x="1881" y="806"/>
                  </a:lnTo>
                  <a:lnTo>
                    <a:pt x="1881" y="806"/>
                  </a:lnTo>
                  <a:lnTo>
                    <a:pt x="1894" y="789"/>
                  </a:lnTo>
                  <a:lnTo>
                    <a:pt x="1905" y="800"/>
                  </a:lnTo>
                  <a:lnTo>
                    <a:pt x="1905" y="800"/>
                  </a:lnTo>
                  <a:lnTo>
                    <a:pt x="1914" y="809"/>
                  </a:lnTo>
                  <a:lnTo>
                    <a:pt x="1926" y="820"/>
                  </a:lnTo>
                  <a:lnTo>
                    <a:pt x="1941" y="832"/>
                  </a:lnTo>
                  <a:lnTo>
                    <a:pt x="1957" y="842"/>
                  </a:lnTo>
                  <a:lnTo>
                    <a:pt x="1957" y="842"/>
                  </a:lnTo>
                  <a:lnTo>
                    <a:pt x="1959" y="835"/>
                  </a:lnTo>
                  <a:lnTo>
                    <a:pt x="1964" y="815"/>
                  </a:lnTo>
                  <a:lnTo>
                    <a:pt x="1969" y="802"/>
                  </a:lnTo>
                  <a:lnTo>
                    <a:pt x="1975" y="789"/>
                  </a:lnTo>
                  <a:lnTo>
                    <a:pt x="1983" y="775"/>
                  </a:lnTo>
                  <a:lnTo>
                    <a:pt x="1991" y="760"/>
                  </a:lnTo>
                  <a:lnTo>
                    <a:pt x="1991" y="760"/>
                  </a:lnTo>
                  <a:lnTo>
                    <a:pt x="2000" y="748"/>
                  </a:lnTo>
                  <a:lnTo>
                    <a:pt x="2011" y="736"/>
                  </a:lnTo>
                  <a:lnTo>
                    <a:pt x="2025" y="722"/>
                  </a:lnTo>
                  <a:lnTo>
                    <a:pt x="2038" y="709"/>
                  </a:lnTo>
                  <a:lnTo>
                    <a:pt x="2052" y="697"/>
                  </a:lnTo>
                  <a:lnTo>
                    <a:pt x="2065" y="686"/>
                  </a:lnTo>
                  <a:lnTo>
                    <a:pt x="2080" y="675"/>
                  </a:lnTo>
                  <a:lnTo>
                    <a:pt x="2092" y="667"/>
                  </a:lnTo>
                  <a:lnTo>
                    <a:pt x="2092" y="667"/>
                  </a:lnTo>
                  <a:lnTo>
                    <a:pt x="2107" y="658"/>
                  </a:lnTo>
                  <a:lnTo>
                    <a:pt x="2123" y="650"/>
                  </a:lnTo>
                  <a:lnTo>
                    <a:pt x="2138" y="643"/>
                  </a:lnTo>
                  <a:lnTo>
                    <a:pt x="2154" y="636"/>
                  </a:lnTo>
                  <a:lnTo>
                    <a:pt x="2170" y="632"/>
                  </a:lnTo>
                  <a:lnTo>
                    <a:pt x="2186" y="629"/>
                  </a:lnTo>
                  <a:lnTo>
                    <a:pt x="2202" y="626"/>
                  </a:lnTo>
                  <a:lnTo>
                    <a:pt x="2220" y="625"/>
                  </a:lnTo>
                  <a:lnTo>
                    <a:pt x="2220" y="625"/>
                  </a:lnTo>
                  <a:lnTo>
                    <a:pt x="2234" y="626"/>
                  </a:lnTo>
                  <a:lnTo>
                    <a:pt x="2247" y="627"/>
                  </a:lnTo>
                  <a:lnTo>
                    <a:pt x="2261" y="630"/>
                  </a:lnTo>
                  <a:lnTo>
                    <a:pt x="2272" y="635"/>
                  </a:lnTo>
                  <a:lnTo>
                    <a:pt x="2283" y="642"/>
                  </a:lnTo>
                  <a:lnTo>
                    <a:pt x="2295" y="649"/>
                  </a:lnTo>
                  <a:lnTo>
                    <a:pt x="2305" y="658"/>
                  </a:lnTo>
                  <a:lnTo>
                    <a:pt x="2316" y="668"/>
                  </a:lnTo>
                  <a:lnTo>
                    <a:pt x="2316" y="668"/>
                  </a:lnTo>
                  <a:lnTo>
                    <a:pt x="2323" y="676"/>
                  </a:lnTo>
                  <a:lnTo>
                    <a:pt x="2330" y="687"/>
                  </a:lnTo>
                  <a:lnTo>
                    <a:pt x="2336" y="698"/>
                  </a:lnTo>
                  <a:lnTo>
                    <a:pt x="2342" y="710"/>
                  </a:lnTo>
                  <a:lnTo>
                    <a:pt x="2347" y="722"/>
                  </a:lnTo>
                  <a:lnTo>
                    <a:pt x="2351" y="736"/>
                  </a:lnTo>
                  <a:lnTo>
                    <a:pt x="2355" y="750"/>
                  </a:lnTo>
                  <a:lnTo>
                    <a:pt x="2358" y="764"/>
                  </a:lnTo>
                  <a:lnTo>
                    <a:pt x="2360" y="778"/>
                  </a:lnTo>
                  <a:lnTo>
                    <a:pt x="2362" y="792"/>
                  </a:lnTo>
                  <a:lnTo>
                    <a:pt x="2363" y="805"/>
                  </a:lnTo>
                  <a:lnTo>
                    <a:pt x="2364" y="818"/>
                  </a:lnTo>
                  <a:lnTo>
                    <a:pt x="2364" y="831"/>
                  </a:lnTo>
                  <a:lnTo>
                    <a:pt x="2363" y="842"/>
                  </a:lnTo>
                  <a:lnTo>
                    <a:pt x="2361" y="852"/>
                  </a:lnTo>
                  <a:lnTo>
                    <a:pt x="2359" y="861"/>
                  </a:lnTo>
                  <a:lnTo>
                    <a:pt x="2359" y="861"/>
                  </a:lnTo>
                  <a:lnTo>
                    <a:pt x="2330" y="843"/>
                  </a:lnTo>
                  <a:lnTo>
                    <a:pt x="2330" y="843"/>
                  </a:lnTo>
                  <a:lnTo>
                    <a:pt x="2309" y="832"/>
                  </a:lnTo>
                  <a:lnTo>
                    <a:pt x="2281" y="822"/>
                  </a:lnTo>
                  <a:lnTo>
                    <a:pt x="2266" y="815"/>
                  </a:lnTo>
                  <a:lnTo>
                    <a:pt x="2251" y="811"/>
                  </a:lnTo>
                  <a:lnTo>
                    <a:pt x="2233" y="807"/>
                  </a:lnTo>
                  <a:lnTo>
                    <a:pt x="2215" y="803"/>
                  </a:lnTo>
                  <a:lnTo>
                    <a:pt x="2195" y="801"/>
                  </a:lnTo>
                  <a:lnTo>
                    <a:pt x="2175" y="800"/>
                  </a:lnTo>
                  <a:lnTo>
                    <a:pt x="2154" y="800"/>
                  </a:lnTo>
                  <a:lnTo>
                    <a:pt x="2132" y="802"/>
                  </a:lnTo>
                  <a:lnTo>
                    <a:pt x="2109" y="805"/>
                  </a:lnTo>
                  <a:lnTo>
                    <a:pt x="2086" y="810"/>
                  </a:lnTo>
                  <a:lnTo>
                    <a:pt x="2062" y="818"/>
                  </a:lnTo>
                  <a:lnTo>
                    <a:pt x="2037" y="829"/>
                  </a:lnTo>
                  <a:lnTo>
                    <a:pt x="2037" y="829"/>
                  </a:lnTo>
                  <a:lnTo>
                    <a:pt x="1995" y="847"/>
                  </a:lnTo>
                  <a:lnTo>
                    <a:pt x="1967" y="859"/>
                  </a:lnTo>
                  <a:lnTo>
                    <a:pt x="1936" y="872"/>
                  </a:lnTo>
                  <a:lnTo>
                    <a:pt x="1900" y="886"/>
                  </a:lnTo>
                  <a:lnTo>
                    <a:pt x="1860" y="900"/>
                  </a:lnTo>
                  <a:lnTo>
                    <a:pt x="1814" y="916"/>
                  </a:lnTo>
                  <a:lnTo>
                    <a:pt x="1764" y="931"/>
                  </a:lnTo>
                  <a:lnTo>
                    <a:pt x="1764" y="931"/>
                  </a:lnTo>
                  <a:lnTo>
                    <a:pt x="1737" y="938"/>
                  </a:lnTo>
                  <a:lnTo>
                    <a:pt x="1725" y="940"/>
                  </a:lnTo>
                  <a:lnTo>
                    <a:pt x="1713" y="941"/>
                  </a:lnTo>
                  <a:lnTo>
                    <a:pt x="1701" y="941"/>
                  </a:lnTo>
                  <a:lnTo>
                    <a:pt x="1691" y="941"/>
                  </a:lnTo>
                  <a:lnTo>
                    <a:pt x="1681" y="940"/>
                  </a:lnTo>
                  <a:lnTo>
                    <a:pt x="1672" y="938"/>
                  </a:lnTo>
                  <a:lnTo>
                    <a:pt x="1664" y="935"/>
                  </a:lnTo>
                  <a:lnTo>
                    <a:pt x="1655" y="930"/>
                  </a:lnTo>
                  <a:lnTo>
                    <a:pt x="1649" y="925"/>
                  </a:lnTo>
                  <a:lnTo>
                    <a:pt x="1642" y="919"/>
                  </a:lnTo>
                  <a:lnTo>
                    <a:pt x="1637" y="912"/>
                  </a:lnTo>
                  <a:lnTo>
                    <a:pt x="1633" y="902"/>
                  </a:lnTo>
                  <a:lnTo>
                    <a:pt x="1629" y="892"/>
                  </a:lnTo>
                  <a:lnTo>
                    <a:pt x="1626" y="881"/>
                  </a:lnTo>
                  <a:lnTo>
                    <a:pt x="1626" y="881"/>
                  </a:lnTo>
                  <a:lnTo>
                    <a:pt x="1624" y="871"/>
                  </a:lnTo>
                  <a:lnTo>
                    <a:pt x="1623" y="860"/>
                  </a:lnTo>
                  <a:lnTo>
                    <a:pt x="1623" y="851"/>
                  </a:lnTo>
                  <a:lnTo>
                    <a:pt x="1623" y="842"/>
                  </a:lnTo>
                  <a:lnTo>
                    <a:pt x="1625" y="826"/>
                  </a:lnTo>
                  <a:lnTo>
                    <a:pt x="1629" y="811"/>
                  </a:lnTo>
                  <a:lnTo>
                    <a:pt x="1633" y="800"/>
                  </a:lnTo>
                  <a:lnTo>
                    <a:pt x="1636" y="792"/>
                  </a:lnTo>
                  <a:lnTo>
                    <a:pt x="1640" y="784"/>
                  </a:lnTo>
                  <a:lnTo>
                    <a:pt x="1640" y="784"/>
                  </a:lnTo>
                  <a:lnTo>
                    <a:pt x="1636" y="785"/>
                  </a:lnTo>
                  <a:lnTo>
                    <a:pt x="1626" y="788"/>
                  </a:lnTo>
                  <a:lnTo>
                    <a:pt x="1610" y="794"/>
                  </a:lnTo>
                  <a:lnTo>
                    <a:pt x="1601" y="797"/>
                  </a:lnTo>
                  <a:lnTo>
                    <a:pt x="1592" y="802"/>
                  </a:lnTo>
                  <a:lnTo>
                    <a:pt x="1582" y="808"/>
                  </a:lnTo>
                  <a:lnTo>
                    <a:pt x="1573" y="814"/>
                  </a:lnTo>
                  <a:lnTo>
                    <a:pt x="1563" y="823"/>
                  </a:lnTo>
                  <a:lnTo>
                    <a:pt x="1554" y="832"/>
                  </a:lnTo>
                  <a:lnTo>
                    <a:pt x="1546" y="842"/>
                  </a:lnTo>
                  <a:lnTo>
                    <a:pt x="1539" y="853"/>
                  </a:lnTo>
                  <a:lnTo>
                    <a:pt x="1533" y="867"/>
                  </a:lnTo>
                  <a:lnTo>
                    <a:pt x="1528" y="881"/>
                  </a:lnTo>
                  <a:lnTo>
                    <a:pt x="1528" y="881"/>
                  </a:lnTo>
                  <a:lnTo>
                    <a:pt x="1525" y="896"/>
                  </a:lnTo>
                  <a:lnTo>
                    <a:pt x="1523" y="912"/>
                  </a:lnTo>
                  <a:lnTo>
                    <a:pt x="1523" y="927"/>
                  </a:lnTo>
                  <a:lnTo>
                    <a:pt x="1523" y="941"/>
                  </a:lnTo>
                  <a:lnTo>
                    <a:pt x="1524" y="954"/>
                  </a:lnTo>
                  <a:lnTo>
                    <a:pt x="1527" y="969"/>
                  </a:lnTo>
                  <a:lnTo>
                    <a:pt x="1531" y="981"/>
                  </a:lnTo>
                  <a:lnTo>
                    <a:pt x="1536" y="993"/>
                  </a:lnTo>
                  <a:lnTo>
                    <a:pt x="1542" y="1006"/>
                  </a:lnTo>
                  <a:lnTo>
                    <a:pt x="1549" y="1016"/>
                  </a:lnTo>
                  <a:lnTo>
                    <a:pt x="1557" y="1026"/>
                  </a:lnTo>
                  <a:lnTo>
                    <a:pt x="1568" y="1034"/>
                  </a:lnTo>
                  <a:lnTo>
                    <a:pt x="1578" y="1042"/>
                  </a:lnTo>
                  <a:lnTo>
                    <a:pt x="1590" y="1049"/>
                  </a:lnTo>
                  <a:lnTo>
                    <a:pt x="1602" y="1055"/>
                  </a:lnTo>
                  <a:lnTo>
                    <a:pt x="1617" y="1059"/>
                  </a:lnTo>
                  <a:lnTo>
                    <a:pt x="1617" y="1059"/>
                  </a:lnTo>
                  <a:lnTo>
                    <a:pt x="1630" y="1062"/>
                  </a:lnTo>
                  <a:lnTo>
                    <a:pt x="1644" y="1063"/>
                  </a:lnTo>
                  <a:lnTo>
                    <a:pt x="1660" y="1062"/>
                  </a:lnTo>
                  <a:lnTo>
                    <a:pt x="1676" y="1060"/>
                  </a:lnTo>
                  <a:lnTo>
                    <a:pt x="1692" y="1058"/>
                  </a:lnTo>
                  <a:lnTo>
                    <a:pt x="1710" y="1054"/>
                  </a:lnTo>
                  <a:lnTo>
                    <a:pt x="1727" y="1049"/>
                  </a:lnTo>
                  <a:lnTo>
                    <a:pt x="1744" y="1043"/>
                  </a:lnTo>
                  <a:lnTo>
                    <a:pt x="1779" y="1029"/>
                  </a:lnTo>
                  <a:lnTo>
                    <a:pt x="1815" y="1014"/>
                  </a:lnTo>
                  <a:lnTo>
                    <a:pt x="1849" y="997"/>
                  </a:lnTo>
                  <a:lnTo>
                    <a:pt x="1880" y="981"/>
                  </a:lnTo>
                  <a:lnTo>
                    <a:pt x="1880" y="981"/>
                  </a:lnTo>
                  <a:lnTo>
                    <a:pt x="1942" y="949"/>
                  </a:lnTo>
                  <a:lnTo>
                    <a:pt x="1979" y="931"/>
                  </a:lnTo>
                  <a:lnTo>
                    <a:pt x="2013" y="915"/>
                  </a:lnTo>
                  <a:lnTo>
                    <a:pt x="2013" y="915"/>
                  </a:lnTo>
                  <a:lnTo>
                    <a:pt x="2041" y="903"/>
                  </a:lnTo>
                  <a:lnTo>
                    <a:pt x="2054" y="899"/>
                  </a:lnTo>
                  <a:lnTo>
                    <a:pt x="2068" y="895"/>
                  </a:lnTo>
                  <a:lnTo>
                    <a:pt x="2081" y="892"/>
                  </a:lnTo>
                  <a:lnTo>
                    <a:pt x="2093" y="890"/>
                  </a:lnTo>
                  <a:lnTo>
                    <a:pt x="2105" y="888"/>
                  </a:lnTo>
                  <a:lnTo>
                    <a:pt x="2119" y="888"/>
                  </a:lnTo>
                  <a:lnTo>
                    <a:pt x="2131" y="888"/>
                  </a:lnTo>
                  <a:lnTo>
                    <a:pt x="2143" y="889"/>
                  </a:lnTo>
                  <a:lnTo>
                    <a:pt x="2156" y="891"/>
                  </a:lnTo>
                  <a:lnTo>
                    <a:pt x="2170" y="893"/>
                  </a:lnTo>
                  <a:lnTo>
                    <a:pt x="2183" y="897"/>
                  </a:lnTo>
                  <a:lnTo>
                    <a:pt x="2196" y="901"/>
                  </a:lnTo>
                  <a:lnTo>
                    <a:pt x="2211" y="907"/>
                  </a:lnTo>
                  <a:lnTo>
                    <a:pt x="2226" y="914"/>
                  </a:lnTo>
                  <a:lnTo>
                    <a:pt x="2226" y="914"/>
                  </a:lnTo>
                  <a:lnTo>
                    <a:pt x="2246" y="924"/>
                  </a:lnTo>
                  <a:lnTo>
                    <a:pt x="2265" y="934"/>
                  </a:lnTo>
                  <a:lnTo>
                    <a:pt x="2281" y="945"/>
                  </a:lnTo>
                  <a:lnTo>
                    <a:pt x="2295" y="954"/>
                  </a:lnTo>
                  <a:lnTo>
                    <a:pt x="2305" y="964"/>
                  </a:lnTo>
                  <a:lnTo>
                    <a:pt x="2312" y="971"/>
                  </a:lnTo>
                  <a:lnTo>
                    <a:pt x="2319" y="977"/>
                  </a:lnTo>
                  <a:lnTo>
                    <a:pt x="2319" y="977"/>
                  </a:lnTo>
                  <a:lnTo>
                    <a:pt x="2317" y="980"/>
                  </a:lnTo>
                  <a:lnTo>
                    <a:pt x="2313" y="987"/>
                  </a:lnTo>
                  <a:lnTo>
                    <a:pt x="2305" y="998"/>
                  </a:lnTo>
                  <a:lnTo>
                    <a:pt x="2300" y="1005"/>
                  </a:lnTo>
                  <a:lnTo>
                    <a:pt x="2293" y="1012"/>
                  </a:lnTo>
                  <a:lnTo>
                    <a:pt x="2285" y="1018"/>
                  </a:lnTo>
                  <a:lnTo>
                    <a:pt x="2276" y="1025"/>
                  </a:lnTo>
                  <a:lnTo>
                    <a:pt x="2267" y="1031"/>
                  </a:lnTo>
                  <a:lnTo>
                    <a:pt x="2255" y="1036"/>
                  </a:lnTo>
                  <a:lnTo>
                    <a:pt x="2242" y="1041"/>
                  </a:lnTo>
                  <a:lnTo>
                    <a:pt x="2228" y="1045"/>
                  </a:lnTo>
                  <a:lnTo>
                    <a:pt x="2212" y="1049"/>
                  </a:lnTo>
                  <a:lnTo>
                    <a:pt x="2194" y="1050"/>
                  </a:lnTo>
                  <a:lnTo>
                    <a:pt x="2194" y="1050"/>
                  </a:lnTo>
                  <a:lnTo>
                    <a:pt x="2180" y="1051"/>
                  </a:lnTo>
                  <a:lnTo>
                    <a:pt x="2166" y="1050"/>
                  </a:lnTo>
                  <a:lnTo>
                    <a:pt x="2152" y="1048"/>
                  </a:lnTo>
                  <a:lnTo>
                    <a:pt x="2139" y="1044"/>
                  </a:lnTo>
                  <a:lnTo>
                    <a:pt x="2127" y="1041"/>
                  </a:lnTo>
                  <a:lnTo>
                    <a:pt x="2115" y="1037"/>
                  </a:lnTo>
                  <a:lnTo>
                    <a:pt x="2103" y="1033"/>
                  </a:lnTo>
                  <a:lnTo>
                    <a:pt x="2092" y="1027"/>
                  </a:lnTo>
                  <a:lnTo>
                    <a:pt x="2082" y="1022"/>
                  </a:lnTo>
                  <a:lnTo>
                    <a:pt x="2073" y="1016"/>
                  </a:lnTo>
                  <a:lnTo>
                    <a:pt x="2064" y="1010"/>
                  </a:lnTo>
                  <a:lnTo>
                    <a:pt x="2056" y="1003"/>
                  </a:lnTo>
                  <a:lnTo>
                    <a:pt x="2048" y="995"/>
                  </a:lnTo>
                  <a:lnTo>
                    <a:pt x="2042" y="988"/>
                  </a:lnTo>
                  <a:lnTo>
                    <a:pt x="2036" y="981"/>
                  </a:lnTo>
                  <a:lnTo>
                    <a:pt x="2031" y="974"/>
                  </a:lnTo>
                  <a:lnTo>
                    <a:pt x="2031" y="974"/>
                  </a:lnTo>
                  <a:lnTo>
                    <a:pt x="2022" y="996"/>
                  </a:lnTo>
                  <a:lnTo>
                    <a:pt x="2013" y="1014"/>
                  </a:lnTo>
                  <a:lnTo>
                    <a:pt x="2007" y="1027"/>
                  </a:lnTo>
                  <a:lnTo>
                    <a:pt x="2007" y="1027"/>
                  </a:lnTo>
                  <a:lnTo>
                    <a:pt x="2003" y="1035"/>
                  </a:lnTo>
                  <a:lnTo>
                    <a:pt x="2000" y="1042"/>
                  </a:lnTo>
                  <a:lnTo>
                    <a:pt x="1998" y="1051"/>
                  </a:lnTo>
                  <a:lnTo>
                    <a:pt x="1997" y="1057"/>
                  </a:lnTo>
                  <a:lnTo>
                    <a:pt x="1997" y="1064"/>
                  </a:lnTo>
                  <a:lnTo>
                    <a:pt x="1997" y="1070"/>
                  </a:lnTo>
                  <a:lnTo>
                    <a:pt x="1999" y="1082"/>
                  </a:lnTo>
                  <a:lnTo>
                    <a:pt x="2001" y="1094"/>
                  </a:lnTo>
                  <a:lnTo>
                    <a:pt x="2003" y="1104"/>
                  </a:lnTo>
                  <a:lnTo>
                    <a:pt x="2004" y="1115"/>
                  </a:lnTo>
                  <a:lnTo>
                    <a:pt x="2003" y="1121"/>
                  </a:lnTo>
                  <a:lnTo>
                    <a:pt x="2001" y="1126"/>
                  </a:lnTo>
                  <a:lnTo>
                    <a:pt x="2001" y="1126"/>
                  </a:lnTo>
                  <a:lnTo>
                    <a:pt x="1999" y="1132"/>
                  </a:lnTo>
                  <a:lnTo>
                    <a:pt x="1995" y="1138"/>
                  </a:lnTo>
                  <a:lnTo>
                    <a:pt x="1986" y="1151"/>
                  </a:lnTo>
                  <a:lnTo>
                    <a:pt x="1973" y="1163"/>
                  </a:lnTo>
                  <a:lnTo>
                    <a:pt x="1960" y="1175"/>
                  </a:lnTo>
                  <a:lnTo>
                    <a:pt x="1945" y="1187"/>
                  </a:lnTo>
                  <a:lnTo>
                    <a:pt x="1931" y="1198"/>
                  </a:lnTo>
                  <a:lnTo>
                    <a:pt x="1904" y="1216"/>
                  </a:lnTo>
                  <a:lnTo>
                    <a:pt x="1904" y="1216"/>
                  </a:lnTo>
                  <a:lnTo>
                    <a:pt x="1886" y="1227"/>
                  </a:lnTo>
                  <a:lnTo>
                    <a:pt x="1864" y="1239"/>
                  </a:lnTo>
                  <a:lnTo>
                    <a:pt x="1842" y="1249"/>
                  </a:lnTo>
                  <a:lnTo>
                    <a:pt x="1819" y="1257"/>
                  </a:lnTo>
                  <a:lnTo>
                    <a:pt x="1798" y="1264"/>
                  </a:lnTo>
                  <a:lnTo>
                    <a:pt x="1779" y="1270"/>
                  </a:lnTo>
                  <a:lnTo>
                    <a:pt x="1754" y="1278"/>
                  </a:lnTo>
                  <a:lnTo>
                    <a:pt x="1754" y="1278"/>
                  </a:lnTo>
                  <a:lnTo>
                    <a:pt x="1779" y="1336"/>
                  </a:lnTo>
                  <a:lnTo>
                    <a:pt x="1811" y="1404"/>
                  </a:lnTo>
                  <a:lnTo>
                    <a:pt x="1811" y="1404"/>
                  </a:lnTo>
                  <a:lnTo>
                    <a:pt x="1833" y="1449"/>
                  </a:lnTo>
                  <a:lnTo>
                    <a:pt x="1862" y="1504"/>
                  </a:lnTo>
                  <a:lnTo>
                    <a:pt x="1877" y="1531"/>
                  </a:lnTo>
                  <a:lnTo>
                    <a:pt x="1893" y="1557"/>
                  </a:lnTo>
                  <a:lnTo>
                    <a:pt x="1909" y="1578"/>
                  </a:lnTo>
                  <a:lnTo>
                    <a:pt x="1916" y="1588"/>
                  </a:lnTo>
                  <a:lnTo>
                    <a:pt x="1924" y="1597"/>
                  </a:lnTo>
                  <a:lnTo>
                    <a:pt x="1924" y="1597"/>
                  </a:lnTo>
                  <a:lnTo>
                    <a:pt x="1940" y="1592"/>
                  </a:lnTo>
                  <a:lnTo>
                    <a:pt x="1957" y="1587"/>
                  </a:lnTo>
                  <a:lnTo>
                    <a:pt x="1980" y="1581"/>
                  </a:lnTo>
                  <a:lnTo>
                    <a:pt x="2004" y="1573"/>
                  </a:lnTo>
                  <a:lnTo>
                    <a:pt x="2031" y="1563"/>
                  </a:lnTo>
                  <a:lnTo>
                    <a:pt x="2057" y="1551"/>
                  </a:lnTo>
                  <a:lnTo>
                    <a:pt x="2071" y="1544"/>
                  </a:lnTo>
                  <a:lnTo>
                    <a:pt x="2083" y="1537"/>
                  </a:lnTo>
                  <a:lnTo>
                    <a:pt x="2083" y="1537"/>
                  </a:lnTo>
                  <a:lnTo>
                    <a:pt x="2105" y="1524"/>
                  </a:lnTo>
                  <a:lnTo>
                    <a:pt x="2126" y="1510"/>
                  </a:lnTo>
                  <a:lnTo>
                    <a:pt x="2145" y="1495"/>
                  </a:lnTo>
                  <a:lnTo>
                    <a:pt x="2162" y="1480"/>
                  </a:lnTo>
                  <a:lnTo>
                    <a:pt x="2177" y="1466"/>
                  </a:lnTo>
                  <a:lnTo>
                    <a:pt x="2189" y="1451"/>
                  </a:lnTo>
                  <a:lnTo>
                    <a:pt x="2199" y="1437"/>
                  </a:lnTo>
                  <a:lnTo>
                    <a:pt x="2207" y="1424"/>
                  </a:lnTo>
                  <a:lnTo>
                    <a:pt x="2207" y="1424"/>
                  </a:lnTo>
                  <a:lnTo>
                    <a:pt x="2190" y="1460"/>
                  </a:lnTo>
                  <a:lnTo>
                    <a:pt x="2175" y="1493"/>
                  </a:lnTo>
                  <a:lnTo>
                    <a:pt x="2161" y="1523"/>
                  </a:lnTo>
                  <a:lnTo>
                    <a:pt x="2146" y="1551"/>
                  </a:lnTo>
                  <a:lnTo>
                    <a:pt x="2132" y="1576"/>
                  </a:lnTo>
                  <a:lnTo>
                    <a:pt x="2119" y="1599"/>
                  </a:lnTo>
                  <a:lnTo>
                    <a:pt x="2105" y="1619"/>
                  </a:lnTo>
                  <a:lnTo>
                    <a:pt x="2092" y="1637"/>
                  </a:lnTo>
                  <a:lnTo>
                    <a:pt x="2080" y="1655"/>
                  </a:lnTo>
                  <a:lnTo>
                    <a:pt x="2068" y="1669"/>
                  </a:lnTo>
                  <a:lnTo>
                    <a:pt x="2055" y="1682"/>
                  </a:lnTo>
                  <a:lnTo>
                    <a:pt x="2044" y="1694"/>
                  </a:lnTo>
                  <a:lnTo>
                    <a:pt x="2033" y="1705"/>
                  </a:lnTo>
                  <a:lnTo>
                    <a:pt x="2022" y="1714"/>
                  </a:lnTo>
                  <a:lnTo>
                    <a:pt x="2011" y="1721"/>
                  </a:lnTo>
                  <a:lnTo>
                    <a:pt x="2000" y="1729"/>
                  </a:lnTo>
                  <a:lnTo>
                    <a:pt x="2000" y="1729"/>
                  </a:lnTo>
                  <a:lnTo>
                    <a:pt x="1907" y="1790"/>
                  </a:lnTo>
                  <a:lnTo>
                    <a:pt x="1797" y="1862"/>
                  </a:lnTo>
                  <a:lnTo>
                    <a:pt x="1735" y="1901"/>
                  </a:lnTo>
                  <a:lnTo>
                    <a:pt x="1671" y="1940"/>
                  </a:lnTo>
                  <a:lnTo>
                    <a:pt x="1602" y="1980"/>
                  </a:lnTo>
                  <a:lnTo>
                    <a:pt x="1532" y="2020"/>
                  </a:lnTo>
                  <a:lnTo>
                    <a:pt x="1459" y="2058"/>
                  </a:lnTo>
                  <a:lnTo>
                    <a:pt x="1422" y="2077"/>
                  </a:lnTo>
                  <a:lnTo>
                    <a:pt x="1384" y="2094"/>
                  </a:lnTo>
                  <a:lnTo>
                    <a:pt x="1347" y="2112"/>
                  </a:lnTo>
                  <a:lnTo>
                    <a:pt x="1308" y="2129"/>
                  </a:lnTo>
                  <a:lnTo>
                    <a:pt x="1269" y="2146"/>
                  </a:lnTo>
                  <a:lnTo>
                    <a:pt x="1230" y="2161"/>
                  </a:lnTo>
                  <a:lnTo>
                    <a:pt x="1190" y="2175"/>
                  </a:lnTo>
                  <a:lnTo>
                    <a:pt x="1151" y="2189"/>
                  </a:lnTo>
                  <a:lnTo>
                    <a:pt x="1111" y="2202"/>
                  </a:lnTo>
                  <a:lnTo>
                    <a:pt x="1072" y="2213"/>
                  </a:lnTo>
                  <a:lnTo>
                    <a:pt x="1032" y="2223"/>
                  </a:lnTo>
                  <a:lnTo>
                    <a:pt x="992" y="2231"/>
                  </a:lnTo>
                  <a:lnTo>
                    <a:pt x="952" y="2240"/>
                  </a:lnTo>
                  <a:lnTo>
                    <a:pt x="913" y="2246"/>
                  </a:lnTo>
                  <a:lnTo>
                    <a:pt x="913" y="2246"/>
                  </a:lnTo>
                  <a:lnTo>
                    <a:pt x="901" y="2246"/>
                  </a:lnTo>
                  <a:lnTo>
                    <a:pt x="889" y="2245"/>
                  </a:lnTo>
                  <a:lnTo>
                    <a:pt x="876" y="2242"/>
                  </a:lnTo>
                  <a:lnTo>
                    <a:pt x="863" y="2239"/>
                  </a:lnTo>
                  <a:lnTo>
                    <a:pt x="850" y="2236"/>
                  </a:lnTo>
                  <a:lnTo>
                    <a:pt x="836" y="2230"/>
                  </a:lnTo>
                  <a:lnTo>
                    <a:pt x="809" y="2218"/>
                  </a:lnTo>
                  <a:lnTo>
                    <a:pt x="781" y="2204"/>
                  </a:lnTo>
                  <a:lnTo>
                    <a:pt x="754" y="2188"/>
                  </a:lnTo>
                  <a:lnTo>
                    <a:pt x="726" y="2170"/>
                  </a:lnTo>
                  <a:lnTo>
                    <a:pt x="698" y="2151"/>
                  </a:lnTo>
                  <a:lnTo>
                    <a:pt x="672" y="2130"/>
                  </a:lnTo>
                  <a:lnTo>
                    <a:pt x="646" y="2110"/>
                  </a:lnTo>
                  <a:lnTo>
                    <a:pt x="623" y="2089"/>
                  </a:lnTo>
                  <a:lnTo>
                    <a:pt x="600" y="2069"/>
                  </a:lnTo>
                  <a:lnTo>
                    <a:pt x="581" y="2049"/>
                  </a:lnTo>
                  <a:lnTo>
                    <a:pt x="563" y="2032"/>
                  </a:lnTo>
                  <a:lnTo>
                    <a:pt x="548" y="2017"/>
                  </a:lnTo>
                  <a:lnTo>
                    <a:pt x="537" y="2003"/>
                  </a:lnTo>
                  <a:lnTo>
                    <a:pt x="537" y="2003"/>
                  </a:lnTo>
                  <a:lnTo>
                    <a:pt x="533" y="1999"/>
                  </a:lnTo>
                  <a:lnTo>
                    <a:pt x="530" y="1995"/>
                  </a:lnTo>
                  <a:lnTo>
                    <a:pt x="520" y="1990"/>
                  </a:lnTo>
                  <a:lnTo>
                    <a:pt x="512" y="1988"/>
                  </a:lnTo>
                  <a:lnTo>
                    <a:pt x="502" y="1987"/>
                  </a:lnTo>
                  <a:lnTo>
                    <a:pt x="493" y="1987"/>
                  </a:lnTo>
                  <a:lnTo>
                    <a:pt x="483" y="1989"/>
                  </a:lnTo>
                  <a:lnTo>
                    <a:pt x="473" y="1992"/>
                  </a:lnTo>
                  <a:lnTo>
                    <a:pt x="464" y="1996"/>
                  </a:lnTo>
                  <a:lnTo>
                    <a:pt x="447" y="2004"/>
                  </a:lnTo>
                  <a:lnTo>
                    <a:pt x="433" y="2014"/>
                  </a:lnTo>
                  <a:lnTo>
                    <a:pt x="419" y="2024"/>
                  </a:lnTo>
                  <a:lnTo>
                    <a:pt x="419" y="2024"/>
                  </a:lnTo>
                  <a:lnTo>
                    <a:pt x="412" y="2023"/>
                  </a:lnTo>
                  <a:lnTo>
                    <a:pt x="393" y="2021"/>
                  </a:lnTo>
                  <a:lnTo>
                    <a:pt x="379" y="2021"/>
                  </a:lnTo>
                  <a:lnTo>
                    <a:pt x="364" y="2021"/>
                  </a:lnTo>
                  <a:lnTo>
                    <a:pt x="348" y="2022"/>
                  </a:lnTo>
                  <a:lnTo>
                    <a:pt x="329" y="2024"/>
                  </a:lnTo>
                  <a:lnTo>
                    <a:pt x="310" y="2027"/>
                  </a:lnTo>
                  <a:lnTo>
                    <a:pt x="290" y="2032"/>
                  </a:lnTo>
                  <a:lnTo>
                    <a:pt x="271" y="2038"/>
                  </a:lnTo>
                  <a:lnTo>
                    <a:pt x="252" y="2047"/>
                  </a:lnTo>
                  <a:lnTo>
                    <a:pt x="242" y="2053"/>
                  </a:lnTo>
                  <a:lnTo>
                    <a:pt x="233" y="2058"/>
                  </a:lnTo>
                  <a:lnTo>
                    <a:pt x="224" y="2064"/>
                  </a:lnTo>
                  <a:lnTo>
                    <a:pt x="216" y="2071"/>
                  </a:lnTo>
                  <a:lnTo>
                    <a:pt x="207" y="2079"/>
                  </a:lnTo>
                  <a:lnTo>
                    <a:pt x="199" y="2087"/>
                  </a:lnTo>
                  <a:lnTo>
                    <a:pt x="191" y="2097"/>
                  </a:lnTo>
                  <a:lnTo>
                    <a:pt x="184" y="2106"/>
                  </a:lnTo>
                  <a:lnTo>
                    <a:pt x="184" y="2106"/>
                  </a:lnTo>
                  <a:lnTo>
                    <a:pt x="183" y="2109"/>
                  </a:lnTo>
                  <a:lnTo>
                    <a:pt x="185" y="2111"/>
                  </a:lnTo>
                  <a:lnTo>
                    <a:pt x="188" y="2112"/>
                  </a:lnTo>
                  <a:lnTo>
                    <a:pt x="193" y="2112"/>
                  </a:lnTo>
                  <a:lnTo>
                    <a:pt x="210" y="2110"/>
                  </a:lnTo>
                  <a:lnTo>
                    <a:pt x="230" y="2108"/>
                  </a:lnTo>
                  <a:lnTo>
                    <a:pt x="255" y="2106"/>
                  </a:lnTo>
                  <a:lnTo>
                    <a:pt x="280" y="2105"/>
                  </a:lnTo>
                  <a:lnTo>
                    <a:pt x="293" y="2106"/>
                  </a:lnTo>
                  <a:lnTo>
                    <a:pt x="307" y="2107"/>
                  </a:lnTo>
                  <a:lnTo>
                    <a:pt x="319" y="2109"/>
                  </a:lnTo>
                  <a:lnTo>
                    <a:pt x="331" y="2112"/>
                  </a:lnTo>
                  <a:lnTo>
                    <a:pt x="331" y="2112"/>
                  </a:lnTo>
                  <a:lnTo>
                    <a:pt x="338" y="2115"/>
                  </a:lnTo>
                  <a:lnTo>
                    <a:pt x="343" y="2118"/>
                  </a:lnTo>
                  <a:lnTo>
                    <a:pt x="346" y="2121"/>
                  </a:lnTo>
                  <a:lnTo>
                    <a:pt x="347" y="2124"/>
                  </a:lnTo>
                  <a:lnTo>
                    <a:pt x="347" y="2127"/>
                  </a:lnTo>
                  <a:lnTo>
                    <a:pt x="345" y="2131"/>
                  </a:lnTo>
                  <a:lnTo>
                    <a:pt x="339" y="2139"/>
                  </a:lnTo>
                  <a:lnTo>
                    <a:pt x="332" y="2149"/>
                  </a:lnTo>
                  <a:lnTo>
                    <a:pt x="325" y="2160"/>
                  </a:lnTo>
                  <a:lnTo>
                    <a:pt x="321" y="2166"/>
                  </a:lnTo>
                  <a:lnTo>
                    <a:pt x="319" y="2172"/>
                  </a:lnTo>
                  <a:lnTo>
                    <a:pt x="317" y="2178"/>
                  </a:lnTo>
                  <a:lnTo>
                    <a:pt x="317" y="2185"/>
                  </a:lnTo>
                  <a:lnTo>
                    <a:pt x="317" y="2185"/>
                  </a:lnTo>
                  <a:lnTo>
                    <a:pt x="317" y="2191"/>
                  </a:lnTo>
                  <a:lnTo>
                    <a:pt x="319" y="2197"/>
                  </a:lnTo>
                  <a:lnTo>
                    <a:pt x="321" y="2202"/>
                  </a:lnTo>
                  <a:lnTo>
                    <a:pt x="324" y="2207"/>
                  </a:lnTo>
                  <a:lnTo>
                    <a:pt x="328" y="2212"/>
                  </a:lnTo>
                  <a:lnTo>
                    <a:pt x="333" y="2217"/>
                  </a:lnTo>
                  <a:lnTo>
                    <a:pt x="346" y="2227"/>
                  </a:lnTo>
                  <a:lnTo>
                    <a:pt x="361" y="2237"/>
                  </a:lnTo>
                  <a:lnTo>
                    <a:pt x="377" y="2246"/>
                  </a:lnTo>
                  <a:lnTo>
                    <a:pt x="397" y="2255"/>
                  </a:lnTo>
                  <a:lnTo>
                    <a:pt x="416" y="2263"/>
                  </a:lnTo>
                  <a:lnTo>
                    <a:pt x="458" y="2279"/>
                  </a:lnTo>
                  <a:lnTo>
                    <a:pt x="500" y="2293"/>
                  </a:lnTo>
                  <a:lnTo>
                    <a:pt x="571" y="2314"/>
                  </a:lnTo>
                  <a:lnTo>
                    <a:pt x="571" y="2314"/>
                  </a:lnTo>
                  <a:lnTo>
                    <a:pt x="579" y="2318"/>
                  </a:lnTo>
                  <a:lnTo>
                    <a:pt x="585" y="2322"/>
                  </a:lnTo>
                  <a:lnTo>
                    <a:pt x="588" y="2328"/>
                  </a:lnTo>
                  <a:lnTo>
                    <a:pt x="590" y="2333"/>
                  </a:lnTo>
                  <a:lnTo>
                    <a:pt x="590" y="2337"/>
                  </a:lnTo>
                  <a:lnTo>
                    <a:pt x="588" y="2341"/>
                  </a:lnTo>
                  <a:lnTo>
                    <a:pt x="585" y="2343"/>
                  </a:lnTo>
                  <a:lnTo>
                    <a:pt x="581" y="2344"/>
                  </a:lnTo>
                  <a:lnTo>
                    <a:pt x="581" y="2344"/>
                  </a:lnTo>
                  <a:lnTo>
                    <a:pt x="556" y="2343"/>
                  </a:lnTo>
                  <a:lnTo>
                    <a:pt x="532" y="2340"/>
                  </a:lnTo>
                  <a:lnTo>
                    <a:pt x="509" y="2337"/>
                  </a:lnTo>
                  <a:lnTo>
                    <a:pt x="488" y="2332"/>
                  </a:lnTo>
                  <a:lnTo>
                    <a:pt x="467" y="2327"/>
                  </a:lnTo>
                  <a:lnTo>
                    <a:pt x="448" y="2320"/>
                  </a:lnTo>
                  <a:lnTo>
                    <a:pt x="429" y="2314"/>
                  </a:lnTo>
                  <a:lnTo>
                    <a:pt x="412" y="2308"/>
                  </a:lnTo>
                  <a:lnTo>
                    <a:pt x="380" y="2295"/>
                  </a:lnTo>
                  <a:lnTo>
                    <a:pt x="352" y="2283"/>
                  </a:lnTo>
                  <a:lnTo>
                    <a:pt x="327" y="2271"/>
                  </a:lnTo>
                  <a:lnTo>
                    <a:pt x="316" y="2267"/>
                  </a:lnTo>
                  <a:lnTo>
                    <a:pt x="305" y="2263"/>
                  </a:lnTo>
                  <a:lnTo>
                    <a:pt x="305" y="2263"/>
                  </a:lnTo>
                  <a:lnTo>
                    <a:pt x="286" y="2258"/>
                  </a:lnTo>
                  <a:lnTo>
                    <a:pt x="268" y="2254"/>
                  </a:lnTo>
                  <a:lnTo>
                    <a:pt x="253" y="2251"/>
                  </a:lnTo>
                  <a:lnTo>
                    <a:pt x="237" y="2249"/>
                  </a:lnTo>
                  <a:lnTo>
                    <a:pt x="224" y="2248"/>
                  </a:lnTo>
                  <a:lnTo>
                    <a:pt x="213" y="2249"/>
                  </a:lnTo>
                  <a:lnTo>
                    <a:pt x="202" y="2250"/>
                  </a:lnTo>
                  <a:lnTo>
                    <a:pt x="192" y="2252"/>
                  </a:lnTo>
                  <a:lnTo>
                    <a:pt x="185" y="2256"/>
                  </a:lnTo>
                  <a:lnTo>
                    <a:pt x="178" y="2260"/>
                  </a:lnTo>
                  <a:lnTo>
                    <a:pt x="172" y="2265"/>
                  </a:lnTo>
                  <a:lnTo>
                    <a:pt x="167" y="2271"/>
                  </a:lnTo>
                  <a:lnTo>
                    <a:pt x="163" y="2277"/>
                  </a:lnTo>
                  <a:lnTo>
                    <a:pt x="160" y="2286"/>
                  </a:lnTo>
                  <a:lnTo>
                    <a:pt x="156" y="2294"/>
                  </a:lnTo>
                  <a:lnTo>
                    <a:pt x="155" y="2303"/>
                  </a:lnTo>
                  <a:lnTo>
                    <a:pt x="155" y="2303"/>
                  </a:lnTo>
                  <a:lnTo>
                    <a:pt x="154" y="2306"/>
                  </a:lnTo>
                  <a:lnTo>
                    <a:pt x="152" y="2309"/>
                  </a:lnTo>
                  <a:lnTo>
                    <a:pt x="150" y="2312"/>
                  </a:lnTo>
                  <a:lnTo>
                    <a:pt x="147" y="2314"/>
                  </a:lnTo>
                  <a:lnTo>
                    <a:pt x="140" y="2318"/>
                  </a:lnTo>
                  <a:lnTo>
                    <a:pt x="132" y="2323"/>
                  </a:lnTo>
                  <a:lnTo>
                    <a:pt x="109" y="2333"/>
                  </a:lnTo>
                  <a:lnTo>
                    <a:pt x="97" y="2339"/>
                  </a:lnTo>
                  <a:lnTo>
                    <a:pt x="84" y="2347"/>
                  </a:lnTo>
                  <a:lnTo>
                    <a:pt x="71" y="2357"/>
                  </a:lnTo>
                  <a:lnTo>
                    <a:pt x="57" y="2371"/>
                  </a:lnTo>
                  <a:lnTo>
                    <a:pt x="51" y="2378"/>
                  </a:lnTo>
                  <a:lnTo>
                    <a:pt x="45" y="2386"/>
                  </a:lnTo>
                  <a:lnTo>
                    <a:pt x="39" y="2396"/>
                  </a:lnTo>
                  <a:lnTo>
                    <a:pt x="33" y="2406"/>
                  </a:lnTo>
                  <a:lnTo>
                    <a:pt x="28" y="2418"/>
                  </a:lnTo>
                  <a:lnTo>
                    <a:pt x="22" y="2430"/>
                  </a:lnTo>
                  <a:lnTo>
                    <a:pt x="17" y="2444"/>
                  </a:lnTo>
                  <a:lnTo>
                    <a:pt x="13" y="2458"/>
                  </a:lnTo>
                  <a:lnTo>
                    <a:pt x="9" y="2475"/>
                  </a:lnTo>
                  <a:lnTo>
                    <a:pt x="6" y="2492"/>
                  </a:lnTo>
                  <a:lnTo>
                    <a:pt x="3" y="2512"/>
                  </a:lnTo>
                  <a:lnTo>
                    <a:pt x="0" y="2532"/>
                  </a:lnTo>
                  <a:lnTo>
                    <a:pt x="0" y="2532"/>
                  </a:lnTo>
                  <a:lnTo>
                    <a:pt x="1" y="2533"/>
                  </a:lnTo>
                  <a:lnTo>
                    <a:pt x="2" y="2534"/>
                  </a:lnTo>
                  <a:lnTo>
                    <a:pt x="6" y="2532"/>
                  </a:lnTo>
                  <a:lnTo>
                    <a:pt x="12" y="2527"/>
                  </a:lnTo>
                  <a:lnTo>
                    <a:pt x="20" y="2519"/>
                  </a:lnTo>
                  <a:lnTo>
                    <a:pt x="43" y="2496"/>
                  </a:lnTo>
                  <a:lnTo>
                    <a:pt x="69" y="2472"/>
                  </a:lnTo>
                  <a:lnTo>
                    <a:pt x="82" y="2459"/>
                  </a:lnTo>
                  <a:lnTo>
                    <a:pt x="95" y="2448"/>
                  </a:lnTo>
                  <a:lnTo>
                    <a:pt x="107" y="2439"/>
                  </a:lnTo>
                  <a:lnTo>
                    <a:pt x="119" y="2432"/>
                  </a:lnTo>
                  <a:lnTo>
                    <a:pt x="124" y="2429"/>
                  </a:lnTo>
                  <a:lnTo>
                    <a:pt x="129" y="2428"/>
                  </a:lnTo>
                  <a:lnTo>
                    <a:pt x="133" y="2427"/>
                  </a:lnTo>
                  <a:lnTo>
                    <a:pt x="137" y="2427"/>
                  </a:lnTo>
                  <a:lnTo>
                    <a:pt x="140" y="2429"/>
                  </a:lnTo>
                  <a:lnTo>
                    <a:pt x="143" y="2431"/>
                  </a:lnTo>
                  <a:lnTo>
                    <a:pt x="144" y="2435"/>
                  </a:lnTo>
                  <a:lnTo>
                    <a:pt x="146" y="2439"/>
                  </a:lnTo>
                  <a:lnTo>
                    <a:pt x="146" y="2439"/>
                  </a:lnTo>
                  <a:lnTo>
                    <a:pt x="149" y="2455"/>
                  </a:lnTo>
                  <a:lnTo>
                    <a:pt x="154" y="2470"/>
                  </a:lnTo>
                  <a:lnTo>
                    <a:pt x="162" y="2483"/>
                  </a:lnTo>
                  <a:lnTo>
                    <a:pt x="170" y="2493"/>
                  </a:lnTo>
                  <a:lnTo>
                    <a:pt x="179" y="2503"/>
                  </a:lnTo>
                  <a:lnTo>
                    <a:pt x="189" y="2511"/>
                  </a:lnTo>
                  <a:lnTo>
                    <a:pt x="200" y="2518"/>
                  </a:lnTo>
                  <a:lnTo>
                    <a:pt x="214" y="2523"/>
                  </a:lnTo>
                  <a:lnTo>
                    <a:pt x="227" y="2527"/>
                  </a:lnTo>
                  <a:lnTo>
                    <a:pt x="241" y="2529"/>
                  </a:lnTo>
                  <a:lnTo>
                    <a:pt x="256" y="2531"/>
                  </a:lnTo>
                  <a:lnTo>
                    <a:pt x="271" y="2532"/>
                  </a:lnTo>
                  <a:lnTo>
                    <a:pt x="287" y="2533"/>
                  </a:lnTo>
                  <a:lnTo>
                    <a:pt x="304" y="2532"/>
                  </a:lnTo>
                  <a:lnTo>
                    <a:pt x="337" y="2530"/>
                  </a:lnTo>
                  <a:lnTo>
                    <a:pt x="371" y="2526"/>
                  </a:lnTo>
                  <a:lnTo>
                    <a:pt x="405" y="2521"/>
                  </a:lnTo>
                  <a:lnTo>
                    <a:pt x="438" y="2516"/>
                  </a:lnTo>
                  <a:lnTo>
                    <a:pt x="468" y="2512"/>
                  </a:lnTo>
                  <a:lnTo>
                    <a:pt x="496" y="2510"/>
                  </a:lnTo>
                  <a:lnTo>
                    <a:pt x="509" y="2509"/>
                  </a:lnTo>
                  <a:lnTo>
                    <a:pt x="520" y="2509"/>
                  </a:lnTo>
                  <a:lnTo>
                    <a:pt x="531" y="2510"/>
                  </a:lnTo>
                  <a:lnTo>
                    <a:pt x="541" y="2512"/>
                  </a:lnTo>
                  <a:lnTo>
                    <a:pt x="549" y="2515"/>
                  </a:lnTo>
                  <a:lnTo>
                    <a:pt x="555" y="2519"/>
                  </a:lnTo>
                  <a:lnTo>
                    <a:pt x="555" y="2519"/>
                  </a:lnTo>
                  <a:lnTo>
                    <a:pt x="558" y="2522"/>
                  </a:lnTo>
                  <a:lnTo>
                    <a:pt x="559" y="2524"/>
                  </a:lnTo>
                  <a:lnTo>
                    <a:pt x="557" y="2527"/>
                  </a:lnTo>
                  <a:lnTo>
                    <a:pt x="554" y="2529"/>
                  </a:lnTo>
                  <a:lnTo>
                    <a:pt x="549" y="2532"/>
                  </a:lnTo>
                  <a:lnTo>
                    <a:pt x="542" y="2534"/>
                  </a:lnTo>
                  <a:lnTo>
                    <a:pt x="525" y="2538"/>
                  </a:lnTo>
                  <a:lnTo>
                    <a:pt x="475" y="2547"/>
                  </a:lnTo>
                  <a:lnTo>
                    <a:pt x="447" y="2553"/>
                  </a:lnTo>
                  <a:lnTo>
                    <a:pt x="417" y="2559"/>
                  </a:lnTo>
                  <a:lnTo>
                    <a:pt x="388" y="2566"/>
                  </a:lnTo>
                  <a:lnTo>
                    <a:pt x="359" y="2574"/>
                  </a:lnTo>
                  <a:lnTo>
                    <a:pt x="346" y="2578"/>
                  </a:lnTo>
                  <a:lnTo>
                    <a:pt x="333" y="2583"/>
                  </a:lnTo>
                  <a:lnTo>
                    <a:pt x="322" y="2588"/>
                  </a:lnTo>
                  <a:lnTo>
                    <a:pt x="312" y="2594"/>
                  </a:lnTo>
                  <a:lnTo>
                    <a:pt x="303" y="2601"/>
                  </a:lnTo>
                  <a:lnTo>
                    <a:pt x="294" y="2607"/>
                  </a:lnTo>
                  <a:lnTo>
                    <a:pt x="288" y="2614"/>
                  </a:lnTo>
                  <a:lnTo>
                    <a:pt x="284" y="2622"/>
                  </a:lnTo>
                  <a:lnTo>
                    <a:pt x="282" y="2630"/>
                  </a:lnTo>
                  <a:lnTo>
                    <a:pt x="281" y="2638"/>
                  </a:lnTo>
                  <a:lnTo>
                    <a:pt x="283" y="2649"/>
                  </a:lnTo>
                  <a:lnTo>
                    <a:pt x="287" y="2659"/>
                  </a:lnTo>
                  <a:lnTo>
                    <a:pt x="287" y="2659"/>
                  </a:lnTo>
                  <a:lnTo>
                    <a:pt x="287" y="2660"/>
                  </a:lnTo>
                  <a:lnTo>
                    <a:pt x="286" y="2663"/>
                  </a:lnTo>
                  <a:lnTo>
                    <a:pt x="283" y="2669"/>
                  </a:lnTo>
                  <a:lnTo>
                    <a:pt x="268" y="2686"/>
                  </a:lnTo>
                  <a:lnTo>
                    <a:pt x="258" y="2699"/>
                  </a:lnTo>
                  <a:lnTo>
                    <a:pt x="247" y="2712"/>
                  </a:lnTo>
                  <a:lnTo>
                    <a:pt x="237" y="2727"/>
                  </a:lnTo>
                  <a:lnTo>
                    <a:pt x="228" y="2744"/>
                  </a:lnTo>
                  <a:lnTo>
                    <a:pt x="220" y="2761"/>
                  </a:lnTo>
                  <a:lnTo>
                    <a:pt x="217" y="2770"/>
                  </a:lnTo>
                  <a:lnTo>
                    <a:pt x="214" y="2781"/>
                  </a:lnTo>
                  <a:lnTo>
                    <a:pt x="213" y="2790"/>
                  </a:lnTo>
                  <a:lnTo>
                    <a:pt x="212" y="2801"/>
                  </a:lnTo>
                  <a:lnTo>
                    <a:pt x="212" y="2811"/>
                  </a:lnTo>
                  <a:lnTo>
                    <a:pt x="213" y="2821"/>
                  </a:lnTo>
                  <a:lnTo>
                    <a:pt x="215" y="2833"/>
                  </a:lnTo>
                  <a:lnTo>
                    <a:pt x="219" y="2844"/>
                  </a:lnTo>
                  <a:lnTo>
                    <a:pt x="223" y="2856"/>
                  </a:lnTo>
                  <a:lnTo>
                    <a:pt x="229" y="2867"/>
                  </a:lnTo>
                  <a:lnTo>
                    <a:pt x="237" y="2880"/>
                  </a:lnTo>
                  <a:lnTo>
                    <a:pt x="246" y="2892"/>
                  </a:lnTo>
                  <a:lnTo>
                    <a:pt x="257" y="2904"/>
                  </a:lnTo>
                  <a:lnTo>
                    <a:pt x="270" y="2917"/>
                  </a:lnTo>
                  <a:lnTo>
                    <a:pt x="270" y="2917"/>
                  </a:lnTo>
                  <a:lnTo>
                    <a:pt x="270" y="2910"/>
                  </a:lnTo>
                  <a:lnTo>
                    <a:pt x="272" y="2893"/>
                  </a:lnTo>
                  <a:lnTo>
                    <a:pt x="277" y="2868"/>
                  </a:lnTo>
                  <a:lnTo>
                    <a:pt x="281" y="2855"/>
                  </a:lnTo>
                  <a:lnTo>
                    <a:pt x="285" y="2841"/>
                  </a:lnTo>
                  <a:lnTo>
                    <a:pt x="291" y="2828"/>
                  </a:lnTo>
                  <a:lnTo>
                    <a:pt x="298" y="2814"/>
                  </a:lnTo>
                  <a:lnTo>
                    <a:pt x="306" y="2801"/>
                  </a:lnTo>
                  <a:lnTo>
                    <a:pt x="315" y="2791"/>
                  </a:lnTo>
                  <a:lnTo>
                    <a:pt x="321" y="2786"/>
                  </a:lnTo>
                  <a:lnTo>
                    <a:pt x="326" y="2782"/>
                  </a:lnTo>
                  <a:lnTo>
                    <a:pt x="332" y="2777"/>
                  </a:lnTo>
                  <a:lnTo>
                    <a:pt x="339" y="2774"/>
                  </a:lnTo>
                  <a:lnTo>
                    <a:pt x="346" y="2772"/>
                  </a:lnTo>
                  <a:lnTo>
                    <a:pt x="354" y="2770"/>
                  </a:lnTo>
                  <a:lnTo>
                    <a:pt x="361" y="2770"/>
                  </a:lnTo>
                  <a:lnTo>
                    <a:pt x="369" y="2770"/>
                  </a:lnTo>
                  <a:lnTo>
                    <a:pt x="369" y="2770"/>
                  </a:lnTo>
                  <a:lnTo>
                    <a:pt x="383" y="2771"/>
                  </a:lnTo>
                  <a:lnTo>
                    <a:pt x="396" y="2774"/>
                  </a:lnTo>
                  <a:lnTo>
                    <a:pt x="408" y="2778"/>
                  </a:lnTo>
                  <a:lnTo>
                    <a:pt x="420" y="2783"/>
                  </a:lnTo>
                  <a:lnTo>
                    <a:pt x="443" y="2793"/>
                  </a:lnTo>
                  <a:lnTo>
                    <a:pt x="454" y="2797"/>
                  </a:lnTo>
                  <a:lnTo>
                    <a:pt x="465" y="2801"/>
                  </a:lnTo>
                  <a:lnTo>
                    <a:pt x="476" y="2804"/>
                  </a:lnTo>
                  <a:lnTo>
                    <a:pt x="489" y="2806"/>
                  </a:lnTo>
                  <a:lnTo>
                    <a:pt x="501" y="2807"/>
                  </a:lnTo>
                  <a:lnTo>
                    <a:pt x="514" y="2805"/>
                  </a:lnTo>
                  <a:lnTo>
                    <a:pt x="528" y="2802"/>
                  </a:lnTo>
                  <a:lnTo>
                    <a:pt x="542" y="2796"/>
                  </a:lnTo>
                  <a:lnTo>
                    <a:pt x="558" y="2788"/>
                  </a:lnTo>
                  <a:lnTo>
                    <a:pt x="575" y="2775"/>
                  </a:lnTo>
                  <a:lnTo>
                    <a:pt x="575" y="2775"/>
                  </a:lnTo>
                  <a:lnTo>
                    <a:pt x="588" y="2766"/>
                  </a:lnTo>
                  <a:lnTo>
                    <a:pt x="600" y="2755"/>
                  </a:lnTo>
                  <a:lnTo>
                    <a:pt x="614" y="2743"/>
                  </a:lnTo>
                  <a:lnTo>
                    <a:pt x="630" y="2730"/>
                  </a:lnTo>
                  <a:lnTo>
                    <a:pt x="651" y="2718"/>
                  </a:lnTo>
                  <a:lnTo>
                    <a:pt x="664" y="2711"/>
                  </a:lnTo>
                  <a:lnTo>
                    <a:pt x="678" y="2705"/>
                  </a:lnTo>
                  <a:lnTo>
                    <a:pt x="693" y="2698"/>
                  </a:lnTo>
                  <a:lnTo>
                    <a:pt x="712" y="2692"/>
                  </a:lnTo>
                  <a:lnTo>
                    <a:pt x="732" y="2684"/>
                  </a:lnTo>
                  <a:lnTo>
                    <a:pt x="754" y="2677"/>
                  </a:lnTo>
                  <a:lnTo>
                    <a:pt x="754" y="2677"/>
                  </a:lnTo>
                  <a:lnTo>
                    <a:pt x="756" y="2677"/>
                  </a:lnTo>
                  <a:lnTo>
                    <a:pt x="757" y="2678"/>
                  </a:lnTo>
                  <a:lnTo>
                    <a:pt x="760" y="2683"/>
                  </a:lnTo>
                  <a:lnTo>
                    <a:pt x="762" y="2692"/>
                  </a:lnTo>
                  <a:lnTo>
                    <a:pt x="765" y="2701"/>
                  </a:lnTo>
                  <a:lnTo>
                    <a:pt x="768" y="2713"/>
                  </a:lnTo>
                  <a:lnTo>
                    <a:pt x="772" y="2725"/>
                  </a:lnTo>
                  <a:lnTo>
                    <a:pt x="777" y="2738"/>
                  </a:lnTo>
                  <a:lnTo>
                    <a:pt x="783" y="2750"/>
                  </a:lnTo>
                  <a:lnTo>
                    <a:pt x="783" y="2750"/>
                  </a:lnTo>
                  <a:lnTo>
                    <a:pt x="786" y="2753"/>
                  </a:lnTo>
                  <a:lnTo>
                    <a:pt x="789" y="2755"/>
                  </a:lnTo>
                  <a:lnTo>
                    <a:pt x="797" y="2760"/>
                  </a:lnTo>
                  <a:lnTo>
                    <a:pt x="805" y="2763"/>
                  </a:lnTo>
                  <a:lnTo>
                    <a:pt x="813" y="2767"/>
                  </a:lnTo>
                  <a:lnTo>
                    <a:pt x="821" y="2770"/>
                  </a:lnTo>
                  <a:lnTo>
                    <a:pt x="827" y="2773"/>
                  </a:lnTo>
                  <a:lnTo>
                    <a:pt x="830" y="2775"/>
                  </a:lnTo>
                  <a:lnTo>
                    <a:pt x="831" y="2777"/>
                  </a:lnTo>
                  <a:lnTo>
                    <a:pt x="833" y="2781"/>
                  </a:lnTo>
                  <a:lnTo>
                    <a:pt x="833" y="2784"/>
                  </a:lnTo>
                  <a:lnTo>
                    <a:pt x="833" y="2784"/>
                  </a:lnTo>
                  <a:lnTo>
                    <a:pt x="832" y="2794"/>
                  </a:lnTo>
                  <a:lnTo>
                    <a:pt x="830" y="2805"/>
                  </a:lnTo>
                  <a:lnTo>
                    <a:pt x="826" y="2815"/>
                  </a:lnTo>
                  <a:lnTo>
                    <a:pt x="822" y="2824"/>
                  </a:lnTo>
                  <a:lnTo>
                    <a:pt x="817" y="2834"/>
                  </a:lnTo>
                  <a:lnTo>
                    <a:pt x="811" y="2843"/>
                  </a:lnTo>
                  <a:lnTo>
                    <a:pt x="798" y="2859"/>
                  </a:lnTo>
                  <a:lnTo>
                    <a:pt x="784" y="2873"/>
                  </a:lnTo>
                  <a:lnTo>
                    <a:pt x="773" y="2884"/>
                  </a:lnTo>
                  <a:lnTo>
                    <a:pt x="765" y="2890"/>
                  </a:lnTo>
                  <a:lnTo>
                    <a:pt x="763" y="2893"/>
                  </a:lnTo>
                  <a:lnTo>
                    <a:pt x="763" y="2893"/>
                  </a:lnTo>
                  <a:lnTo>
                    <a:pt x="767" y="2896"/>
                  </a:lnTo>
                  <a:lnTo>
                    <a:pt x="778" y="2899"/>
                  </a:lnTo>
                  <a:lnTo>
                    <a:pt x="785" y="2900"/>
                  </a:lnTo>
                  <a:lnTo>
                    <a:pt x="794" y="2901"/>
                  </a:lnTo>
                  <a:lnTo>
                    <a:pt x="804" y="2901"/>
                  </a:lnTo>
                  <a:lnTo>
                    <a:pt x="815" y="2899"/>
                  </a:lnTo>
                  <a:lnTo>
                    <a:pt x="826" y="2896"/>
                  </a:lnTo>
                  <a:lnTo>
                    <a:pt x="839" y="2891"/>
                  </a:lnTo>
                  <a:lnTo>
                    <a:pt x="852" y="2884"/>
                  </a:lnTo>
                  <a:lnTo>
                    <a:pt x="865" y="2874"/>
                  </a:lnTo>
                  <a:lnTo>
                    <a:pt x="879" y="2860"/>
                  </a:lnTo>
                  <a:lnTo>
                    <a:pt x="894" y="2844"/>
                  </a:lnTo>
                  <a:lnTo>
                    <a:pt x="907" y="2824"/>
                  </a:lnTo>
                  <a:lnTo>
                    <a:pt x="921" y="2801"/>
                  </a:lnTo>
                  <a:lnTo>
                    <a:pt x="921" y="2801"/>
                  </a:lnTo>
                  <a:lnTo>
                    <a:pt x="924" y="2797"/>
                  </a:lnTo>
                  <a:lnTo>
                    <a:pt x="927" y="2793"/>
                  </a:lnTo>
                  <a:lnTo>
                    <a:pt x="930" y="2791"/>
                  </a:lnTo>
                  <a:lnTo>
                    <a:pt x="935" y="2789"/>
                  </a:lnTo>
                  <a:lnTo>
                    <a:pt x="939" y="2788"/>
                  </a:lnTo>
                  <a:lnTo>
                    <a:pt x="943" y="2788"/>
                  </a:lnTo>
                  <a:lnTo>
                    <a:pt x="951" y="2788"/>
                  </a:lnTo>
                  <a:lnTo>
                    <a:pt x="970" y="2790"/>
                  </a:lnTo>
                  <a:lnTo>
                    <a:pt x="982" y="2790"/>
                  </a:lnTo>
                  <a:lnTo>
                    <a:pt x="987" y="2789"/>
                  </a:lnTo>
                  <a:lnTo>
                    <a:pt x="992" y="2788"/>
                  </a:lnTo>
                  <a:lnTo>
                    <a:pt x="992" y="2788"/>
                  </a:lnTo>
                  <a:lnTo>
                    <a:pt x="1010" y="2782"/>
                  </a:lnTo>
                  <a:lnTo>
                    <a:pt x="1017" y="2777"/>
                  </a:lnTo>
                  <a:lnTo>
                    <a:pt x="1024" y="2773"/>
                  </a:lnTo>
                  <a:lnTo>
                    <a:pt x="1029" y="2770"/>
                  </a:lnTo>
                  <a:lnTo>
                    <a:pt x="1033" y="2766"/>
                  </a:lnTo>
                  <a:lnTo>
                    <a:pt x="1036" y="2762"/>
                  </a:lnTo>
                  <a:lnTo>
                    <a:pt x="1039" y="2757"/>
                  </a:lnTo>
                  <a:lnTo>
                    <a:pt x="1041" y="2753"/>
                  </a:lnTo>
                  <a:lnTo>
                    <a:pt x="1042" y="2748"/>
                  </a:lnTo>
                  <a:lnTo>
                    <a:pt x="1043" y="2739"/>
                  </a:lnTo>
                  <a:lnTo>
                    <a:pt x="1042" y="2728"/>
                  </a:lnTo>
                  <a:lnTo>
                    <a:pt x="1040" y="2718"/>
                  </a:lnTo>
                  <a:lnTo>
                    <a:pt x="1035" y="2696"/>
                  </a:lnTo>
                  <a:lnTo>
                    <a:pt x="1034" y="2685"/>
                  </a:lnTo>
                  <a:lnTo>
                    <a:pt x="1033" y="2673"/>
                  </a:lnTo>
                  <a:lnTo>
                    <a:pt x="1034" y="2662"/>
                  </a:lnTo>
                  <a:lnTo>
                    <a:pt x="1036" y="2657"/>
                  </a:lnTo>
                  <a:lnTo>
                    <a:pt x="1038" y="2651"/>
                  </a:lnTo>
                  <a:lnTo>
                    <a:pt x="1040" y="2646"/>
                  </a:lnTo>
                  <a:lnTo>
                    <a:pt x="1044" y="2640"/>
                  </a:lnTo>
                  <a:lnTo>
                    <a:pt x="1048" y="2634"/>
                  </a:lnTo>
                  <a:lnTo>
                    <a:pt x="1054" y="2629"/>
                  </a:lnTo>
                  <a:lnTo>
                    <a:pt x="1054" y="2629"/>
                  </a:lnTo>
                  <a:lnTo>
                    <a:pt x="1069" y="2616"/>
                  </a:lnTo>
                  <a:lnTo>
                    <a:pt x="1084" y="2603"/>
                  </a:lnTo>
                  <a:lnTo>
                    <a:pt x="1099" y="2591"/>
                  </a:lnTo>
                  <a:lnTo>
                    <a:pt x="1115" y="2579"/>
                  </a:lnTo>
                  <a:lnTo>
                    <a:pt x="1146" y="2559"/>
                  </a:lnTo>
                  <a:lnTo>
                    <a:pt x="1178" y="2540"/>
                  </a:lnTo>
                  <a:lnTo>
                    <a:pt x="1210" y="2524"/>
                  </a:lnTo>
                  <a:lnTo>
                    <a:pt x="1241" y="2509"/>
                  </a:lnTo>
                  <a:lnTo>
                    <a:pt x="1273" y="2494"/>
                  </a:lnTo>
                  <a:lnTo>
                    <a:pt x="1304" y="2482"/>
                  </a:lnTo>
                  <a:lnTo>
                    <a:pt x="1304" y="2482"/>
                  </a:lnTo>
                  <a:lnTo>
                    <a:pt x="1303" y="2486"/>
                  </a:lnTo>
                  <a:lnTo>
                    <a:pt x="1299" y="2498"/>
                  </a:lnTo>
                  <a:lnTo>
                    <a:pt x="1294" y="2518"/>
                  </a:lnTo>
                  <a:lnTo>
                    <a:pt x="1291" y="2541"/>
                  </a:lnTo>
                  <a:lnTo>
                    <a:pt x="1290" y="2556"/>
                  </a:lnTo>
                  <a:lnTo>
                    <a:pt x="1290" y="2570"/>
                  </a:lnTo>
                  <a:lnTo>
                    <a:pt x="1291" y="2585"/>
                  </a:lnTo>
                  <a:lnTo>
                    <a:pt x="1292" y="2602"/>
                  </a:lnTo>
                  <a:lnTo>
                    <a:pt x="1296" y="2618"/>
                  </a:lnTo>
                  <a:lnTo>
                    <a:pt x="1301" y="2634"/>
                  </a:lnTo>
                  <a:lnTo>
                    <a:pt x="1306" y="2652"/>
                  </a:lnTo>
                  <a:lnTo>
                    <a:pt x="1314" y="2669"/>
                  </a:lnTo>
                  <a:lnTo>
                    <a:pt x="1640" y="2585"/>
                  </a:lnTo>
                  <a:lnTo>
                    <a:pt x="1640" y="2585"/>
                  </a:lnTo>
                  <a:lnTo>
                    <a:pt x="1634" y="2569"/>
                  </a:lnTo>
                  <a:lnTo>
                    <a:pt x="1631" y="2553"/>
                  </a:lnTo>
                  <a:lnTo>
                    <a:pt x="1629" y="2535"/>
                  </a:lnTo>
                  <a:lnTo>
                    <a:pt x="1629" y="2518"/>
                  </a:lnTo>
                  <a:lnTo>
                    <a:pt x="1631" y="2500"/>
                  </a:lnTo>
                  <a:lnTo>
                    <a:pt x="1634" y="2483"/>
                  </a:lnTo>
                  <a:lnTo>
                    <a:pt x="1638" y="2466"/>
                  </a:lnTo>
                  <a:lnTo>
                    <a:pt x="1644" y="2447"/>
                  </a:lnTo>
                  <a:lnTo>
                    <a:pt x="1651" y="2430"/>
                  </a:lnTo>
                  <a:lnTo>
                    <a:pt x="1660" y="2411"/>
                  </a:lnTo>
                  <a:lnTo>
                    <a:pt x="1669" y="2394"/>
                  </a:lnTo>
                  <a:lnTo>
                    <a:pt x="1679" y="2377"/>
                  </a:lnTo>
                  <a:lnTo>
                    <a:pt x="1689" y="2359"/>
                  </a:lnTo>
                  <a:lnTo>
                    <a:pt x="1701" y="2342"/>
                  </a:lnTo>
                  <a:lnTo>
                    <a:pt x="1725" y="2310"/>
                  </a:lnTo>
                  <a:lnTo>
                    <a:pt x="1725" y="2310"/>
                  </a:lnTo>
                  <a:lnTo>
                    <a:pt x="1726" y="2309"/>
                  </a:lnTo>
                  <a:lnTo>
                    <a:pt x="1727" y="2309"/>
                  </a:lnTo>
                  <a:lnTo>
                    <a:pt x="1728" y="2313"/>
                  </a:lnTo>
                  <a:lnTo>
                    <a:pt x="1725" y="2335"/>
                  </a:lnTo>
                  <a:lnTo>
                    <a:pt x="1721" y="2368"/>
                  </a:lnTo>
                  <a:lnTo>
                    <a:pt x="1715" y="2410"/>
                  </a:lnTo>
                  <a:lnTo>
                    <a:pt x="1713" y="2433"/>
                  </a:lnTo>
                  <a:lnTo>
                    <a:pt x="1711" y="2456"/>
                  </a:lnTo>
                  <a:lnTo>
                    <a:pt x="1711" y="2478"/>
                  </a:lnTo>
                  <a:lnTo>
                    <a:pt x="1711" y="2499"/>
                  </a:lnTo>
                  <a:lnTo>
                    <a:pt x="1713" y="2519"/>
                  </a:lnTo>
                  <a:lnTo>
                    <a:pt x="1716" y="2536"/>
                  </a:lnTo>
                  <a:lnTo>
                    <a:pt x="1719" y="2544"/>
                  </a:lnTo>
                  <a:lnTo>
                    <a:pt x="1722" y="2551"/>
                  </a:lnTo>
                  <a:lnTo>
                    <a:pt x="1726" y="2557"/>
                  </a:lnTo>
                  <a:lnTo>
                    <a:pt x="1730" y="2562"/>
                  </a:lnTo>
                  <a:lnTo>
                    <a:pt x="2050" y="2479"/>
                  </a:lnTo>
                  <a:lnTo>
                    <a:pt x="2050" y="2479"/>
                  </a:lnTo>
                  <a:lnTo>
                    <a:pt x="2046" y="2469"/>
                  </a:lnTo>
                  <a:lnTo>
                    <a:pt x="2043" y="2457"/>
                  </a:lnTo>
                  <a:lnTo>
                    <a:pt x="2041" y="2446"/>
                  </a:lnTo>
                  <a:lnTo>
                    <a:pt x="2039" y="2434"/>
                  </a:lnTo>
                  <a:lnTo>
                    <a:pt x="2038" y="2422"/>
                  </a:lnTo>
                  <a:lnTo>
                    <a:pt x="2038" y="2409"/>
                  </a:lnTo>
                  <a:lnTo>
                    <a:pt x="2039" y="2383"/>
                  </a:lnTo>
                  <a:lnTo>
                    <a:pt x="2043" y="2356"/>
                  </a:lnTo>
                  <a:lnTo>
                    <a:pt x="2048" y="2330"/>
                  </a:lnTo>
                  <a:lnTo>
                    <a:pt x="2055" y="2303"/>
                  </a:lnTo>
                  <a:lnTo>
                    <a:pt x="2064" y="2279"/>
                  </a:lnTo>
                  <a:lnTo>
                    <a:pt x="2064" y="2279"/>
                  </a:lnTo>
                  <a:lnTo>
                    <a:pt x="2072" y="2306"/>
                  </a:lnTo>
                  <a:lnTo>
                    <a:pt x="2079" y="2335"/>
                  </a:lnTo>
                  <a:lnTo>
                    <a:pt x="2088" y="2362"/>
                  </a:lnTo>
                  <a:lnTo>
                    <a:pt x="2098" y="2390"/>
                  </a:lnTo>
                  <a:lnTo>
                    <a:pt x="2108" y="2417"/>
                  </a:lnTo>
                  <a:lnTo>
                    <a:pt x="2121" y="2443"/>
                  </a:lnTo>
                  <a:lnTo>
                    <a:pt x="2135" y="2469"/>
                  </a:lnTo>
                  <a:lnTo>
                    <a:pt x="2149" y="2494"/>
                  </a:lnTo>
                  <a:lnTo>
                    <a:pt x="2166" y="2519"/>
                  </a:lnTo>
                  <a:lnTo>
                    <a:pt x="2183" y="2541"/>
                  </a:lnTo>
                  <a:lnTo>
                    <a:pt x="2201" y="2563"/>
                  </a:lnTo>
                  <a:lnTo>
                    <a:pt x="2222" y="2583"/>
                  </a:lnTo>
                  <a:lnTo>
                    <a:pt x="2244" y="2603"/>
                  </a:lnTo>
                  <a:lnTo>
                    <a:pt x="2268" y="2619"/>
                  </a:lnTo>
                  <a:lnTo>
                    <a:pt x="2280" y="2627"/>
                  </a:lnTo>
                  <a:lnTo>
                    <a:pt x="2292" y="2634"/>
                  </a:lnTo>
                  <a:lnTo>
                    <a:pt x="2306" y="2641"/>
                  </a:lnTo>
                  <a:lnTo>
                    <a:pt x="2320" y="2648"/>
                  </a:lnTo>
                  <a:lnTo>
                    <a:pt x="2320" y="2648"/>
                  </a:lnTo>
                  <a:lnTo>
                    <a:pt x="2365" y="2667"/>
                  </a:lnTo>
                  <a:lnTo>
                    <a:pt x="2410" y="2685"/>
                  </a:lnTo>
                  <a:lnTo>
                    <a:pt x="2454" y="2702"/>
                  </a:lnTo>
                  <a:lnTo>
                    <a:pt x="2499" y="2718"/>
                  </a:lnTo>
                  <a:lnTo>
                    <a:pt x="2544" y="2733"/>
                  </a:lnTo>
                  <a:lnTo>
                    <a:pt x="2589" y="2749"/>
                  </a:lnTo>
                  <a:lnTo>
                    <a:pt x="2683" y="2778"/>
                  </a:lnTo>
                  <a:lnTo>
                    <a:pt x="2782" y="2807"/>
                  </a:lnTo>
                  <a:lnTo>
                    <a:pt x="2889" y="2838"/>
                  </a:lnTo>
                  <a:lnTo>
                    <a:pt x="3005" y="2872"/>
                  </a:lnTo>
                  <a:lnTo>
                    <a:pt x="3133" y="2908"/>
                  </a:lnTo>
                  <a:lnTo>
                    <a:pt x="3133" y="2908"/>
                  </a:lnTo>
                  <a:lnTo>
                    <a:pt x="3205" y="2931"/>
                  </a:lnTo>
                  <a:lnTo>
                    <a:pt x="3273" y="2954"/>
                  </a:lnTo>
                  <a:lnTo>
                    <a:pt x="3305" y="2966"/>
                  </a:lnTo>
                  <a:lnTo>
                    <a:pt x="3333" y="2977"/>
                  </a:lnTo>
                  <a:lnTo>
                    <a:pt x="3358" y="2987"/>
                  </a:lnTo>
                  <a:lnTo>
                    <a:pt x="3377" y="2996"/>
                  </a:lnTo>
                  <a:lnTo>
                    <a:pt x="3377" y="2996"/>
                  </a:lnTo>
                  <a:lnTo>
                    <a:pt x="3383" y="2999"/>
                  </a:lnTo>
                  <a:lnTo>
                    <a:pt x="3389" y="3003"/>
                  </a:lnTo>
                  <a:lnTo>
                    <a:pt x="3393" y="3006"/>
                  </a:lnTo>
                  <a:lnTo>
                    <a:pt x="3397" y="3011"/>
                  </a:lnTo>
                  <a:lnTo>
                    <a:pt x="3399" y="3015"/>
                  </a:lnTo>
                  <a:lnTo>
                    <a:pt x="3401" y="3020"/>
                  </a:lnTo>
                  <a:lnTo>
                    <a:pt x="3402" y="3024"/>
                  </a:lnTo>
                  <a:lnTo>
                    <a:pt x="3402" y="3028"/>
                  </a:lnTo>
                  <a:lnTo>
                    <a:pt x="3401" y="3037"/>
                  </a:lnTo>
                  <a:lnTo>
                    <a:pt x="3397" y="3046"/>
                  </a:lnTo>
                  <a:lnTo>
                    <a:pt x="3392" y="3055"/>
                  </a:lnTo>
                  <a:lnTo>
                    <a:pt x="3386" y="3064"/>
                  </a:lnTo>
                  <a:lnTo>
                    <a:pt x="3378" y="3072"/>
                  </a:lnTo>
                  <a:lnTo>
                    <a:pt x="3371" y="3080"/>
                  </a:lnTo>
                  <a:lnTo>
                    <a:pt x="3357" y="3092"/>
                  </a:lnTo>
                  <a:lnTo>
                    <a:pt x="3346" y="3102"/>
                  </a:lnTo>
                  <a:lnTo>
                    <a:pt x="3341" y="3105"/>
                  </a:lnTo>
                  <a:lnTo>
                    <a:pt x="3341" y="3105"/>
                  </a:lnTo>
                  <a:lnTo>
                    <a:pt x="3355" y="3113"/>
                  </a:lnTo>
                  <a:lnTo>
                    <a:pt x="3371" y="3121"/>
                  </a:lnTo>
                  <a:lnTo>
                    <a:pt x="3411" y="3139"/>
                  </a:lnTo>
                  <a:lnTo>
                    <a:pt x="3435" y="3152"/>
                  </a:lnTo>
                  <a:lnTo>
                    <a:pt x="3461" y="3167"/>
                  </a:lnTo>
                  <a:lnTo>
                    <a:pt x="3492" y="3186"/>
                  </a:lnTo>
                  <a:lnTo>
                    <a:pt x="3527" y="3211"/>
                  </a:lnTo>
                  <a:lnTo>
                    <a:pt x="3527" y="3211"/>
                  </a:lnTo>
                  <a:lnTo>
                    <a:pt x="3545" y="3226"/>
                  </a:lnTo>
                  <a:lnTo>
                    <a:pt x="3563" y="3244"/>
                  </a:lnTo>
                  <a:lnTo>
                    <a:pt x="3580" y="3263"/>
                  </a:lnTo>
                  <a:lnTo>
                    <a:pt x="3595" y="3284"/>
                  </a:lnTo>
                  <a:lnTo>
                    <a:pt x="3608" y="3305"/>
                  </a:lnTo>
                  <a:lnTo>
                    <a:pt x="3622" y="3329"/>
                  </a:lnTo>
                  <a:lnTo>
                    <a:pt x="3634" y="3352"/>
                  </a:lnTo>
                  <a:lnTo>
                    <a:pt x="3645" y="3378"/>
                  </a:lnTo>
                  <a:lnTo>
                    <a:pt x="3655" y="3404"/>
                  </a:lnTo>
                  <a:lnTo>
                    <a:pt x="3665" y="3432"/>
                  </a:lnTo>
                  <a:lnTo>
                    <a:pt x="3674" y="3460"/>
                  </a:lnTo>
                  <a:lnTo>
                    <a:pt x="3682" y="3489"/>
                  </a:lnTo>
                  <a:lnTo>
                    <a:pt x="3698" y="3549"/>
                  </a:lnTo>
                  <a:lnTo>
                    <a:pt x="3714" y="3612"/>
                  </a:lnTo>
                  <a:lnTo>
                    <a:pt x="3714" y="3612"/>
                  </a:lnTo>
                  <a:lnTo>
                    <a:pt x="3725" y="3662"/>
                  </a:lnTo>
                  <a:lnTo>
                    <a:pt x="3734" y="3715"/>
                  </a:lnTo>
                  <a:lnTo>
                    <a:pt x="3742" y="3768"/>
                  </a:lnTo>
                  <a:lnTo>
                    <a:pt x="3744" y="3795"/>
                  </a:lnTo>
                  <a:lnTo>
                    <a:pt x="3746" y="3819"/>
                  </a:lnTo>
                  <a:lnTo>
                    <a:pt x="3748" y="3844"/>
                  </a:lnTo>
                  <a:lnTo>
                    <a:pt x="3749" y="3867"/>
                  </a:lnTo>
                  <a:lnTo>
                    <a:pt x="3748" y="3889"/>
                  </a:lnTo>
                  <a:lnTo>
                    <a:pt x="3745" y="3909"/>
                  </a:lnTo>
                  <a:lnTo>
                    <a:pt x="3742" y="3928"/>
                  </a:lnTo>
                  <a:lnTo>
                    <a:pt x="3737" y="3944"/>
                  </a:lnTo>
                  <a:lnTo>
                    <a:pt x="3731" y="3957"/>
                  </a:lnTo>
                  <a:lnTo>
                    <a:pt x="3728" y="3963"/>
                  </a:lnTo>
                  <a:lnTo>
                    <a:pt x="3724" y="3969"/>
                  </a:lnTo>
                  <a:lnTo>
                    <a:pt x="3724" y="3969"/>
                  </a:lnTo>
                  <a:lnTo>
                    <a:pt x="3715" y="3979"/>
                  </a:lnTo>
                  <a:lnTo>
                    <a:pt x="3705" y="3989"/>
                  </a:lnTo>
                  <a:lnTo>
                    <a:pt x="3691" y="3998"/>
                  </a:lnTo>
                  <a:lnTo>
                    <a:pt x="3683" y="4003"/>
                  </a:lnTo>
                  <a:lnTo>
                    <a:pt x="3673" y="4008"/>
                  </a:lnTo>
                  <a:lnTo>
                    <a:pt x="3663" y="4014"/>
                  </a:lnTo>
                  <a:lnTo>
                    <a:pt x="3650" y="4019"/>
                  </a:lnTo>
                  <a:lnTo>
                    <a:pt x="3621" y="4028"/>
                  </a:lnTo>
                  <a:lnTo>
                    <a:pt x="3582" y="4038"/>
                  </a:lnTo>
                  <a:lnTo>
                    <a:pt x="3535" y="4048"/>
                  </a:lnTo>
                  <a:lnTo>
                    <a:pt x="3560" y="4171"/>
                  </a:lnTo>
                  <a:lnTo>
                    <a:pt x="3560" y="4171"/>
                  </a:lnTo>
                  <a:lnTo>
                    <a:pt x="3579" y="4172"/>
                  </a:lnTo>
                  <a:lnTo>
                    <a:pt x="3597" y="4172"/>
                  </a:lnTo>
                  <a:lnTo>
                    <a:pt x="3615" y="4171"/>
                  </a:lnTo>
                  <a:lnTo>
                    <a:pt x="3631" y="4169"/>
                  </a:lnTo>
                  <a:lnTo>
                    <a:pt x="3646" y="4167"/>
                  </a:lnTo>
                  <a:lnTo>
                    <a:pt x="3662" y="4164"/>
                  </a:lnTo>
                  <a:lnTo>
                    <a:pt x="3688" y="4157"/>
                  </a:lnTo>
                  <a:lnTo>
                    <a:pt x="3711" y="4150"/>
                  </a:lnTo>
                  <a:lnTo>
                    <a:pt x="3728" y="4143"/>
                  </a:lnTo>
                  <a:lnTo>
                    <a:pt x="3742" y="4137"/>
                  </a:lnTo>
                  <a:lnTo>
                    <a:pt x="3742" y="4137"/>
                  </a:lnTo>
                  <a:lnTo>
                    <a:pt x="3736" y="4143"/>
                  </a:lnTo>
                  <a:lnTo>
                    <a:pt x="3730" y="4151"/>
                  </a:lnTo>
                  <a:lnTo>
                    <a:pt x="3722" y="4161"/>
                  </a:lnTo>
                  <a:lnTo>
                    <a:pt x="3722" y="4161"/>
                  </a:lnTo>
                  <a:lnTo>
                    <a:pt x="3711" y="4177"/>
                  </a:lnTo>
                  <a:lnTo>
                    <a:pt x="3700" y="4194"/>
                  </a:lnTo>
                  <a:lnTo>
                    <a:pt x="3692" y="4209"/>
                  </a:lnTo>
                  <a:lnTo>
                    <a:pt x="3685" y="4224"/>
                  </a:lnTo>
                  <a:lnTo>
                    <a:pt x="3680" y="4240"/>
                  </a:lnTo>
                  <a:lnTo>
                    <a:pt x="3675" y="4257"/>
                  </a:lnTo>
                  <a:lnTo>
                    <a:pt x="3672" y="4274"/>
                  </a:lnTo>
                  <a:lnTo>
                    <a:pt x="3669" y="4295"/>
                  </a:lnTo>
                  <a:lnTo>
                    <a:pt x="3799" y="4379"/>
                  </a:lnTo>
                  <a:lnTo>
                    <a:pt x="3799" y="4379"/>
                  </a:lnTo>
                  <a:lnTo>
                    <a:pt x="3812" y="4338"/>
                  </a:lnTo>
                  <a:lnTo>
                    <a:pt x="3826" y="4298"/>
                  </a:lnTo>
                  <a:lnTo>
                    <a:pt x="3841" y="4262"/>
                  </a:lnTo>
                  <a:lnTo>
                    <a:pt x="3855" y="4229"/>
                  </a:lnTo>
                  <a:lnTo>
                    <a:pt x="3870" y="4202"/>
                  </a:lnTo>
                  <a:lnTo>
                    <a:pt x="3877" y="4189"/>
                  </a:lnTo>
                  <a:lnTo>
                    <a:pt x="3885" y="4179"/>
                  </a:lnTo>
                  <a:lnTo>
                    <a:pt x="3892" y="4170"/>
                  </a:lnTo>
                  <a:lnTo>
                    <a:pt x="3899" y="4163"/>
                  </a:lnTo>
                  <a:lnTo>
                    <a:pt x="3906" y="4158"/>
                  </a:lnTo>
                  <a:lnTo>
                    <a:pt x="3913" y="4154"/>
                  </a:lnTo>
                  <a:lnTo>
                    <a:pt x="3913" y="4154"/>
                  </a:lnTo>
                  <a:lnTo>
                    <a:pt x="3919" y="4152"/>
                  </a:lnTo>
                  <a:lnTo>
                    <a:pt x="3926" y="4152"/>
                  </a:lnTo>
                  <a:lnTo>
                    <a:pt x="3935" y="4152"/>
                  </a:lnTo>
                  <a:lnTo>
                    <a:pt x="3944" y="4153"/>
                  </a:lnTo>
                  <a:lnTo>
                    <a:pt x="3954" y="4155"/>
                  </a:lnTo>
                  <a:lnTo>
                    <a:pt x="3965" y="4157"/>
                  </a:lnTo>
                  <a:lnTo>
                    <a:pt x="3990" y="4166"/>
                  </a:lnTo>
                  <a:lnTo>
                    <a:pt x="4017" y="4177"/>
                  </a:lnTo>
                  <a:lnTo>
                    <a:pt x="4047" y="4192"/>
                  </a:lnTo>
                  <a:lnTo>
                    <a:pt x="4078" y="4212"/>
                  </a:lnTo>
                  <a:lnTo>
                    <a:pt x="4110" y="4233"/>
                  </a:lnTo>
                  <a:lnTo>
                    <a:pt x="4127" y="4246"/>
                  </a:lnTo>
                  <a:lnTo>
                    <a:pt x="4143" y="4259"/>
                  </a:lnTo>
                  <a:lnTo>
                    <a:pt x="4160" y="4273"/>
                  </a:lnTo>
                  <a:lnTo>
                    <a:pt x="4176" y="4288"/>
                  </a:lnTo>
                  <a:lnTo>
                    <a:pt x="4192" y="4303"/>
                  </a:lnTo>
                  <a:lnTo>
                    <a:pt x="4208" y="4319"/>
                  </a:lnTo>
                  <a:lnTo>
                    <a:pt x="4224" y="4337"/>
                  </a:lnTo>
                  <a:lnTo>
                    <a:pt x="4239" y="4355"/>
                  </a:lnTo>
                  <a:lnTo>
                    <a:pt x="4254" y="4373"/>
                  </a:lnTo>
                  <a:lnTo>
                    <a:pt x="4268" y="4393"/>
                  </a:lnTo>
                  <a:lnTo>
                    <a:pt x="4282" y="4413"/>
                  </a:lnTo>
                  <a:lnTo>
                    <a:pt x="4296" y="4435"/>
                  </a:lnTo>
                  <a:lnTo>
                    <a:pt x="4308" y="4456"/>
                  </a:lnTo>
                  <a:lnTo>
                    <a:pt x="4320" y="4479"/>
                  </a:lnTo>
                  <a:lnTo>
                    <a:pt x="4331" y="4502"/>
                  </a:lnTo>
                  <a:lnTo>
                    <a:pt x="4342" y="4527"/>
                  </a:lnTo>
                  <a:lnTo>
                    <a:pt x="4342" y="4527"/>
                  </a:lnTo>
                  <a:lnTo>
                    <a:pt x="4347" y="4541"/>
                  </a:lnTo>
                  <a:lnTo>
                    <a:pt x="4352" y="4558"/>
                  </a:lnTo>
                  <a:lnTo>
                    <a:pt x="4356" y="4574"/>
                  </a:lnTo>
                  <a:lnTo>
                    <a:pt x="4360" y="4591"/>
                  </a:lnTo>
                  <a:lnTo>
                    <a:pt x="4363" y="4610"/>
                  </a:lnTo>
                  <a:lnTo>
                    <a:pt x="4366" y="4628"/>
                  </a:lnTo>
                  <a:lnTo>
                    <a:pt x="4370" y="4667"/>
                  </a:lnTo>
                  <a:lnTo>
                    <a:pt x="4372" y="4706"/>
                  </a:lnTo>
                  <a:lnTo>
                    <a:pt x="4371" y="4747"/>
                  </a:lnTo>
                  <a:lnTo>
                    <a:pt x="4370" y="4767"/>
                  </a:lnTo>
                  <a:lnTo>
                    <a:pt x="4369" y="4787"/>
                  </a:lnTo>
                  <a:lnTo>
                    <a:pt x="4366" y="4807"/>
                  </a:lnTo>
                  <a:lnTo>
                    <a:pt x="4363" y="4826"/>
                  </a:lnTo>
                  <a:lnTo>
                    <a:pt x="4360" y="4846"/>
                  </a:lnTo>
                  <a:lnTo>
                    <a:pt x="4356" y="4864"/>
                  </a:lnTo>
                  <a:lnTo>
                    <a:pt x="4351" y="4883"/>
                  </a:lnTo>
                  <a:lnTo>
                    <a:pt x="4345" y="4900"/>
                  </a:lnTo>
                  <a:lnTo>
                    <a:pt x="4339" y="4917"/>
                  </a:lnTo>
                  <a:lnTo>
                    <a:pt x="4332" y="4933"/>
                  </a:lnTo>
                  <a:lnTo>
                    <a:pt x="4324" y="4948"/>
                  </a:lnTo>
                  <a:lnTo>
                    <a:pt x="4316" y="4962"/>
                  </a:lnTo>
                  <a:lnTo>
                    <a:pt x="4307" y="4976"/>
                  </a:lnTo>
                  <a:lnTo>
                    <a:pt x="4298" y="4988"/>
                  </a:lnTo>
                  <a:lnTo>
                    <a:pt x="4287" y="4999"/>
                  </a:lnTo>
                  <a:lnTo>
                    <a:pt x="4276" y="5008"/>
                  </a:lnTo>
                  <a:lnTo>
                    <a:pt x="4264" y="5017"/>
                  </a:lnTo>
                  <a:lnTo>
                    <a:pt x="4252" y="5024"/>
                  </a:lnTo>
                  <a:lnTo>
                    <a:pt x="4238" y="5029"/>
                  </a:lnTo>
                  <a:lnTo>
                    <a:pt x="4224" y="5032"/>
                  </a:lnTo>
                  <a:lnTo>
                    <a:pt x="4224" y="5032"/>
                  </a:lnTo>
                  <a:lnTo>
                    <a:pt x="4216" y="5033"/>
                  </a:lnTo>
                  <a:lnTo>
                    <a:pt x="4208" y="5033"/>
                  </a:lnTo>
                  <a:lnTo>
                    <a:pt x="4198" y="5032"/>
                  </a:lnTo>
                  <a:lnTo>
                    <a:pt x="4188" y="5030"/>
                  </a:lnTo>
                  <a:lnTo>
                    <a:pt x="4168" y="5025"/>
                  </a:lnTo>
                  <a:lnTo>
                    <a:pt x="4145" y="5017"/>
                  </a:lnTo>
                  <a:lnTo>
                    <a:pt x="4123" y="5006"/>
                  </a:lnTo>
                  <a:lnTo>
                    <a:pt x="4099" y="4995"/>
                  </a:lnTo>
                  <a:lnTo>
                    <a:pt x="4051" y="4973"/>
                  </a:lnTo>
                  <a:lnTo>
                    <a:pt x="4028" y="4961"/>
                  </a:lnTo>
                  <a:lnTo>
                    <a:pt x="4005" y="4952"/>
                  </a:lnTo>
                  <a:lnTo>
                    <a:pt x="3984" y="4945"/>
                  </a:lnTo>
                  <a:lnTo>
                    <a:pt x="3964" y="4940"/>
                  </a:lnTo>
                  <a:lnTo>
                    <a:pt x="3955" y="4939"/>
                  </a:lnTo>
                  <a:lnTo>
                    <a:pt x="3947" y="4938"/>
                  </a:lnTo>
                  <a:lnTo>
                    <a:pt x="3939" y="4939"/>
                  </a:lnTo>
                  <a:lnTo>
                    <a:pt x="3932" y="4940"/>
                  </a:lnTo>
                  <a:lnTo>
                    <a:pt x="3924" y="4943"/>
                  </a:lnTo>
                  <a:lnTo>
                    <a:pt x="3919" y="4947"/>
                  </a:lnTo>
                  <a:lnTo>
                    <a:pt x="3914" y="4952"/>
                  </a:lnTo>
                  <a:lnTo>
                    <a:pt x="3909" y="4958"/>
                  </a:lnTo>
                  <a:lnTo>
                    <a:pt x="3909" y="4958"/>
                  </a:lnTo>
                  <a:lnTo>
                    <a:pt x="3905" y="4965"/>
                  </a:lnTo>
                  <a:lnTo>
                    <a:pt x="3900" y="4973"/>
                  </a:lnTo>
                  <a:lnTo>
                    <a:pt x="3893" y="4979"/>
                  </a:lnTo>
                  <a:lnTo>
                    <a:pt x="3886" y="4985"/>
                  </a:lnTo>
                  <a:lnTo>
                    <a:pt x="3869" y="4996"/>
                  </a:lnTo>
                  <a:lnTo>
                    <a:pt x="3851" y="5006"/>
                  </a:lnTo>
                  <a:lnTo>
                    <a:pt x="3810" y="5028"/>
                  </a:lnTo>
                  <a:lnTo>
                    <a:pt x="3789" y="5039"/>
                  </a:lnTo>
                  <a:lnTo>
                    <a:pt x="3770" y="5052"/>
                  </a:lnTo>
                  <a:lnTo>
                    <a:pt x="3761" y="5058"/>
                  </a:lnTo>
                  <a:lnTo>
                    <a:pt x="3752" y="5067"/>
                  </a:lnTo>
                  <a:lnTo>
                    <a:pt x="3743" y="5074"/>
                  </a:lnTo>
                  <a:lnTo>
                    <a:pt x="3735" y="5083"/>
                  </a:lnTo>
                  <a:lnTo>
                    <a:pt x="3728" y="5092"/>
                  </a:lnTo>
                  <a:lnTo>
                    <a:pt x="3722" y="5102"/>
                  </a:lnTo>
                  <a:lnTo>
                    <a:pt x="3717" y="5113"/>
                  </a:lnTo>
                  <a:lnTo>
                    <a:pt x="3713" y="5125"/>
                  </a:lnTo>
                  <a:lnTo>
                    <a:pt x="3710" y="5137"/>
                  </a:lnTo>
                  <a:lnTo>
                    <a:pt x="3708" y="5151"/>
                  </a:lnTo>
                  <a:lnTo>
                    <a:pt x="3707" y="5165"/>
                  </a:lnTo>
                  <a:lnTo>
                    <a:pt x="3707" y="5181"/>
                  </a:lnTo>
                  <a:lnTo>
                    <a:pt x="3709" y="5198"/>
                  </a:lnTo>
                  <a:lnTo>
                    <a:pt x="3713" y="5215"/>
                  </a:lnTo>
                  <a:lnTo>
                    <a:pt x="3718" y="5234"/>
                  </a:lnTo>
                  <a:lnTo>
                    <a:pt x="3724" y="5255"/>
                  </a:lnTo>
                  <a:lnTo>
                    <a:pt x="3724" y="5255"/>
                  </a:lnTo>
                  <a:lnTo>
                    <a:pt x="3741" y="5234"/>
                  </a:lnTo>
                  <a:lnTo>
                    <a:pt x="3759" y="5213"/>
                  </a:lnTo>
                  <a:lnTo>
                    <a:pt x="3776" y="5194"/>
                  </a:lnTo>
                  <a:lnTo>
                    <a:pt x="3794" y="5178"/>
                  </a:lnTo>
                  <a:lnTo>
                    <a:pt x="3802" y="5171"/>
                  </a:lnTo>
                  <a:lnTo>
                    <a:pt x="3811" y="5165"/>
                  </a:lnTo>
                  <a:lnTo>
                    <a:pt x="3819" y="5159"/>
                  </a:lnTo>
                  <a:lnTo>
                    <a:pt x="3827" y="5155"/>
                  </a:lnTo>
                  <a:lnTo>
                    <a:pt x="3835" y="5153"/>
                  </a:lnTo>
                  <a:lnTo>
                    <a:pt x="3843" y="5151"/>
                  </a:lnTo>
                  <a:lnTo>
                    <a:pt x="3850" y="5151"/>
                  </a:lnTo>
                  <a:lnTo>
                    <a:pt x="3857" y="5153"/>
                  </a:lnTo>
                  <a:lnTo>
                    <a:pt x="3857" y="5153"/>
                  </a:lnTo>
                  <a:lnTo>
                    <a:pt x="3861" y="5155"/>
                  </a:lnTo>
                  <a:lnTo>
                    <a:pt x="3864" y="5157"/>
                  </a:lnTo>
                  <a:lnTo>
                    <a:pt x="3870" y="5163"/>
                  </a:lnTo>
                  <a:lnTo>
                    <a:pt x="3875" y="5171"/>
                  </a:lnTo>
                  <a:lnTo>
                    <a:pt x="3879" y="5179"/>
                  </a:lnTo>
                  <a:lnTo>
                    <a:pt x="3888" y="5200"/>
                  </a:lnTo>
                  <a:lnTo>
                    <a:pt x="3894" y="5210"/>
                  </a:lnTo>
                  <a:lnTo>
                    <a:pt x="3901" y="5220"/>
                  </a:lnTo>
                  <a:lnTo>
                    <a:pt x="3901" y="5220"/>
                  </a:lnTo>
                  <a:lnTo>
                    <a:pt x="3904" y="5223"/>
                  </a:lnTo>
                  <a:lnTo>
                    <a:pt x="3908" y="5225"/>
                  </a:lnTo>
                  <a:lnTo>
                    <a:pt x="3913" y="5227"/>
                  </a:lnTo>
                  <a:lnTo>
                    <a:pt x="3919" y="5228"/>
                  </a:lnTo>
                  <a:lnTo>
                    <a:pt x="3934" y="5230"/>
                  </a:lnTo>
                  <a:lnTo>
                    <a:pt x="3950" y="5230"/>
                  </a:lnTo>
                  <a:lnTo>
                    <a:pt x="3968" y="5229"/>
                  </a:lnTo>
                  <a:lnTo>
                    <a:pt x="3989" y="5227"/>
                  </a:lnTo>
                  <a:lnTo>
                    <a:pt x="4032" y="5223"/>
                  </a:lnTo>
                  <a:lnTo>
                    <a:pt x="4074" y="5219"/>
                  </a:lnTo>
                  <a:lnTo>
                    <a:pt x="4093" y="5217"/>
                  </a:lnTo>
                  <a:lnTo>
                    <a:pt x="4110" y="5217"/>
                  </a:lnTo>
                  <a:lnTo>
                    <a:pt x="4126" y="5217"/>
                  </a:lnTo>
                  <a:lnTo>
                    <a:pt x="4137" y="5219"/>
                  </a:lnTo>
                  <a:lnTo>
                    <a:pt x="4142" y="5221"/>
                  </a:lnTo>
                  <a:lnTo>
                    <a:pt x="4146" y="5223"/>
                  </a:lnTo>
                  <a:lnTo>
                    <a:pt x="4148" y="5225"/>
                  </a:lnTo>
                  <a:lnTo>
                    <a:pt x="4150" y="5228"/>
                  </a:lnTo>
                  <a:lnTo>
                    <a:pt x="4150" y="5228"/>
                  </a:lnTo>
                  <a:lnTo>
                    <a:pt x="4151" y="5231"/>
                  </a:lnTo>
                  <a:lnTo>
                    <a:pt x="4150" y="5234"/>
                  </a:lnTo>
                  <a:lnTo>
                    <a:pt x="4149" y="5236"/>
                  </a:lnTo>
                  <a:lnTo>
                    <a:pt x="4148" y="5238"/>
                  </a:lnTo>
                  <a:lnTo>
                    <a:pt x="4143" y="5242"/>
                  </a:lnTo>
                  <a:lnTo>
                    <a:pt x="4136" y="5243"/>
                  </a:lnTo>
                  <a:lnTo>
                    <a:pt x="4118" y="5246"/>
                  </a:lnTo>
                  <a:lnTo>
                    <a:pt x="4100" y="5248"/>
                  </a:lnTo>
                  <a:lnTo>
                    <a:pt x="4100" y="5248"/>
                  </a:lnTo>
                  <a:lnTo>
                    <a:pt x="4021" y="5262"/>
                  </a:lnTo>
                  <a:lnTo>
                    <a:pt x="3981" y="5269"/>
                  </a:lnTo>
                  <a:lnTo>
                    <a:pt x="3943" y="5277"/>
                  </a:lnTo>
                  <a:lnTo>
                    <a:pt x="3925" y="5282"/>
                  </a:lnTo>
                  <a:lnTo>
                    <a:pt x="3909" y="5288"/>
                  </a:lnTo>
                  <a:lnTo>
                    <a:pt x="3894" y="5294"/>
                  </a:lnTo>
                  <a:lnTo>
                    <a:pt x="3881" y="5300"/>
                  </a:lnTo>
                  <a:lnTo>
                    <a:pt x="3869" y="5306"/>
                  </a:lnTo>
                  <a:lnTo>
                    <a:pt x="3860" y="5314"/>
                  </a:lnTo>
                  <a:lnTo>
                    <a:pt x="3853" y="5322"/>
                  </a:lnTo>
                  <a:lnTo>
                    <a:pt x="3850" y="5326"/>
                  </a:lnTo>
                  <a:lnTo>
                    <a:pt x="3848" y="5331"/>
                  </a:lnTo>
                  <a:lnTo>
                    <a:pt x="3848" y="5331"/>
                  </a:lnTo>
                  <a:lnTo>
                    <a:pt x="3846" y="5338"/>
                  </a:lnTo>
                  <a:lnTo>
                    <a:pt x="3846" y="5342"/>
                  </a:lnTo>
                  <a:lnTo>
                    <a:pt x="3847" y="5352"/>
                  </a:lnTo>
                  <a:lnTo>
                    <a:pt x="3847" y="5357"/>
                  </a:lnTo>
                  <a:lnTo>
                    <a:pt x="3846" y="5363"/>
                  </a:lnTo>
                  <a:lnTo>
                    <a:pt x="3845" y="5371"/>
                  </a:lnTo>
                  <a:lnTo>
                    <a:pt x="3842" y="5382"/>
                  </a:lnTo>
                  <a:lnTo>
                    <a:pt x="3842" y="5382"/>
                  </a:lnTo>
                  <a:lnTo>
                    <a:pt x="3837" y="5393"/>
                  </a:lnTo>
                  <a:lnTo>
                    <a:pt x="3831" y="5402"/>
                  </a:lnTo>
                  <a:lnTo>
                    <a:pt x="3823" y="5410"/>
                  </a:lnTo>
                  <a:lnTo>
                    <a:pt x="3815" y="5418"/>
                  </a:lnTo>
                  <a:lnTo>
                    <a:pt x="3796" y="5434"/>
                  </a:lnTo>
                  <a:lnTo>
                    <a:pt x="3786" y="5442"/>
                  </a:lnTo>
                  <a:lnTo>
                    <a:pt x="3776" y="5451"/>
                  </a:lnTo>
                  <a:lnTo>
                    <a:pt x="3767" y="5460"/>
                  </a:lnTo>
                  <a:lnTo>
                    <a:pt x="3758" y="5472"/>
                  </a:lnTo>
                  <a:lnTo>
                    <a:pt x="3750" y="5485"/>
                  </a:lnTo>
                  <a:lnTo>
                    <a:pt x="3742" y="5499"/>
                  </a:lnTo>
                  <a:lnTo>
                    <a:pt x="3736" y="5517"/>
                  </a:lnTo>
                  <a:lnTo>
                    <a:pt x="3732" y="5536"/>
                  </a:lnTo>
                  <a:lnTo>
                    <a:pt x="3730" y="5558"/>
                  </a:lnTo>
                  <a:lnTo>
                    <a:pt x="3730" y="5584"/>
                  </a:lnTo>
                  <a:lnTo>
                    <a:pt x="3730" y="5584"/>
                  </a:lnTo>
                  <a:lnTo>
                    <a:pt x="3732" y="5597"/>
                  </a:lnTo>
                  <a:lnTo>
                    <a:pt x="3735" y="5610"/>
                  </a:lnTo>
                  <a:lnTo>
                    <a:pt x="3739" y="5622"/>
                  </a:lnTo>
                  <a:lnTo>
                    <a:pt x="3744" y="5634"/>
                  </a:lnTo>
                  <a:lnTo>
                    <a:pt x="3751" y="5644"/>
                  </a:lnTo>
                  <a:lnTo>
                    <a:pt x="3757" y="5656"/>
                  </a:lnTo>
                  <a:lnTo>
                    <a:pt x="3763" y="5665"/>
                  </a:lnTo>
                  <a:lnTo>
                    <a:pt x="3770" y="5674"/>
                  </a:lnTo>
                  <a:lnTo>
                    <a:pt x="3784" y="5689"/>
                  </a:lnTo>
                  <a:lnTo>
                    <a:pt x="3797" y="5701"/>
                  </a:lnTo>
                  <a:lnTo>
                    <a:pt x="3807" y="5708"/>
                  </a:lnTo>
                  <a:lnTo>
                    <a:pt x="3810" y="5710"/>
                  </a:lnTo>
                  <a:lnTo>
                    <a:pt x="3813" y="5711"/>
                  </a:lnTo>
                  <a:lnTo>
                    <a:pt x="3813" y="5711"/>
                  </a:lnTo>
                  <a:lnTo>
                    <a:pt x="3814" y="5710"/>
                  </a:lnTo>
                  <a:lnTo>
                    <a:pt x="3815" y="5709"/>
                  </a:lnTo>
                  <a:lnTo>
                    <a:pt x="3816" y="5704"/>
                  </a:lnTo>
                  <a:lnTo>
                    <a:pt x="3818" y="5696"/>
                  </a:lnTo>
                  <a:lnTo>
                    <a:pt x="3818" y="5686"/>
                  </a:lnTo>
                  <a:lnTo>
                    <a:pt x="3820" y="5662"/>
                  </a:lnTo>
                  <a:lnTo>
                    <a:pt x="3823" y="5633"/>
                  </a:lnTo>
                  <a:lnTo>
                    <a:pt x="3825" y="5619"/>
                  </a:lnTo>
                  <a:lnTo>
                    <a:pt x="3828" y="5603"/>
                  </a:lnTo>
                  <a:lnTo>
                    <a:pt x="3831" y="5590"/>
                  </a:lnTo>
                  <a:lnTo>
                    <a:pt x="3836" y="5577"/>
                  </a:lnTo>
                  <a:lnTo>
                    <a:pt x="3843" y="5566"/>
                  </a:lnTo>
                  <a:lnTo>
                    <a:pt x="3847" y="5562"/>
                  </a:lnTo>
                  <a:lnTo>
                    <a:pt x="3851" y="5556"/>
                  </a:lnTo>
                  <a:lnTo>
                    <a:pt x="3855" y="5553"/>
                  </a:lnTo>
                  <a:lnTo>
                    <a:pt x="3860" y="5550"/>
                  </a:lnTo>
                  <a:lnTo>
                    <a:pt x="3865" y="5547"/>
                  </a:lnTo>
                  <a:lnTo>
                    <a:pt x="3871" y="5546"/>
                  </a:lnTo>
                  <a:lnTo>
                    <a:pt x="3871" y="5546"/>
                  </a:lnTo>
                  <a:lnTo>
                    <a:pt x="3877" y="5545"/>
                  </a:lnTo>
                  <a:lnTo>
                    <a:pt x="3882" y="5546"/>
                  </a:lnTo>
                  <a:lnTo>
                    <a:pt x="3888" y="5548"/>
                  </a:lnTo>
                  <a:lnTo>
                    <a:pt x="3892" y="5552"/>
                  </a:lnTo>
                  <a:lnTo>
                    <a:pt x="3902" y="5561"/>
                  </a:lnTo>
                  <a:lnTo>
                    <a:pt x="3911" y="5571"/>
                  </a:lnTo>
                  <a:lnTo>
                    <a:pt x="3921" y="5581"/>
                  </a:lnTo>
                  <a:lnTo>
                    <a:pt x="3926" y="5586"/>
                  </a:lnTo>
                  <a:lnTo>
                    <a:pt x="3933" y="5590"/>
                  </a:lnTo>
                  <a:lnTo>
                    <a:pt x="3940" y="5594"/>
                  </a:lnTo>
                  <a:lnTo>
                    <a:pt x="3946" y="5597"/>
                  </a:lnTo>
                  <a:lnTo>
                    <a:pt x="3954" y="5598"/>
                  </a:lnTo>
                  <a:lnTo>
                    <a:pt x="3962" y="5599"/>
                  </a:lnTo>
                  <a:lnTo>
                    <a:pt x="3962" y="5599"/>
                  </a:lnTo>
                  <a:lnTo>
                    <a:pt x="3970" y="5598"/>
                  </a:lnTo>
                  <a:lnTo>
                    <a:pt x="3979" y="5595"/>
                  </a:lnTo>
                  <a:lnTo>
                    <a:pt x="3987" y="5592"/>
                  </a:lnTo>
                  <a:lnTo>
                    <a:pt x="3996" y="5588"/>
                  </a:lnTo>
                  <a:lnTo>
                    <a:pt x="4005" y="5582"/>
                  </a:lnTo>
                  <a:lnTo>
                    <a:pt x="4014" y="5576"/>
                  </a:lnTo>
                  <a:lnTo>
                    <a:pt x="4035" y="5559"/>
                  </a:lnTo>
                  <a:lnTo>
                    <a:pt x="4055" y="5542"/>
                  </a:lnTo>
                  <a:lnTo>
                    <a:pt x="4077" y="5522"/>
                  </a:lnTo>
                  <a:lnTo>
                    <a:pt x="4122" y="5479"/>
                  </a:lnTo>
                  <a:lnTo>
                    <a:pt x="4144" y="5457"/>
                  </a:lnTo>
                  <a:lnTo>
                    <a:pt x="4166" y="5437"/>
                  </a:lnTo>
                  <a:lnTo>
                    <a:pt x="4187" y="5417"/>
                  </a:lnTo>
                  <a:lnTo>
                    <a:pt x="4208" y="5402"/>
                  </a:lnTo>
                  <a:lnTo>
                    <a:pt x="4227" y="5389"/>
                  </a:lnTo>
                  <a:lnTo>
                    <a:pt x="4236" y="5384"/>
                  </a:lnTo>
                  <a:lnTo>
                    <a:pt x="4245" y="5380"/>
                  </a:lnTo>
                  <a:lnTo>
                    <a:pt x="4254" y="5376"/>
                  </a:lnTo>
                  <a:lnTo>
                    <a:pt x="4262" y="5374"/>
                  </a:lnTo>
                  <a:lnTo>
                    <a:pt x="4270" y="5374"/>
                  </a:lnTo>
                  <a:lnTo>
                    <a:pt x="4277" y="5375"/>
                  </a:lnTo>
                  <a:lnTo>
                    <a:pt x="4277" y="5375"/>
                  </a:lnTo>
                  <a:lnTo>
                    <a:pt x="4278" y="5376"/>
                  </a:lnTo>
                  <a:lnTo>
                    <a:pt x="4279" y="5379"/>
                  </a:lnTo>
                  <a:lnTo>
                    <a:pt x="4278" y="5382"/>
                  </a:lnTo>
                  <a:lnTo>
                    <a:pt x="4277" y="5384"/>
                  </a:lnTo>
                  <a:lnTo>
                    <a:pt x="4272" y="5391"/>
                  </a:lnTo>
                  <a:lnTo>
                    <a:pt x="4264" y="5399"/>
                  </a:lnTo>
                  <a:lnTo>
                    <a:pt x="4241" y="5420"/>
                  </a:lnTo>
                  <a:lnTo>
                    <a:pt x="4212" y="5447"/>
                  </a:lnTo>
                  <a:lnTo>
                    <a:pt x="4181" y="5477"/>
                  </a:lnTo>
                  <a:lnTo>
                    <a:pt x="4167" y="5492"/>
                  </a:lnTo>
                  <a:lnTo>
                    <a:pt x="4152" y="5508"/>
                  </a:lnTo>
                  <a:lnTo>
                    <a:pt x="4140" y="5525"/>
                  </a:lnTo>
                  <a:lnTo>
                    <a:pt x="4129" y="5542"/>
                  </a:lnTo>
                  <a:lnTo>
                    <a:pt x="4121" y="5558"/>
                  </a:lnTo>
                  <a:lnTo>
                    <a:pt x="4118" y="5567"/>
                  </a:lnTo>
                  <a:lnTo>
                    <a:pt x="4116" y="5576"/>
                  </a:lnTo>
                  <a:lnTo>
                    <a:pt x="4116" y="5576"/>
                  </a:lnTo>
                  <a:lnTo>
                    <a:pt x="4114" y="5588"/>
                  </a:lnTo>
                  <a:lnTo>
                    <a:pt x="4114" y="5599"/>
                  </a:lnTo>
                  <a:lnTo>
                    <a:pt x="4115" y="5611"/>
                  </a:lnTo>
                  <a:lnTo>
                    <a:pt x="4119" y="5620"/>
                  </a:lnTo>
                  <a:lnTo>
                    <a:pt x="4123" y="5628"/>
                  </a:lnTo>
                  <a:lnTo>
                    <a:pt x="4129" y="5636"/>
                  </a:lnTo>
                  <a:lnTo>
                    <a:pt x="4135" y="5643"/>
                  </a:lnTo>
                  <a:lnTo>
                    <a:pt x="4142" y="5649"/>
                  </a:lnTo>
                  <a:lnTo>
                    <a:pt x="4157" y="5663"/>
                  </a:lnTo>
                  <a:lnTo>
                    <a:pt x="4163" y="5669"/>
                  </a:lnTo>
                  <a:lnTo>
                    <a:pt x="4169" y="5676"/>
                  </a:lnTo>
                  <a:lnTo>
                    <a:pt x="4175" y="5683"/>
                  </a:lnTo>
                  <a:lnTo>
                    <a:pt x="4179" y="5690"/>
                  </a:lnTo>
                  <a:lnTo>
                    <a:pt x="4182" y="5699"/>
                  </a:lnTo>
                  <a:lnTo>
                    <a:pt x="4183" y="5708"/>
                  </a:lnTo>
                  <a:lnTo>
                    <a:pt x="4183" y="5708"/>
                  </a:lnTo>
                  <a:lnTo>
                    <a:pt x="4184" y="5718"/>
                  </a:lnTo>
                  <a:lnTo>
                    <a:pt x="4186" y="5729"/>
                  </a:lnTo>
                  <a:lnTo>
                    <a:pt x="4189" y="5738"/>
                  </a:lnTo>
                  <a:lnTo>
                    <a:pt x="4193" y="5749"/>
                  </a:lnTo>
                  <a:lnTo>
                    <a:pt x="4198" y="5758"/>
                  </a:lnTo>
                  <a:lnTo>
                    <a:pt x="4205" y="5767"/>
                  </a:lnTo>
                  <a:lnTo>
                    <a:pt x="4212" y="5775"/>
                  </a:lnTo>
                  <a:lnTo>
                    <a:pt x="4220" y="5783"/>
                  </a:lnTo>
                  <a:lnTo>
                    <a:pt x="4228" y="5792"/>
                  </a:lnTo>
                  <a:lnTo>
                    <a:pt x="4237" y="5799"/>
                  </a:lnTo>
                  <a:lnTo>
                    <a:pt x="4257" y="5812"/>
                  </a:lnTo>
                  <a:lnTo>
                    <a:pt x="4278" y="5824"/>
                  </a:lnTo>
                  <a:lnTo>
                    <a:pt x="4300" y="5835"/>
                  </a:lnTo>
                  <a:lnTo>
                    <a:pt x="4322" y="5844"/>
                  </a:lnTo>
                  <a:lnTo>
                    <a:pt x="4344" y="5852"/>
                  </a:lnTo>
                  <a:lnTo>
                    <a:pt x="4364" y="5857"/>
                  </a:lnTo>
                  <a:lnTo>
                    <a:pt x="4382" y="5862"/>
                  </a:lnTo>
                  <a:lnTo>
                    <a:pt x="4399" y="5864"/>
                  </a:lnTo>
                  <a:lnTo>
                    <a:pt x="4412" y="5865"/>
                  </a:lnTo>
                  <a:lnTo>
                    <a:pt x="4421" y="5865"/>
                  </a:lnTo>
                  <a:lnTo>
                    <a:pt x="4424" y="5864"/>
                  </a:lnTo>
                  <a:lnTo>
                    <a:pt x="4426" y="5863"/>
                  </a:lnTo>
                  <a:lnTo>
                    <a:pt x="4426" y="5863"/>
                  </a:lnTo>
                  <a:lnTo>
                    <a:pt x="4427" y="5861"/>
                  </a:lnTo>
                  <a:lnTo>
                    <a:pt x="4427" y="5859"/>
                  </a:lnTo>
                  <a:lnTo>
                    <a:pt x="4425" y="5853"/>
                  </a:lnTo>
                  <a:lnTo>
                    <a:pt x="4420" y="5846"/>
                  </a:lnTo>
                  <a:lnTo>
                    <a:pt x="4412" y="5836"/>
                  </a:lnTo>
                  <a:lnTo>
                    <a:pt x="4393" y="5813"/>
                  </a:lnTo>
                  <a:lnTo>
                    <a:pt x="4369" y="5786"/>
                  </a:lnTo>
                  <a:lnTo>
                    <a:pt x="4358" y="5773"/>
                  </a:lnTo>
                  <a:lnTo>
                    <a:pt x="4348" y="5759"/>
                  </a:lnTo>
                  <a:lnTo>
                    <a:pt x="4339" y="5745"/>
                  </a:lnTo>
                  <a:lnTo>
                    <a:pt x="4330" y="5731"/>
                  </a:lnTo>
                  <a:lnTo>
                    <a:pt x="4325" y="5718"/>
                  </a:lnTo>
                  <a:lnTo>
                    <a:pt x="4324" y="5712"/>
                  </a:lnTo>
                  <a:lnTo>
                    <a:pt x="4323" y="5706"/>
                  </a:lnTo>
                  <a:lnTo>
                    <a:pt x="4323" y="5700"/>
                  </a:lnTo>
                  <a:lnTo>
                    <a:pt x="4324" y="5694"/>
                  </a:lnTo>
                  <a:lnTo>
                    <a:pt x="4326" y="5689"/>
                  </a:lnTo>
                  <a:lnTo>
                    <a:pt x="4329" y="5684"/>
                  </a:lnTo>
                  <a:lnTo>
                    <a:pt x="4329" y="5684"/>
                  </a:lnTo>
                  <a:lnTo>
                    <a:pt x="4333" y="5680"/>
                  </a:lnTo>
                  <a:lnTo>
                    <a:pt x="4337" y="5677"/>
                  </a:lnTo>
                  <a:lnTo>
                    <a:pt x="4343" y="5676"/>
                  </a:lnTo>
                  <a:lnTo>
                    <a:pt x="4347" y="5675"/>
                  </a:lnTo>
                  <a:lnTo>
                    <a:pt x="4352" y="5675"/>
                  </a:lnTo>
                  <a:lnTo>
                    <a:pt x="4358" y="5676"/>
                  </a:lnTo>
                  <a:lnTo>
                    <a:pt x="4370" y="5678"/>
                  </a:lnTo>
                  <a:lnTo>
                    <a:pt x="4384" y="5681"/>
                  </a:lnTo>
                  <a:lnTo>
                    <a:pt x="4392" y="5682"/>
                  </a:lnTo>
                  <a:lnTo>
                    <a:pt x="4399" y="5682"/>
                  </a:lnTo>
                  <a:lnTo>
                    <a:pt x="4408" y="5682"/>
                  </a:lnTo>
                  <a:lnTo>
                    <a:pt x="4416" y="5681"/>
                  </a:lnTo>
                  <a:lnTo>
                    <a:pt x="4425" y="5679"/>
                  </a:lnTo>
                  <a:lnTo>
                    <a:pt x="4436" y="5675"/>
                  </a:lnTo>
                  <a:lnTo>
                    <a:pt x="4436" y="5675"/>
                  </a:lnTo>
                  <a:lnTo>
                    <a:pt x="4437" y="5673"/>
                  </a:lnTo>
                  <a:lnTo>
                    <a:pt x="4438" y="5670"/>
                  </a:lnTo>
                  <a:lnTo>
                    <a:pt x="4438" y="5663"/>
                  </a:lnTo>
                  <a:lnTo>
                    <a:pt x="4436" y="5652"/>
                  </a:lnTo>
                  <a:lnTo>
                    <a:pt x="4434" y="5637"/>
                  </a:lnTo>
                  <a:lnTo>
                    <a:pt x="4431" y="5621"/>
                  </a:lnTo>
                  <a:lnTo>
                    <a:pt x="4428" y="5602"/>
                  </a:lnTo>
                  <a:lnTo>
                    <a:pt x="4426" y="5581"/>
                  </a:lnTo>
                  <a:lnTo>
                    <a:pt x="4426" y="5557"/>
                  </a:lnTo>
                  <a:lnTo>
                    <a:pt x="4428" y="5533"/>
                  </a:lnTo>
                  <a:lnTo>
                    <a:pt x="4431" y="5520"/>
                  </a:lnTo>
                  <a:lnTo>
                    <a:pt x="4434" y="5505"/>
                  </a:lnTo>
                  <a:lnTo>
                    <a:pt x="4437" y="5492"/>
                  </a:lnTo>
                  <a:lnTo>
                    <a:pt x="4441" y="5477"/>
                  </a:lnTo>
                  <a:lnTo>
                    <a:pt x="4446" y="5462"/>
                  </a:lnTo>
                  <a:lnTo>
                    <a:pt x="4453" y="5447"/>
                  </a:lnTo>
                  <a:lnTo>
                    <a:pt x="4460" y="5432"/>
                  </a:lnTo>
                  <a:lnTo>
                    <a:pt x="4469" y="5416"/>
                  </a:lnTo>
                  <a:lnTo>
                    <a:pt x="4479" y="5400"/>
                  </a:lnTo>
                  <a:lnTo>
                    <a:pt x="4490" y="5384"/>
                  </a:lnTo>
                  <a:lnTo>
                    <a:pt x="4503" y="5367"/>
                  </a:lnTo>
                  <a:lnTo>
                    <a:pt x="4516" y="5351"/>
                  </a:lnTo>
                  <a:lnTo>
                    <a:pt x="4533" y="5334"/>
                  </a:lnTo>
                  <a:lnTo>
                    <a:pt x="4550" y="5317"/>
                  </a:lnTo>
                  <a:lnTo>
                    <a:pt x="4550" y="5317"/>
                  </a:lnTo>
                  <a:lnTo>
                    <a:pt x="4557" y="5328"/>
                  </a:lnTo>
                  <a:lnTo>
                    <a:pt x="4566" y="5340"/>
                  </a:lnTo>
                  <a:lnTo>
                    <a:pt x="4578" y="5353"/>
                  </a:lnTo>
                  <a:lnTo>
                    <a:pt x="4586" y="5360"/>
                  </a:lnTo>
                  <a:lnTo>
                    <a:pt x="4594" y="5367"/>
                  </a:lnTo>
                  <a:lnTo>
                    <a:pt x="4603" y="5373"/>
                  </a:lnTo>
                  <a:lnTo>
                    <a:pt x="4614" y="5381"/>
                  </a:lnTo>
                  <a:lnTo>
                    <a:pt x="4624" y="5386"/>
                  </a:lnTo>
                  <a:lnTo>
                    <a:pt x="4636" y="5390"/>
                  </a:lnTo>
                  <a:lnTo>
                    <a:pt x="4648" y="5394"/>
                  </a:lnTo>
                  <a:lnTo>
                    <a:pt x="4662" y="5396"/>
                  </a:lnTo>
                  <a:lnTo>
                    <a:pt x="4662" y="5396"/>
                  </a:lnTo>
                  <a:lnTo>
                    <a:pt x="4668" y="5397"/>
                  </a:lnTo>
                  <a:lnTo>
                    <a:pt x="4673" y="5399"/>
                  </a:lnTo>
                  <a:lnTo>
                    <a:pt x="4677" y="5402"/>
                  </a:lnTo>
                  <a:lnTo>
                    <a:pt x="4681" y="5405"/>
                  </a:lnTo>
                  <a:lnTo>
                    <a:pt x="4685" y="5409"/>
                  </a:lnTo>
                  <a:lnTo>
                    <a:pt x="4688" y="5413"/>
                  </a:lnTo>
                  <a:lnTo>
                    <a:pt x="4692" y="5425"/>
                  </a:lnTo>
                  <a:lnTo>
                    <a:pt x="4696" y="5437"/>
                  </a:lnTo>
                  <a:lnTo>
                    <a:pt x="4698" y="5450"/>
                  </a:lnTo>
                  <a:lnTo>
                    <a:pt x="4698" y="5463"/>
                  </a:lnTo>
                  <a:lnTo>
                    <a:pt x="4698" y="5478"/>
                  </a:lnTo>
                  <a:lnTo>
                    <a:pt x="4696" y="5506"/>
                  </a:lnTo>
                  <a:lnTo>
                    <a:pt x="4694" y="5531"/>
                  </a:lnTo>
                  <a:lnTo>
                    <a:pt x="4692" y="5548"/>
                  </a:lnTo>
                  <a:lnTo>
                    <a:pt x="4692" y="5553"/>
                  </a:lnTo>
                  <a:lnTo>
                    <a:pt x="4693" y="5554"/>
                  </a:lnTo>
                  <a:lnTo>
                    <a:pt x="4694" y="5554"/>
                  </a:lnTo>
                  <a:lnTo>
                    <a:pt x="4694" y="5554"/>
                  </a:lnTo>
                  <a:lnTo>
                    <a:pt x="4697" y="5553"/>
                  </a:lnTo>
                  <a:lnTo>
                    <a:pt x="4702" y="5550"/>
                  </a:lnTo>
                  <a:lnTo>
                    <a:pt x="4708" y="5545"/>
                  </a:lnTo>
                  <a:lnTo>
                    <a:pt x="4714" y="5538"/>
                  </a:lnTo>
                  <a:lnTo>
                    <a:pt x="4721" y="5529"/>
                  </a:lnTo>
                  <a:lnTo>
                    <a:pt x="4729" y="5519"/>
                  </a:lnTo>
                  <a:lnTo>
                    <a:pt x="4736" y="5505"/>
                  </a:lnTo>
                  <a:lnTo>
                    <a:pt x="4743" y="5492"/>
                  </a:lnTo>
                  <a:lnTo>
                    <a:pt x="4751" y="5477"/>
                  </a:lnTo>
                  <a:lnTo>
                    <a:pt x="4758" y="5459"/>
                  </a:lnTo>
                  <a:lnTo>
                    <a:pt x="4763" y="5442"/>
                  </a:lnTo>
                  <a:lnTo>
                    <a:pt x="4768" y="5422"/>
                  </a:lnTo>
                  <a:lnTo>
                    <a:pt x="4771" y="5402"/>
                  </a:lnTo>
                  <a:lnTo>
                    <a:pt x="4773" y="5382"/>
                  </a:lnTo>
                  <a:lnTo>
                    <a:pt x="4772" y="5360"/>
                  </a:lnTo>
                  <a:lnTo>
                    <a:pt x="4770" y="5338"/>
                  </a:lnTo>
                  <a:lnTo>
                    <a:pt x="4770" y="5338"/>
                  </a:lnTo>
                  <a:lnTo>
                    <a:pt x="4778" y="5330"/>
                  </a:lnTo>
                  <a:lnTo>
                    <a:pt x="4798" y="5313"/>
                  </a:lnTo>
                  <a:lnTo>
                    <a:pt x="4809" y="5302"/>
                  </a:lnTo>
                  <a:lnTo>
                    <a:pt x="4819" y="5290"/>
                  </a:lnTo>
                  <a:lnTo>
                    <a:pt x="4827" y="5276"/>
                  </a:lnTo>
                  <a:lnTo>
                    <a:pt x="4830" y="5270"/>
                  </a:lnTo>
                  <a:lnTo>
                    <a:pt x="4832" y="5264"/>
                  </a:lnTo>
                  <a:lnTo>
                    <a:pt x="4832" y="5264"/>
                  </a:lnTo>
                  <a:lnTo>
                    <a:pt x="4834" y="5255"/>
                  </a:lnTo>
                  <a:lnTo>
                    <a:pt x="4835" y="5246"/>
                  </a:lnTo>
                  <a:lnTo>
                    <a:pt x="4836" y="5237"/>
                  </a:lnTo>
                  <a:lnTo>
                    <a:pt x="4835" y="5230"/>
                  </a:lnTo>
                  <a:lnTo>
                    <a:pt x="4834" y="5224"/>
                  </a:lnTo>
                  <a:lnTo>
                    <a:pt x="4832" y="5218"/>
                  </a:lnTo>
                  <a:lnTo>
                    <a:pt x="4830" y="5213"/>
                  </a:lnTo>
                  <a:lnTo>
                    <a:pt x="4827" y="5208"/>
                  </a:lnTo>
                  <a:lnTo>
                    <a:pt x="4819" y="5199"/>
                  </a:lnTo>
                  <a:lnTo>
                    <a:pt x="4810" y="5189"/>
                  </a:lnTo>
                  <a:lnTo>
                    <a:pt x="4800" y="5180"/>
                  </a:lnTo>
                  <a:lnTo>
                    <a:pt x="4789" y="5169"/>
                  </a:lnTo>
                  <a:lnTo>
                    <a:pt x="4778" y="5156"/>
                  </a:lnTo>
                  <a:lnTo>
                    <a:pt x="4772" y="5148"/>
                  </a:lnTo>
                  <a:lnTo>
                    <a:pt x="4767" y="5139"/>
                  </a:lnTo>
                  <a:lnTo>
                    <a:pt x="4762" y="5130"/>
                  </a:lnTo>
                  <a:lnTo>
                    <a:pt x="4757" y="5120"/>
                  </a:lnTo>
                  <a:lnTo>
                    <a:pt x="4753" y="5108"/>
                  </a:lnTo>
                  <a:lnTo>
                    <a:pt x="4749" y="5095"/>
                  </a:lnTo>
                  <a:lnTo>
                    <a:pt x="4744" y="5081"/>
                  </a:lnTo>
                  <a:lnTo>
                    <a:pt x="4741" y="5065"/>
                  </a:lnTo>
                  <a:lnTo>
                    <a:pt x="4738" y="5048"/>
                  </a:lnTo>
                  <a:lnTo>
                    <a:pt x="4736" y="5029"/>
                  </a:lnTo>
                  <a:lnTo>
                    <a:pt x="4735" y="5008"/>
                  </a:lnTo>
                  <a:lnTo>
                    <a:pt x="4734" y="4986"/>
                  </a:lnTo>
                  <a:lnTo>
                    <a:pt x="4734" y="4961"/>
                  </a:lnTo>
                  <a:lnTo>
                    <a:pt x="4735" y="4935"/>
                  </a:lnTo>
                  <a:lnTo>
                    <a:pt x="4735" y="4935"/>
                  </a:lnTo>
                  <a:lnTo>
                    <a:pt x="4735" y="4917"/>
                  </a:lnTo>
                  <a:lnTo>
                    <a:pt x="4734" y="4911"/>
                  </a:lnTo>
                  <a:lnTo>
                    <a:pt x="4733" y="4906"/>
                  </a:lnTo>
                  <a:lnTo>
                    <a:pt x="4731" y="4901"/>
                  </a:lnTo>
                  <a:lnTo>
                    <a:pt x="4729" y="4897"/>
                  </a:lnTo>
                  <a:lnTo>
                    <a:pt x="4727" y="4894"/>
                  </a:lnTo>
                  <a:lnTo>
                    <a:pt x="4724" y="4891"/>
                  </a:lnTo>
                  <a:lnTo>
                    <a:pt x="4716" y="4885"/>
                  </a:lnTo>
                  <a:lnTo>
                    <a:pt x="4706" y="4878"/>
                  </a:lnTo>
                  <a:lnTo>
                    <a:pt x="4693" y="4868"/>
                  </a:lnTo>
                  <a:lnTo>
                    <a:pt x="4679" y="4856"/>
                  </a:lnTo>
                  <a:lnTo>
                    <a:pt x="4679" y="4856"/>
                  </a:lnTo>
                  <a:lnTo>
                    <a:pt x="4671" y="4846"/>
                  </a:lnTo>
                  <a:lnTo>
                    <a:pt x="4664" y="4836"/>
                  </a:lnTo>
                  <a:lnTo>
                    <a:pt x="4659" y="4825"/>
                  </a:lnTo>
                  <a:lnTo>
                    <a:pt x="4655" y="4815"/>
                  </a:lnTo>
                  <a:lnTo>
                    <a:pt x="4654" y="4807"/>
                  </a:lnTo>
                  <a:lnTo>
                    <a:pt x="4654" y="4804"/>
                  </a:lnTo>
                  <a:lnTo>
                    <a:pt x="4654" y="4802"/>
                  </a:lnTo>
                  <a:lnTo>
                    <a:pt x="4657" y="4800"/>
                  </a:lnTo>
                  <a:lnTo>
                    <a:pt x="4659" y="4799"/>
                  </a:lnTo>
                  <a:lnTo>
                    <a:pt x="4661" y="4799"/>
                  </a:lnTo>
                  <a:lnTo>
                    <a:pt x="4665" y="4800"/>
                  </a:lnTo>
                  <a:lnTo>
                    <a:pt x="4665" y="4800"/>
                  </a:lnTo>
                  <a:lnTo>
                    <a:pt x="4679" y="4806"/>
                  </a:lnTo>
                  <a:lnTo>
                    <a:pt x="4693" y="4810"/>
                  </a:lnTo>
                  <a:lnTo>
                    <a:pt x="4708" y="4813"/>
                  </a:lnTo>
                  <a:lnTo>
                    <a:pt x="4723" y="4814"/>
                  </a:lnTo>
                  <a:lnTo>
                    <a:pt x="4737" y="4815"/>
                  </a:lnTo>
                  <a:lnTo>
                    <a:pt x="4752" y="4816"/>
                  </a:lnTo>
                  <a:lnTo>
                    <a:pt x="4765" y="4815"/>
                  </a:lnTo>
                  <a:lnTo>
                    <a:pt x="4778" y="4814"/>
                  </a:lnTo>
                  <a:lnTo>
                    <a:pt x="4802" y="4811"/>
                  </a:lnTo>
                  <a:lnTo>
                    <a:pt x="4819" y="4807"/>
                  </a:lnTo>
                  <a:lnTo>
                    <a:pt x="4835" y="4803"/>
                  </a:lnTo>
                  <a:lnTo>
                    <a:pt x="4835" y="4803"/>
                  </a:lnTo>
                  <a:lnTo>
                    <a:pt x="4844" y="4707"/>
                  </a:lnTo>
                  <a:lnTo>
                    <a:pt x="4849" y="4632"/>
                  </a:lnTo>
                  <a:lnTo>
                    <a:pt x="4851" y="4577"/>
                  </a:lnTo>
                  <a:lnTo>
                    <a:pt x="4851" y="4539"/>
                  </a:lnTo>
                  <a:lnTo>
                    <a:pt x="4849" y="4514"/>
                  </a:lnTo>
                  <a:lnTo>
                    <a:pt x="4847" y="4499"/>
                  </a:lnTo>
                  <a:lnTo>
                    <a:pt x="4845" y="4493"/>
                  </a:lnTo>
                  <a:lnTo>
                    <a:pt x="4844" y="4491"/>
                  </a:lnTo>
                  <a:lnTo>
                    <a:pt x="4844" y="4491"/>
                  </a:lnTo>
                  <a:lnTo>
                    <a:pt x="4825" y="4492"/>
                  </a:lnTo>
                  <a:lnTo>
                    <a:pt x="4808" y="4491"/>
                  </a:lnTo>
                  <a:lnTo>
                    <a:pt x="4791" y="4490"/>
                  </a:lnTo>
                  <a:lnTo>
                    <a:pt x="4776" y="4489"/>
                  </a:lnTo>
                  <a:lnTo>
                    <a:pt x="4763" y="4487"/>
                  </a:lnTo>
                  <a:lnTo>
                    <a:pt x="4750" y="4484"/>
                  </a:lnTo>
                  <a:lnTo>
                    <a:pt x="4737" y="4481"/>
                  </a:lnTo>
                  <a:lnTo>
                    <a:pt x="4726" y="4477"/>
                  </a:lnTo>
                  <a:lnTo>
                    <a:pt x="4716" y="4473"/>
                  </a:lnTo>
                  <a:lnTo>
                    <a:pt x="4707" y="4469"/>
                  </a:lnTo>
                  <a:lnTo>
                    <a:pt x="4698" y="4463"/>
                  </a:lnTo>
                  <a:lnTo>
                    <a:pt x="4690" y="4458"/>
                  </a:lnTo>
                  <a:lnTo>
                    <a:pt x="4683" y="4452"/>
                  </a:lnTo>
                  <a:lnTo>
                    <a:pt x="4676" y="4447"/>
                  </a:lnTo>
                  <a:lnTo>
                    <a:pt x="4665" y="4434"/>
                  </a:lnTo>
                  <a:lnTo>
                    <a:pt x="4665" y="4434"/>
                  </a:lnTo>
                  <a:lnTo>
                    <a:pt x="4677" y="4437"/>
                  </a:lnTo>
                  <a:lnTo>
                    <a:pt x="4690" y="4439"/>
                  </a:lnTo>
                  <a:lnTo>
                    <a:pt x="4717" y="4441"/>
                  </a:lnTo>
                  <a:lnTo>
                    <a:pt x="4742" y="4441"/>
                  </a:lnTo>
                  <a:lnTo>
                    <a:pt x="4768" y="4439"/>
                  </a:lnTo>
                  <a:lnTo>
                    <a:pt x="4790" y="4435"/>
                  </a:lnTo>
                  <a:lnTo>
                    <a:pt x="4812" y="4429"/>
                  </a:lnTo>
                  <a:lnTo>
                    <a:pt x="4821" y="4426"/>
                  </a:lnTo>
                  <a:lnTo>
                    <a:pt x="4829" y="4422"/>
                  </a:lnTo>
                  <a:lnTo>
                    <a:pt x="4838" y="4416"/>
                  </a:lnTo>
                  <a:lnTo>
                    <a:pt x="4844" y="4412"/>
                  </a:lnTo>
                  <a:lnTo>
                    <a:pt x="4844" y="4412"/>
                  </a:lnTo>
                  <a:lnTo>
                    <a:pt x="4843" y="4364"/>
                  </a:lnTo>
                  <a:lnTo>
                    <a:pt x="4841" y="4316"/>
                  </a:lnTo>
                  <a:lnTo>
                    <a:pt x="4838" y="4261"/>
                  </a:lnTo>
                  <a:lnTo>
                    <a:pt x="4833" y="4206"/>
                  </a:lnTo>
                  <a:lnTo>
                    <a:pt x="4831" y="4181"/>
                  </a:lnTo>
                  <a:lnTo>
                    <a:pt x="4828" y="4159"/>
                  </a:lnTo>
                  <a:lnTo>
                    <a:pt x="4825" y="4140"/>
                  </a:lnTo>
                  <a:lnTo>
                    <a:pt x="4822" y="4126"/>
                  </a:lnTo>
                  <a:lnTo>
                    <a:pt x="4820" y="4121"/>
                  </a:lnTo>
                  <a:lnTo>
                    <a:pt x="4818" y="4118"/>
                  </a:lnTo>
                  <a:lnTo>
                    <a:pt x="4816" y="4116"/>
                  </a:lnTo>
                  <a:lnTo>
                    <a:pt x="4814" y="4116"/>
                  </a:lnTo>
                  <a:lnTo>
                    <a:pt x="4814" y="4116"/>
                  </a:lnTo>
                  <a:lnTo>
                    <a:pt x="4786" y="4123"/>
                  </a:lnTo>
                  <a:lnTo>
                    <a:pt x="4760" y="4128"/>
                  </a:lnTo>
                  <a:lnTo>
                    <a:pt x="4746" y="4129"/>
                  </a:lnTo>
                  <a:lnTo>
                    <a:pt x="4734" y="4130"/>
                  </a:lnTo>
                  <a:lnTo>
                    <a:pt x="4722" y="4130"/>
                  </a:lnTo>
                  <a:lnTo>
                    <a:pt x="4711" y="4129"/>
                  </a:lnTo>
                  <a:lnTo>
                    <a:pt x="4698" y="4127"/>
                  </a:lnTo>
                  <a:lnTo>
                    <a:pt x="4687" y="4125"/>
                  </a:lnTo>
                  <a:lnTo>
                    <a:pt x="4675" y="4122"/>
                  </a:lnTo>
                  <a:lnTo>
                    <a:pt x="4664" y="4118"/>
                  </a:lnTo>
                  <a:lnTo>
                    <a:pt x="4652" y="4113"/>
                  </a:lnTo>
                  <a:lnTo>
                    <a:pt x="4640" y="4108"/>
                  </a:lnTo>
                  <a:lnTo>
                    <a:pt x="4629" y="4100"/>
                  </a:lnTo>
                  <a:lnTo>
                    <a:pt x="4618" y="4093"/>
                  </a:lnTo>
                  <a:lnTo>
                    <a:pt x="4618" y="4093"/>
                  </a:lnTo>
                  <a:lnTo>
                    <a:pt x="4613" y="4090"/>
                  </a:lnTo>
                  <a:lnTo>
                    <a:pt x="4608" y="4086"/>
                  </a:lnTo>
                  <a:lnTo>
                    <a:pt x="4602" y="4078"/>
                  </a:lnTo>
                  <a:lnTo>
                    <a:pt x="4597" y="4069"/>
                  </a:lnTo>
                  <a:lnTo>
                    <a:pt x="4594" y="4059"/>
                  </a:lnTo>
                  <a:lnTo>
                    <a:pt x="4592" y="4047"/>
                  </a:lnTo>
                  <a:lnTo>
                    <a:pt x="4591" y="4037"/>
                  </a:lnTo>
                  <a:lnTo>
                    <a:pt x="4590" y="4015"/>
                  </a:lnTo>
                  <a:lnTo>
                    <a:pt x="4589" y="3993"/>
                  </a:lnTo>
                  <a:lnTo>
                    <a:pt x="4587" y="3984"/>
                  </a:lnTo>
                  <a:lnTo>
                    <a:pt x="4585" y="3976"/>
                  </a:lnTo>
                  <a:lnTo>
                    <a:pt x="4581" y="3969"/>
                  </a:lnTo>
                  <a:lnTo>
                    <a:pt x="4575" y="3962"/>
                  </a:lnTo>
                  <a:lnTo>
                    <a:pt x="4571" y="3959"/>
                  </a:lnTo>
                  <a:lnTo>
                    <a:pt x="4567" y="3957"/>
                  </a:lnTo>
                  <a:lnTo>
                    <a:pt x="4561" y="3956"/>
                  </a:lnTo>
                  <a:lnTo>
                    <a:pt x="4556" y="3955"/>
                  </a:lnTo>
                  <a:lnTo>
                    <a:pt x="4556" y="3955"/>
                  </a:lnTo>
                  <a:lnTo>
                    <a:pt x="4534" y="3948"/>
                  </a:lnTo>
                  <a:lnTo>
                    <a:pt x="4511" y="3941"/>
                  </a:lnTo>
                  <a:lnTo>
                    <a:pt x="4489" y="3933"/>
                  </a:lnTo>
                  <a:lnTo>
                    <a:pt x="4468" y="3923"/>
                  </a:lnTo>
                  <a:lnTo>
                    <a:pt x="4448" y="3913"/>
                  </a:lnTo>
                  <a:lnTo>
                    <a:pt x="4428" y="3902"/>
                  </a:lnTo>
                  <a:lnTo>
                    <a:pt x="4410" y="3892"/>
                  </a:lnTo>
                  <a:lnTo>
                    <a:pt x="4394" y="3881"/>
                  </a:lnTo>
                  <a:lnTo>
                    <a:pt x="4377" y="3869"/>
                  </a:lnTo>
                  <a:lnTo>
                    <a:pt x="4363" y="3859"/>
                  </a:lnTo>
                  <a:lnTo>
                    <a:pt x="4337" y="3839"/>
                  </a:lnTo>
                  <a:lnTo>
                    <a:pt x="4318" y="3820"/>
                  </a:lnTo>
                  <a:lnTo>
                    <a:pt x="4306" y="3805"/>
                  </a:lnTo>
                  <a:lnTo>
                    <a:pt x="4306" y="3805"/>
                  </a:lnTo>
                  <a:lnTo>
                    <a:pt x="4297" y="3793"/>
                  </a:lnTo>
                  <a:lnTo>
                    <a:pt x="4288" y="3780"/>
                  </a:lnTo>
                  <a:lnTo>
                    <a:pt x="4282" y="3769"/>
                  </a:lnTo>
                  <a:lnTo>
                    <a:pt x="4277" y="3758"/>
                  </a:lnTo>
                  <a:lnTo>
                    <a:pt x="4273" y="3748"/>
                  </a:lnTo>
                  <a:lnTo>
                    <a:pt x="4270" y="3739"/>
                  </a:lnTo>
                  <a:lnTo>
                    <a:pt x="4266" y="3722"/>
                  </a:lnTo>
                  <a:lnTo>
                    <a:pt x="4265" y="3709"/>
                  </a:lnTo>
                  <a:lnTo>
                    <a:pt x="4265" y="3699"/>
                  </a:lnTo>
                  <a:lnTo>
                    <a:pt x="4266" y="3690"/>
                  </a:lnTo>
                  <a:lnTo>
                    <a:pt x="4266" y="3690"/>
                  </a:lnTo>
                  <a:lnTo>
                    <a:pt x="4284" y="3700"/>
                  </a:lnTo>
                  <a:lnTo>
                    <a:pt x="4302" y="3706"/>
                  </a:lnTo>
                  <a:lnTo>
                    <a:pt x="4321" y="3711"/>
                  </a:lnTo>
                  <a:lnTo>
                    <a:pt x="4340" y="3714"/>
                  </a:lnTo>
                  <a:lnTo>
                    <a:pt x="4358" y="3716"/>
                  </a:lnTo>
                  <a:lnTo>
                    <a:pt x="4377" y="3715"/>
                  </a:lnTo>
                  <a:lnTo>
                    <a:pt x="4396" y="3712"/>
                  </a:lnTo>
                  <a:lnTo>
                    <a:pt x="4414" y="3708"/>
                  </a:lnTo>
                  <a:lnTo>
                    <a:pt x="4434" y="3468"/>
                  </a:lnTo>
                  <a:lnTo>
                    <a:pt x="4434" y="3468"/>
                  </a:lnTo>
                  <a:lnTo>
                    <a:pt x="4425" y="3467"/>
                  </a:lnTo>
                  <a:lnTo>
                    <a:pt x="4405" y="3464"/>
                  </a:lnTo>
                  <a:lnTo>
                    <a:pt x="4392" y="3461"/>
                  </a:lnTo>
                  <a:lnTo>
                    <a:pt x="4377" y="3457"/>
                  </a:lnTo>
                  <a:lnTo>
                    <a:pt x="4362" y="3453"/>
                  </a:lnTo>
                  <a:lnTo>
                    <a:pt x="4348" y="3447"/>
                  </a:lnTo>
                  <a:lnTo>
                    <a:pt x="4348" y="3447"/>
                  </a:lnTo>
                  <a:lnTo>
                    <a:pt x="4339" y="3443"/>
                  </a:lnTo>
                  <a:lnTo>
                    <a:pt x="4331" y="3438"/>
                  </a:lnTo>
                  <a:lnTo>
                    <a:pt x="4323" y="3432"/>
                  </a:lnTo>
                  <a:lnTo>
                    <a:pt x="4316" y="3426"/>
                  </a:lnTo>
                  <a:lnTo>
                    <a:pt x="4302" y="3412"/>
                  </a:lnTo>
                  <a:lnTo>
                    <a:pt x="4289" y="3399"/>
                  </a:lnTo>
                  <a:lnTo>
                    <a:pt x="4280" y="3386"/>
                  </a:lnTo>
                  <a:lnTo>
                    <a:pt x="4273" y="3376"/>
                  </a:lnTo>
                  <a:lnTo>
                    <a:pt x="4267" y="3366"/>
                  </a:lnTo>
                  <a:lnTo>
                    <a:pt x="4267" y="3366"/>
                  </a:lnTo>
                  <a:lnTo>
                    <a:pt x="4274" y="3369"/>
                  </a:lnTo>
                  <a:lnTo>
                    <a:pt x="4293" y="3377"/>
                  </a:lnTo>
                  <a:lnTo>
                    <a:pt x="4321" y="3385"/>
                  </a:lnTo>
                  <a:lnTo>
                    <a:pt x="4339" y="3389"/>
                  </a:lnTo>
                  <a:lnTo>
                    <a:pt x="4356" y="3392"/>
                  </a:lnTo>
                  <a:lnTo>
                    <a:pt x="4356" y="3392"/>
                  </a:lnTo>
                  <a:lnTo>
                    <a:pt x="4375" y="3394"/>
                  </a:lnTo>
                  <a:lnTo>
                    <a:pt x="4392" y="3395"/>
                  </a:lnTo>
                  <a:lnTo>
                    <a:pt x="4407" y="3393"/>
                  </a:lnTo>
                  <a:lnTo>
                    <a:pt x="4419" y="3391"/>
                  </a:lnTo>
                  <a:lnTo>
                    <a:pt x="4430" y="3389"/>
                  </a:lnTo>
                  <a:lnTo>
                    <a:pt x="4438" y="3387"/>
                  </a:lnTo>
                  <a:lnTo>
                    <a:pt x="4444" y="3384"/>
                  </a:lnTo>
                  <a:lnTo>
                    <a:pt x="4477" y="3113"/>
                  </a:lnTo>
                  <a:lnTo>
                    <a:pt x="4477" y="3113"/>
                  </a:lnTo>
                  <a:lnTo>
                    <a:pt x="4451" y="3114"/>
                  </a:lnTo>
                  <a:lnTo>
                    <a:pt x="4427" y="3113"/>
                  </a:lnTo>
                  <a:lnTo>
                    <a:pt x="4408" y="3111"/>
                  </a:lnTo>
                  <a:lnTo>
                    <a:pt x="4392" y="3106"/>
                  </a:lnTo>
                  <a:lnTo>
                    <a:pt x="4377" y="3100"/>
                  </a:lnTo>
                  <a:lnTo>
                    <a:pt x="4365" y="3093"/>
                  </a:lnTo>
                  <a:lnTo>
                    <a:pt x="4356" y="3085"/>
                  </a:lnTo>
                  <a:lnTo>
                    <a:pt x="4348" y="3077"/>
                  </a:lnTo>
                  <a:lnTo>
                    <a:pt x="4343" y="3069"/>
                  </a:lnTo>
                  <a:lnTo>
                    <a:pt x="4337" y="3060"/>
                  </a:lnTo>
                  <a:lnTo>
                    <a:pt x="4335" y="3051"/>
                  </a:lnTo>
                  <a:lnTo>
                    <a:pt x="4333" y="3043"/>
                  </a:lnTo>
                  <a:lnTo>
                    <a:pt x="4332" y="3035"/>
                  </a:lnTo>
                  <a:lnTo>
                    <a:pt x="4331" y="3029"/>
                  </a:lnTo>
                  <a:lnTo>
                    <a:pt x="4332" y="3020"/>
                  </a:lnTo>
                  <a:lnTo>
                    <a:pt x="4332" y="3020"/>
                  </a:lnTo>
                  <a:lnTo>
                    <a:pt x="4357" y="3015"/>
                  </a:lnTo>
                  <a:lnTo>
                    <a:pt x="4381" y="3009"/>
                  </a:lnTo>
                  <a:lnTo>
                    <a:pt x="4405" y="3001"/>
                  </a:lnTo>
                  <a:lnTo>
                    <a:pt x="4428" y="2994"/>
                  </a:lnTo>
                  <a:lnTo>
                    <a:pt x="4451" y="2985"/>
                  </a:lnTo>
                  <a:lnTo>
                    <a:pt x="4473" y="2975"/>
                  </a:lnTo>
                  <a:lnTo>
                    <a:pt x="4495" y="2964"/>
                  </a:lnTo>
                  <a:lnTo>
                    <a:pt x="4515" y="2951"/>
                  </a:lnTo>
                  <a:lnTo>
                    <a:pt x="4536" y="2939"/>
                  </a:lnTo>
                  <a:lnTo>
                    <a:pt x="4555" y="2926"/>
                  </a:lnTo>
                  <a:lnTo>
                    <a:pt x="4574" y="2911"/>
                  </a:lnTo>
                  <a:lnTo>
                    <a:pt x="4592" y="2896"/>
                  </a:lnTo>
                  <a:lnTo>
                    <a:pt x="4609" y="2881"/>
                  </a:lnTo>
                  <a:lnTo>
                    <a:pt x="4627" y="2864"/>
                  </a:lnTo>
                  <a:lnTo>
                    <a:pt x="4642" y="2848"/>
                  </a:lnTo>
                  <a:lnTo>
                    <a:pt x="4659" y="2831"/>
                  </a:lnTo>
                  <a:lnTo>
                    <a:pt x="4673" y="2812"/>
                  </a:lnTo>
                  <a:lnTo>
                    <a:pt x="4688" y="2794"/>
                  </a:lnTo>
                  <a:lnTo>
                    <a:pt x="4702" y="2775"/>
                  </a:lnTo>
                  <a:lnTo>
                    <a:pt x="4715" y="2756"/>
                  </a:lnTo>
                  <a:lnTo>
                    <a:pt x="4727" y="2737"/>
                  </a:lnTo>
                  <a:lnTo>
                    <a:pt x="4738" y="2717"/>
                  </a:lnTo>
                  <a:lnTo>
                    <a:pt x="4750" y="2698"/>
                  </a:lnTo>
                  <a:lnTo>
                    <a:pt x="4760" y="2677"/>
                  </a:lnTo>
                  <a:lnTo>
                    <a:pt x="4770" y="2657"/>
                  </a:lnTo>
                  <a:lnTo>
                    <a:pt x="4779" y="2636"/>
                  </a:lnTo>
                  <a:lnTo>
                    <a:pt x="4787" y="2616"/>
                  </a:lnTo>
                  <a:lnTo>
                    <a:pt x="4796" y="2595"/>
                  </a:lnTo>
                  <a:lnTo>
                    <a:pt x="4803" y="2575"/>
                  </a:lnTo>
                  <a:lnTo>
                    <a:pt x="4809" y="2555"/>
                  </a:lnTo>
                  <a:lnTo>
                    <a:pt x="4815" y="2534"/>
                  </a:lnTo>
                  <a:lnTo>
                    <a:pt x="4820" y="2515"/>
                  </a:lnTo>
                  <a:lnTo>
                    <a:pt x="4820" y="2515"/>
                  </a:lnTo>
                  <a:lnTo>
                    <a:pt x="4831" y="2521"/>
                  </a:lnTo>
                  <a:lnTo>
                    <a:pt x="4847" y="2527"/>
                  </a:lnTo>
                  <a:lnTo>
                    <a:pt x="4864" y="2533"/>
                  </a:lnTo>
                  <a:lnTo>
                    <a:pt x="4882" y="2538"/>
                  </a:lnTo>
                  <a:lnTo>
                    <a:pt x="4903" y="2541"/>
                  </a:lnTo>
                  <a:lnTo>
                    <a:pt x="4913" y="2542"/>
                  </a:lnTo>
                  <a:lnTo>
                    <a:pt x="4923" y="2543"/>
                  </a:lnTo>
                  <a:lnTo>
                    <a:pt x="4935" y="2542"/>
                  </a:lnTo>
                  <a:lnTo>
                    <a:pt x="4945" y="2541"/>
                  </a:lnTo>
                  <a:lnTo>
                    <a:pt x="4955" y="2539"/>
                  </a:lnTo>
                  <a:lnTo>
                    <a:pt x="4965" y="2536"/>
                  </a:lnTo>
                  <a:lnTo>
                    <a:pt x="4965" y="2536"/>
                  </a:lnTo>
                  <a:lnTo>
                    <a:pt x="4967" y="2508"/>
                  </a:lnTo>
                  <a:lnTo>
                    <a:pt x="4970" y="2441"/>
                  </a:lnTo>
                  <a:lnTo>
                    <a:pt x="4972" y="2405"/>
                  </a:lnTo>
                  <a:lnTo>
                    <a:pt x="4973" y="2371"/>
                  </a:lnTo>
                  <a:lnTo>
                    <a:pt x="4972" y="2343"/>
                  </a:lnTo>
                  <a:lnTo>
                    <a:pt x="4972" y="2333"/>
                  </a:lnTo>
                  <a:lnTo>
                    <a:pt x="4970" y="2327"/>
                  </a:lnTo>
                  <a:lnTo>
                    <a:pt x="4970" y="2327"/>
                  </a:lnTo>
                  <a:lnTo>
                    <a:pt x="4955" y="2325"/>
                  </a:lnTo>
                  <a:lnTo>
                    <a:pt x="4938" y="2322"/>
                  </a:lnTo>
                  <a:lnTo>
                    <a:pt x="4919" y="2317"/>
                  </a:lnTo>
                  <a:lnTo>
                    <a:pt x="4911" y="2314"/>
                  </a:lnTo>
                  <a:lnTo>
                    <a:pt x="4902" y="2311"/>
                  </a:lnTo>
                  <a:lnTo>
                    <a:pt x="4893" y="2306"/>
                  </a:lnTo>
                  <a:lnTo>
                    <a:pt x="4885" y="2302"/>
                  </a:lnTo>
                  <a:lnTo>
                    <a:pt x="4876" y="2296"/>
                  </a:lnTo>
                  <a:lnTo>
                    <a:pt x="4868" y="2289"/>
                  </a:lnTo>
                  <a:lnTo>
                    <a:pt x="4861" y="2282"/>
                  </a:lnTo>
                  <a:lnTo>
                    <a:pt x="4854" y="2273"/>
                  </a:lnTo>
                  <a:lnTo>
                    <a:pt x="4848" y="2264"/>
                  </a:lnTo>
                  <a:lnTo>
                    <a:pt x="4842" y="225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/>
            </a:p>
          </p:txBody>
        </p:sp>
      </p:grpSp>
      <p:sp>
        <p:nvSpPr>
          <p:cNvPr id="96" name="Alaotsikko 2"/>
          <p:cNvSpPr>
            <a:spLocks noGrp="1"/>
          </p:cNvSpPr>
          <p:nvPr userDrawn="1">
            <p:ph type="subTitle" idx="1"/>
          </p:nvPr>
        </p:nvSpPr>
        <p:spPr>
          <a:xfrm>
            <a:off x="5668106" y="4550811"/>
            <a:ext cx="6127460" cy="1758509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2400">
                <a:solidFill>
                  <a:srgbClr val="FFFFFF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/>
              <a:t>Muokkaa alaotsikon perustyyliä napsautt.</a:t>
            </a:r>
            <a:endParaRPr lang="fi-FI" dirty="0"/>
          </a:p>
        </p:txBody>
      </p:sp>
      <p:sp>
        <p:nvSpPr>
          <p:cNvPr id="95" name="Otsikko 1"/>
          <p:cNvSpPr>
            <a:spLocks noGrp="1"/>
          </p:cNvSpPr>
          <p:nvPr userDrawn="1">
            <p:ph type="ctrTitle" hasCustomPrompt="1"/>
          </p:nvPr>
        </p:nvSpPr>
        <p:spPr>
          <a:xfrm>
            <a:off x="5668106" y="2341010"/>
            <a:ext cx="6178703" cy="1866900"/>
          </a:xfrm>
        </p:spPr>
        <p:txBody>
          <a:bodyPr anchor="b" anchorCtr="0">
            <a:noAutofit/>
          </a:bodyPr>
          <a:lstStyle>
            <a:lvl1pPr algn="l">
              <a:defRPr sz="5333">
                <a:solidFill>
                  <a:srgbClr val="FFFFFF"/>
                </a:solidFill>
              </a:defRPr>
            </a:lvl1pPr>
          </a:lstStyle>
          <a:p>
            <a:r>
              <a:rPr lang="fi-FI" dirty="0"/>
              <a:t>Esityksen päättävä teksti</a:t>
            </a:r>
          </a:p>
        </p:txBody>
      </p:sp>
    </p:spTree>
    <p:extLst>
      <p:ext uri="{BB962C8B-B14F-4D97-AF65-F5344CB8AC3E}">
        <p14:creationId xmlns:p14="http://schemas.microsoft.com/office/powerpoint/2010/main" val="3778269159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saltosivu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374DAFBE-1507-CF40-B0FE-4B5AFC353E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9820" y="486750"/>
            <a:ext cx="10669700" cy="7819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rgbClr val="3B175B"/>
                </a:solidFill>
                <a:latin typeface="Helvetica" pitchFamily="2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E1E26663-2408-394A-ACD8-D0A2E6E3A509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729820" y="1561365"/>
            <a:ext cx="10669700" cy="420668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>
                <a:solidFill>
                  <a:schemeClr val="tx2"/>
                </a:solidFill>
              </a:defRPr>
            </a:lvl1pPr>
            <a:lvl2pPr>
              <a:defRPr sz="1600"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C670BB89-6E1B-08E3-9882-4BFD7A3FC1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59381"/>
          <a:stretch/>
        </p:blipFill>
        <p:spPr>
          <a:xfrm>
            <a:off x="10204704" y="79087"/>
            <a:ext cx="2001521" cy="6878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06184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DE34914-B5F2-4084-8552-6153E3BFA8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19.5.2021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3C69628-CCBB-4581-842C-07AC1724D7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etra Kokko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C581D05-5813-4B50-86D4-96A15B78A2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160B98-140E-4345-B1A3-2A7247C42973}" type="slidenum">
              <a:rPr lang="fi-FI" smtClean="0"/>
              <a:t>‹#›</a:t>
            </a:fld>
            <a:endParaRPr lang="fi-FI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414EFF0-E9E2-364E-9793-DF62BACE2D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76380" y="596151"/>
            <a:ext cx="516294" cy="631026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0E5EEC2F-8885-4741-92AA-E21ECE47D5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940" y="484094"/>
            <a:ext cx="9894939" cy="1075323"/>
          </a:xfrm>
        </p:spPr>
        <p:txBody>
          <a:bodyPr anchor="b"/>
          <a:lstStyle/>
          <a:p>
            <a:r>
              <a:rPr lang="fi-FI"/>
              <a:t>Muokkaa perustyyl. napsautt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87990445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5A2C256-48C1-C245-998A-D7A2CF1BED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19.5.2021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7EB178E-AE4B-9E4E-829F-B50E365C89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etra Kokk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20DB95B-9D99-B948-B3F0-A1E3541EDC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975956-C45A-444E-9050-E8F36A744109}" type="slidenum">
              <a:rPr lang="fi-FI" smtClean="0"/>
              <a:t>‹#›</a:t>
            </a:fld>
            <a:endParaRPr lang="fi-FI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FD3A2109-DA11-3742-983D-F38B49A201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6651" y="365124"/>
            <a:ext cx="9679743" cy="1325563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fi-FI"/>
              <a:t>Muokkaa perustyyl. napsautt.</a:t>
            </a:r>
            <a:endParaRPr lang="fi-FI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67B765B0-6361-C04D-ADC5-B6CEF6BA18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6652" y="1825625"/>
            <a:ext cx="10807148" cy="4320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spcBef>
                <a:spcPts val="600"/>
              </a:spcBef>
              <a:spcAft>
                <a:spcPts val="0"/>
              </a:spcAft>
              <a:defRPr/>
            </a:lvl1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47702887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äivämäärän paikkamerkki 2">
            <a:extLst>
              <a:ext uri="{FF2B5EF4-FFF2-40B4-BE49-F238E27FC236}">
                <a16:creationId xmlns:a16="http://schemas.microsoft.com/office/drawing/2014/main" id="{06AA4C2F-E4C3-4AC2-882F-D3B4EE1BAD6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165197" y="6491415"/>
            <a:ext cx="2649023" cy="230058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r>
              <a:rPr lang="fi-FI"/>
              <a:t>19.5.2021</a:t>
            </a:r>
            <a:endParaRPr lang="fi-FI" dirty="0"/>
          </a:p>
        </p:txBody>
      </p:sp>
      <p:sp>
        <p:nvSpPr>
          <p:cNvPr id="4" name="Alatunnisteen paikkamerkki 3">
            <a:extLst>
              <a:ext uri="{FF2B5EF4-FFF2-40B4-BE49-F238E27FC236}">
                <a16:creationId xmlns:a16="http://schemas.microsoft.com/office/drawing/2014/main" id="{F485E3BD-872A-4AAB-9E09-323A5BB731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99212" y="6491416"/>
            <a:ext cx="4114800" cy="230058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r>
              <a:rPr lang="fi-FI"/>
              <a:t>Petra Kokko</a:t>
            </a:r>
          </a:p>
        </p:txBody>
      </p:sp>
      <p:sp>
        <p:nvSpPr>
          <p:cNvPr id="5" name="Dian numeron paikkamerkki 4">
            <a:extLst>
              <a:ext uri="{FF2B5EF4-FFF2-40B4-BE49-F238E27FC236}">
                <a16:creationId xmlns:a16="http://schemas.microsoft.com/office/drawing/2014/main" id="{F7918CA0-7A9B-499D-883B-5376B27760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15134" y="6491417"/>
            <a:ext cx="438665" cy="230058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83A17604-1BE0-AB4F-BE49-013BED05F39E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13BB119F-47A4-4ED4-A1A7-4FFCAC445C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9213" y="2001794"/>
            <a:ext cx="4114800" cy="3608173"/>
          </a:xfrm>
          <a:prstGeom prst="rect">
            <a:avLst/>
          </a:prstGeom>
        </p:spPr>
        <p:txBody>
          <a:bodyPr anchor="t"/>
          <a:lstStyle>
            <a:lvl1pPr>
              <a:lnSpc>
                <a:spcPts val="4000"/>
              </a:lnSpc>
              <a:defRPr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719541332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tsikko ja sisältö - harmaa taus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Kuva 12">
            <a:extLst>
              <a:ext uri="{FF2B5EF4-FFF2-40B4-BE49-F238E27FC236}">
                <a16:creationId xmlns:a16="http://schemas.microsoft.com/office/drawing/2014/main" id="{4FC5FEAD-1E52-4459-9AD4-4ECAB4A189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5442"/>
          <a:stretch/>
        </p:blipFill>
        <p:spPr>
          <a:xfrm>
            <a:off x="504" y="283"/>
            <a:ext cx="12190992" cy="648425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4A181A8-BD3B-1B4E-A475-43EC2E1EB3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9998" y="180000"/>
            <a:ext cx="10753200" cy="1188000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 err="1"/>
              <a:t>Lisää</a:t>
            </a:r>
            <a:r>
              <a:rPr lang="en-GB" dirty="0"/>
              <a:t> </a:t>
            </a:r>
            <a:r>
              <a:rPr lang="en-GB" dirty="0" err="1"/>
              <a:t>otsikko</a:t>
            </a:r>
            <a:r>
              <a:rPr lang="en-GB" dirty="0"/>
              <a:t> </a:t>
            </a:r>
            <a:r>
              <a:rPr lang="en-GB" dirty="0" err="1"/>
              <a:t>napsauttamalla</a:t>
            </a:r>
            <a:endParaRPr lang="fi-FI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86F3938F-2A79-734F-B23C-610FE38D1355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720724" y="1476000"/>
            <a:ext cx="10753200" cy="4680000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 err="1"/>
              <a:t>Lisää</a:t>
            </a:r>
            <a:r>
              <a:rPr lang="en-US" dirty="0"/>
              <a:t> </a:t>
            </a:r>
            <a:r>
              <a:rPr lang="en-US" dirty="0" err="1"/>
              <a:t>tekstiä</a:t>
            </a:r>
            <a:r>
              <a:rPr lang="en-US" dirty="0"/>
              <a:t> </a:t>
            </a:r>
            <a:r>
              <a:rPr lang="en-US" dirty="0" err="1"/>
              <a:t>napsauttamalla</a:t>
            </a:r>
            <a:endParaRPr lang="en-US" dirty="0"/>
          </a:p>
          <a:p>
            <a:pPr lvl="1"/>
            <a:r>
              <a:rPr lang="en-US" dirty="0" err="1"/>
              <a:t>Testitaso</a:t>
            </a:r>
            <a:r>
              <a:rPr lang="en-US" dirty="0"/>
              <a:t> 2</a:t>
            </a:r>
          </a:p>
          <a:p>
            <a:pPr lvl="2"/>
            <a:r>
              <a:rPr lang="en-US" dirty="0" err="1"/>
              <a:t>Tekstitaso</a:t>
            </a:r>
            <a:r>
              <a:rPr lang="en-US" dirty="0"/>
              <a:t> 3</a:t>
            </a:r>
          </a:p>
          <a:p>
            <a:pPr lvl="3"/>
            <a:r>
              <a:rPr lang="en-US" dirty="0" err="1"/>
              <a:t>Tekstitaso</a:t>
            </a:r>
            <a:r>
              <a:rPr lang="en-US" dirty="0"/>
              <a:t> 4</a:t>
            </a:r>
          </a:p>
          <a:p>
            <a:pPr lvl="4"/>
            <a:r>
              <a:rPr lang="en-US" dirty="0" err="1"/>
              <a:t>Tekstitaso</a:t>
            </a:r>
            <a:r>
              <a:rPr lang="en-US" dirty="0"/>
              <a:t> 5</a:t>
            </a:r>
            <a:endParaRPr lang="en-GB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29E45F09-AFAB-8B48-9837-96726DE637E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i-FI"/>
              <a:t>19.5.2021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A0384C4E-A250-FC47-8062-FF31ECD2542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Petra Kokko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CD88E26-25B9-4E4B-B5A0-7110BEA768A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82CC271-BBF5-3F46-90AE-792A663E0CFB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57213906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1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raphic 24">
            <a:extLst>
              <a:ext uri="{FF2B5EF4-FFF2-40B4-BE49-F238E27FC236}">
                <a16:creationId xmlns:a16="http://schemas.microsoft.com/office/drawing/2014/main" id="{412E2FC6-3DC7-A5C6-CB76-702A1185B2EA}"/>
              </a:ext>
            </a:extLst>
          </p:cNvPr>
          <p:cNvSpPr/>
          <p:nvPr/>
        </p:nvSpPr>
        <p:spPr>
          <a:xfrm>
            <a:off x="0" y="-3"/>
            <a:ext cx="12191877" cy="6858000"/>
          </a:xfrm>
          <a:custGeom>
            <a:avLst/>
            <a:gdLst>
              <a:gd name="connsiteX0" fmla="*/ 0 w 12191877"/>
              <a:gd name="connsiteY0" fmla="*/ 6858000 h 6858000"/>
              <a:gd name="connsiteX1" fmla="*/ 8102520 w 12191877"/>
              <a:gd name="connsiteY1" fmla="*/ 6858000 h 6858000"/>
              <a:gd name="connsiteX2" fmla="*/ 8102520 w 12191877"/>
              <a:gd name="connsiteY2" fmla="*/ 6051708 h 6858000"/>
              <a:gd name="connsiteX3" fmla="*/ 12191878 w 12191877"/>
              <a:gd name="connsiteY3" fmla="*/ 1962310 h 6858000"/>
              <a:gd name="connsiteX4" fmla="*/ 12191878 w 12191877"/>
              <a:gd name="connsiteY4" fmla="*/ 1850371 h 6858000"/>
              <a:gd name="connsiteX5" fmla="*/ 8102520 w 12191877"/>
              <a:gd name="connsiteY5" fmla="*/ 5939766 h 6858000"/>
              <a:gd name="connsiteX6" fmla="*/ 8102520 w 12191877"/>
              <a:gd name="connsiteY6" fmla="*/ 4931057 h 6858000"/>
              <a:gd name="connsiteX7" fmla="*/ 12191878 w 12191877"/>
              <a:gd name="connsiteY7" fmla="*/ 841658 h 6858000"/>
              <a:gd name="connsiteX8" fmla="*/ 12191878 w 12191877"/>
              <a:gd name="connsiteY8" fmla="*/ 729724 h 6858000"/>
              <a:gd name="connsiteX9" fmla="*/ 8102520 w 12191877"/>
              <a:gd name="connsiteY9" fmla="*/ 4819122 h 6858000"/>
              <a:gd name="connsiteX10" fmla="*/ 8102520 w 12191877"/>
              <a:gd name="connsiteY10" fmla="*/ 3810409 h 6858000"/>
              <a:gd name="connsiteX11" fmla="*/ 11912894 w 12191877"/>
              <a:gd name="connsiteY11" fmla="*/ 0 h 6858000"/>
              <a:gd name="connsiteX12" fmla="*/ 11800954 w 12191877"/>
              <a:gd name="connsiteY12" fmla="*/ 0 h 6858000"/>
              <a:gd name="connsiteX13" fmla="*/ 8102520 w 12191877"/>
              <a:gd name="connsiteY13" fmla="*/ 3698475 h 6858000"/>
              <a:gd name="connsiteX14" fmla="*/ 8102520 w 12191877"/>
              <a:gd name="connsiteY14" fmla="*/ 2689762 h 6858000"/>
              <a:gd name="connsiteX15" fmla="*/ 10792254 w 12191877"/>
              <a:gd name="connsiteY15" fmla="*/ 0 h 6858000"/>
              <a:gd name="connsiteX16" fmla="*/ 10680314 w 12191877"/>
              <a:gd name="connsiteY16" fmla="*/ 0 h 6858000"/>
              <a:gd name="connsiteX17" fmla="*/ 8102520 w 12191877"/>
              <a:gd name="connsiteY17" fmla="*/ 2577820 h 6858000"/>
              <a:gd name="connsiteX18" fmla="*/ 8102520 w 12191877"/>
              <a:gd name="connsiteY18" fmla="*/ 1569100 h 6858000"/>
              <a:gd name="connsiteX19" fmla="*/ 9671614 w 12191877"/>
              <a:gd name="connsiteY19" fmla="*/ 0 h 6858000"/>
              <a:gd name="connsiteX20" fmla="*/ 9559677 w 12191877"/>
              <a:gd name="connsiteY20" fmla="*/ 0 h 6858000"/>
              <a:gd name="connsiteX21" fmla="*/ 8102520 w 12191877"/>
              <a:gd name="connsiteY21" fmla="*/ 1457172 h 6858000"/>
              <a:gd name="connsiteX22" fmla="*/ 8102520 w 12191877"/>
              <a:gd name="connsiteY22" fmla="*/ 560902 h 6858000"/>
              <a:gd name="connsiteX23" fmla="*/ 8644717 w 12191877"/>
              <a:gd name="connsiteY23" fmla="*/ 0 h 6858000"/>
              <a:gd name="connsiteX24" fmla="*/ 8536632 w 12191877"/>
              <a:gd name="connsiteY24" fmla="*/ 0 h 6858000"/>
              <a:gd name="connsiteX25" fmla="*/ 8102520 w 12191877"/>
              <a:gd name="connsiteY25" fmla="*/ 448970 h 6858000"/>
              <a:gd name="connsiteX26" fmla="*/ 8102520 w 12191877"/>
              <a:gd name="connsiteY26" fmla="*/ 0 h 6858000"/>
              <a:gd name="connsiteX27" fmla="*/ 0 w 12191877"/>
              <a:gd name="connsiteY27" fmla="*/ 0 h 6858000"/>
              <a:gd name="connsiteX28" fmla="*/ 0 w 12191877"/>
              <a:gd name="connsiteY28" fmla="*/ 6857997 h 6858000"/>
              <a:gd name="connsiteX29" fmla="*/ 8304935 w 12191877"/>
              <a:gd name="connsiteY29" fmla="*/ 6858000 h 6858000"/>
              <a:gd name="connsiteX30" fmla="*/ 8416875 w 12191877"/>
              <a:gd name="connsiteY30" fmla="*/ 6858000 h 6858000"/>
              <a:gd name="connsiteX31" fmla="*/ 12191878 w 12191877"/>
              <a:gd name="connsiteY31" fmla="*/ 3082961 h 6858000"/>
              <a:gd name="connsiteX32" fmla="*/ 12191878 w 12191877"/>
              <a:gd name="connsiteY32" fmla="*/ 2971019 h 6858000"/>
              <a:gd name="connsiteX33" fmla="*/ 8304935 w 12191877"/>
              <a:gd name="connsiteY33" fmla="*/ 6858000 h 6858000"/>
              <a:gd name="connsiteX34" fmla="*/ 9425589 w 12191877"/>
              <a:gd name="connsiteY34" fmla="*/ 6858000 h 6858000"/>
              <a:gd name="connsiteX35" fmla="*/ 9537516 w 12191877"/>
              <a:gd name="connsiteY35" fmla="*/ 6858000 h 6858000"/>
              <a:gd name="connsiteX36" fmla="*/ 12191878 w 12191877"/>
              <a:gd name="connsiteY36" fmla="*/ 4203612 h 6858000"/>
              <a:gd name="connsiteX37" fmla="*/ 12191878 w 12191877"/>
              <a:gd name="connsiteY37" fmla="*/ 4091670 h 6858000"/>
              <a:gd name="connsiteX38" fmla="*/ 9425589 w 12191877"/>
              <a:gd name="connsiteY38" fmla="*/ 6858000 h 6858000"/>
              <a:gd name="connsiteX39" fmla="*/ 10544933 w 12191877"/>
              <a:gd name="connsiteY39" fmla="*/ 6858000 h 6858000"/>
              <a:gd name="connsiteX40" fmla="*/ 10658156 w 12191877"/>
              <a:gd name="connsiteY40" fmla="*/ 6858000 h 6858000"/>
              <a:gd name="connsiteX41" fmla="*/ 12191878 w 12191877"/>
              <a:gd name="connsiteY41" fmla="*/ 5324264 h 6858000"/>
              <a:gd name="connsiteX42" fmla="*/ 12191878 w 12191877"/>
              <a:gd name="connsiteY42" fmla="*/ 5211040 h 6858000"/>
              <a:gd name="connsiteX43" fmla="*/ 10544933 w 12191877"/>
              <a:gd name="connsiteY43" fmla="*/ 6858000 h 6858000"/>
              <a:gd name="connsiteX44" fmla="*/ 11665573 w 12191877"/>
              <a:gd name="connsiteY44" fmla="*/ 6858000 h 6858000"/>
              <a:gd name="connsiteX45" fmla="*/ 11777507 w 12191877"/>
              <a:gd name="connsiteY45" fmla="*/ 6858000 h 6858000"/>
              <a:gd name="connsiteX46" fmla="*/ 12191878 w 12191877"/>
              <a:gd name="connsiteY46" fmla="*/ 6443630 h 6858000"/>
              <a:gd name="connsiteX47" fmla="*/ 12191878 w 12191877"/>
              <a:gd name="connsiteY47" fmla="*/ 6331691 h 6858000"/>
              <a:gd name="connsiteX48" fmla="*/ 11665573 w 12191877"/>
              <a:gd name="connsiteY4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2191877" h="6858000">
                <a:moveTo>
                  <a:pt x="0" y="6858000"/>
                </a:moveTo>
                <a:lnTo>
                  <a:pt x="8102520" y="6858000"/>
                </a:lnTo>
                <a:lnTo>
                  <a:pt x="8102520" y="6051708"/>
                </a:lnTo>
                <a:lnTo>
                  <a:pt x="12191878" y="1962310"/>
                </a:lnTo>
                <a:lnTo>
                  <a:pt x="12191878" y="1850371"/>
                </a:lnTo>
                <a:lnTo>
                  <a:pt x="8102520" y="5939766"/>
                </a:lnTo>
                <a:lnTo>
                  <a:pt x="8102520" y="4931057"/>
                </a:lnTo>
                <a:lnTo>
                  <a:pt x="12191878" y="841658"/>
                </a:lnTo>
                <a:lnTo>
                  <a:pt x="12191878" y="729724"/>
                </a:lnTo>
                <a:lnTo>
                  <a:pt x="8102520" y="4819122"/>
                </a:lnTo>
                <a:lnTo>
                  <a:pt x="8102520" y="3810409"/>
                </a:lnTo>
                <a:lnTo>
                  <a:pt x="11912894" y="0"/>
                </a:lnTo>
                <a:lnTo>
                  <a:pt x="11800954" y="0"/>
                </a:lnTo>
                <a:lnTo>
                  <a:pt x="8102520" y="3698475"/>
                </a:lnTo>
                <a:lnTo>
                  <a:pt x="8102520" y="2689762"/>
                </a:lnTo>
                <a:lnTo>
                  <a:pt x="10792254" y="0"/>
                </a:lnTo>
                <a:lnTo>
                  <a:pt x="10680314" y="0"/>
                </a:lnTo>
                <a:lnTo>
                  <a:pt x="8102520" y="2577820"/>
                </a:lnTo>
                <a:lnTo>
                  <a:pt x="8102520" y="1569100"/>
                </a:lnTo>
                <a:lnTo>
                  <a:pt x="9671614" y="0"/>
                </a:lnTo>
                <a:lnTo>
                  <a:pt x="9559677" y="0"/>
                </a:lnTo>
                <a:lnTo>
                  <a:pt x="8102520" y="1457172"/>
                </a:lnTo>
                <a:lnTo>
                  <a:pt x="8102520" y="560902"/>
                </a:lnTo>
                <a:lnTo>
                  <a:pt x="8644717" y="0"/>
                </a:lnTo>
                <a:lnTo>
                  <a:pt x="8536632" y="0"/>
                </a:lnTo>
                <a:lnTo>
                  <a:pt x="8102520" y="448970"/>
                </a:lnTo>
                <a:lnTo>
                  <a:pt x="8102520" y="0"/>
                </a:lnTo>
                <a:lnTo>
                  <a:pt x="0" y="0"/>
                </a:lnTo>
                <a:lnTo>
                  <a:pt x="0" y="6857997"/>
                </a:lnTo>
                <a:close/>
                <a:moveTo>
                  <a:pt x="8304935" y="6858000"/>
                </a:moveTo>
                <a:lnTo>
                  <a:pt x="8416875" y="6858000"/>
                </a:lnTo>
                <a:lnTo>
                  <a:pt x="12191878" y="3082961"/>
                </a:lnTo>
                <a:lnTo>
                  <a:pt x="12191878" y="2971019"/>
                </a:lnTo>
                <a:lnTo>
                  <a:pt x="8304935" y="6858000"/>
                </a:lnTo>
                <a:close/>
                <a:moveTo>
                  <a:pt x="9425589" y="6858000"/>
                </a:moveTo>
                <a:lnTo>
                  <a:pt x="9537516" y="6858000"/>
                </a:lnTo>
                <a:lnTo>
                  <a:pt x="12191878" y="4203612"/>
                </a:lnTo>
                <a:lnTo>
                  <a:pt x="12191878" y="4091670"/>
                </a:lnTo>
                <a:lnTo>
                  <a:pt x="9425589" y="6858000"/>
                </a:lnTo>
                <a:close/>
                <a:moveTo>
                  <a:pt x="10544933" y="6858000"/>
                </a:moveTo>
                <a:lnTo>
                  <a:pt x="10658156" y="6858000"/>
                </a:lnTo>
                <a:lnTo>
                  <a:pt x="12191878" y="5324264"/>
                </a:lnTo>
                <a:lnTo>
                  <a:pt x="12191878" y="5211040"/>
                </a:lnTo>
                <a:lnTo>
                  <a:pt x="10544933" y="6858000"/>
                </a:lnTo>
                <a:close/>
                <a:moveTo>
                  <a:pt x="11665573" y="6858000"/>
                </a:moveTo>
                <a:lnTo>
                  <a:pt x="11777507" y="6858000"/>
                </a:lnTo>
                <a:lnTo>
                  <a:pt x="12191878" y="6443630"/>
                </a:lnTo>
                <a:lnTo>
                  <a:pt x="12191878" y="6331691"/>
                </a:lnTo>
                <a:lnTo>
                  <a:pt x="11665573" y="6858000"/>
                </a:lnTo>
                <a:close/>
              </a:path>
            </a:pathLst>
          </a:custGeom>
          <a:solidFill>
            <a:srgbClr val="F0EBE1"/>
          </a:solidFill>
          <a:ln w="36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6E6260-E36C-484A-9F25-1346EC50A8D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5508" y="2196783"/>
            <a:ext cx="6839712" cy="1876869"/>
          </a:xfrm>
        </p:spPr>
        <p:txBody>
          <a:bodyPr anchor="t" anchorCtr="0"/>
          <a:lstStyle>
            <a:lvl1pPr algn="l">
              <a:lnSpc>
                <a:spcPct val="95000"/>
              </a:lnSpc>
              <a:defRPr sz="4000"/>
            </a:lvl1pPr>
          </a:lstStyle>
          <a:p>
            <a:r>
              <a:rPr lang="fi-FI"/>
              <a:t>Muokkaa perustyyl. napsautt.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1FDDA9F-DC3B-4803-9730-F564F287AC8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35508" y="5070348"/>
            <a:ext cx="6839712" cy="1220724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24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D7FCCBE-EE77-5D47-8CE2-1B409B5E09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915" y="565286"/>
            <a:ext cx="2090175" cy="703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3341122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raphic 24">
            <a:extLst>
              <a:ext uri="{FF2B5EF4-FFF2-40B4-BE49-F238E27FC236}">
                <a16:creationId xmlns:a16="http://schemas.microsoft.com/office/drawing/2014/main" id="{412E2FC6-3DC7-A5C6-CB76-702A1185B2EA}"/>
              </a:ext>
            </a:extLst>
          </p:cNvPr>
          <p:cNvSpPr/>
          <p:nvPr/>
        </p:nvSpPr>
        <p:spPr>
          <a:xfrm>
            <a:off x="0" y="-3"/>
            <a:ext cx="12191877" cy="6858000"/>
          </a:xfrm>
          <a:custGeom>
            <a:avLst/>
            <a:gdLst>
              <a:gd name="connsiteX0" fmla="*/ 0 w 12191877"/>
              <a:gd name="connsiteY0" fmla="*/ 6858000 h 6858000"/>
              <a:gd name="connsiteX1" fmla="*/ 8102520 w 12191877"/>
              <a:gd name="connsiteY1" fmla="*/ 6858000 h 6858000"/>
              <a:gd name="connsiteX2" fmla="*/ 8102520 w 12191877"/>
              <a:gd name="connsiteY2" fmla="*/ 6051708 h 6858000"/>
              <a:gd name="connsiteX3" fmla="*/ 12191878 w 12191877"/>
              <a:gd name="connsiteY3" fmla="*/ 1962310 h 6858000"/>
              <a:gd name="connsiteX4" fmla="*/ 12191878 w 12191877"/>
              <a:gd name="connsiteY4" fmla="*/ 1850371 h 6858000"/>
              <a:gd name="connsiteX5" fmla="*/ 8102520 w 12191877"/>
              <a:gd name="connsiteY5" fmla="*/ 5939766 h 6858000"/>
              <a:gd name="connsiteX6" fmla="*/ 8102520 w 12191877"/>
              <a:gd name="connsiteY6" fmla="*/ 4931057 h 6858000"/>
              <a:gd name="connsiteX7" fmla="*/ 12191878 w 12191877"/>
              <a:gd name="connsiteY7" fmla="*/ 841658 h 6858000"/>
              <a:gd name="connsiteX8" fmla="*/ 12191878 w 12191877"/>
              <a:gd name="connsiteY8" fmla="*/ 729724 h 6858000"/>
              <a:gd name="connsiteX9" fmla="*/ 8102520 w 12191877"/>
              <a:gd name="connsiteY9" fmla="*/ 4819122 h 6858000"/>
              <a:gd name="connsiteX10" fmla="*/ 8102520 w 12191877"/>
              <a:gd name="connsiteY10" fmla="*/ 3810409 h 6858000"/>
              <a:gd name="connsiteX11" fmla="*/ 11912894 w 12191877"/>
              <a:gd name="connsiteY11" fmla="*/ 0 h 6858000"/>
              <a:gd name="connsiteX12" fmla="*/ 11800954 w 12191877"/>
              <a:gd name="connsiteY12" fmla="*/ 0 h 6858000"/>
              <a:gd name="connsiteX13" fmla="*/ 8102520 w 12191877"/>
              <a:gd name="connsiteY13" fmla="*/ 3698475 h 6858000"/>
              <a:gd name="connsiteX14" fmla="*/ 8102520 w 12191877"/>
              <a:gd name="connsiteY14" fmla="*/ 2689762 h 6858000"/>
              <a:gd name="connsiteX15" fmla="*/ 10792254 w 12191877"/>
              <a:gd name="connsiteY15" fmla="*/ 0 h 6858000"/>
              <a:gd name="connsiteX16" fmla="*/ 10680314 w 12191877"/>
              <a:gd name="connsiteY16" fmla="*/ 0 h 6858000"/>
              <a:gd name="connsiteX17" fmla="*/ 8102520 w 12191877"/>
              <a:gd name="connsiteY17" fmla="*/ 2577820 h 6858000"/>
              <a:gd name="connsiteX18" fmla="*/ 8102520 w 12191877"/>
              <a:gd name="connsiteY18" fmla="*/ 1569100 h 6858000"/>
              <a:gd name="connsiteX19" fmla="*/ 9671614 w 12191877"/>
              <a:gd name="connsiteY19" fmla="*/ 0 h 6858000"/>
              <a:gd name="connsiteX20" fmla="*/ 9559677 w 12191877"/>
              <a:gd name="connsiteY20" fmla="*/ 0 h 6858000"/>
              <a:gd name="connsiteX21" fmla="*/ 8102520 w 12191877"/>
              <a:gd name="connsiteY21" fmla="*/ 1457172 h 6858000"/>
              <a:gd name="connsiteX22" fmla="*/ 8102520 w 12191877"/>
              <a:gd name="connsiteY22" fmla="*/ 560902 h 6858000"/>
              <a:gd name="connsiteX23" fmla="*/ 8644717 w 12191877"/>
              <a:gd name="connsiteY23" fmla="*/ 0 h 6858000"/>
              <a:gd name="connsiteX24" fmla="*/ 8536632 w 12191877"/>
              <a:gd name="connsiteY24" fmla="*/ 0 h 6858000"/>
              <a:gd name="connsiteX25" fmla="*/ 8102520 w 12191877"/>
              <a:gd name="connsiteY25" fmla="*/ 448970 h 6858000"/>
              <a:gd name="connsiteX26" fmla="*/ 8102520 w 12191877"/>
              <a:gd name="connsiteY26" fmla="*/ 0 h 6858000"/>
              <a:gd name="connsiteX27" fmla="*/ 0 w 12191877"/>
              <a:gd name="connsiteY27" fmla="*/ 0 h 6858000"/>
              <a:gd name="connsiteX28" fmla="*/ 0 w 12191877"/>
              <a:gd name="connsiteY28" fmla="*/ 6857997 h 6858000"/>
              <a:gd name="connsiteX29" fmla="*/ 8304935 w 12191877"/>
              <a:gd name="connsiteY29" fmla="*/ 6858000 h 6858000"/>
              <a:gd name="connsiteX30" fmla="*/ 8416875 w 12191877"/>
              <a:gd name="connsiteY30" fmla="*/ 6858000 h 6858000"/>
              <a:gd name="connsiteX31" fmla="*/ 12191878 w 12191877"/>
              <a:gd name="connsiteY31" fmla="*/ 3082961 h 6858000"/>
              <a:gd name="connsiteX32" fmla="*/ 12191878 w 12191877"/>
              <a:gd name="connsiteY32" fmla="*/ 2971019 h 6858000"/>
              <a:gd name="connsiteX33" fmla="*/ 8304935 w 12191877"/>
              <a:gd name="connsiteY33" fmla="*/ 6858000 h 6858000"/>
              <a:gd name="connsiteX34" fmla="*/ 9425589 w 12191877"/>
              <a:gd name="connsiteY34" fmla="*/ 6858000 h 6858000"/>
              <a:gd name="connsiteX35" fmla="*/ 9537516 w 12191877"/>
              <a:gd name="connsiteY35" fmla="*/ 6858000 h 6858000"/>
              <a:gd name="connsiteX36" fmla="*/ 12191878 w 12191877"/>
              <a:gd name="connsiteY36" fmla="*/ 4203612 h 6858000"/>
              <a:gd name="connsiteX37" fmla="*/ 12191878 w 12191877"/>
              <a:gd name="connsiteY37" fmla="*/ 4091670 h 6858000"/>
              <a:gd name="connsiteX38" fmla="*/ 9425589 w 12191877"/>
              <a:gd name="connsiteY38" fmla="*/ 6858000 h 6858000"/>
              <a:gd name="connsiteX39" fmla="*/ 10544933 w 12191877"/>
              <a:gd name="connsiteY39" fmla="*/ 6858000 h 6858000"/>
              <a:gd name="connsiteX40" fmla="*/ 10658156 w 12191877"/>
              <a:gd name="connsiteY40" fmla="*/ 6858000 h 6858000"/>
              <a:gd name="connsiteX41" fmla="*/ 12191878 w 12191877"/>
              <a:gd name="connsiteY41" fmla="*/ 5324264 h 6858000"/>
              <a:gd name="connsiteX42" fmla="*/ 12191878 w 12191877"/>
              <a:gd name="connsiteY42" fmla="*/ 5211040 h 6858000"/>
              <a:gd name="connsiteX43" fmla="*/ 10544933 w 12191877"/>
              <a:gd name="connsiteY43" fmla="*/ 6858000 h 6858000"/>
              <a:gd name="connsiteX44" fmla="*/ 11665573 w 12191877"/>
              <a:gd name="connsiteY44" fmla="*/ 6858000 h 6858000"/>
              <a:gd name="connsiteX45" fmla="*/ 11777507 w 12191877"/>
              <a:gd name="connsiteY45" fmla="*/ 6858000 h 6858000"/>
              <a:gd name="connsiteX46" fmla="*/ 12191878 w 12191877"/>
              <a:gd name="connsiteY46" fmla="*/ 6443630 h 6858000"/>
              <a:gd name="connsiteX47" fmla="*/ 12191878 w 12191877"/>
              <a:gd name="connsiteY47" fmla="*/ 6331691 h 6858000"/>
              <a:gd name="connsiteX48" fmla="*/ 11665573 w 12191877"/>
              <a:gd name="connsiteY4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2191877" h="6858000">
                <a:moveTo>
                  <a:pt x="0" y="6858000"/>
                </a:moveTo>
                <a:lnTo>
                  <a:pt x="8102520" y="6858000"/>
                </a:lnTo>
                <a:lnTo>
                  <a:pt x="8102520" y="6051708"/>
                </a:lnTo>
                <a:lnTo>
                  <a:pt x="12191878" y="1962310"/>
                </a:lnTo>
                <a:lnTo>
                  <a:pt x="12191878" y="1850371"/>
                </a:lnTo>
                <a:lnTo>
                  <a:pt x="8102520" y="5939766"/>
                </a:lnTo>
                <a:lnTo>
                  <a:pt x="8102520" y="4931057"/>
                </a:lnTo>
                <a:lnTo>
                  <a:pt x="12191878" y="841658"/>
                </a:lnTo>
                <a:lnTo>
                  <a:pt x="12191878" y="729724"/>
                </a:lnTo>
                <a:lnTo>
                  <a:pt x="8102520" y="4819122"/>
                </a:lnTo>
                <a:lnTo>
                  <a:pt x="8102520" y="3810409"/>
                </a:lnTo>
                <a:lnTo>
                  <a:pt x="11912894" y="0"/>
                </a:lnTo>
                <a:lnTo>
                  <a:pt x="11800954" y="0"/>
                </a:lnTo>
                <a:lnTo>
                  <a:pt x="8102520" y="3698475"/>
                </a:lnTo>
                <a:lnTo>
                  <a:pt x="8102520" y="2689762"/>
                </a:lnTo>
                <a:lnTo>
                  <a:pt x="10792254" y="0"/>
                </a:lnTo>
                <a:lnTo>
                  <a:pt x="10680314" y="0"/>
                </a:lnTo>
                <a:lnTo>
                  <a:pt x="8102520" y="2577820"/>
                </a:lnTo>
                <a:lnTo>
                  <a:pt x="8102520" y="1569100"/>
                </a:lnTo>
                <a:lnTo>
                  <a:pt x="9671614" y="0"/>
                </a:lnTo>
                <a:lnTo>
                  <a:pt x="9559677" y="0"/>
                </a:lnTo>
                <a:lnTo>
                  <a:pt x="8102520" y="1457172"/>
                </a:lnTo>
                <a:lnTo>
                  <a:pt x="8102520" y="560902"/>
                </a:lnTo>
                <a:lnTo>
                  <a:pt x="8644717" y="0"/>
                </a:lnTo>
                <a:lnTo>
                  <a:pt x="8536632" y="0"/>
                </a:lnTo>
                <a:lnTo>
                  <a:pt x="8102520" y="448970"/>
                </a:lnTo>
                <a:lnTo>
                  <a:pt x="8102520" y="0"/>
                </a:lnTo>
                <a:lnTo>
                  <a:pt x="0" y="0"/>
                </a:lnTo>
                <a:lnTo>
                  <a:pt x="0" y="6857997"/>
                </a:lnTo>
                <a:close/>
                <a:moveTo>
                  <a:pt x="8304935" y="6858000"/>
                </a:moveTo>
                <a:lnTo>
                  <a:pt x="8416875" y="6858000"/>
                </a:lnTo>
                <a:lnTo>
                  <a:pt x="12191878" y="3082961"/>
                </a:lnTo>
                <a:lnTo>
                  <a:pt x="12191878" y="2971019"/>
                </a:lnTo>
                <a:lnTo>
                  <a:pt x="8304935" y="6858000"/>
                </a:lnTo>
                <a:close/>
                <a:moveTo>
                  <a:pt x="9425589" y="6858000"/>
                </a:moveTo>
                <a:lnTo>
                  <a:pt x="9537516" y="6858000"/>
                </a:lnTo>
                <a:lnTo>
                  <a:pt x="12191878" y="4203612"/>
                </a:lnTo>
                <a:lnTo>
                  <a:pt x="12191878" y="4091670"/>
                </a:lnTo>
                <a:lnTo>
                  <a:pt x="9425589" y="6858000"/>
                </a:lnTo>
                <a:close/>
                <a:moveTo>
                  <a:pt x="10544933" y="6858000"/>
                </a:moveTo>
                <a:lnTo>
                  <a:pt x="10658156" y="6858000"/>
                </a:lnTo>
                <a:lnTo>
                  <a:pt x="12191878" y="5324264"/>
                </a:lnTo>
                <a:lnTo>
                  <a:pt x="12191878" y="5211040"/>
                </a:lnTo>
                <a:lnTo>
                  <a:pt x="10544933" y="6858000"/>
                </a:lnTo>
                <a:close/>
                <a:moveTo>
                  <a:pt x="11665573" y="6858000"/>
                </a:moveTo>
                <a:lnTo>
                  <a:pt x="11777507" y="6858000"/>
                </a:lnTo>
                <a:lnTo>
                  <a:pt x="12191878" y="6443630"/>
                </a:lnTo>
                <a:lnTo>
                  <a:pt x="12191878" y="6331691"/>
                </a:lnTo>
                <a:lnTo>
                  <a:pt x="11665573" y="6858000"/>
                </a:lnTo>
                <a:close/>
              </a:path>
            </a:pathLst>
          </a:custGeom>
          <a:solidFill>
            <a:srgbClr val="F0EBE1"/>
          </a:solidFill>
          <a:ln w="36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6E6260-E36C-484A-9F25-1346EC50A8D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5508" y="2196783"/>
            <a:ext cx="6839712" cy="1876869"/>
          </a:xfrm>
        </p:spPr>
        <p:txBody>
          <a:bodyPr anchor="t" anchorCtr="0"/>
          <a:lstStyle>
            <a:lvl1pPr algn="l">
              <a:lnSpc>
                <a:spcPct val="95000"/>
              </a:lnSpc>
              <a:defRPr sz="4000"/>
            </a:lvl1pPr>
          </a:lstStyle>
          <a:p>
            <a:r>
              <a:rPr lang="fi-FI"/>
              <a:t>Muokkaa perustyyl. napsautt.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1FDDA9F-DC3B-4803-9730-F564F287AC8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35508" y="5070348"/>
            <a:ext cx="6839712" cy="1220724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24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D7FCCBE-EE77-5D47-8CE2-1B409B5E09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915" y="565286"/>
            <a:ext cx="2090175" cy="703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21189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7.xml"/><Relationship Id="rId3" Type="http://schemas.openxmlformats.org/officeDocument/2006/relationships/slideLayout" Target="../slideLayouts/slideLayout112.xml"/><Relationship Id="rId7" Type="http://schemas.openxmlformats.org/officeDocument/2006/relationships/slideLayout" Target="../slideLayouts/slideLayout116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111.xml"/><Relationship Id="rId1" Type="http://schemas.openxmlformats.org/officeDocument/2006/relationships/slideLayout" Target="../slideLayouts/slideLayout110.xml"/><Relationship Id="rId6" Type="http://schemas.openxmlformats.org/officeDocument/2006/relationships/slideLayout" Target="../slideLayouts/slideLayout115.xml"/><Relationship Id="rId11" Type="http://schemas.openxmlformats.org/officeDocument/2006/relationships/slideLayout" Target="../slideLayouts/slideLayout120.xml"/><Relationship Id="rId5" Type="http://schemas.openxmlformats.org/officeDocument/2006/relationships/slideLayout" Target="../slideLayouts/slideLayout114.xml"/><Relationship Id="rId10" Type="http://schemas.openxmlformats.org/officeDocument/2006/relationships/slideLayout" Target="../slideLayouts/slideLayout119.xml"/><Relationship Id="rId4" Type="http://schemas.openxmlformats.org/officeDocument/2006/relationships/slideLayout" Target="../slideLayouts/slideLayout113.xml"/><Relationship Id="rId9" Type="http://schemas.openxmlformats.org/officeDocument/2006/relationships/slideLayout" Target="../slideLayouts/slideLayout118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8.xml"/><Relationship Id="rId13" Type="http://schemas.openxmlformats.org/officeDocument/2006/relationships/slideLayout" Target="../slideLayouts/slideLayout133.xml"/><Relationship Id="rId18" Type="http://schemas.openxmlformats.org/officeDocument/2006/relationships/slideLayout" Target="../slideLayouts/slideLayout138.xml"/><Relationship Id="rId26" Type="http://schemas.openxmlformats.org/officeDocument/2006/relationships/slideLayout" Target="../slideLayouts/slideLayout146.xml"/><Relationship Id="rId39" Type="http://schemas.openxmlformats.org/officeDocument/2006/relationships/slideLayout" Target="../slideLayouts/slideLayout159.xml"/><Relationship Id="rId3" Type="http://schemas.openxmlformats.org/officeDocument/2006/relationships/slideLayout" Target="../slideLayouts/slideLayout123.xml"/><Relationship Id="rId21" Type="http://schemas.openxmlformats.org/officeDocument/2006/relationships/slideLayout" Target="../slideLayouts/slideLayout141.xml"/><Relationship Id="rId34" Type="http://schemas.openxmlformats.org/officeDocument/2006/relationships/slideLayout" Target="../slideLayouts/slideLayout154.xml"/><Relationship Id="rId42" Type="http://schemas.openxmlformats.org/officeDocument/2006/relationships/slideLayout" Target="../slideLayouts/slideLayout162.xml"/><Relationship Id="rId47" Type="http://schemas.openxmlformats.org/officeDocument/2006/relationships/theme" Target="../theme/theme11.xml"/><Relationship Id="rId7" Type="http://schemas.openxmlformats.org/officeDocument/2006/relationships/slideLayout" Target="../slideLayouts/slideLayout127.xml"/><Relationship Id="rId12" Type="http://schemas.openxmlformats.org/officeDocument/2006/relationships/slideLayout" Target="../slideLayouts/slideLayout132.xml"/><Relationship Id="rId17" Type="http://schemas.openxmlformats.org/officeDocument/2006/relationships/slideLayout" Target="../slideLayouts/slideLayout137.xml"/><Relationship Id="rId25" Type="http://schemas.openxmlformats.org/officeDocument/2006/relationships/slideLayout" Target="../slideLayouts/slideLayout145.xml"/><Relationship Id="rId33" Type="http://schemas.openxmlformats.org/officeDocument/2006/relationships/slideLayout" Target="../slideLayouts/slideLayout153.xml"/><Relationship Id="rId38" Type="http://schemas.openxmlformats.org/officeDocument/2006/relationships/slideLayout" Target="../slideLayouts/slideLayout158.xml"/><Relationship Id="rId46" Type="http://schemas.openxmlformats.org/officeDocument/2006/relationships/slideLayout" Target="../slideLayouts/slideLayout166.xml"/><Relationship Id="rId2" Type="http://schemas.openxmlformats.org/officeDocument/2006/relationships/slideLayout" Target="../slideLayouts/slideLayout122.xml"/><Relationship Id="rId16" Type="http://schemas.openxmlformats.org/officeDocument/2006/relationships/slideLayout" Target="../slideLayouts/slideLayout136.xml"/><Relationship Id="rId20" Type="http://schemas.openxmlformats.org/officeDocument/2006/relationships/slideLayout" Target="../slideLayouts/slideLayout140.xml"/><Relationship Id="rId29" Type="http://schemas.openxmlformats.org/officeDocument/2006/relationships/slideLayout" Target="../slideLayouts/slideLayout149.xml"/><Relationship Id="rId41" Type="http://schemas.openxmlformats.org/officeDocument/2006/relationships/slideLayout" Target="../slideLayouts/slideLayout161.xml"/><Relationship Id="rId1" Type="http://schemas.openxmlformats.org/officeDocument/2006/relationships/slideLayout" Target="../slideLayouts/slideLayout121.xml"/><Relationship Id="rId6" Type="http://schemas.openxmlformats.org/officeDocument/2006/relationships/slideLayout" Target="../slideLayouts/slideLayout126.xml"/><Relationship Id="rId11" Type="http://schemas.openxmlformats.org/officeDocument/2006/relationships/slideLayout" Target="../slideLayouts/slideLayout131.xml"/><Relationship Id="rId24" Type="http://schemas.openxmlformats.org/officeDocument/2006/relationships/slideLayout" Target="../slideLayouts/slideLayout144.xml"/><Relationship Id="rId32" Type="http://schemas.openxmlformats.org/officeDocument/2006/relationships/slideLayout" Target="../slideLayouts/slideLayout152.xml"/><Relationship Id="rId37" Type="http://schemas.openxmlformats.org/officeDocument/2006/relationships/slideLayout" Target="../slideLayouts/slideLayout157.xml"/><Relationship Id="rId40" Type="http://schemas.openxmlformats.org/officeDocument/2006/relationships/slideLayout" Target="../slideLayouts/slideLayout160.xml"/><Relationship Id="rId45" Type="http://schemas.openxmlformats.org/officeDocument/2006/relationships/slideLayout" Target="../slideLayouts/slideLayout165.xml"/><Relationship Id="rId5" Type="http://schemas.openxmlformats.org/officeDocument/2006/relationships/slideLayout" Target="../slideLayouts/slideLayout125.xml"/><Relationship Id="rId15" Type="http://schemas.openxmlformats.org/officeDocument/2006/relationships/slideLayout" Target="../slideLayouts/slideLayout135.xml"/><Relationship Id="rId23" Type="http://schemas.openxmlformats.org/officeDocument/2006/relationships/slideLayout" Target="../slideLayouts/slideLayout143.xml"/><Relationship Id="rId28" Type="http://schemas.openxmlformats.org/officeDocument/2006/relationships/slideLayout" Target="../slideLayouts/slideLayout148.xml"/><Relationship Id="rId36" Type="http://schemas.openxmlformats.org/officeDocument/2006/relationships/slideLayout" Target="../slideLayouts/slideLayout156.xml"/><Relationship Id="rId10" Type="http://schemas.openxmlformats.org/officeDocument/2006/relationships/slideLayout" Target="../slideLayouts/slideLayout130.xml"/><Relationship Id="rId19" Type="http://schemas.openxmlformats.org/officeDocument/2006/relationships/slideLayout" Target="../slideLayouts/slideLayout139.xml"/><Relationship Id="rId31" Type="http://schemas.openxmlformats.org/officeDocument/2006/relationships/slideLayout" Target="../slideLayouts/slideLayout151.xml"/><Relationship Id="rId44" Type="http://schemas.openxmlformats.org/officeDocument/2006/relationships/slideLayout" Target="../slideLayouts/slideLayout164.xml"/><Relationship Id="rId4" Type="http://schemas.openxmlformats.org/officeDocument/2006/relationships/slideLayout" Target="../slideLayouts/slideLayout124.xml"/><Relationship Id="rId9" Type="http://schemas.openxmlformats.org/officeDocument/2006/relationships/slideLayout" Target="../slideLayouts/slideLayout129.xml"/><Relationship Id="rId14" Type="http://schemas.openxmlformats.org/officeDocument/2006/relationships/slideLayout" Target="../slideLayouts/slideLayout134.xml"/><Relationship Id="rId22" Type="http://schemas.openxmlformats.org/officeDocument/2006/relationships/slideLayout" Target="../slideLayouts/slideLayout142.xml"/><Relationship Id="rId27" Type="http://schemas.openxmlformats.org/officeDocument/2006/relationships/slideLayout" Target="../slideLayouts/slideLayout147.xml"/><Relationship Id="rId30" Type="http://schemas.openxmlformats.org/officeDocument/2006/relationships/slideLayout" Target="../slideLayouts/slideLayout150.xml"/><Relationship Id="rId35" Type="http://schemas.openxmlformats.org/officeDocument/2006/relationships/slideLayout" Target="../slideLayouts/slideLayout155.xml"/><Relationship Id="rId43" Type="http://schemas.openxmlformats.org/officeDocument/2006/relationships/slideLayout" Target="../slideLayouts/slideLayout163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4.xml"/><Relationship Id="rId13" Type="http://schemas.openxmlformats.org/officeDocument/2006/relationships/slideLayout" Target="../slideLayouts/slideLayout179.xml"/><Relationship Id="rId18" Type="http://schemas.openxmlformats.org/officeDocument/2006/relationships/slideLayout" Target="../slideLayouts/slideLayout184.xml"/><Relationship Id="rId26" Type="http://schemas.openxmlformats.org/officeDocument/2006/relationships/slideLayout" Target="../slideLayouts/slideLayout192.xml"/><Relationship Id="rId39" Type="http://schemas.openxmlformats.org/officeDocument/2006/relationships/slideLayout" Target="../slideLayouts/slideLayout205.xml"/><Relationship Id="rId3" Type="http://schemas.openxmlformats.org/officeDocument/2006/relationships/slideLayout" Target="../slideLayouts/slideLayout169.xml"/><Relationship Id="rId21" Type="http://schemas.openxmlformats.org/officeDocument/2006/relationships/slideLayout" Target="../slideLayouts/slideLayout187.xml"/><Relationship Id="rId34" Type="http://schemas.openxmlformats.org/officeDocument/2006/relationships/slideLayout" Target="../slideLayouts/slideLayout200.xml"/><Relationship Id="rId42" Type="http://schemas.openxmlformats.org/officeDocument/2006/relationships/slideLayout" Target="../slideLayouts/slideLayout208.xml"/><Relationship Id="rId47" Type="http://schemas.openxmlformats.org/officeDocument/2006/relationships/theme" Target="../theme/theme12.xml"/><Relationship Id="rId7" Type="http://schemas.openxmlformats.org/officeDocument/2006/relationships/slideLayout" Target="../slideLayouts/slideLayout173.xml"/><Relationship Id="rId12" Type="http://schemas.openxmlformats.org/officeDocument/2006/relationships/slideLayout" Target="../slideLayouts/slideLayout178.xml"/><Relationship Id="rId17" Type="http://schemas.openxmlformats.org/officeDocument/2006/relationships/slideLayout" Target="../slideLayouts/slideLayout183.xml"/><Relationship Id="rId25" Type="http://schemas.openxmlformats.org/officeDocument/2006/relationships/slideLayout" Target="../slideLayouts/slideLayout191.xml"/><Relationship Id="rId33" Type="http://schemas.openxmlformats.org/officeDocument/2006/relationships/slideLayout" Target="../slideLayouts/slideLayout199.xml"/><Relationship Id="rId38" Type="http://schemas.openxmlformats.org/officeDocument/2006/relationships/slideLayout" Target="../slideLayouts/slideLayout204.xml"/><Relationship Id="rId46" Type="http://schemas.openxmlformats.org/officeDocument/2006/relationships/slideLayout" Target="../slideLayouts/slideLayout212.xml"/><Relationship Id="rId2" Type="http://schemas.openxmlformats.org/officeDocument/2006/relationships/slideLayout" Target="../slideLayouts/slideLayout168.xml"/><Relationship Id="rId16" Type="http://schemas.openxmlformats.org/officeDocument/2006/relationships/slideLayout" Target="../slideLayouts/slideLayout182.xml"/><Relationship Id="rId20" Type="http://schemas.openxmlformats.org/officeDocument/2006/relationships/slideLayout" Target="../slideLayouts/slideLayout186.xml"/><Relationship Id="rId29" Type="http://schemas.openxmlformats.org/officeDocument/2006/relationships/slideLayout" Target="../slideLayouts/slideLayout195.xml"/><Relationship Id="rId41" Type="http://schemas.openxmlformats.org/officeDocument/2006/relationships/slideLayout" Target="../slideLayouts/slideLayout207.xml"/><Relationship Id="rId1" Type="http://schemas.openxmlformats.org/officeDocument/2006/relationships/slideLayout" Target="../slideLayouts/slideLayout167.xml"/><Relationship Id="rId6" Type="http://schemas.openxmlformats.org/officeDocument/2006/relationships/slideLayout" Target="../slideLayouts/slideLayout172.xml"/><Relationship Id="rId11" Type="http://schemas.openxmlformats.org/officeDocument/2006/relationships/slideLayout" Target="../slideLayouts/slideLayout177.xml"/><Relationship Id="rId24" Type="http://schemas.openxmlformats.org/officeDocument/2006/relationships/slideLayout" Target="../slideLayouts/slideLayout190.xml"/><Relationship Id="rId32" Type="http://schemas.openxmlformats.org/officeDocument/2006/relationships/slideLayout" Target="../slideLayouts/slideLayout198.xml"/><Relationship Id="rId37" Type="http://schemas.openxmlformats.org/officeDocument/2006/relationships/slideLayout" Target="../slideLayouts/slideLayout203.xml"/><Relationship Id="rId40" Type="http://schemas.openxmlformats.org/officeDocument/2006/relationships/slideLayout" Target="../slideLayouts/slideLayout206.xml"/><Relationship Id="rId45" Type="http://schemas.openxmlformats.org/officeDocument/2006/relationships/slideLayout" Target="../slideLayouts/slideLayout211.xml"/><Relationship Id="rId5" Type="http://schemas.openxmlformats.org/officeDocument/2006/relationships/slideLayout" Target="../slideLayouts/slideLayout171.xml"/><Relationship Id="rId15" Type="http://schemas.openxmlformats.org/officeDocument/2006/relationships/slideLayout" Target="../slideLayouts/slideLayout181.xml"/><Relationship Id="rId23" Type="http://schemas.openxmlformats.org/officeDocument/2006/relationships/slideLayout" Target="../slideLayouts/slideLayout189.xml"/><Relationship Id="rId28" Type="http://schemas.openxmlformats.org/officeDocument/2006/relationships/slideLayout" Target="../slideLayouts/slideLayout194.xml"/><Relationship Id="rId36" Type="http://schemas.openxmlformats.org/officeDocument/2006/relationships/slideLayout" Target="../slideLayouts/slideLayout202.xml"/><Relationship Id="rId10" Type="http://schemas.openxmlformats.org/officeDocument/2006/relationships/slideLayout" Target="../slideLayouts/slideLayout176.xml"/><Relationship Id="rId19" Type="http://schemas.openxmlformats.org/officeDocument/2006/relationships/slideLayout" Target="../slideLayouts/slideLayout185.xml"/><Relationship Id="rId31" Type="http://schemas.openxmlformats.org/officeDocument/2006/relationships/slideLayout" Target="../slideLayouts/slideLayout197.xml"/><Relationship Id="rId44" Type="http://schemas.openxmlformats.org/officeDocument/2006/relationships/slideLayout" Target="../slideLayouts/slideLayout210.xml"/><Relationship Id="rId4" Type="http://schemas.openxmlformats.org/officeDocument/2006/relationships/slideLayout" Target="../slideLayouts/slideLayout170.xml"/><Relationship Id="rId9" Type="http://schemas.openxmlformats.org/officeDocument/2006/relationships/slideLayout" Target="../slideLayouts/slideLayout175.xml"/><Relationship Id="rId14" Type="http://schemas.openxmlformats.org/officeDocument/2006/relationships/slideLayout" Target="../slideLayouts/slideLayout180.xml"/><Relationship Id="rId22" Type="http://schemas.openxmlformats.org/officeDocument/2006/relationships/slideLayout" Target="../slideLayouts/slideLayout188.xml"/><Relationship Id="rId27" Type="http://schemas.openxmlformats.org/officeDocument/2006/relationships/slideLayout" Target="../slideLayouts/slideLayout193.xml"/><Relationship Id="rId30" Type="http://schemas.openxmlformats.org/officeDocument/2006/relationships/slideLayout" Target="../slideLayouts/slideLayout196.xml"/><Relationship Id="rId35" Type="http://schemas.openxmlformats.org/officeDocument/2006/relationships/slideLayout" Target="../slideLayouts/slideLayout201.xml"/><Relationship Id="rId43" Type="http://schemas.openxmlformats.org/officeDocument/2006/relationships/slideLayout" Target="../slideLayouts/slideLayout209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0.xml"/><Relationship Id="rId13" Type="http://schemas.openxmlformats.org/officeDocument/2006/relationships/slideLayout" Target="../slideLayouts/slideLayout225.xml"/><Relationship Id="rId18" Type="http://schemas.openxmlformats.org/officeDocument/2006/relationships/slideLayout" Target="../slideLayouts/slideLayout230.xml"/><Relationship Id="rId26" Type="http://schemas.openxmlformats.org/officeDocument/2006/relationships/slideLayout" Target="../slideLayouts/slideLayout238.xml"/><Relationship Id="rId39" Type="http://schemas.openxmlformats.org/officeDocument/2006/relationships/slideLayout" Target="../slideLayouts/slideLayout251.xml"/><Relationship Id="rId3" Type="http://schemas.openxmlformats.org/officeDocument/2006/relationships/slideLayout" Target="../slideLayouts/slideLayout215.xml"/><Relationship Id="rId21" Type="http://schemas.openxmlformats.org/officeDocument/2006/relationships/slideLayout" Target="../slideLayouts/slideLayout233.xml"/><Relationship Id="rId34" Type="http://schemas.openxmlformats.org/officeDocument/2006/relationships/slideLayout" Target="../slideLayouts/slideLayout246.xml"/><Relationship Id="rId42" Type="http://schemas.openxmlformats.org/officeDocument/2006/relationships/slideLayout" Target="../slideLayouts/slideLayout254.xml"/><Relationship Id="rId47" Type="http://schemas.openxmlformats.org/officeDocument/2006/relationships/theme" Target="../theme/theme13.xml"/><Relationship Id="rId7" Type="http://schemas.openxmlformats.org/officeDocument/2006/relationships/slideLayout" Target="../slideLayouts/slideLayout219.xml"/><Relationship Id="rId12" Type="http://schemas.openxmlformats.org/officeDocument/2006/relationships/slideLayout" Target="../slideLayouts/slideLayout224.xml"/><Relationship Id="rId17" Type="http://schemas.openxmlformats.org/officeDocument/2006/relationships/slideLayout" Target="../slideLayouts/slideLayout229.xml"/><Relationship Id="rId25" Type="http://schemas.openxmlformats.org/officeDocument/2006/relationships/slideLayout" Target="../slideLayouts/slideLayout237.xml"/><Relationship Id="rId33" Type="http://schemas.openxmlformats.org/officeDocument/2006/relationships/slideLayout" Target="../slideLayouts/slideLayout245.xml"/><Relationship Id="rId38" Type="http://schemas.openxmlformats.org/officeDocument/2006/relationships/slideLayout" Target="../slideLayouts/slideLayout250.xml"/><Relationship Id="rId46" Type="http://schemas.openxmlformats.org/officeDocument/2006/relationships/slideLayout" Target="../slideLayouts/slideLayout258.xml"/><Relationship Id="rId2" Type="http://schemas.openxmlformats.org/officeDocument/2006/relationships/slideLayout" Target="../slideLayouts/slideLayout214.xml"/><Relationship Id="rId16" Type="http://schemas.openxmlformats.org/officeDocument/2006/relationships/slideLayout" Target="../slideLayouts/slideLayout228.xml"/><Relationship Id="rId20" Type="http://schemas.openxmlformats.org/officeDocument/2006/relationships/slideLayout" Target="../slideLayouts/slideLayout232.xml"/><Relationship Id="rId29" Type="http://schemas.openxmlformats.org/officeDocument/2006/relationships/slideLayout" Target="../slideLayouts/slideLayout241.xml"/><Relationship Id="rId41" Type="http://schemas.openxmlformats.org/officeDocument/2006/relationships/slideLayout" Target="../slideLayouts/slideLayout253.xml"/><Relationship Id="rId1" Type="http://schemas.openxmlformats.org/officeDocument/2006/relationships/slideLayout" Target="../slideLayouts/slideLayout213.xml"/><Relationship Id="rId6" Type="http://schemas.openxmlformats.org/officeDocument/2006/relationships/slideLayout" Target="../slideLayouts/slideLayout218.xml"/><Relationship Id="rId11" Type="http://schemas.openxmlformats.org/officeDocument/2006/relationships/slideLayout" Target="../slideLayouts/slideLayout223.xml"/><Relationship Id="rId24" Type="http://schemas.openxmlformats.org/officeDocument/2006/relationships/slideLayout" Target="../slideLayouts/slideLayout236.xml"/><Relationship Id="rId32" Type="http://schemas.openxmlformats.org/officeDocument/2006/relationships/slideLayout" Target="../slideLayouts/slideLayout244.xml"/><Relationship Id="rId37" Type="http://schemas.openxmlformats.org/officeDocument/2006/relationships/slideLayout" Target="../slideLayouts/slideLayout249.xml"/><Relationship Id="rId40" Type="http://schemas.openxmlformats.org/officeDocument/2006/relationships/slideLayout" Target="../slideLayouts/slideLayout252.xml"/><Relationship Id="rId45" Type="http://schemas.openxmlformats.org/officeDocument/2006/relationships/slideLayout" Target="../slideLayouts/slideLayout257.xml"/><Relationship Id="rId5" Type="http://schemas.openxmlformats.org/officeDocument/2006/relationships/slideLayout" Target="../slideLayouts/slideLayout217.xml"/><Relationship Id="rId15" Type="http://schemas.openxmlformats.org/officeDocument/2006/relationships/slideLayout" Target="../slideLayouts/slideLayout227.xml"/><Relationship Id="rId23" Type="http://schemas.openxmlformats.org/officeDocument/2006/relationships/slideLayout" Target="../slideLayouts/slideLayout235.xml"/><Relationship Id="rId28" Type="http://schemas.openxmlformats.org/officeDocument/2006/relationships/slideLayout" Target="../slideLayouts/slideLayout240.xml"/><Relationship Id="rId36" Type="http://schemas.openxmlformats.org/officeDocument/2006/relationships/slideLayout" Target="../slideLayouts/slideLayout248.xml"/><Relationship Id="rId10" Type="http://schemas.openxmlformats.org/officeDocument/2006/relationships/slideLayout" Target="../slideLayouts/slideLayout222.xml"/><Relationship Id="rId19" Type="http://schemas.openxmlformats.org/officeDocument/2006/relationships/slideLayout" Target="../slideLayouts/slideLayout231.xml"/><Relationship Id="rId31" Type="http://schemas.openxmlformats.org/officeDocument/2006/relationships/slideLayout" Target="../slideLayouts/slideLayout243.xml"/><Relationship Id="rId44" Type="http://schemas.openxmlformats.org/officeDocument/2006/relationships/slideLayout" Target="../slideLayouts/slideLayout256.xml"/><Relationship Id="rId4" Type="http://schemas.openxmlformats.org/officeDocument/2006/relationships/slideLayout" Target="../slideLayouts/slideLayout216.xml"/><Relationship Id="rId9" Type="http://schemas.openxmlformats.org/officeDocument/2006/relationships/slideLayout" Target="../slideLayouts/slideLayout221.xml"/><Relationship Id="rId14" Type="http://schemas.openxmlformats.org/officeDocument/2006/relationships/slideLayout" Target="../slideLayouts/slideLayout226.xml"/><Relationship Id="rId22" Type="http://schemas.openxmlformats.org/officeDocument/2006/relationships/slideLayout" Target="../slideLayouts/slideLayout234.xml"/><Relationship Id="rId27" Type="http://schemas.openxmlformats.org/officeDocument/2006/relationships/slideLayout" Target="../slideLayouts/slideLayout239.xml"/><Relationship Id="rId30" Type="http://schemas.openxmlformats.org/officeDocument/2006/relationships/slideLayout" Target="../slideLayouts/slideLayout242.xml"/><Relationship Id="rId35" Type="http://schemas.openxmlformats.org/officeDocument/2006/relationships/slideLayout" Target="../slideLayouts/slideLayout247.xml"/><Relationship Id="rId43" Type="http://schemas.openxmlformats.org/officeDocument/2006/relationships/slideLayout" Target="../slideLayouts/slideLayout255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6.xml"/><Relationship Id="rId3" Type="http://schemas.openxmlformats.org/officeDocument/2006/relationships/slideLayout" Target="../slideLayouts/slideLayout261.xml"/><Relationship Id="rId7" Type="http://schemas.openxmlformats.org/officeDocument/2006/relationships/slideLayout" Target="../slideLayouts/slideLayout265.xml"/><Relationship Id="rId12" Type="http://schemas.openxmlformats.org/officeDocument/2006/relationships/theme" Target="../theme/theme14.xml"/><Relationship Id="rId2" Type="http://schemas.openxmlformats.org/officeDocument/2006/relationships/slideLayout" Target="../slideLayouts/slideLayout260.xml"/><Relationship Id="rId1" Type="http://schemas.openxmlformats.org/officeDocument/2006/relationships/slideLayout" Target="../slideLayouts/slideLayout259.xml"/><Relationship Id="rId6" Type="http://schemas.openxmlformats.org/officeDocument/2006/relationships/slideLayout" Target="../slideLayouts/slideLayout264.xml"/><Relationship Id="rId11" Type="http://schemas.openxmlformats.org/officeDocument/2006/relationships/slideLayout" Target="../slideLayouts/slideLayout269.xml"/><Relationship Id="rId5" Type="http://schemas.openxmlformats.org/officeDocument/2006/relationships/slideLayout" Target="../slideLayouts/slideLayout263.xml"/><Relationship Id="rId10" Type="http://schemas.openxmlformats.org/officeDocument/2006/relationships/slideLayout" Target="../slideLayouts/slideLayout268.xml"/><Relationship Id="rId4" Type="http://schemas.openxmlformats.org/officeDocument/2006/relationships/slideLayout" Target="../slideLayouts/slideLayout262.xml"/><Relationship Id="rId9" Type="http://schemas.openxmlformats.org/officeDocument/2006/relationships/slideLayout" Target="../slideLayouts/slideLayout267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image" Target="../media/image8.emf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oleObject" Target="../embeddings/oleObject2.bin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18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tags" Target="../tags/tag4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oleObject" Target="../embeddings/oleObject3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tags" Target="../tags/tag5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oleObject" Target="../embeddings/oleObject1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slideLayout" Target="../slideLayouts/slideLayout57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slideLayout" Target="../slideLayouts/slideLayout56.xml"/><Relationship Id="rId17" Type="http://schemas.openxmlformats.org/officeDocument/2006/relationships/oleObject" Target="../embeddings/oleObject4.bin"/><Relationship Id="rId2" Type="http://schemas.openxmlformats.org/officeDocument/2006/relationships/slideLayout" Target="../slideLayouts/slideLayout46.xml"/><Relationship Id="rId16" Type="http://schemas.openxmlformats.org/officeDocument/2006/relationships/tags" Target="../tags/tag6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5" Type="http://schemas.openxmlformats.org/officeDocument/2006/relationships/theme" Target="../theme/theme5.xml"/><Relationship Id="rId10" Type="http://schemas.openxmlformats.org/officeDocument/2006/relationships/slideLayout" Target="../slideLayouts/slideLayout54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slideLayout" Target="../slideLayouts/slideLayout58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13" Type="http://schemas.openxmlformats.org/officeDocument/2006/relationships/tags" Target="../tags/tag21.xml"/><Relationship Id="rId3" Type="http://schemas.openxmlformats.org/officeDocument/2006/relationships/slideLayout" Target="../slideLayouts/slideLayout61.xml"/><Relationship Id="rId7" Type="http://schemas.openxmlformats.org/officeDocument/2006/relationships/slideLayout" Target="../slideLayouts/slideLayout65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60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slideLayout" Target="../slideLayouts/slideLayout69.xml"/><Relationship Id="rId5" Type="http://schemas.openxmlformats.org/officeDocument/2006/relationships/slideLayout" Target="../slideLayouts/slideLayout63.xml"/><Relationship Id="rId15" Type="http://schemas.openxmlformats.org/officeDocument/2006/relationships/image" Target="../media/image8.emf"/><Relationship Id="rId10" Type="http://schemas.openxmlformats.org/officeDocument/2006/relationships/slideLayout" Target="../slideLayouts/slideLayout68.xml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Relationship Id="rId14" Type="http://schemas.openxmlformats.org/officeDocument/2006/relationships/oleObject" Target="../embeddings/oleObject2.bin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7.xml"/><Relationship Id="rId3" Type="http://schemas.openxmlformats.org/officeDocument/2006/relationships/slideLayout" Target="../slideLayouts/slideLayout72.xml"/><Relationship Id="rId7" Type="http://schemas.openxmlformats.org/officeDocument/2006/relationships/slideLayout" Target="../slideLayouts/slideLayout76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71.xml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11" Type="http://schemas.openxmlformats.org/officeDocument/2006/relationships/slideLayout" Target="../slideLayouts/slideLayout80.xml"/><Relationship Id="rId5" Type="http://schemas.openxmlformats.org/officeDocument/2006/relationships/slideLayout" Target="../slideLayouts/slideLayout74.xml"/><Relationship Id="rId10" Type="http://schemas.openxmlformats.org/officeDocument/2006/relationships/slideLayout" Target="../slideLayouts/slideLayout79.xml"/><Relationship Id="rId4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8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.xml"/><Relationship Id="rId13" Type="http://schemas.openxmlformats.org/officeDocument/2006/relationships/slideLayout" Target="../slideLayouts/slideLayout93.xml"/><Relationship Id="rId18" Type="http://schemas.openxmlformats.org/officeDocument/2006/relationships/theme" Target="../theme/theme8.xml"/><Relationship Id="rId3" Type="http://schemas.openxmlformats.org/officeDocument/2006/relationships/slideLayout" Target="../slideLayouts/slideLayout83.xml"/><Relationship Id="rId7" Type="http://schemas.openxmlformats.org/officeDocument/2006/relationships/slideLayout" Target="../slideLayouts/slideLayout87.xml"/><Relationship Id="rId12" Type="http://schemas.openxmlformats.org/officeDocument/2006/relationships/slideLayout" Target="../slideLayouts/slideLayout92.xml"/><Relationship Id="rId17" Type="http://schemas.openxmlformats.org/officeDocument/2006/relationships/slideLayout" Target="../slideLayouts/slideLayout97.xml"/><Relationship Id="rId2" Type="http://schemas.openxmlformats.org/officeDocument/2006/relationships/slideLayout" Target="../slideLayouts/slideLayout82.xml"/><Relationship Id="rId16" Type="http://schemas.openxmlformats.org/officeDocument/2006/relationships/slideLayout" Target="../slideLayouts/slideLayout96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slideLayout" Target="../slideLayouts/slideLayout91.xml"/><Relationship Id="rId5" Type="http://schemas.openxmlformats.org/officeDocument/2006/relationships/slideLayout" Target="../slideLayouts/slideLayout85.xml"/><Relationship Id="rId15" Type="http://schemas.openxmlformats.org/officeDocument/2006/relationships/slideLayout" Target="../slideLayouts/slideLayout95.xml"/><Relationship Id="rId10" Type="http://schemas.openxmlformats.org/officeDocument/2006/relationships/slideLayout" Target="../slideLayouts/slideLayout90.xml"/><Relationship Id="rId4" Type="http://schemas.openxmlformats.org/officeDocument/2006/relationships/slideLayout" Target="../slideLayouts/slideLayout84.xml"/><Relationship Id="rId9" Type="http://schemas.openxmlformats.org/officeDocument/2006/relationships/slideLayout" Target="../slideLayouts/slideLayout89.xml"/><Relationship Id="rId14" Type="http://schemas.openxmlformats.org/officeDocument/2006/relationships/slideLayout" Target="../slideLayouts/slideLayout94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5.xml"/><Relationship Id="rId13" Type="http://schemas.openxmlformats.org/officeDocument/2006/relationships/theme" Target="../theme/theme9.xml"/><Relationship Id="rId3" Type="http://schemas.openxmlformats.org/officeDocument/2006/relationships/slideLayout" Target="../slideLayouts/slideLayout100.xml"/><Relationship Id="rId7" Type="http://schemas.openxmlformats.org/officeDocument/2006/relationships/slideLayout" Target="../slideLayouts/slideLayout104.xml"/><Relationship Id="rId12" Type="http://schemas.openxmlformats.org/officeDocument/2006/relationships/slideLayout" Target="../slideLayouts/slideLayout109.xml"/><Relationship Id="rId2" Type="http://schemas.openxmlformats.org/officeDocument/2006/relationships/slideLayout" Target="../slideLayouts/slideLayout99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98.xml"/><Relationship Id="rId6" Type="http://schemas.openxmlformats.org/officeDocument/2006/relationships/slideLayout" Target="../slideLayouts/slideLayout103.xml"/><Relationship Id="rId11" Type="http://schemas.openxmlformats.org/officeDocument/2006/relationships/slideLayout" Target="../slideLayouts/slideLayout108.xml"/><Relationship Id="rId5" Type="http://schemas.openxmlformats.org/officeDocument/2006/relationships/slideLayout" Target="../slideLayouts/slideLayout102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7.xml"/><Relationship Id="rId4" Type="http://schemas.openxmlformats.org/officeDocument/2006/relationships/slideLayout" Target="../slideLayouts/slideLayout101.xml"/><Relationship Id="rId9" Type="http://schemas.openxmlformats.org/officeDocument/2006/relationships/slideLayout" Target="../slideLayouts/slideLayout106.xml"/><Relationship Id="rId14" Type="http://schemas.openxmlformats.org/officeDocument/2006/relationships/tags" Target="../tags/tag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66D7AC9-16A6-F22B-B939-B000C21041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6943098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73" imgH="476" progId="TCLayout.ActiveDocument.1">
                  <p:embed/>
                </p:oleObj>
              </mc:Choice>
              <mc:Fallback>
                <p:oleObj name="think-cell Slide" r:id="rId16" imgW="473" imgH="47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66D7AC9-16A6-F22B-B939-B000C21041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02BCEDC-5BF0-4641-B029-97A0073B2C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940" y="442250"/>
            <a:ext cx="9894939" cy="111694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fi-FI"/>
              <a:t>Muokkaa perustyyl. napsautt.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F58EF0-5CC6-4362-996D-AE27B9C25A2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9940" y="2021541"/>
            <a:ext cx="10896601" cy="415542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CFC8207-E1E1-4120-A9AA-730F0E3F9D1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49941" y="6436659"/>
            <a:ext cx="1352595" cy="28481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fi-FI"/>
              <a:t>19.5.2021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31C7E16-846E-4C51-8A54-1FE93AAD5B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52828" y="6436659"/>
            <a:ext cx="4002024" cy="28481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r>
              <a:rPr lang="fi-FI"/>
              <a:t>Petra Kokko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D91B797-1514-4178-B4AD-AFE930D2326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48364" y="6436659"/>
            <a:ext cx="1093695" cy="28481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31160B98-140E-4345-B1A3-2A7247C42973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908548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957" r:id="rId12"/>
    <p:sldLayoutId id="2147483958" r:id="rId13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8288" indent="-268288" algn="l" defTabSz="914400" rtl="0" eaLnBrk="1" latinLnBrk="0" hangingPunct="1">
        <a:lnSpc>
          <a:spcPct val="95000"/>
        </a:lnSpc>
        <a:spcBef>
          <a:spcPts val="600"/>
        </a:spcBef>
        <a:buSzPct val="120000"/>
        <a:buFont typeface="Symbol" panose="05050102010706020507" pitchFamily="18" charset="2"/>
        <a:buChar char="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38163" indent="-269875" algn="l" defTabSz="914400" rtl="0" eaLnBrk="1" latinLnBrk="0" hangingPunct="1">
        <a:lnSpc>
          <a:spcPct val="95000"/>
        </a:lnSpc>
        <a:spcBef>
          <a:spcPts val="600"/>
        </a:spcBef>
        <a:buSzPct val="12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06450" indent="-268288" algn="l" defTabSz="914400" rtl="0" eaLnBrk="1" latinLnBrk="0" hangingPunct="1">
        <a:lnSpc>
          <a:spcPct val="95000"/>
        </a:lnSpc>
        <a:spcBef>
          <a:spcPts val="600"/>
        </a:spcBef>
        <a:buSzPct val="120000"/>
        <a:buFont typeface="Symbol" panose="05050102010706020507" pitchFamily="18" charset="2"/>
        <a:buChar char="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165225" indent="-268288" algn="l" defTabSz="914400" rtl="0" eaLnBrk="1" latinLnBrk="0" hangingPunct="1">
        <a:lnSpc>
          <a:spcPct val="95000"/>
        </a:lnSpc>
        <a:spcBef>
          <a:spcPts val="600"/>
        </a:spcBef>
        <a:buSzPct val="120000"/>
        <a:buFont typeface="Symbol" panose="05050102010706020507" pitchFamily="18" charset="2"/>
        <a:buChar char="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435100" indent="-269875" algn="l" defTabSz="914400" rtl="0" eaLnBrk="1" latinLnBrk="0" hangingPunct="1">
        <a:lnSpc>
          <a:spcPct val="95000"/>
        </a:lnSpc>
        <a:spcBef>
          <a:spcPts val="600"/>
        </a:spcBef>
        <a:buSzPct val="120000"/>
        <a:buFont typeface="Symbol" panose="05050102010706020507" pitchFamily="18" charset="2"/>
        <a:buChar char="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02BCEDC-5BF0-4641-B029-97A0073B2C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940" y="442250"/>
            <a:ext cx="9894939" cy="111694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fi-FI"/>
              <a:t>Muokkaa perustyyl. napsautt.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F58EF0-5CC6-4362-996D-AE27B9C25A2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9940" y="2021541"/>
            <a:ext cx="10896601" cy="415542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CFC8207-E1E1-4120-A9AA-730F0E3F9D1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49941" y="6436659"/>
            <a:ext cx="1352595" cy="28481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BF408733-3F8E-45BE-8526-0E0F500B8042}" type="datetimeFigureOut">
              <a:rPr lang="fi-FI" smtClean="0"/>
              <a:pPr/>
              <a:t>12.3.2026</a:t>
            </a:fld>
            <a:endParaRPr lang="fi-FI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31C7E16-846E-4C51-8A54-1FE93AAD5B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52828" y="6436659"/>
            <a:ext cx="4002024" cy="28481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endParaRPr lang="fi-FI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D91B797-1514-4178-B4AD-AFE930D2326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48364" y="6436659"/>
            <a:ext cx="1093695" cy="28481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31160B98-140E-4345-B1A3-2A7247C42973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861839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3" r:id="rId1"/>
    <p:sldLayoutId id="2147483794" r:id="rId2"/>
    <p:sldLayoutId id="2147483795" r:id="rId3"/>
    <p:sldLayoutId id="2147483796" r:id="rId4"/>
    <p:sldLayoutId id="2147483797" r:id="rId5"/>
    <p:sldLayoutId id="2147483798" r:id="rId6"/>
    <p:sldLayoutId id="2147483799" r:id="rId7"/>
    <p:sldLayoutId id="2147483800" r:id="rId8"/>
    <p:sldLayoutId id="2147483801" r:id="rId9"/>
    <p:sldLayoutId id="2147483802" r:id="rId10"/>
    <p:sldLayoutId id="214748380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8288" indent="-268288" algn="l" defTabSz="914400" rtl="0" eaLnBrk="1" latinLnBrk="0" hangingPunct="1">
        <a:lnSpc>
          <a:spcPct val="95000"/>
        </a:lnSpc>
        <a:spcBef>
          <a:spcPts val="600"/>
        </a:spcBef>
        <a:buSzPct val="120000"/>
        <a:buFont typeface="Symbol" panose="05050102010706020507" pitchFamily="18" charset="2"/>
        <a:buChar char="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38163" indent="-269875" algn="l" defTabSz="914400" rtl="0" eaLnBrk="1" latinLnBrk="0" hangingPunct="1">
        <a:lnSpc>
          <a:spcPct val="95000"/>
        </a:lnSpc>
        <a:spcBef>
          <a:spcPts val="600"/>
        </a:spcBef>
        <a:buSzPct val="12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06450" indent="-268288" algn="l" defTabSz="914400" rtl="0" eaLnBrk="1" latinLnBrk="0" hangingPunct="1">
        <a:lnSpc>
          <a:spcPct val="95000"/>
        </a:lnSpc>
        <a:spcBef>
          <a:spcPts val="600"/>
        </a:spcBef>
        <a:buSzPct val="120000"/>
        <a:buFont typeface="Symbol" panose="05050102010706020507" pitchFamily="18" charset="2"/>
        <a:buChar char="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165225" indent="-268288" algn="l" defTabSz="914400" rtl="0" eaLnBrk="1" latinLnBrk="0" hangingPunct="1">
        <a:lnSpc>
          <a:spcPct val="95000"/>
        </a:lnSpc>
        <a:spcBef>
          <a:spcPts val="600"/>
        </a:spcBef>
        <a:buSzPct val="120000"/>
        <a:buFont typeface="Symbol" panose="05050102010706020507" pitchFamily="18" charset="2"/>
        <a:buChar char="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435100" indent="-269875" algn="l" defTabSz="914400" rtl="0" eaLnBrk="1" latinLnBrk="0" hangingPunct="1">
        <a:lnSpc>
          <a:spcPct val="95000"/>
        </a:lnSpc>
        <a:spcBef>
          <a:spcPts val="600"/>
        </a:spcBef>
        <a:buSzPct val="120000"/>
        <a:buFont typeface="Symbol" panose="05050102010706020507" pitchFamily="18" charset="2"/>
        <a:buChar char="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02BCEDC-5BF0-4641-B029-97A0073B2C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6517" y="557866"/>
            <a:ext cx="11447929" cy="1468158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fi-FI" noProof="0"/>
              <a:t>Muokkaa </a:t>
            </a:r>
            <a:r>
              <a:rPr lang="fi-FI" noProof="0" err="1"/>
              <a:t>ots</a:t>
            </a:r>
            <a:r>
              <a:rPr lang="fi-FI" noProof="0"/>
              <a:t>. </a:t>
            </a:r>
            <a:r>
              <a:rPr lang="fi-FI" noProof="0" err="1"/>
              <a:t>perustyyl</a:t>
            </a:r>
            <a:r>
              <a:rPr lang="fi-FI" noProof="0"/>
              <a:t>. </a:t>
            </a:r>
            <a:r>
              <a:rPr lang="fi-FI" noProof="0" err="1"/>
              <a:t>napsautt</a:t>
            </a:r>
            <a:r>
              <a:rPr lang="fi-FI" noProof="0"/>
              <a:t>.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F58EF0-5CC6-4362-996D-AE27B9C25A2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6517" y="2272553"/>
            <a:ext cx="11447929" cy="337589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CFC8207-E1E1-4120-A9AA-730F0E3F9D1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635451" y="6269995"/>
            <a:ext cx="1972568" cy="28481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 spc="-40" baseline="0">
                <a:solidFill>
                  <a:schemeClr val="tx1"/>
                </a:solidFill>
              </a:defRPr>
            </a:lvl1pPr>
          </a:lstStyle>
          <a:p>
            <a:r>
              <a:rPr lang="fi-FI" noProof="0"/>
              <a:t>15.5.2024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31C7E16-846E-4C51-8A54-1FE93AAD5B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99148" y="6269995"/>
            <a:ext cx="4285358" cy="28481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 spc="-40" baseline="0">
                <a:solidFill>
                  <a:schemeClr val="tx1"/>
                </a:solidFill>
              </a:defRPr>
            </a:lvl1pPr>
          </a:lstStyle>
          <a:p>
            <a:endParaRPr lang="fi-FI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D91B797-1514-4178-B4AD-AFE930D2326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84507" y="6269995"/>
            <a:ext cx="639939" cy="28481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600" spc="-40" baseline="0">
                <a:solidFill>
                  <a:schemeClr val="tx1"/>
                </a:solidFill>
              </a:defRPr>
            </a:lvl1pPr>
          </a:lstStyle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/>
          </a:p>
        </p:txBody>
      </p:sp>
      <p:grpSp>
        <p:nvGrpSpPr>
          <p:cNvPr id="6" name="Ryhmä 5">
            <a:extLst>
              <a:ext uri="{FF2B5EF4-FFF2-40B4-BE49-F238E27FC236}">
                <a16:creationId xmlns:a16="http://schemas.microsoft.com/office/drawing/2014/main" id="{C428BF7F-BADF-A5D4-E999-C4E30FEB6D1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40807" y="5846175"/>
            <a:ext cx="772691" cy="734802"/>
            <a:chOff x="203203" y="203198"/>
            <a:chExt cx="1117587" cy="1062785"/>
          </a:xfrm>
        </p:grpSpPr>
        <p:sp>
          <p:nvSpPr>
            <p:cNvPr id="10" name="Vapaamuotoinen: Muoto 9">
              <a:extLst>
                <a:ext uri="{FF2B5EF4-FFF2-40B4-BE49-F238E27FC236}">
                  <a16:creationId xmlns:a16="http://schemas.microsoft.com/office/drawing/2014/main" id="{5553AB73-A221-F373-F8CF-3135BCEB23C3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1" name="Vapaamuotoinen: Muoto 10">
              <a:extLst>
                <a:ext uri="{FF2B5EF4-FFF2-40B4-BE49-F238E27FC236}">
                  <a16:creationId xmlns:a16="http://schemas.microsoft.com/office/drawing/2014/main" id="{B75798F8-2252-4E77-B921-3F5AACE9A080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2" name="Vapaamuotoinen: Muoto 11">
              <a:extLst>
                <a:ext uri="{FF2B5EF4-FFF2-40B4-BE49-F238E27FC236}">
                  <a16:creationId xmlns:a16="http://schemas.microsoft.com/office/drawing/2014/main" id="{9833B0C8-D237-F9BD-3AF0-CA9C93F83774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3" name="Vapaamuotoinen: Muoto 12">
              <a:extLst>
                <a:ext uri="{FF2B5EF4-FFF2-40B4-BE49-F238E27FC236}">
                  <a16:creationId xmlns:a16="http://schemas.microsoft.com/office/drawing/2014/main" id="{A4027529-A49F-9484-D50F-0263D34ECC1B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4" name="Vapaamuotoinen: Muoto 13">
              <a:extLst>
                <a:ext uri="{FF2B5EF4-FFF2-40B4-BE49-F238E27FC236}">
                  <a16:creationId xmlns:a16="http://schemas.microsoft.com/office/drawing/2014/main" id="{81B622A0-0FFF-91B6-C423-C6B8387A08D0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5" name="Vapaamuotoinen: Muoto 14">
              <a:extLst>
                <a:ext uri="{FF2B5EF4-FFF2-40B4-BE49-F238E27FC236}">
                  <a16:creationId xmlns:a16="http://schemas.microsoft.com/office/drawing/2014/main" id="{BD928471-934D-5723-55D3-CDF1016C3EAF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6" name="Vapaamuotoinen: Muoto 15">
              <a:extLst>
                <a:ext uri="{FF2B5EF4-FFF2-40B4-BE49-F238E27FC236}">
                  <a16:creationId xmlns:a16="http://schemas.microsoft.com/office/drawing/2014/main" id="{0D587FF2-12EA-C85C-55D4-ED72EED547B7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7" name="Vapaamuotoinen: Muoto 16">
              <a:extLst>
                <a:ext uri="{FF2B5EF4-FFF2-40B4-BE49-F238E27FC236}">
                  <a16:creationId xmlns:a16="http://schemas.microsoft.com/office/drawing/2014/main" id="{1B734ACC-FF66-EB5F-7DF0-C5D6D9F4A584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</p:grpSp>
    </p:spTree>
    <p:extLst>
      <p:ext uri="{BB962C8B-B14F-4D97-AF65-F5344CB8AC3E}">
        <p14:creationId xmlns:p14="http://schemas.microsoft.com/office/powerpoint/2010/main" val="16967565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5" r:id="rId1"/>
    <p:sldLayoutId id="2147483806" r:id="rId2"/>
    <p:sldLayoutId id="2147483807" r:id="rId3"/>
    <p:sldLayoutId id="2147483808" r:id="rId4"/>
    <p:sldLayoutId id="2147483809" r:id="rId5"/>
    <p:sldLayoutId id="2147483810" r:id="rId6"/>
    <p:sldLayoutId id="2147483811" r:id="rId7"/>
    <p:sldLayoutId id="2147483812" r:id="rId8"/>
    <p:sldLayoutId id="2147483813" r:id="rId9"/>
    <p:sldLayoutId id="2147483814" r:id="rId10"/>
    <p:sldLayoutId id="2147483815" r:id="rId11"/>
    <p:sldLayoutId id="2147483816" r:id="rId12"/>
    <p:sldLayoutId id="2147483817" r:id="rId13"/>
    <p:sldLayoutId id="2147483818" r:id="rId14"/>
    <p:sldLayoutId id="2147483819" r:id="rId15"/>
    <p:sldLayoutId id="2147483820" r:id="rId16"/>
    <p:sldLayoutId id="2147483821" r:id="rId17"/>
    <p:sldLayoutId id="2147483822" r:id="rId18"/>
    <p:sldLayoutId id="2147483823" r:id="rId19"/>
    <p:sldLayoutId id="2147483824" r:id="rId20"/>
    <p:sldLayoutId id="2147483825" r:id="rId21"/>
    <p:sldLayoutId id="2147483826" r:id="rId22"/>
    <p:sldLayoutId id="2147483827" r:id="rId23"/>
    <p:sldLayoutId id="2147483828" r:id="rId24"/>
    <p:sldLayoutId id="2147483829" r:id="rId25"/>
    <p:sldLayoutId id="2147483830" r:id="rId26"/>
    <p:sldLayoutId id="2147483831" r:id="rId27"/>
    <p:sldLayoutId id="2147483832" r:id="rId28"/>
    <p:sldLayoutId id="2147483833" r:id="rId29"/>
    <p:sldLayoutId id="2147483834" r:id="rId30"/>
    <p:sldLayoutId id="2147483835" r:id="rId31"/>
    <p:sldLayoutId id="2147483836" r:id="rId32"/>
    <p:sldLayoutId id="2147483837" r:id="rId33"/>
    <p:sldLayoutId id="2147483838" r:id="rId34"/>
    <p:sldLayoutId id="2147483839" r:id="rId35"/>
    <p:sldLayoutId id="2147483840" r:id="rId36"/>
    <p:sldLayoutId id="2147483841" r:id="rId37"/>
    <p:sldLayoutId id="2147483842" r:id="rId38"/>
    <p:sldLayoutId id="2147483843" r:id="rId39"/>
    <p:sldLayoutId id="2147483844" r:id="rId40"/>
    <p:sldLayoutId id="2147483845" r:id="rId41"/>
    <p:sldLayoutId id="2147483846" r:id="rId42"/>
    <p:sldLayoutId id="2147483847" r:id="rId43"/>
    <p:sldLayoutId id="2147483848" r:id="rId44"/>
    <p:sldLayoutId id="2147483849" r:id="rId45"/>
    <p:sldLayoutId id="2147483850" r:id="rId46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5000" kern="1200" spc="-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tabLst/>
        <a:defRPr sz="2400" kern="1200" spc="-30" baseline="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2000" kern="1200" spc="-30" baseline="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000" kern="1200" spc="-30" baseline="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000" kern="1200" spc="-30" baseline="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000" kern="1200" spc="-3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02BCEDC-5BF0-4641-B029-97A0073B2C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6517" y="557866"/>
            <a:ext cx="11447929" cy="1468158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fi-FI" noProof="0"/>
              <a:t>Muokkaa </a:t>
            </a:r>
            <a:r>
              <a:rPr lang="fi-FI" noProof="0" err="1"/>
              <a:t>ots</a:t>
            </a:r>
            <a:r>
              <a:rPr lang="fi-FI" noProof="0"/>
              <a:t>. </a:t>
            </a:r>
            <a:r>
              <a:rPr lang="fi-FI" noProof="0" err="1"/>
              <a:t>perustyyl</a:t>
            </a:r>
            <a:r>
              <a:rPr lang="fi-FI" noProof="0"/>
              <a:t>. </a:t>
            </a:r>
            <a:r>
              <a:rPr lang="fi-FI" noProof="0" err="1"/>
              <a:t>napsautt</a:t>
            </a:r>
            <a:r>
              <a:rPr lang="fi-FI" noProof="0"/>
              <a:t>.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F58EF0-5CC6-4362-996D-AE27B9C25A2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6517" y="2272553"/>
            <a:ext cx="11447929" cy="337589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CFC8207-E1E1-4120-A9AA-730F0E3F9D1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635451" y="6269995"/>
            <a:ext cx="1972568" cy="28481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 spc="-40" baseline="0">
                <a:solidFill>
                  <a:schemeClr val="tx1"/>
                </a:solidFill>
              </a:defRPr>
            </a:lvl1pPr>
          </a:lstStyle>
          <a:p>
            <a:fld id="{D6C9D6BF-969E-45D2-AECA-1D49751901DC}" type="datetime1">
              <a:rPr lang="fi-FI" noProof="0" smtClean="0"/>
              <a:t>12.3.2026</a:t>
            </a:fld>
            <a:endParaRPr lang="fi-FI" noProof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31C7E16-846E-4C51-8A54-1FE93AAD5B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99148" y="6269995"/>
            <a:ext cx="4285358" cy="28481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 spc="-40" baseline="0">
                <a:solidFill>
                  <a:schemeClr val="tx1"/>
                </a:solidFill>
              </a:defRPr>
            </a:lvl1pPr>
          </a:lstStyle>
          <a:p>
            <a:r>
              <a:rPr lang="fi-FI" noProof="0"/>
              <a:t>heli.valkeinen(at)thl.fi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D91B797-1514-4178-B4AD-AFE930D2326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84507" y="6269995"/>
            <a:ext cx="639939" cy="28481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600" spc="-40" baseline="0">
                <a:solidFill>
                  <a:schemeClr val="tx1"/>
                </a:solidFill>
              </a:defRPr>
            </a:lvl1pPr>
          </a:lstStyle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/>
          </a:p>
        </p:txBody>
      </p:sp>
      <p:grpSp>
        <p:nvGrpSpPr>
          <p:cNvPr id="6" name="Ryhmä 5">
            <a:extLst>
              <a:ext uri="{FF2B5EF4-FFF2-40B4-BE49-F238E27FC236}">
                <a16:creationId xmlns:a16="http://schemas.microsoft.com/office/drawing/2014/main" id="{C428BF7F-BADF-A5D4-E999-C4E30FEB6D1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40807" y="5846175"/>
            <a:ext cx="772691" cy="734802"/>
            <a:chOff x="203203" y="203198"/>
            <a:chExt cx="1117587" cy="1062785"/>
          </a:xfrm>
        </p:grpSpPr>
        <p:sp>
          <p:nvSpPr>
            <p:cNvPr id="10" name="Vapaamuotoinen: Muoto 9">
              <a:extLst>
                <a:ext uri="{FF2B5EF4-FFF2-40B4-BE49-F238E27FC236}">
                  <a16:creationId xmlns:a16="http://schemas.microsoft.com/office/drawing/2014/main" id="{5553AB73-A221-F373-F8CF-3135BCEB23C3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1" name="Vapaamuotoinen: Muoto 10">
              <a:extLst>
                <a:ext uri="{FF2B5EF4-FFF2-40B4-BE49-F238E27FC236}">
                  <a16:creationId xmlns:a16="http://schemas.microsoft.com/office/drawing/2014/main" id="{B75798F8-2252-4E77-B921-3F5AACE9A080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2" name="Vapaamuotoinen: Muoto 11">
              <a:extLst>
                <a:ext uri="{FF2B5EF4-FFF2-40B4-BE49-F238E27FC236}">
                  <a16:creationId xmlns:a16="http://schemas.microsoft.com/office/drawing/2014/main" id="{9833B0C8-D237-F9BD-3AF0-CA9C93F83774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3" name="Vapaamuotoinen: Muoto 12">
              <a:extLst>
                <a:ext uri="{FF2B5EF4-FFF2-40B4-BE49-F238E27FC236}">
                  <a16:creationId xmlns:a16="http://schemas.microsoft.com/office/drawing/2014/main" id="{A4027529-A49F-9484-D50F-0263D34ECC1B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4" name="Vapaamuotoinen: Muoto 13">
              <a:extLst>
                <a:ext uri="{FF2B5EF4-FFF2-40B4-BE49-F238E27FC236}">
                  <a16:creationId xmlns:a16="http://schemas.microsoft.com/office/drawing/2014/main" id="{81B622A0-0FFF-91B6-C423-C6B8387A08D0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5" name="Vapaamuotoinen: Muoto 14">
              <a:extLst>
                <a:ext uri="{FF2B5EF4-FFF2-40B4-BE49-F238E27FC236}">
                  <a16:creationId xmlns:a16="http://schemas.microsoft.com/office/drawing/2014/main" id="{BD928471-934D-5723-55D3-CDF1016C3EAF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6" name="Vapaamuotoinen: Muoto 15">
              <a:extLst>
                <a:ext uri="{FF2B5EF4-FFF2-40B4-BE49-F238E27FC236}">
                  <a16:creationId xmlns:a16="http://schemas.microsoft.com/office/drawing/2014/main" id="{0D587FF2-12EA-C85C-55D4-ED72EED547B7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  <p:sp>
          <p:nvSpPr>
            <p:cNvPr id="17" name="Vapaamuotoinen: Muoto 16">
              <a:extLst>
                <a:ext uri="{FF2B5EF4-FFF2-40B4-BE49-F238E27FC236}">
                  <a16:creationId xmlns:a16="http://schemas.microsoft.com/office/drawing/2014/main" id="{1B734ACC-FF66-EB5F-7DF0-C5D6D9F4A584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/>
            </a:p>
          </p:txBody>
        </p:sp>
      </p:grpSp>
    </p:spTree>
    <p:extLst>
      <p:ext uri="{BB962C8B-B14F-4D97-AF65-F5344CB8AC3E}">
        <p14:creationId xmlns:p14="http://schemas.microsoft.com/office/powerpoint/2010/main" val="5494952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2" r:id="rId1"/>
    <p:sldLayoutId id="2147483853" r:id="rId2"/>
    <p:sldLayoutId id="2147483854" r:id="rId3"/>
    <p:sldLayoutId id="2147483855" r:id="rId4"/>
    <p:sldLayoutId id="2147483856" r:id="rId5"/>
    <p:sldLayoutId id="2147483857" r:id="rId6"/>
    <p:sldLayoutId id="2147483858" r:id="rId7"/>
    <p:sldLayoutId id="2147483859" r:id="rId8"/>
    <p:sldLayoutId id="2147483860" r:id="rId9"/>
    <p:sldLayoutId id="2147483861" r:id="rId10"/>
    <p:sldLayoutId id="2147483862" r:id="rId11"/>
    <p:sldLayoutId id="2147483863" r:id="rId12"/>
    <p:sldLayoutId id="2147483864" r:id="rId13"/>
    <p:sldLayoutId id="2147483865" r:id="rId14"/>
    <p:sldLayoutId id="2147483866" r:id="rId15"/>
    <p:sldLayoutId id="2147483867" r:id="rId16"/>
    <p:sldLayoutId id="2147483868" r:id="rId17"/>
    <p:sldLayoutId id="2147483869" r:id="rId18"/>
    <p:sldLayoutId id="2147483870" r:id="rId19"/>
    <p:sldLayoutId id="2147483871" r:id="rId20"/>
    <p:sldLayoutId id="2147483872" r:id="rId21"/>
    <p:sldLayoutId id="2147483873" r:id="rId22"/>
    <p:sldLayoutId id="2147483874" r:id="rId23"/>
    <p:sldLayoutId id="2147483875" r:id="rId24"/>
    <p:sldLayoutId id="2147483876" r:id="rId25"/>
    <p:sldLayoutId id="2147483877" r:id="rId26"/>
    <p:sldLayoutId id="2147483878" r:id="rId27"/>
    <p:sldLayoutId id="2147483879" r:id="rId28"/>
    <p:sldLayoutId id="2147483880" r:id="rId29"/>
    <p:sldLayoutId id="2147483881" r:id="rId30"/>
    <p:sldLayoutId id="2147483882" r:id="rId31"/>
    <p:sldLayoutId id="2147483883" r:id="rId32"/>
    <p:sldLayoutId id="2147483884" r:id="rId33"/>
    <p:sldLayoutId id="2147483885" r:id="rId34"/>
    <p:sldLayoutId id="2147483886" r:id="rId35"/>
    <p:sldLayoutId id="2147483887" r:id="rId36"/>
    <p:sldLayoutId id="2147483888" r:id="rId37"/>
    <p:sldLayoutId id="2147483889" r:id="rId38"/>
    <p:sldLayoutId id="2147483890" r:id="rId39"/>
    <p:sldLayoutId id="2147483891" r:id="rId40"/>
    <p:sldLayoutId id="2147483892" r:id="rId41"/>
    <p:sldLayoutId id="2147483893" r:id="rId42"/>
    <p:sldLayoutId id="2147483894" r:id="rId43"/>
    <p:sldLayoutId id="2147483895" r:id="rId44"/>
    <p:sldLayoutId id="2147483896" r:id="rId45"/>
    <p:sldLayoutId id="2147483897" r:id="rId46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5000" kern="1200" spc="-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tabLst/>
        <a:defRPr sz="2400" kern="1200" spc="-30" baseline="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2000" kern="1200" spc="-30" baseline="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000" kern="1200" spc="-30" baseline="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000" kern="1200" spc="-30" baseline="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000" kern="1200" spc="-3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02BCEDC-5BF0-4641-B029-97A0073B2C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6517" y="557866"/>
            <a:ext cx="11447929" cy="1468158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fi-FI" noProof="0" dirty="0"/>
              <a:t>Muokkaa </a:t>
            </a:r>
            <a:r>
              <a:rPr lang="fi-FI" noProof="0" dirty="0" err="1"/>
              <a:t>ots</a:t>
            </a:r>
            <a:r>
              <a:rPr lang="fi-FI" noProof="0" dirty="0"/>
              <a:t>. </a:t>
            </a:r>
            <a:r>
              <a:rPr lang="fi-FI" noProof="0" dirty="0" err="1"/>
              <a:t>perustyyl</a:t>
            </a:r>
            <a:r>
              <a:rPr lang="fi-FI" noProof="0" dirty="0"/>
              <a:t>. </a:t>
            </a:r>
            <a:r>
              <a:rPr lang="fi-FI" noProof="0" dirty="0" err="1"/>
              <a:t>napsautt</a:t>
            </a:r>
            <a:r>
              <a:rPr lang="fi-FI" noProof="0" dirty="0"/>
              <a:t>.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F58EF0-5CC6-4362-996D-AE27B9C25A2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6517" y="2272553"/>
            <a:ext cx="11447929" cy="337589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i-FI" noProof="0" dirty="0"/>
              <a:t>Muokkaa tekstin perustyylejä napsauttamalla</a:t>
            </a:r>
          </a:p>
          <a:p>
            <a:pPr lvl="1"/>
            <a:r>
              <a:rPr lang="fi-FI" noProof="0" dirty="0"/>
              <a:t>toinen taso</a:t>
            </a:r>
          </a:p>
          <a:p>
            <a:pPr lvl="2"/>
            <a:r>
              <a:rPr lang="fi-FI" noProof="0" dirty="0"/>
              <a:t>kolmas taso</a:t>
            </a:r>
          </a:p>
          <a:p>
            <a:pPr lvl="3"/>
            <a:r>
              <a:rPr lang="fi-FI" noProof="0" dirty="0"/>
              <a:t>neljäs taso</a:t>
            </a:r>
          </a:p>
          <a:p>
            <a:pPr lvl="4"/>
            <a:r>
              <a:rPr lang="fi-FI" noProof="0" dirty="0"/>
              <a:t>viides taso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CFC8207-E1E1-4120-A9AA-730F0E3F9D1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635451" y="6269995"/>
            <a:ext cx="1972568" cy="28481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 spc="-40" baseline="0">
                <a:solidFill>
                  <a:schemeClr val="tx1"/>
                </a:solidFill>
              </a:defRPr>
            </a:lvl1pPr>
          </a:lstStyle>
          <a:p>
            <a:fld id="{76BE8DE8-6261-4CD3-8D49-9AB11C9718BA}" type="datetime1">
              <a:rPr lang="fi-FI" noProof="0" smtClean="0"/>
              <a:pPr/>
              <a:t>12.3.2026</a:t>
            </a:fld>
            <a:endParaRPr lang="fi-FI" noProof="0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31C7E16-846E-4C51-8A54-1FE93AAD5B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99148" y="6269995"/>
            <a:ext cx="4285358" cy="28481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 spc="-40" baseline="0">
                <a:solidFill>
                  <a:schemeClr val="tx1"/>
                </a:solidFill>
              </a:defRPr>
            </a:lvl1pPr>
          </a:lstStyle>
          <a:p>
            <a:endParaRPr lang="fi-FI" noProof="0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D91B797-1514-4178-B4AD-AFE930D2326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84507" y="6269995"/>
            <a:ext cx="639939" cy="28481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600" spc="-40" baseline="0">
                <a:solidFill>
                  <a:schemeClr val="tx1"/>
                </a:solidFill>
              </a:defRPr>
            </a:lvl1pPr>
          </a:lstStyle>
          <a:p>
            <a:fld id="{31160B98-140E-4345-B1A3-2A7247C42973}" type="slidenum">
              <a:rPr lang="fi-FI" noProof="0" smtClean="0"/>
              <a:pPr/>
              <a:t>‹#›</a:t>
            </a:fld>
            <a:endParaRPr lang="fi-FI" noProof="0" dirty="0"/>
          </a:p>
        </p:txBody>
      </p:sp>
      <p:grpSp>
        <p:nvGrpSpPr>
          <p:cNvPr id="6" name="Ryhmä 5">
            <a:extLst>
              <a:ext uri="{FF2B5EF4-FFF2-40B4-BE49-F238E27FC236}">
                <a16:creationId xmlns:a16="http://schemas.microsoft.com/office/drawing/2014/main" id="{C428BF7F-BADF-A5D4-E999-C4E30FEB6D1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40807" y="5846175"/>
            <a:ext cx="772691" cy="734802"/>
            <a:chOff x="203203" y="203198"/>
            <a:chExt cx="1117587" cy="1062785"/>
          </a:xfrm>
        </p:grpSpPr>
        <p:sp>
          <p:nvSpPr>
            <p:cNvPr id="10" name="Vapaamuotoinen: Muoto 9">
              <a:extLst>
                <a:ext uri="{FF2B5EF4-FFF2-40B4-BE49-F238E27FC236}">
                  <a16:creationId xmlns:a16="http://schemas.microsoft.com/office/drawing/2014/main" id="{5553AB73-A221-F373-F8CF-3135BCEB23C3}"/>
                </a:ext>
              </a:extLst>
            </p:cNvPr>
            <p:cNvSpPr/>
            <p:nvPr/>
          </p:nvSpPr>
          <p:spPr>
            <a:xfrm>
              <a:off x="1261204" y="203198"/>
              <a:ext cx="59586" cy="213015"/>
            </a:xfrm>
            <a:custGeom>
              <a:avLst/>
              <a:gdLst>
                <a:gd name="connsiteX0" fmla="*/ 59587 w 59586"/>
                <a:gd name="connsiteY0" fmla="*/ 188849 h 213015"/>
                <a:gd name="connsiteX1" fmla="*/ 49503 w 59586"/>
                <a:gd name="connsiteY1" fmla="*/ 192010 h 213015"/>
                <a:gd name="connsiteX2" fmla="*/ 40017 w 59586"/>
                <a:gd name="connsiteY2" fmla="*/ 192874 h 213015"/>
                <a:gd name="connsiteX3" fmla="*/ 27050 w 59586"/>
                <a:gd name="connsiteY3" fmla="*/ 188694 h 213015"/>
                <a:gd name="connsiteX4" fmla="*/ 23025 w 59586"/>
                <a:gd name="connsiteY4" fmla="*/ 173606 h 213015"/>
                <a:gd name="connsiteX5" fmla="*/ 23025 w 59586"/>
                <a:gd name="connsiteY5" fmla="*/ 0 h 213015"/>
                <a:gd name="connsiteX6" fmla="*/ 0 w 59586"/>
                <a:gd name="connsiteY6" fmla="*/ 0 h 213015"/>
                <a:gd name="connsiteX7" fmla="*/ 0 w 59586"/>
                <a:gd name="connsiteY7" fmla="*/ 174445 h 213015"/>
                <a:gd name="connsiteX8" fmla="*/ 8496 w 59586"/>
                <a:gd name="connsiteY8" fmla="*/ 203530 h 213015"/>
                <a:gd name="connsiteX9" fmla="*/ 34556 w 59586"/>
                <a:gd name="connsiteY9" fmla="*/ 213016 h 213015"/>
                <a:gd name="connsiteX10" fmla="*/ 45770 w 59586"/>
                <a:gd name="connsiteY10" fmla="*/ 212026 h 213015"/>
                <a:gd name="connsiteX11" fmla="*/ 55854 w 59586"/>
                <a:gd name="connsiteY11" fmla="*/ 208991 h 213015"/>
                <a:gd name="connsiteX12" fmla="*/ 59587 w 59586"/>
                <a:gd name="connsiteY12" fmla="*/ 188849 h 2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86" h="213015">
                  <a:moveTo>
                    <a:pt x="59587" y="188849"/>
                  </a:moveTo>
                  <a:cubicBezTo>
                    <a:pt x="55357" y="190386"/>
                    <a:pt x="52005" y="191437"/>
                    <a:pt x="49503" y="192010"/>
                  </a:cubicBezTo>
                  <a:cubicBezTo>
                    <a:pt x="46990" y="192582"/>
                    <a:pt x="43840" y="192874"/>
                    <a:pt x="40017" y="192874"/>
                  </a:cubicBezTo>
                  <a:cubicBezTo>
                    <a:pt x="34048" y="192874"/>
                    <a:pt x="29754" y="191477"/>
                    <a:pt x="27050" y="188694"/>
                  </a:cubicBezTo>
                  <a:cubicBezTo>
                    <a:pt x="24372" y="185915"/>
                    <a:pt x="23025" y="180871"/>
                    <a:pt x="23025" y="173606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174445"/>
                  </a:lnTo>
                  <a:cubicBezTo>
                    <a:pt x="0" y="187513"/>
                    <a:pt x="2830" y="197194"/>
                    <a:pt x="8496" y="203530"/>
                  </a:cubicBezTo>
                  <a:cubicBezTo>
                    <a:pt x="14159" y="209866"/>
                    <a:pt x="22860" y="213016"/>
                    <a:pt x="34556" y="213016"/>
                  </a:cubicBezTo>
                  <a:cubicBezTo>
                    <a:pt x="38379" y="213016"/>
                    <a:pt x="42123" y="212674"/>
                    <a:pt x="45770" y="212026"/>
                  </a:cubicBezTo>
                  <a:cubicBezTo>
                    <a:pt x="49428" y="211352"/>
                    <a:pt x="52779" y="210337"/>
                    <a:pt x="55854" y="208991"/>
                  </a:cubicBezTo>
                  <a:lnTo>
                    <a:pt x="59587" y="188849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1" name="Vapaamuotoinen: Muoto 10">
              <a:extLst>
                <a:ext uri="{FF2B5EF4-FFF2-40B4-BE49-F238E27FC236}">
                  <a16:creationId xmlns:a16="http://schemas.microsoft.com/office/drawing/2014/main" id="{B75798F8-2252-4E77-B921-3F5AACE9A080}"/>
                </a:ext>
              </a:extLst>
            </p:cNvPr>
            <p:cNvSpPr/>
            <p:nvPr/>
          </p:nvSpPr>
          <p:spPr>
            <a:xfrm>
              <a:off x="1102784" y="203198"/>
              <a:ext cx="126059" cy="210132"/>
            </a:xfrm>
            <a:custGeom>
              <a:avLst/>
              <a:gdLst>
                <a:gd name="connsiteX0" fmla="*/ 103049 w 126059"/>
                <a:gd name="connsiteY0" fmla="*/ 210132 h 210132"/>
                <a:gd name="connsiteX1" fmla="*/ 126060 w 126059"/>
                <a:gd name="connsiteY1" fmla="*/ 210132 h 210132"/>
                <a:gd name="connsiteX2" fmla="*/ 126060 w 126059"/>
                <a:gd name="connsiteY2" fmla="*/ 118019 h 210132"/>
                <a:gd name="connsiteX3" fmla="*/ 118439 w 126059"/>
                <a:gd name="connsiteY3" fmla="*/ 87224 h 210132"/>
                <a:gd name="connsiteX4" fmla="*/ 98146 w 126059"/>
                <a:gd name="connsiteY4" fmla="*/ 69239 h 210132"/>
                <a:gd name="connsiteX5" fmla="*/ 69940 w 126059"/>
                <a:gd name="connsiteY5" fmla="*/ 63335 h 210132"/>
                <a:gd name="connsiteX6" fmla="*/ 42890 w 126059"/>
                <a:gd name="connsiteY6" fmla="*/ 69098 h 210132"/>
                <a:gd name="connsiteX7" fmla="*/ 23025 w 126059"/>
                <a:gd name="connsiteY7" fmla="*/ 87793 h 210132"/>
                <a:gd name="connsiteX8" fmla="*/ 23025 w 126059"/>
                <a:gd name="connsiteY8" fmla="*/ 0 h 210132"/>
                <a:gd name="connsiteX9" fmla="*/ 0 w 126059"/>
                <a:gd name="connsiteY9" fmla="*/ 0 h 210132"/>
                <a:gd name="connsiteX10" fmla="*/ 0 w 126059"/>
                <a:gd name="connsiteY10" fmla="*/ 210132 h 210132"/>
                <a:gd name="connsiteX11" fmla="*/ 23025 w 126059"/>
                <a:gd name="connsiteY11" fmla="*/ 210132 h 210132"/>
                <a:gd name="connsiteX12" fmla="*/ 23025 w 126059"/>
                <a:gd name="connsiteY12" fmla="*/ 133870 h 210132"/>
                <a:gd name="connsiteX13" fmla="*/ 29783 w 126059"/>
                <a:gd name="connsiteY13" fmla="*/ 104353 h 210132"/>
                <a:gd name="connsiteX14" fmla="*/ 46915 w 126059"/>
                <a:gd name="connsiteY14" fmla="*/ 88391 h 210132"/>
                <a:gd name="connsiteX15" fmla="*/ 67654 w 126059"/>
                <a:gd name="connsiteY15" fmla="*/ 83502 h 210132"/>
                <a:gd name="connsiteX16" fmla="*/ 92836 w 126059"/>
                <a:gd name="connsiteY16" fmla="*/ 92862 h 210132"/>
                <a:gd name="connsiteX17" fmla="*/ 103049 w 126059"/>
                <a:gd name="connsiteY17" fmla="*/ 126112 h 210132"/>
                <a:gd name="connsiteX18" fmla="*/ 103049 w 126059"/>
                <a:gd name="connsiteY18" fmla="*/ 210132 h 2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059" h="210132">
                  <a:moveTo>
                    <a:pt x="103049" y="210132"/>
                  </a:moveTo>
                  <a:lnTo>
                    <a:pt x="126060" y="210132"/>
                  </a:lnTo>
                  <a:lnTo>
                    <a:pt x="126060" y="118019"/>
                  </a:lnTo>
                  <a:cubicBezTo>
                    <a:pt x="126060" y="105548"/>
                    <a:pt x="123533" y="95274"/>
                    <a:pt x="118439" y="87224"/>
                  </a:cubicBezTo>
                  <a:cubicBezTo>
                    <a:pt x="113348" y="79171"/>
                    <a:pt x="106591" y="73163"/>
                    <a:pt x="98146" y="69239"/>
                  </a:cubicBezTo>
                  <a:cubicBezTo>
                    <a:pt x="89700" y="65315"/>
                    <a:pt x="80290" y="63335"/>
                    <a:pt x="69940" y="63335"/>
                  </a:cubicBezTo>
                  <a:cubicBezTo>
                    <a:pt x="60148" y="63335"/>
                    <a:pt x="51130" y="65239"/>
                    <a:pt x="42890" y="69098"/>
                  </a:cubicBezTo>
                  <a:cubicBezTo>
                    <a:pt x="34646" y="72947"/>
                    <a:pt x="28018" y="79171"/>
                    <a:pt x="23025" y="87793"/>
                  </a:cubicBezTo>
                  <a:lnTo>
                    <a:pt x="23025" y="0"/>
                  </a:lnTo>
                  <a:lnTo>
                    <a:pt x="0" y="0"/>
                  </a:lnTo>
                  <a:lnTo>
                    <a:pt x="0" y="210132"/>
                  </a:lnTo>
                  <a:lnTo>
                    <a:pt x="23025" y="210132"/>
                  </a:lnTo>
                  <a:lnTo>
                    <a:pt x="23025" y="133870"/>
                  </a:lnTo>
                  <a:cubicBezTo>
                    <a:pt x="23025" y="121601"/>
                    <a:pt x="25286" y="111758"/>
                    <a:pt x="29783" y="104353"/>
                  </a:cubicBezTo>
                  <a:cubicBezTo>
                    <a:pt x="34304" y="96988"/>
                    <a:pt x="40006" y="91642"/>
                    <a:pt x="46915" y="88391"/>
                  </a:cubicBezTo>
                  <a:cubicBezTo>
                    <a:pt x="53823" y="85140"/>
                    <a:pt x="60721" y="83502"/>
                    <a:pt x="67654" y="83502"/>
                  </a:cubicBezTo>
                  <a:cubicBezTo>
                    <a:pt x="77637" y="83502"/>
                    <a:pt x="86028" y="86627"/>
                    <a:pt x="92836" y="92862"/>
                  </a:cubicBezTo>
                  <a:cubicBezTo>
                    <a:pt x="99643" y="99097"/>
                    <a:pt x="103049" y="110171"/>
                    <a:pt x="103049" y="126112"/>
                  </a:cubicBezTo>
                  <a:lnTo>
                    <a:pt x="103049" y="210132"/>
                  </a:ln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2" name="Vapaamuotoinen: Muoto 11">
              <a:extLst>
                <a:ext uri="{FF2B5EF4-FFF2-40B4-BE49-F238E27FC236}">
                  <a16:creationId xmlns:a16="http://schemas.microsoft.com/office/drawing/2014/main" id="{9833B0C8-D237-F9BD-3AF0-CA9C93F83774}"/>
                </a:ext>
              </a:extLst>
            </p:cNvPr>
            <p:cNvSpPr/>
            <p:nvPr/>
          </p:nvSpPr>
          <p:spPr>
            <a:xfrm>
              <a:off x="973095" y="228535"/>
              <a:ext cx="106792" cy="187653"/>
            </a:xfrm>
            <a:custGeom>
              <a:avLst/>
              <a:gdLst>
                <a:gd name="connsiteX0" fmla="*/ 51800 w 106792"/>
                <a:gd name="connsiteY0" fmla="*/ 145084 h 187653"/>
                <a:gd name="connsiteX1" fmla="*/ 51800 w 106792"/>
                <a:gd name="connsiteY1" fmla="*/ 60743 h 187653"/>
                <a:gd name="connsiteX2" fmla="*/ 104201 w 106792"/>
                <a:gd name="connsiteY2" fmla="*/ 60743 h 187653"/>
                <a:gd name="connsiteX3" fmla="*/ 104201 w 106792"/>
                <a:gd name="connsiteY3" fmla="*/ 40882 h 187653"/>
                <a:gd name="connsiteX4" fmla="*/ 51800 w 106792"/>
                <a:gd name="connsiteY4" fmla="*/ 40882 h 187653"/>
                <a:gd name="connsiteX5" fmla="*/ 51800 w 106792"/>
                <a:gd name="connsiteY5" fmla="*/ 0 h 187653"/>
                <a:gd name="connsiteX6" fmla="*/ 28778 w 106792"/>
                <a:gd name="connsiteY6" fmla="*/ 6336 h 187653"/>
                <a:gd name="connsiteX7" fmla="*/ 28778 w 106792"/>
                <a:gd name="connsiteY7" fmla="*/ 40882 h 187653"/>
                <a:gd name="connsiteX8" fmla="*/ 0 w 106792"/>
                <a:gd name="connsiteY8" fmla="*/ 40882 h 187653"/>
                <a:gd name="connsiteX9" fmla="*/ 0 w 106792"/>
                <a:gd name="connsiteY9" fmla="*/ 60743 h 187653"/>
                <a:gd name="connsiteX10" fmla="*/ 28778 w 106792"/>
                <a:gd name="connsiteY10" fmla="*/ 60743 h 187653"/>
                <a:gd name="connsiteX11" fmla="*/ 28778 w 106792"/>
                <a:gd name="connsiteY11" fmla="*/ 149108 h 187653"/>
                <a:gd name="connsiteX12" fmla="*/ 34693 w 106792"/>
                <a:gd name="connsiteY12" fmla="*/ 171410 h 187653"/>
                <a:gd name="connsiteX13" fmla="*/ 49795 w 106792"/>
                <a:gd name="connsiteY13" fmla="*/ 183780 h 187653"/>
                <a:gd name="connsiteX14" fmla="*/ 70228 w 106792"/>
                <a:gd name="connsiteY14" fmla="*/ 187654 h 187653"/>
                <a:gd name="connsiteX15" fmla="*/ 91094 w 106792"/>
                <a:gd name="connsiteY15" fmla="*/ 184201 h 187653"/>
                <a:gd name="connsiteX16" fmla="*/ 106793 w 106792"/>
                <a:gd name="connsiteY16" fmla="*/ 174686 h 187653"/>
                <a:gd name="connsiteX17" fmla="*/ 98715 w 106792"/>
                <a:gd name="connsiteY17" fmla="*/ 155423 h 187653"/>
                <a:gd name="connsiteX18" fmla="*/ 87792 w 106792"/>
                <a:gd name="connsiteY18" fmla="*/ 163195 h 187653"/>
                <a:gd name="connsiteX19" fmla="*/ 73392 w 106792"/>
                <a:gd name="connsiteY19" fmla="*/ 166075 h 187653"/>
                <a:gd name="connsiteX20" fmla="*/ 57833 w 106792"/>
                <a:gd name="connsiteY20" fmla="*/ 160884 h 187653"/>
                <a:gd name="connsiteX21" fmla="*/ 51800 w 106792"/>
                <a:gd name="connsiteY21" fmla="*/ 145084 h 1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792" h="187653">
                  <a:moveTo>
                    <a:pt x="51800" y="145084"/>
                  </a:moveTo>
                  <a:lnTo>
                    <a:pt x="51800" y="60743"/>
                  </a:lnTo>
                  <a:lnTo>
                    <a:pt x="104201" y="60743"/>
                  </a:lnTo>
                  <a:lnTo>
                    <a:pt x="104201" y="40882"/>
                  </a:lnTo>
                  <a:lnTo>
                    <a:pt x="51800" y="40882"/>
                  </a:lnTo>
                  <a:lnTo>
                    <a:pt x="51800" y="0"/>
                  </a:lnTo>
                  <a:lnTo>
                    <a:pt x="28778" y="6336"/>
                  </a:lnTo>
                  <a:lnTo>
                    <a:pt x="28778" y="40882"/>
                  </a:lnTo>
                  <a:lnTo>
                    <a:pt x="0" y="40882"/>
                  </a:lnTo>
                  <a:lnTo>
                    <a:pt x="0" y="60743"/>
                  </a:lnTo>
                  <a:lnTo>
                    <a:pt x="28778" y="60743"/>
                  </a:lnTo>
                  <a:lnTo>
                    <a:pt x="28778" y="149108"/>
                  </a:lnTo>
                  <a:cubicBezTo>
                    <a:pt x="28980" y="158328"/>
                    <a:pt x="30949" y="165748"/>
                    <a:pt x="34693" y="171410"/>
                  </a:cubicBezTo>
                  <a:cubicBezTo>
                    <a:pt x="38440" y="177073"/>
                    <a:pt x="43484" y="181202"/>
                    <a:pt x="49795" y="183780"/>
                  </a:cubicBezTo>
                  <a:cubicBezTo>
                    <a:pt x="56131" y="186358"/>
                    <a:pt x="62927" y="187654"/>
                    <a:pt x="70228" y="187654"/>
                  </a:cubicBezTo>
                  <a:cubicBezTo>
                    <a:pt x="78101" y="187654"/>
                    <a:pt x="85064" y="186512"/>
                    <a:pt x="91094" y="184201"/>
                  </a:cubicBezTo>
                  <a:cubicBezTo>
                    <a:pt x="97127" y="181886"/>
                    <a:pt x="102372" y="178740"/>
                    <a:pt x="106793" y="174686"/>
                  </a:cubicBezTo>
                  <a:lnTo>
                    <a:pt x="98715" y="155423"/>
                  </a:lnTo>
                  <a:cubicBezTo>
                    <a:pt x="95464" y="158674"/>
                    <a:pt x="91817" y="161276"/>
                    <a:pt x="87792" y="163195"/>
                  </a:cubicBezTo>
                  <a:cubicBezTo>
                    <a:pt x="83768" y="165100"/>
                    <a:pt x="78954" y="166075"/>
                    <a:pt x="73392" y="166075"/>
                  </a:cubicBezTo>
                  <a:cubicBezTo>
                    <a:pt x="67053" y="166075"/>
                    <a:pt x="61858" y="164336"/>
                    <a:pt x="57833" y="160884"/>
                  </a:cubicBezTo>
                  <a:cubicBezTo>
                    <a:pt x="53819" y="157453"/>
                    <a:pt x="51800" y="152183"/>
                    <a:pt x="51800" y="145084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3" name="Vapaamuotoinen: Muoto 12">
              <a:extLst>
                <a:ext uri="{FF2B5EF4-FFF2-40B4-BE49-F238E27FC236}">
                  <a16:creationId xmlns:a16="http://schemas.microsoft.com/office/drawing/2014/main" id="{A4027529-A49F-9484-D50F-0263D34ECC1B}"/>
                </a:ext>
              </a:extLst>
            </p:cNvPr>
            <p:cNvSpPr/>
            <p:nvPr/>
          </p:nvSpPr>
          <p:spPr>
            <a:xfrm>
              <a:off x="819668" y="561160"/>
              <a:ext cx="501122" cy="258685"/>
            </a:xfrm>
            <a:custGeom>
              <a:avLst/>
              <a:gdLst>
                <a:gd name="connsiteX0" fmla="*/ 323324 w 501122"/>
                <a:gd name="connsiteY0" fmla="*/ 0 h 258685"/>
                <a:gd name="connsiteX1" fmla="*/ 0 w 501122"/>
                <a:gd name="connsiteY1" fmla="*/ 210719 h 258685"/>
                <a:gd name="connsiteX2" fmla="*/ 177784 w 501122"/>
                <a:gd name="connsiteY2" fmla="*/ 258685 h 258685"/>
                <a:gd name="connsiteX3" fmla="*/ 501122 w 501122"/>
                <a:gd name="connsiteY3" fmla="*/ 47956 h 258685"/>
                <a:gd name="connsiteX4" fmla="*/ 323324 w 501122"/>
                <a:gd name="connsiteY4" fmla="*/ 0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323324" y="0"/>
                  </a:moveTo>
                  <a:cubicBezTo>
                    <a:pt x="178925" y="0"/>
                    <a:pt x="54799" y="86627"/>
                    <a:pt x="0" y="210719"/>
                  </a:cubicBezTo>
                  <a:cubicBezTo>
                    <a:pt x="52221" y="241196"/>
                    <a:pt x="112963" y="258685"/>
                    <a:pt x="177784" y="258685"/>
                  </a:cubicBezTo>
                  <a:cubicBezTo>
                    <a:pt x="322183" y="258685"/>
                    <a:pt x="446309" y="172058"/>
                    <a:pt x="501122" y="47956"/>
                  </a:cubicBezTo>
                  <a:cubicBezTo>
                    <a:pt x="448887" y="17474"/>
                    <a:pt x="388145" y="0"/>
                    <a:pt x="323324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4" name="Vapaamuotoinen: Muoto 13">
              <a:extLst>
                <a:ext uri="{FF2B5EF4-FFF2-40B4-BE49-F238E27FC236}">
                  <a16:creationId xmlns:a16="http://schemas.microsoft.com/office/drawing/2014/main" id="{81B622A0-0FFF-91B6-C423-C6B8387A08D0}"/>
                </a:ext>
              </a:extLst>
            </p:cNvPr>
            <p:cNvSpPr/>
            <p:nvPr/>
          </p:nvSpPr>
          <p:spPr>
            <a:xfrm>
              <a:off x="644181" y="203198"/>
              <a:ext cx="235632" cy="526719"/>
            </a:xfrm>
            <a:custGeom>
              <a:avLst/>
              <a:gdLst>
                <a:gd name="connsiteX0" fmla="*/ 235632 w 235632"/>
                <a:gd name="connsiteY0" fmla="*/ 263358 h 526719"/>
                <a:gd name="connsiteX1" fmla="*/ 117816 w 235632"/>
                <a:gd name="connsiteY1" fmla="*/ 0 h 526719"/>
                <a:gd name="connsiteX2" fmla="*/ 0 w 235632"/>
                <a:gd name="connsiteY2" fmla="*/ 263358 h 526719"/>
                <a:gd name="connsiteX3" fmla="*/ 117816 w 235632"/>
                <a:gd name="connsiteY3" fmla="*/ 526720 h 526719"/>
                <a:gd name="connsiteX4" fmla="*/ 235632 w 235632"/>
                <a:gd name="connsiteY4" fmla="*/ 263358 h 5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632" h="526719">
                  <a:moveTo>
                    <a:pt x="235632" y="263358"/>
                  </a:moveTo>
                  <a:cubicBezTo>
                    <a:pt x="235632" y="158699"/>
                    <a:pt x="190103" y="64692"/>
                    <a:pt x="117816" y="0"/>
                  </a:cubicBezTo>
                  <a:cubicBezTo>
                    <a:pt x="45514" y="64692"/>
                    <a:pt x="0" y="158699"/>
                    <a:pt x="0" y="263358"/>
                  </a:cubicBezTo>
                  <a:cubicBezTo>
                    <a:pt x="0" y="368021"/>
                    <a:pt x="45514" y="462013"/>
                    <a:pt x="117816" y="526720"/>
                  </a:cubicBezTo>
                  <a:cubicBezTo>
                    <a:pt x="190103" y="462013"/>
                    <a:pt x="235632" y="368021"/>
                    <a:pt x="235632" y="263358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5" name="Vapaamuotoinen: Muoto 14">
              <a:extLst>
                <a:ext uri="{FF2B5EF4-FFF2-40B4-BE49-F238E27FC236}">
                  <a16:creationId xmlns:a16="http://schemas.microsoft.com/office/drawing/2014/main" id="{BD928471-934D-5723-55D3-CDF1016C3EAF}"/>
                </a:ext>
              </a:extLst>
            </p:cNvPr>
            <p:cNvSpPr/>
            <p:nvPr/>
          </p:nvSpPr>
          <p:spPr>
            <a:xfrm>
              <a:off x="203203" y="561160"/>
              <a:ext cx="501122" cy="258685"/>
            </a:xfrm>
            <a:custGeom>
              <a:avLst/>
              <a:gdLst>
                <a:gd name="connsiteX0" fmla="*/ 501122 w 501122"/>
                <a:gd name="connsiteY0" fmla="*/ 210719 h 258685"/>
                <a:gd name="connsiteX1" fmla="*/ 177799 w 501122"/>
                <a:gd name="connsiteY1" fmla="*/ 0 h 258685"/>
                <a:gd name="connsiteX2" fmla="*/ 0 w 501122"/>
                <a:gd name="connsiteY2" fmla="*/ 47956 h 258685"/>
                <a:gd name="connsiteX3" fmla="*/ 323324 w 501122"/>
                <a:gd name="connsiteY3" fmla="*/ 258685 h 258685"/>
                <a:gd name="connsiteX4" fmla="*/ 501122 w 501122"/>
                <a:gd name="connsiteY4" fmla="*/ 210719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1122" h="258685">
                  <a:moveTo>
                    <a:pt x="501122" y="210719"/>
                  </a:moveTo>
                  <a:cubicBezTo>
                    <a:pt x="446334" y="86627"/>
                    <a:pt x="322182" y="0"/>
                    <a:pt x="177799" y="0"/>
                  </a:cubicBezTo>
                  <a:cubicBezTo>
                    <a:pt x="112978" y="0"/>
                    <a:pt x="52221" y="17474"/>
                    <a:pt x="0" y="47956"/>
                  </a:cubicBezTo>
                  <a:cubicBezTo>
                    <a:pt x="54813" y="172058"/>
                    <a:pt x="178940" y="258685"/>
                    <a:pt x="323324" y="258685"/>
                  </a:cubicBezTo>
                  <a:cubicBezTo>
                    <a:pt x="388145" y="258685"/>
                    <a:pt x="448887" y="241222"/>
                    <a:pt x="501122" y="210719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6" name="Vapaamuotoinen: Muoto 15">
              <a:extLst>
                <a:ext uri="{FF2B5EF4-FFF2-40B4-BE49-F238E27FC236}">
                  <a16:creationId xmlns:a16="http://schemas.microsoft.com/office/drawing/2014/main" id="{0D587FF2-12EA-C85C-55D4-ED72EED547B7}"/>
                </a:ext>
              </a:extLst>
            </p:cNvPr>
            <p:cNvSpPr/>
            <p:nvPr/>
          </p:nvSpPr>
          <p:spPr>
            <a:xfrm>
              <a:off x="408711" y="839732"/>
              <a:ext cx="325588" cy="426225"/>
            </a:xfrm>
            <a:custGeom>
              <a:avLst/>
              <a:gdLst>
                <a:gd name="connsiteX0" fmla="*/ 0 w 325588"/>
                <a:gd name="connsiteY0" fmla="*/ 351526 h 426225"/>
                <a:gd name="connsiteX1" fmla="*/ 7952 w 325588"/>
                <a:gd name="connsiteY1" fmla="*/ 426226 h 426225"/>
                <a:gd name="connsiteX2" fmla="*/ 325588 w 325588"/>
                <a:gd name="connsiteY2" fmla="*/ 74704 h 426225"/>
                <a:gd name="connsiteX3" fmla="*/ 317650 w 325588"/>
                <a:gd name="connsiteY3" fmla="*/ 0 h 426225"/>
                <a:gd name="connsiteX4" fmla="*/ 0 w 325588"/>
                <a:gd name="connsiteY4" fmla="*/ 351526 h 42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88" h="426225">
                  <a:moveTo>
                    <a:pt x="0" y="351526"/>
                  </a:moveTo>
                  <a:cubicBezTo>
                    <a:pt x="0" y="377154"/>
                    <a:pt x="2758" y="402134"/>
                    <a:pt x="7952" y="426226"/>
                  </a:cubicBezTo>
                  <a:cubicBezTo>
                    <a:pt x="186320" y="408344"/>
                    <a:pt x="325588" y="257800"/>
                    <a:pt x="325588" y="74704"/>
                  </a:cubicBezTo>
                  <a:cubicBezTo>
                    <a:pt x="325588" y="49075"/>
                    <a:pt x="322830" y="24095"/>
                    <a:pt x="317650" y="0"/>
                  </a:cubicBezTo>
                  <a:cubicBezTo>
                    <a:pt x="139254" y="17885"/>
                    <a:pt x="0" y="168440"/>
                    <a:pt x="0" y="351526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  <p:sp>
          <p:nvSpPr>
            <p:cNvPr id="17" name="Vapaamuotoinen: Muoto 16">
              <a:extLst>
                <a:ext uri="{FF2B5EF4-FFF2-40B4-BE49-F238E27FC236}">
                  <a16:creationId xmlns:a16="http://schemas.microsoft.com/office/drawing/2014/main" id="{1B734ACC-FF66-EB5F-7DF0-C5D6D9F4A584}"/>
                </a:ext>
              </a:extLst>
            </p:cNvPr>
            <p:cNvSpPr/>
            <p:nvPr/>
          </p:nvSpPr>
          <p:spPr>
            <a:xfrm>
              <a:off x="789681" y="839761"/>
              <a:ext cx="325602" cy="426222"/>
            </a:xfrm>
            <a:custGeom>
              <a:avLst/>
              <a:gdLst>
                <a:gd name="connsiteX0" fmla="*/ 7952 w 325602"/>
                <a:gd name="connsiteY0" fmla="*/ 0 h 426222"/>
                <a:gd name="connsiteX1" fmla="*/ 0 w 325602"/>
                <a:gd name="connsiteY1" fmla="*/ 74700 h 426222"/>
                <a:gd name="connsiteX2" fmla="*/ 317650 w 325602"/>
                <a:gd name="connsiteY2" fmla="*/ 426222 h 426222"/>
                <a:gd name="connsiteX3" fmla="*/ 325602 w 325602"/>
                <a:gd name="connsiteY3" fmla="*/ 351522 h 426222"/>
                <a:gd name="connsiteX4" fmla="*/ 7952 w 325602"/>
                <a:gd name="connsiteY4" fmla="*/ 0 h 42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602" h="426222">
                  <a:moveTo>
                    <a:pt x="7952" y="0"/>
                  </a:moveTo>
                  <a:cubicBezTo>
                    <a:pt x="2758" y="24091"/>
                    <a:pt x="0" y="49072"/>
                    <a:pt x="0" y="74700"/>
                  </a:cubicBezTo>
                  <a:cubicBezTo>
                    <a:pt x="0" y="257796"/>
                    <a:pt x="139283" y="408341"/>
                    <a:pt x="317650" y="426222"/>
                  </a:cubicBezTo>
                  <a:cubicBezTo>
                    <a:pt x="322834" y="402131"/>
                    <a:pt x="325602" y="377150"/>
                    <a:pt x="325602" y="351522"/>
                  </a:cubicBezTo>
                  <a:cubicBezTo>
                    <a:pt x="325602" y="168412"/>
                    <a:pt x="186349" y="17856"/>
                    <a:pt x="7952" y="0"/>
                  </a:cubicBezTo>
                  <a:close/>
                </a:path>
              </a:pathLst>
            </a:custGeom>
            <a:solidFill>
              <a:srgbClr val="005A1E"/>
            </a:solidFill>
            <a:ln w="3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i-FI" noProof="0" dirty="0"/>
            </a:p>
          </p:txBody>
        </p:sp>
      </p:grpSp>
    </p:spTree>
    <p:extLst>
      <p:ext uri="{BB962C8B-B14F-4D97-AF65-F5344CB8AC3E}">
        <p14:creationId xmlns:p14="http://schemas.microsoft.com/office/powerpoint/2010/main" val="10976649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9" r:id="rId1"/>
    <p:sldLayoutId id="2147483900" r:id="rId2"/>
    <p:sldLayoutId id="2147483901" r:id="rId3"/>
    <p:sldLayoutId id="2147483902" r:id="rId4"/>
    <p:sldLayoutId id="2147483903" r:id="rId5"/>
    <p:sldLayoutId id="2147483904" r:id="rId6"/>
    <p:sldLayoutId id="2147483905" r:id="rId7"/>
    <p:sldLayoutId id="2147483906" r:id="rId8"/>
    <p:sldLayoutId id="2147483907" r:id="rId9"/>
    <p:sldLayoutId id="2147483908" r:id="rId10"/>
    <p:sldLayoutId id="2147483909" r:id="rId11"/>
    <p:sldLayoutId id="2147483910" r:id="rId12"/>
    <p:sldLayoutId id="2147483911" r:id="rId13"/>
    <p:sldLayoutId id="2147483912" r:id="rId14"/>
    <p:sldLayoutId id="2147483913" r:id="rId15"/>
    <p:sldLayoutId id="2147483914" r:id="rId16"/>
    <p:sldLayoutId id="2147483915" r:id="rId17"/>
    <p:sldLayoutId id="2147483916" r:id="rId18"/>
    <p:sldLayoutId id="2147483917" r:id="rId19"/>
    <p:sldLayoutId id="2147483918" r:id="rId20"/>
    <p:sldLayoutId id="2147483919" r:id="rId21"/>
    <p:sldLayoutId id="2147483920" r:id="rId22"/>
    <p:sldLayoutId id="2147483921" r:id="rId23"/>
    <p:sldLayoutId id="2147483922" r:id="rId24"/>
    <p:sldLayoutId id="2147483923" r:id="rId25"/>
    <p:sldLayoutId id="2147483924" r:id="rId26"/>
    <p:sldLayoutId id="2147483925" r:id="rId27"/>
    <p:sldLayoutId id="2147483926" r:id="rId28"/>
    <p:sldLayoutId id="2147483927" r:id="rId29"/>
    <p:sldLayoutId id="2147483928" r:id="rId30"/>
    <p:sldLayoutId id="2147483929" r:id="rId31"/>
    <p:sldLayoutId id="2147483930" r:id="rId32"/>
    <p:sldLayoutId id="2147483931" r:id="rId33"/>
    <p:sldLayoutId id="2147483932" r:id="rId34"/>
    <p:sldLayoutId id="2147483933" r:id="rId35"/>
    <p:sldLayoutId id="2147483934" r:id="rId36"/>
    <p:sldLayoutId id="2147483935" r:id="rId37"/>
    <p:sldLayoutId id="2147483936" r:id="rId38"/>
    <p:sldLayoutId id="2147483937" r:id="rId39"/>
    <p:sldLayoutId id="2147483938" r:id="rId40"/>
    <p:sldLayoutId id="2147483939" r:id="rId41"/>
    <p:sldLayoutId id="2147483940" r:id="rId42"/>
    <p:sldLayoutId id="2147483941" r:id="rId43"/>
    <p:sldLayoutId id="2147483942" r:id="rId44"/>
    <p:sldLayoutId id="2147483943" r:id="rId45"/>
    <p:sldLayoutId id="2147483944" r:id="rId46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5000" kern="1200" spc="-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tabLst/>
        <a:defRPr sz="2400" kern="1200" spc="-30" baseline="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2000" kern="1200" spc="-30" baseline="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000" kern="1200" spc="-30" baseline="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000" kern="1200" spc="-30" baseline="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000" kern="1200" spc="-3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02BCEDC-5BF0-4641-B029-97A0073B2C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940" y="442250"/>
            <a:ext cx="9894939" cy="111694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fi-FI"/>
              <a:t>Muokkaa perustyyl. napsautt.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F58EF0-5CC6-4362-996D-AE27B9C25A2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9940" y="2021541"/>
            <a:ext cx="10896601" cy="415542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CFC8207-E1E1-4120-A9AA-730F0E3F9D1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49941" y="6436659"/>
            <a:ext cx="1352595" cy="28481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BF408733-3F8E-45BE-8526-0E0F500B8042}" type="datetimeFigureOut">
              <a:rPr lang="fi-FI" smtClean="0"/>
              <a:pPr/>
              <a:t>12.3.2026</a:t>
            </a:fld>
            <a:endParaRPr lang="fi-FI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31C7E16-846E-4C51-8A54-1FE93AAD5B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52828" y="6436659"/>
            <a:ext cx="4002024" cy="28481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endParaRPr lang="fi-FI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D91B797-1514-4178-B4AD-AFE930D2326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48364" y="6436659"/>
            <a:ext cx="1093695" cy="28481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31160B98-140E-4345-B1A3-2A7247C42973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0714966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6" r:id="rId1"/>
    <p:sldLayoutId id="2147483947" r:id="rId2"/>
    <p:sldLayoutId id="2147483948" r:id="rId3"/>
    <p:sldLayoutId id="2147483949" r:id="rId4"/>
    <p:sldLayoutId id="2147483950" r:id="rId5"/>
    <p:sldLayoutId id="2147483951" r:id="rId6"/>
    <p:sldLayoutId id="2147483952" r:id="rId7"/>
    <p:sldLayoutId id="2147483953" r:id="rId8"/>
    <p:sldLayoutId id="2147483954" r:id="rId9"/>
    <p:sldLayoutId id="2147483955" r:id="rId10"/>
    <p:sldLayoutId id="2147483956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8288" indent="-268288" algn="l" defTabSz="914400" rtl="0" eaLnBrk="1" latinLnBrk="0" hangingPunct="1">
        <a:lnSpc>
          <a:spcPct val="95000"/>
        </a:lnSpc>
        <a:spcBef>
          <a:spcPts val="600"/>
        </a:spcBef>
        <a:buSzPct val="120000"/>
        <a:buFont typeface="Symbol" panose="05050102010706020507" pitchFamily="18" charset="2"/>
        <a:buChar char="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38163" indent="-269875" algn="l" defTabSz="914400" rtl="0" eaLnBrk="1" latinLnBrk="0" hangingPunct="1">
        <a:lnSpc>
          <a:spcPct val="95000"/>
        </a:lnSpc>
        <a:spcBef>
          <a:spcPts val="600"/>
        </a:spcBef>
        <a:buSzPct val="12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06450" indent="-268288" algn="l" defTabSz="914400" rtl="0" eaLnBrk="1" latinLnBrk="0" hangingPunct="1">
        <a:lnSpc>
          <a:spcPct val="95000"/>
        </a:lnSpc>
        <a:spcBef>
          <a:spcPts val="600"/>
        </a:spcBef>
        <a:buSzPct val="120000"/>
        <a:buFont typeface="Symbol" panose="05050102010706020507" pitchFamily="18" charset="2"/>
        <a:buChar char="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165225" indent="-268288" algn="l" defTabSz="914400" rtl="0" eaLnBrk="1" latinLnBrk="0" hangingPunct="1">
        <a:lnSpc>
          <a:spcPct val="95000"/>
        </a:lnSpc>
        <a:spcBef>
          <a:spcPts val="600"/>
        </a:spcBef>
        <a:buSzPct val="120000"/>
        <a:buFont typeface="Symbol" panose="05050102010706020507" pitchFamily="18" charset="2"/>
        <a:buChar char="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435100" indent="-269875" algn="l" defTabSz="914400" rtl="0" eaLnBrk="1" latinLnBrk="0" hangingPunct="1">
        <a:lnSpc>
          <a:spcPct val="95000"/>
        </a:lnSpc>
        <a:spcBef>
          <a:spcPts val="600"/>
        </a:spcBef>
        <a:buSzPct val="120000"/>
        <a:buFont typeface="Symbol" panose="05050102010706020507" pitchFamily="18" charset="2"/>
        <a:buChar char="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FE7AE33-50E7-42C9-4E4C-29A80B0A41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709709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404" imgH="405" progId="TCLayout.ActiveDocument.1">
                  <p:embed/>
                </p:oleObj>
              </mc:Choice>
              <mc:Fallback>
                <p:oleObj name="think-cell Slide" r:id="rId12" imgW="404" imgH="40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FE7AE33-50E7-42C9-4E4C-29A80B0A41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02BCEDC-5BF0-4641-B029-97A0073B2C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940" y="596151"/>
            <a:ext cx="9894939" cy="111694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i-FI"/>
              <a:t>Muokkaa perustyyl. napsautt.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F58EF0-5CC6-4362-996D-AE27B9C25A2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9940" y="2021541"/>
            <a:ext cx="10896601" cy="415542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CFC8207-E1E1-4120-A9AA-730F0E3F9D1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49941" y="6436659"/>
            <a:ext cx="1352595" cy="28481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fi-FI"/>
              <a:t>19.5.2021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31C7E16-846E-4C51-8A54-1FE93AAD5B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52828" y="6436659"/>
            <a:ext cx="4002024" cy="28481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r>
              <a:rPr lang="fi-FI"/>
              <a:t>Petra Kokko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D91B797-1514-4178-B4AD-AFE930D2326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48364" y="6436659"/>
            <a:ext cx="1093695" cy="28481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31160B98-140E-4345-B1A3-2A7247C42973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5654890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5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8288" indent="-268288" algn="l" defTabSz="914400" rtl="0" eaLnBrk="1" latinLnBrk="0" hangingPunct="1">
        <a:lnSpc>
          <a:spcPct val="100000"/>
        </a:lnSpc>
        <a:spcBef>
          <a:spcPts val="1200"/>
        </a:spcBef>
        <a:buSzPct val="12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38163" indent="-269875" algn="l" defTabSz="914400" rtl="0" eaLnBrk="1" latinLnBrk="0" hangingPunct="1">
        <a:lnSpc>
          <a:spcPct val="100000"/>
        </a:lnSpc>
        <a:spcBef>
          <a:spcPts val="1200"/>
        </a:spcBef>
        <a:buSzPct val="12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06450" indent="-268288" algn="l" defTabSz="914400" rtl="0" eaLnBrk="1" latinLnBrk="0" hangingPunct="1">
        <a:lnSpc>
          <a:spcPct val="100000"/>
        </a:lnSpc>
        <a:spcBef>
          <a:spcPts val="1200"/>
        </a:spcBef>
        <a:buSzPct val="12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165225" indent="-268288" algn="l" defTabSz="914400" rtl="0" eaLnBrk="1" latinLnBrk="0" hangingPunct="1">
        <a:lnSpc>
          <a:spcPct val="100000"/>
        </a:lnSpc>
        <a:spcBef>
          <a:spcPts val="1200"/>
        </a:spcBef>
        <a:buSzPct val="12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435100" indent="-269875" algn="l" defTabSz="914400" rtl="0" eaLnBrk="1" latinLnBrk="0" hangingPunct="1">
        <a:lnSpc>
          <a:spcPct val="100000"/>
        </a:lnSpc>
        <a:spcBef>
          <a:spcPts val="1200"/>
        </a:spcBef>
        <a:buSzPct val="12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5DD05B1-97F4-25B1-4CF7-3969EAF5CE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0168726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73" imgH="476" progId="TCLayout.ActiveDocument.1">
                  <p:embed/>
                </p:oleObj>
              </mc:Choice>
              <mc:Fallback>
                <p:oleObj name="think-cell Slide" r:id="rId14" imgW="473" imgH="47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5DD05B1-97F4-25B1-4CF7-3969EAF5CE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02BCEDC-5BF0-4641-B029-97A0073B2C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940" y="442250"/>
            <a:ext cx="9894939" cy="111694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fi-FI"/>
              <a:t>Muokkaa perustyyl. napsautt.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F58EF0-5CC6-4362-996D-AE27B9C25A2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9940" y="2021541"/>
            <a:ext cx="10896601" cy="415542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CFC8207-E1E1-4120-A9AA-730F0E3F9D1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49941" y="6436659"/>
            <a:ext cx="1352595" cy="28481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fi-FI"/>
              <a:t>19.5.2021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31C7E16-846E-4C51-8A54-1FE93AAD5B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52828" y="6436659"/>
            <a:ext cx="4002024" cy="28481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r>
              <a:rPr lang="fi-FI"/>
              <a:t>Petra Kokko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D91B797-1514-4178-B4AD-AFE930D2326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48364" y="6436659"/>
            <a:ext cx="1093695" cy="28481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31160B98-140E-4345-B1A3-2A7247C42973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3362586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8288" indent="-268288" algn="l" defTabSz="914400" rtl="0" eaLnBrk="1" latinLnBrk="0" hangingPunct="1">
        <a:lnSpc>
          <a:spcPct val="95000"/>
        </a:lnSpc>
        <a:spcBef>
          <a:spcPts val="600"/>
        </a:spcBef>
        <a:buSzPct val="120000"/>
        <a:buFont typeface="Symbol" panose="05050102010706020507" pitchFamily="18" charset="2"/>
        <a:buChar char="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38163" indent="-269875" algn="l" defTabSz="914400" rtl="0" eaLnBrk="1" latinLnBrk="0" hangingPunct="1">
        <a:lnSpc>
          <a:spcPct val="95000"/>
        </a:lnSpc>
        <a:spcBef>
          <a:spcPts val="600"/>
        </a:spcBef>
        <a:buSzPct val="12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06450" indent="-268288" algn="l" defTabSz="914400" rtl="0" eaLnBrk="1" latinLnBrk="0" hangingPunct="1">
        <a:lnSpc>
          <a:spcPct val="95000"/>
        </a:lnSpc>
        <a:spcBef>
          <a:spcPts val="600"/>
        </a:spcBef>
        <a:buSzPct val="120000"/>
        <a:buFont typeface="Symbol" panose="05050102010706020507" pitchFamily="18" charset="2"/>
        <a:buChar char="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165225" indent="-268288" algn="l" defTabSz="914400" rtl="0" eaLnBrk="1" latinLnBrk="0" hangingPunct="1">
        <a:lnSpc>
          <a:spcPct val="95000"/>
        </a:lnSpc>
        <a:spcBef>
          <a:spcPts val="600"/>
        </a:spcBef>
        <a:buSzPct val="120000"/>
        <a:buFont typeface="Symbol" panose="05050102010706020507" pitchFamily="18" charset="2"/>
        <a:buChar char="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435100" indent="-269875" algn="l" defTabSz="914400" rtl="0" eaLnBrk="1" latinLnBrk="0" hangingPunct="1">
        <a:lnSpc>
          <a:spcPct val="95000"/>
        </a:lnSpc>
        <a:spcBef>
          <a:spcPts val="600"/>
        </a:spcBef>
        <a:buSzPct val="120000"/>
        <a:buFont typeface="Symbol" panose="05050102010706020507" pitchFamily="18" charset="2"/>
        <a:buChar char="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73840616-F985-F5DF-3289-368284EF2D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8306454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73" imgH="476" progId="TCLayout.ActiveDocument.1">
                  <p:embed/>
                </p:oleObj>
              </mc:Choice>
              <mc:Fallback>
                <p:oleObj name="think-cell Slide" r:id="rId14" imgW="473" imgH="47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3840616-F985-F5DF-3289-368284EF2D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02BCEDC-5BF0-4641-B029-97A0073B2C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940" y="442250"/>
            <a:ext cx="9894939" cy="111694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fi-FI"/>
              <a:t>Muokkaa perustyyl. napsautt.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F58EF0-5CC6-4362-996D-AE27B9C25A2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9940" y="2021541"/>
            <a:ext cx="10896601" cy="415542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CFC8207-E1E1-4120-A9AA-730F0E3F9D1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49941" y="6436659"/>
            <a:ext cx="1352595" cy="28481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fi-FI"/>
              <a:t>19.5.2021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31C7E16-846E-4C51-8A54-1FE93AAD5B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52828" y="6436659"/>
            <a:ext cx="4002024" cy="28481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r>
              <a:rPr lang="fi-FI"/>
              <a:t>Petra Kokko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D91B797-1514-4178-B4AD-AFE930D2326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48364" y="6436659"/>
            <a:ext cx="1093695" cy="28481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31160B98-140E-4345-B1A3-2A7247C42973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7499808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8288" indent="-268288" algn="l" defTabSz="914400" rtl="0" eaLnBrk="1" latinLnBrk="0" hangingPunct="1">
        <a:lnSpc>
          <a:spcPct val="95000"/>
        </a:lnSpc>
        <a:spcBef>
          <a:spcPts val="600"/>
        </a:spcBef>
        <a:buSzPct val="120000"/>
        <a:buFont typeface="Symbol" panose="05050102010706020507" pitchFamily="18" charset="2"/>
        <a:buChar char="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38163" indent="-269875" algn="l" defTabSz="914400" rtl="0" eaLnBrk="1" latinLnBrk="0" hangingPunct="1">
        <a:lnSpc>
          <a:spcPct val="95000"/>
        </a:lnSpc>
        <a:spcBef>
          <a:spcPts val="600"/>
        </a:spcBef>
        <a:buSzPct val="12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06450" indent="-268288" algn="l" defTabSz="914400" rtl="0" eaLnBrk="1" latinLnBrk="0" hangingPunct="1">
        <a:lnSpc>
          <a:spcPct val="95000"/>
        </a:lnSpc>
        <a:spcBef>
          <a:spcPts val="600"/>
        </a:spcBef>
        <a:buSzPct val="120000"/>
        <a:buFont typeface="Symbol" panose="05050102010706020507" pitchFamily="18" charset="2"/>
        <a:buChar char="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165225" indent="-268288" algn="l" defTabSz="914400" rtl="0" eaLnBrk="1" latinLnBrk="0" hangingPunct="1">
        <a:lnSpc>
          <a:spcPct val="95000"/>
        </a:lnSpc>
        <a:spcBef>
          <a:spcPts val="600"/>
        </a:spcBef>
        <a:buSzPct val="120000"/>
        <a:buFont typeface="Symbol" panose="05050102010706020507" pitchFamily="18" charset="2"/>
        <a:buChar char="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435100" indent="-269875" algn="l" defTabSz="914400" rtl="0" eaLnBrk="1" latinLnBrk="0" hangingPunct="1">
        <a:lnSpc>
          <a:spcPct val="95000"/>
        </a:lnSpc>
        <a:spcBef>
          <a:spcPts val="600"/>
        </a:spcBef>
        <a:buSzPct val="120000"/>
        <a:buFont typeface="Symbol" panose="05050102010706020507" pitchFamily="18" charset="2"/>
        <a:buChar char="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76D525F-A77F-9495-5791-9AF80041CA7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5701342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592" imgH="595" progId="TCLayout.ActiveDocument.1">
                  <p:embed/>
                </p:oleObj>
              </mc:Choice>
              <mc:Fallback>
                <p:oleObj name="think-cell Slide" r:id="rId17" imgW="592" imgH="59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876D525F-A77F-9495-5791-9AF80041CA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71ED389-B006-4C40-BA9B-5D00F903CE4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72000" tIns="36000" rIns="72000" bIns="36000" rtlCol="0">
            <a:normAutofit/>
          </a:bodyPr>
          <a:lstStyle/>
          <a:p>
            <a:pPr lvl="0"/>
            <a:r>
              <a:rPr lang="fi-FI"/>
              <a:t>Click to edit Master text styles</a:t>
            </a:r>
          </a:p>
          <a:p>
            <a:pPr lvl="1"/>
            <a:r>
              <a:rPr lang="fi-FI"/>
              <a:t>Second level</a:t>
            </a:r>
          </a:p>
          <a:p>
            <a:pPr lvl="2"/>
            <a:r>
              <a:rPr lang="fi-FI"/>
              <a:t>Third level</a:t>
            </a:r>
          </a:p>
          <a:p>
            <a:pPr lvl="3"/>
            <a:r>
              <a:rPr lang="fi-FI"/>
              <a:t>Fourth level</a:t>
            </a:r>
          </a:p>
          <a:p>
            <a:pPr lvl="4"/>
            <a:r>
              <a:rPr lang="fi-FI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E93D36-32ED-A14F-BC50-D08E209401B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7924" y="6356350"/>
            <a:ext cx="137516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>
              <a:defRPr sz="1000" b="0" i="0">
                <a:solidFill>
                  <a:schemeClr val="bg2">
                    <a:lumMod val="50000"/>
                  </a:schemeClr>
                </a:solidFill>
                <a:latin typeface="+mn-lt"/>
                <a:cs typeface="Poppins" pitchFamily="2" charset="77"/>
              </a:defRPr>
            </a:lvl1pPr>
          </a:lstStyle>
          <a:p>
            <a:r>
              <a:rPr lang="fi-FI"/>
              <a:t>19.5.2021</a:t>
            </a:r>
          </a:p>
        </p:txBody>
      </p:sp>
      <p:sp>
        <p:nvSpPr>
          <p:cNvPr id="5" name="Title Placeholder 4">
            <a:extLst>
              <a:ext uri="{FF2B5EF4-FFF2-40B4-BE49-F238E27FC236}">
                <a16:creationId xmlns:a16="http://schemas.microsoft.com/office/drawing/2014/main" id="{A0259BBC-8171-7144-BB58-B4566BA9C9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72000" tIns="36000" rIns="72000" bIns="36000" rtlCol="0" anchor="ctr">
            <a:normAutofit/>
          </a:bodyPr>
          <a:lstStyle/>
          <a:p>
            <a:r>
              <a:rPr lang="fi-FI"/>
              <a:t>Click to edit 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4319BA5-F4DD-DB41-9A8B-E6717C0B319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26108" y="6356350"/>
            <a:ext cx="54272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rtl="0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 lang="fi-FI"/>
              <a:t>Petra Kokko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1882D9ED-C5D1-A148-9698-6D894D51408E}"/>
              </a:ext>
            </a:extLst>
          </p:cNvPr>
          <p:cNvSpPr txBox="1">
            <a:spLocks/>
          </p:cNvSpPr>
          <p:nvPr userDrawn="1"/>
        </p:nvSpPr>
        <p:spPr>
          <a:xfrm>
            <a:off x="9398000" y="6356350"/>
            <a:ext cx="1955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FI"/>
            </a:defPPr>
            <a:lvl1pPr marL="0" algn="ct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endParaRPr lang="fi-FI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5204789-1DCB-0C42-9693-576AA0FAF5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00876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fld id="{A1510FE8-D753-C647-A925-D4EB5DB9B7DB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2154734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  <p:sldLayoutId id="2147483720" r:id="rId12"/>
    <p:sldLayoutId id="2147483721" r:id="rId13"/>
    <p:sldLayoutId id="2147483722" r:id="rId14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i="0" kern="1200">
          <a:solidFill>
            <a:schemeClr val="tx1"/>
          </a:solidFill>
          <a:latin typeface="+mj-lt"/>
          <a:ea typeface="+mj-ea"/>
          <a:cs typeface="Poppins" pitchFamily="2" charset="77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Poppins" pitchFamily="2" charset="77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Poppins" pitchFamily="2" charset="77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Poppins" pitchFamily="2" charset="77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Poppins" pitchFamily="2" charset="77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Poppins" pitchFamily="2" charset="77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FE7AE33-50E7-42C9-4E4C-29A80B0A41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709709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04" imgH="405" progId="TCLayout.ActiveDocument.1">
                  <p:embed/>
                </p:oleObj>
              </mc:Choice>
              <mc:Fallback>
                <p:oleObj name="think-cell Slide" r:id="rId14" imgW="404" imgH="40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FE7AE33-50E7-42C9-4E4C-29A80B0A41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02BCEDC-5BF0-4641-B029-97A0073B2C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940" y="596151"/>
            <a:ext cx="9894939" cy="111694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i-FI"/>
              <a:t>Muokkaa perustyyl. napsautt.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F58EF0-5CC6-4362-996D-AE27B9C25A2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9940" y="2021541"/>
            <a:ext cx="10896601" cy="415542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CFC8207-E1E1-4120-A9AA-730F0E3F9D1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49941" y="6436659"/>
            <a:ext cx="1352595" cy="28481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fi-FI"/>
              <a:t>19.5.2021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31C7E16-846E-4C51-8A54-1FE93AAD5B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52828" y="6436659"/>
            <a:ext cx="4002024" cy="28481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r>
              <a:rPr lang="fi-FI"/>
              <a:t>Petra Kokko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D91B797-1514-4178-B4AD-AFE930D2326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48364" y="6436659"/>
            <a:ext cx="1093695" cy="28481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31160B98-140E-4345-B1A3-2A7247C42973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4956634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  <p:sldLayoutId id="2147483729" r:id="rId6"/>
    <p:sldLayoutId id="2147483730" r:id="rId7"/>
    <p:sldLayoutId id="2147483731" r:id="rId8"/>
    <p:sldLayoutId id="2147483732" r:id="rId9"/>
    <p:sldLayoutId id="2147483733" r:id="rId10"/>
    <p:sldLayoutId id="2147483734" r:id="rId1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8288" indent="-268288" algn="l" defTabSz="914400" rtl="0" eaLnBrk="1" latinLnBrk="0" hangingPunct="1">
        <a:lnSpc>
          <a:spcPct val="100000"/>
        </a:lnSpc>
        <a:spcBef>
          <a:spcPts val="1200"/>
        </a:spcBef>
        <a:buSzPct val="12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38163" indent="-269875" algn="l" defTabSz="914400" rtl="0" eaLnBrk="1" latinLnBrk="0" hangingPunct="1">
        <a:lnSpc>
          <a:spcPct val="100000"/>
        </a:lnSpc>
        <a:spcBef>
          <a:spcPts val="1200"/>
        </a:spcBef>
        <a:buSzPct val="12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06450" indent="-268288" algn="l" defTabSz="914400" rtl="0" eaLnBrk="1" latinLnBrk="0" hangingPunct="1">
        <a:lnSpc>
          <a:spcPct val="100000"/>
        </a:lnSpc>
        <a:spcBef>
          <a:spcPts val="1200"/>
        </a:spcBef>
        <a:buSzPct val="12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165225" indent="-268288" algn="l" defTabSz="914400" rtl="0" eaLnBrk="1" latinLnBrk="0" hangingPunct="1">
        <a:lnSpc>
          <a:spcPct val="100000"/>
        </a:lnSpc>
        <a:spcBef>
          <a:spcPts val="1200"/>
        </a:spcBef>
        <a:buSzPct val="12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435100" indent="-269875" algn="l" defTabSz="914400" rtl="0" eaLnBrk="1" latinLnBrk="0" hangingPunct="1">
        <a:lnSpc>
          <a:spcPct val="100000"/>
        </a:lnSpc>
        <a:spcBef>
          <a:spcPts val="1200"/>
        </a:spcBef>
        <a:buSzPct val="12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02BCEDC-5BF0-4641-B029-97A0073B2C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940" y="442250"/>
            <a:ext cx="9894939" cy="111694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fi-FI"/>
              <a:t>Muokkaa perustyyl. napsautt.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F58EF0-5CC6-4362-996D-AE27B9C25A2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9940" y="2021541"/>
            <a:ext cx="10896601" cy="415542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CFC8207-E1E1-4120-A9AA-730F0E3F9D1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49941" y="6436659"/>
            <a:ext cx="1352595" cy="28481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fi-FI"/>
              <a:t>19.5.2021</a:t>
            </a:r>
            <a:endParaRPr lang="fi-FI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31C7E16-846E-4C51-8A54-1FE93AAD5B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52828" y="6436659"/>
            <a:ext cx="4002024" cy="28481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r>
              <a:rPr lang="fi-FI"/>
              <a:t>Petra Kokko</a:t>
            </a:r>
            <a:endParaRPr lang="fi-FI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D91B797-1514-4178-B4AD-AFE930D2326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48364" y="6436659"/>
            <a:ext cx="1093695" cy="28481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31160B98-140E-4345-B1A3-2A7247C42973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8020806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37" r:id="rId2"/>
    <p:sldLayoutId id="2147483738" r:id="rId3"/>
    <p:sldLayoutId id="2147483739" r:id="rId4"/>
    <p:sldLayoutId id="2147483740" r:id="rId5"/>
    <p:sldLayoutId id="2147483741" r:id="rId6"/>
    <p:sldLayoutId id="2147483742" r:id="rId7"/>
    <p:sldLayoutId id="2147483743" r:id="rId8"/>
    <p:sldLayoutId id="2147483744" r:id="rId9"/>
    <p:sldLayoutId id="2147483745" r:id="rId10"/>
    <p:sldLayoutId id="2147483746" r:id="rId1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8288" indent="-268288" algn="l" defTabSz="914400" rtl="0" eaLnBrk="1" latinLnBrk="0" hangingPunct="1">
        <a:lnSpc>
          <a:spcPct val="95000"/>
        </a:lnSpc>
        <a:spcBef>
          <a:spcPts val="600"/>
        </a:spcBef>
        <a:buSzPct val="120000"/>
        <a:buFont typeface="Symbol" panose="05050102010706020507" pitchFamily="18" charset="2"/>
        <a:buChar char="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38163" indent="-269875" algn="l" defTabSz="914400" rtl="0" eaLnBrk="1" latinLnBrk="0" hangingPunct="1">
        <a:lnSpc>
          <a:spcPct val="95000"/>
        </a:lnSpc>
        <a:spcBef>
          <a:spcPts val="600"/>
        </a:spcBef>
        <a:buSzPct val="12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06450" indent="-268288" algn="l" defTabSz="914400" rtl="0" eaLnBrk="1" latinLnBrk="0" hangingPunct="1">
        <a:lnSpc>
          <a:spcPct val="95000"/>
        </a:lnSpc>
        <a:spcBef>
          <a:spcPts val="600"/>
        </a:spcBef>
        <a:buSzPct val="120000"/>
        <a:buFont typeface="Symbol" panose="05050102010706020507" pitchFamily="18" charset="2"/>
        <a:buChar char="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165225" indent="-268288" algn="l" defTabSz="914400" rtl="0" eaLnBrk="1" latinLnBrk="0" hangingPunct="1">
        <a:lnSpc>
          <a:spcPct val="95000"/>
        </a:lnSpc>
        <a:spcBef>
          <a:spcPts val="600"/>
        </a:spcBef>
        <a:buSzPct val="120000"/>
        <a:buFont typeface="Symbol" panose="05050102010706020507" pitchFamily="18" charset="2"/>
        <a:buChar char="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435100" indent="-269875" algn="l" defTabSz="914400" rtl="0" eaLnBrk="1" latinLnBrk="0" hangingPunct="1">
        <a:lnSpc>
          <a:spcPct val="95000"/>
        </a:lnSpc>
        <a:spcBef>
          <a:spcPts val="600"/>
        </a:spcBef>
        <a:buSzPct val="120000"/>
        <a:buFont typeface="Symbol" panose="05050102010706020507" pitchFamily="18" charset="2"/>
        <a:buChar char="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812801" y="1881602"/>
            <a:ext cx="10769599" cy="433170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  <a:p>
            <a:pPr lvl="4"/>
            <a:r>
              <a:rPr lang="fi-FI" dirty="0"/>
              <a:t>viides taso</a:t>
            </a:r>
          </a:p>
        </p:txBody>
      </p:sp>
      <p:sp>
        <p:nvSpPr>
          <p:cNvPr id="2" name="Otsikon paikkamerkki 1"/>
          <p:cNvSpPr>
            <a:spLocks noGrp="1"/>
          </p:cNvSpPr>
          <p:nvPr>
            <p:ph type="title"/>
          </p:nvPr>
        </p:nvSpPr>
        <p:spPr>
          <a:xfrm>
            <a:off x="812801" y="312000"/>
            <a:ext cx="10769599" cy="1299027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/>
          <a:p>
            <a:r>
              <a:rPr lang="fi-FI" dirty="0"/>
              <a:t>Muokkaa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9104543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  <p:sldLayoutId id="2147483764" r:id="rId5"/>
    <p:sldLayoutId id="2147483765" r:id="rId6"/>
    <p:sldLayoutId id="2147483766" r:id="rId7"/>
    <p:sldLayoutId id="2147483767" r:id="rId8"/>
    <p:sldLayoutId id="2147483768" r:id="rId9"/>
    <p:sldLayoutId id="2147483769" r:id="rId10"/>
    <p:sldLayoutId id="2147483770" r:id="rId11"/>
    <p:sldLayoutId id="2147483771" r:id="rId12"/>
    <p:sldLayoutId id="2147483772" r:id="rId13"/>
    <p:sldLayoutId id="2147483773" r:id="rId14"/>
    <p:sldLayoutId id="2147483774" r:id="rId15"/>
    <p:sldLayoutId id="2147483776" r:id="rId16"/>
    <p:sldLayoutId id="2147483777" r:id="rId17"/>
  </p:sldLayoutIdLst>
  <p:hf sldNum="0" hdr="0" ftr="0" dt="0"/>
  <p:txStyles>
    <p:titleStyle>
      <a:lvl1pPr algn="l" defTabSz="1219170" rtl="0" eaLnBrk="1" latinLnBrk="0" hangingPunct="1">
        <a:spcBef>
          <a:spcPct val="0"/>
        </a:spcBef>
        <a:buNone/>
        <a:defRPr sz="4267" b="1" kern="1200">
          <a:solidFill>
            <a:schemeClr val="tx2"/>
          </a:solidFill>
          <a:latin typeface="Arial Narrow" panose="020B0606020202030204" pitchFamily="34" charset="0"/>
          <a:ea typeface="+mj-ea"/>
          <a:cs typeface="+mj-cs"/>
        </a:defRPr>
      </a:lvl1pPr>
    </p:titleStyle>
    <p:bodyStyle>
      <a:lvl1pPr marL="357708" indent="-357708" algn="l" defTabSz="1219170" rtl="0" eaLnBrk="1" latinLnBrk="0" hangingPunct="1">
        <a:spcBef>
          <a:spcPts val="1867"/>
        </a:spcBef>
        <a:buClr>
          <a:schemeClr val="tx2"/>
        </a:buClr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1pPr>
      <a:lvl2pPr marL="958827" indent="-349242" algn="l" defTabSz="1219170" rtl="0" eaLnBrk="1" latinLnBrk="0" hangingPunct="1">
        <a:spcBef>
          <a:spcPts val="1867"/>
        </a:spcBef>
        <a:buClr>
          <a:schemeClr val="tx2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316534" indent="-243411" algn="l" defTabSz="1219170" rtl="0" eaLnBrk="1" latinLnBrk="0" hangingPunct="1">
        <a:spcBef>
          <a:spcPts val="1867"/>
        </a:spcBef>
        <a:buClr>
          <a:schemeClr val="tx2"/>
        </a:buClr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557828" indent="-241294" algn="l" defTabSz="1219170" rtl="0" eaLnBrk="1" latinLnBrk="0" hangingPunct="1">
        <a:spcBef>
          <a:spcPts val="1867"/>
        </a:spcBef>
        <a:buClr>
          <a:schemeClr val="tx2"/>
        </a:buClr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790655" indent="-232828" algn="l" defTabSz="1219170" rtl="0" eaLnBrk="1" latinLnBrk="0" hangingPunct="1">
        <a:spcBef>
          <a:spcPts val="1867"/>
        </a:spcBef>
        <a:buClr>
          <a:schemeClr val="tx2"/>
        </a:buClr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66D7AC9-16A6-F22B-B939-B000C21041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73" imgH="476" progId="TCLayout.ActiveDocument.1">
                  <p:embed/>
                </p:oleObj>
              </mc:Choice>
              <mc:Fallback>
                <p:oleObj name="think-cell Slide" r:id="rId15" imgW="473" imgH="47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66D7AC9-16A6-F22B-B939-B000C21041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02BCEDC-5BF0-4641-B029-97A0073B2C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940" y="442250"/>
            <a:ext cx="9894939" cy="111694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fi-FI"/>
              <a:t>Muokkaa perustyyl. napsautt.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F58EF0-5CC6-4362-996D-AE27B9C25A2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9940" y="2021541"/>
            <a:ext cx="10896601" cy="415542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CFC8207-E1E1-4120-A9AA-730F0E3F9D1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49941" y="6436659"/>
            <a:ext cx="1352595" cy="28481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fi-FI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31C7E16-846E-4C51-8A54-1FE93AAD5B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52828" y="6436659"/>
            <a:ext cx="4002024" cy="28481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endParaRPr lang="fi-FI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D91B797-1514-4178-B4AD-AFE930D2326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48364" y="6436659"/>
            <a:ext cx="1093695" cy="28481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31160B98-140E-4345-B1A3-2A7247C42973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7341978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  <p:sldLayoutId id="2147483781" r:id="rId2"/>
    <p:sldLayoutId id="2147483782" r:id="rId3"/>
    <p:sldLayoutId id="2147483783" r:id="rId4"/>
    <p:sldLayoutId id="2147483784" r:id="rId5"/>
    <p:sldLayoutId id="2147483785" r:id="rId6"/>
    <p:sldLayoutId id="2147483786" r:id="rId7"/>
    <p:sldLayoutId id="2147483787" r:id="rId8"/>
    <p:sldLayoutId id="2147483788" r:id="rId9"/>
    <p:sldLayoutId id="2147483789" r:id="rId10"/>
    <p:sldLayoutId id="2147483790" r:id="rId11"/>
    <p:sldLayoutId id="2147483791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8288" indent="-268288" algn="l" defTabSz="914400" rtl="0" eaLnBrk="1" latinLnBrk="0" hangingPunct="1">
        <a:lnSpc>
          <a:spcPct val="95000"/>
        </a:lnSpc>
        <a:spcBef>
          <a:spcPts val="600"/>
        </a:spcBef>
        <a:buSzPct val="120000"/>
        <a:buFont typeface="Symbol" panose="05050102010706020507" pitchFamily="18" charset="2"/>
        <a:buChar char="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38163" indent="-269875" algn="l" defTabSz="914400" rtl="0" eaLnBrk="1" latinLnBrk="0" hangingPunct="1">
        <a:lnSpc>
          <a:spcPct val="95000"/>
        </a:lnSpc>
        <a:spcBef>
          <a:spcPts val="600"/>
        </a:spcBef>
        <a:buSzPct val="12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06450" indent="-268288" algn="l" defTabSz="914400" rtl="0" eaLnBrk="1" latinLnBrk="0" hangingPunct="1">
        <a:lnSpc>
          <a:spcPct val="95000"/>
        </a:lnSpc>
        <a:spcBef>
          <a:spcPts val="600"/>
        </a:spcBef>
        <a:buSzPct val="120000"/>
        <a:buFont typeface="Symbol" panose="05050102010706020507" pitchFamily="18" charset="2"/>
        <a:buChar char="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165225" indent="-268288" algn="l" defTabSz="914400" rtl="0" eaLnBrk="1" latinLnBrk="0" hangingPunct="1">
        <a:lnSpc>
          <a:spcPct val="95000"/>
        </a:lnSpc>
        <a:spcBef>
          <a:spcPts val="600"/>
        </a:spcBef>
        <a:buSzPct val="120000"/>
        <a:buFont typeface="Symbol" panose="05050102010706020507" pitchFamily="18" charset="2"/>
        <a:buChar char="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435100" indent="-269875" algn="l" defTabSz="914400" rtl="0" eaLnBrk="1" latinLnBrk="0" hangingPunct="1">
        <a:lnSpc>
          <a:spcPct val="95000"/>
        </a:lnSpc>
        <a:spcBef>
          <a:spcPts val="600"/>
        </a:spcBef>
        <a:buSzPct val="120000"/>
        <a:buFont typeface="Symbol" panose="05050102010706020507" pitchFamily="18" charset="2"/>
        <a:buChar char="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sv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svg"/><Relationship Id="rId3" Type="http://schemas.openxmlformats.org/officeDocument/2006/relationships/diagramLayout" Target="../diagrams/layout1.xml"/><Relationship Id="rId7" Type="http://schemas.openxmlformats.org/officeDocument/2006/relationships/image" Target="../media/image38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5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2F2DA86B-8C54-B510-6C02-64D0A141BF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45853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F2DA86B-8C54-B510-6C02-64D0A141BF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Otsikko 2">
            <a:extLst>
              <a:ext uri="{FF2B5EF4-FFF2-40B4-BE49-F238E27FC236}">
                <a16:creationId xmlns:a16="http://schemas.microsoft.com/office/drawing/2014/main" id="{CE9A49CC-D1D4-0D3A-6D1B-8ACCDA628FD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5508" y="1891983"/>
            <a:ext cx="6839712" cy="1876869"/>
          </a:xfrm>
        </p:spPr>
        <p:txBody>
          <a:bodyPr vert="horz"/>
          <a:lstStyle/>
          <a:p>
            <a:r>
              <a:rPr lang="fi-FI" sz="3600" dirty="0"/>
              <a:t>Geneerinen PROM-mittari</a:t>
            </a:r>
            <a:endParaRPr lang="en-US" sz="3600" dirty="0"/>
          </a:p>
        </p:txBody>
      </p:sp>
      <p:sp>
        <p:nvSpPr>
          <p:cNvPr id="4" name="Alaotsikko 3">
            <a:extLst>
              <a:ext uri="{FF2B5EF4-FFF2-40B4-BE49-F238E27FC236}">
                <a16:creationId xmlns:a16="http://schemas.microsoft.com/office/drawing/2014/main" id="{A0E87DE2-E3C1-C068-CCBF-18E9606259D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i-FI" dirty="0">
                <a:latin typeface="Times New Roman"/>
                <a:cs typeface="Times New Roman"/>
              </a:rPr>
              <a:t>Petra Kokko, ohjausosasto</a:t>
            </a:r>
          </a:p>
          <a:p>
            <a:r>
              <a:rPr lang="fi-FI" dirty="0">
                <a:latin typeface="Times New Roman"/>
                <a:cs typeface="Times New Roman"/>
              </a:rPr>
              <a:t>Neuvotteleva virkamies</a:t>
            </a:r>
          </a:p>
          <a:p>
            <a:r>
              <a:rPr lang="fi-FI" dirty="0">
                <a:latin typeface="Times New Roman"/>
                <a:cs typeface="Times New Roman"/>
              </a:rPr>
              <a:t>11.3.2026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29087881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/>
              <a:t>Tausta ja tavoittee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fi-FI" b="1" dirty="0"/>
              <a:t>NYKYTILANNE</a:t>
            </a:r>
          </a:p>
          <a:p>
            <a:r>
              <a:rPr lang="fi-FI" dirty="0"/>
              <a:t>Toimintakykytietoa ei tallenneta rakenteisesti terveydenhuollossa</a:t>
            </a:r>
          </a:p>
          <a:p>
            <a:r>
              <a:rPr lang="fi-FI" dirty="0"/>
              <a:t>EQ-5D-5L-mittarille ei FHIR-rakennetta Kanta-palveluissa</a:t>
            </a:r>
          </a:p>
          <a:p>
            <a:r>
              <a:rPr lang="fi-FI" dirty="0"/>
              <a:t>Asiakas ei voi itse tallentaa PROM-tietoa potilastiedoksi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3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fi-FI" b="1" dirty="0"/>
              <a:t>TAVOITE</a:t>
            </a:r>
          </a:p>
          <a:p>
            <a:r>
              <a:rPr lang="fi-FI" dirty="0"/>
              <a:t>Toimintakykytiedon tietorakenteet käyttöön (FHIR / Kanta)</a:t>
            </a:r>
          </a:p>
          <a:p>
            <a:r>
              <a:rPr lang="fi-FI" dirty="0"/>
              <a:t>EQ-5D-5L pilotointi käynnistyy hyvinvointialueilla valtionavustuksella</a:t>
            </a:r>
          </a:p>
          <a:p>
            <a:r>
              <a:rPr lang="fi-FI" dirty="0"/>
              <a:t>Kansalainen vastaa kyselyihin sähköisesti — tieto tallentuu rakenteisesti potilastietojärjestelmiin ja Kanta-palveluihin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/>
              <a:t>Tehtäväjako — STM, Kela ja TH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fi-FI" b="1" dirty="0"/>
              <a:t>STM: Koordinoi ja rahoittaa</a:t>
            </a:r>
          </a:p>
          <a:p>
            <a:r>
              <a:rPr lang="fi-FI" dirty="0"/>
              <a:t>Myöntää valtionavustuksen hyvinvointialueille EQ-5D-5L pilotointiin</a:t>
            </a:r>
          </a:p>
          <a:p>
            <a:pPr marL="0" indent="0">
              <a:buNone/>
            </a:pPr>
            <a:r>
              <a:rPr lang="fi-FI" b="1" dirty="0"/>
              <a:t>KELA: Toteuttaa tekniset ratkaisut</a:t>
            </a:r>
          </a:p>
          <a:p>
            <a:r>
              <a:rPr lang="fi-FI" dirty="0"/>
              <a:t>FHIR- tietorakenteet ja EQ-5D-5L Kanta-palveluihin</a:t>
            </a:r>
          </a:p>
          <a:p>
            <a:r>
              <a:rPr lang="fi-FI" dirty="0"/>
              <a:t>Omakanta PROM-palvelu (tavoite 2029)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3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fi-FI" b="1" dirty="0"/>
              <a:t>THL: Kehittää standardit</a:t>
            </a:r>
          </a:p>
          <a:p>
            <a:r>
              <a:rPr lang="fi-FI" dirty="0" err="1"/>
              <a:t>Toimiameta</a:t>
            </a:r>
            <a:r>
              <a:rPr lang="fi-FI" dirty="0"/>
              <a:t>-palvelu (mittarirakenteet) 2026–2027</a:t>
            </a:r>
          </a:p>
          <a:p>
            <a:r>
              <a:rPr lang="fi-FI" dirty="0"/>
              <a:t>Tietorakenteiden kehittäminen 1/2027 alkaen</a:t>
            </a:r>
          </a:p>
          <a:p>
            <a:r>
              <a:rPr lang="fi-FI" dirty="0"/>
              <a:t>Väliaikaiset kirjaamisohjeet terveydenhuollolle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/>
              <a:t>Valtionavustus hyvinvointialueil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4"/>
          </p:nvPr>
        </p:nvSpPr>
        <p:spPr/>
        <p:txBody>
          <a:bodyPr>
            <a:normAutofit/>
          </a:bodyPr>
          <a:lstStyle/>
          <a:p>
            <a:r>
              <a:rPr lang="fi-FI" dirty="0"/>
              <a:t>Sähköinen PROM-kyselyvastaaminen</a:t>
            </a:r>
          </a:p>
          <a:p>
            <a:r>
              <a:rPr lang="fi-FI" dirty="0"/>
              <a:t>Toimintakykytiedon rakenteinen tallennus</a:t>
            </a:r>
          </a:p>
          <a:p>
            <a:r>
              <a:rPr lang="fi-FI" dirty="0"/>
              <a:t>Kanta-palveluihin tallentuminen</a:t>
            </a:r>
          </a:p>
          <a:p>
            <a:r>
              <a:rPr lang="fi-FI" dirty="0"/>
              <a:t>MDR-</a:t>
            </a:r>
            <a:r>
              <a:rPr lang="fi-FI" dirty="0" err="1"/>
              <a:t>serfiointi</a:t>
            </a:r>
            <a:r>
              <a:rPr lang="fi-FI" dirty="0"/>
              <a:t> päätöksentuen järjestelmäl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5"/>
          </p:nvPr>
        </p:nvSpPr>
        <p:spPr/>
        <p:txBody>
          <a:bodyPr>
            <a:normAutofit/>
          </a:bodyPr>
          <a:lstStyle/>
          <a:p>
            <a:r>
              <a:rPr lang="fi-FI" dirty="0"/>
              <a:t>EQ-5D-5L pilotoinnin käynnistäminen edellyttää tietojärjestelmien kehittämistä ja tietorakenteiden käyttöönottoa.</a:t>
            </a:r>
          </a:p>
        </p:txBody>
      </p:sp>
      <p:sp>
        <p:nvSpPr>
          <p:cNvPr id="5" name="Shape 21">
            <a:extLst>
              <a:ext uri="{FF2B5EF4-FFF2-40B4-BE49-F238E27FC236}">
                <a16:creationId xmlns:a16="http://schemas.microsoft.com/office/drawing/2014/main" id="{D291B851-1A5A-B457-3D69-131D6B402F4F}"/>
              </a:ext>
            </a:extLst>
          </p:cNvPr>
          <p:cNvSpPr/>
          <p:nvPr/>
        </p:nvSpPr>
        <p:spPr>
          <a:xfrm>
            <a:off x="1843981" y="5682427"/>
            <a:ext cx="9900095" cy="914400"/>
          </a:xfrm>
          <a:prstGeom prst="rect">
            <a:avLst/>
          </a:prstGeom>
          <a:solidFill>
            <a:srgbClr val="FFF8E1"/>
          </a:solidFill>
          <a:ln w="12700">
            <a:solidFill>
              <a:srgbClr val="FFD54F"/>
            </a:solidFill>
            <a:prstDash val="solid"/>
          </a:ln>
        </p:spPr>
        <p:txBody>
          <a:bodyPr/>
          <a:lstStyle/>
          <a:p>
            <a:pPr algn="ctr"/>
            <a:r>
              <a:rPr lang="fi-FI" dirty="0"/>
              <a:t>              Nykytilanteessa terveydenhuollon ammattihenkilön kuittaus vaaditaan </a:t>
            </a:r>
          </a:p>
          <a:p>
            <a:pPr algn="ctr"/>
            <a:r>
              <a:rPr lang="fi-FI" dirty="0"/>
              <a:t>ennen kuin tieto siirtyy potilastietojärjestelmään.</a:t>
            </a:r>
          </a:p>
        </p:txBody>
      </p:sp>
      <p:pic>
        <p:nvPicPr>
          <p:cNvPr id="7" name="Kuva 6" descr="Varoitus tasaisella täytöllä">
            <a:extLst>
              <a:ext uri="{FF2B5EF4-FFF2-40B4-BE49-F238E27FC236}">
                <a16:creationId xmlns:a16="http://schemas.microsoft.com/office/drawing/2014/main" id="{4F80DA86-CCD2-F69D-16C5-1418B1D2349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955800" y="5644237"/>
            <a:ext cx="914400" cy="914400"/>
          </a:xfrm>
          <a:prstGeom prst="rect">
            <a:avLst/>
          </a:prstGeo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/>
              <a:t>Siirtymävaiheen aikataulu</a:t>
            </a:r>
          </a:p>
        </p:txBody>
      </p:sp>
      <p:graphicFrame>
        <p:nvGraphicFramePr>
          <p:cNvPr id="5" name="Kaaviokuva 4" descr="Siirtymävaiheen aikataulu. 2026: Kela toteuttaa EQ-5D-5L FHIR-rakenteen Kanta-palveluihin. 2027: THL: muutokset tietorakenteisiin mahdollisia &#10;- mittaritiedot vapaaehtoisella viittauksella. 2028: THL:n Toimiameta-palvelu käyttöön: kyselyt FHIR-rakenteilla. 2029: EHDS: Omakantaan PROM-palvelu, MDR-sertifiointi.&#10;&#10;&#10;">
            <a:extLst>
              <a:ext uri="{FF2B5EF4-FFF2-40B4-BE49-F238E27FC236}">
                <a16:creationId xmlns:a16="http://schemas.microsoft.com/office/drawing/2014/main" id="{2DD2B059-466E-0F36-8927-2A1A2EB301D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35190391"/>
              </p:ext>
            </p:extLst>
          </p:nvPr>
        </p:nvGraphicFramePr>
        <p:xfrm>
          <a:off x="376517" y="1296063"/>
          <a:ext cx="11303949" cy="45663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Tekstiruutu 6">
            <a:extLst>
              <a:ext uri="{FF2B5EF4-FFF2-40B4-BE49-F238E27FC236}">
                <a16:creationId xmlns:a16="http://schemas.microsoft.com/office/drawing/2014/main" id="{DEC53619-CC83-0553-2355-5154D451A663}"/>
              </a:ext>
            </a:extLst>
          </p:cNvPr>
          <p:cNvSpPr txBox="1"/>
          <p:nvPr/>
        </p:nvSpPr>
        <p:spPr>
          <a:xfrm>
            <a:off x="1417166" y="5983723"/>
            <a:ext cx="10425016" cy="780365"/>
          </a:xfrm>
          <a:prstGeom prst="rect">
            <a:avLst/>
          </a:prstGeom>
          <a:solidFill>
            <a:srgbClr val="FFF8E1"/>
          </a:solidFill>
          <a:ln w="12700">
            <a:solidFill>
              <a:srgbClr val="FFD54F"/>
            </a:solidFill>
            <a:prstDash val="solid"/>
          </a:ln>
        </p:spPr>
        <p:txBody>
          <a:bodyPr/>
          <a:lstStyle>
            <a:defPPr>
              <a:defRPr lang="en-US"/>
            </a:defPPr>
            <a:lvl1pPr algn="ctr">
              <a:defRPr/>
            </a:lvl1pPr>
          </a:lstStyle>
          <a:p>
            <a:r>
              <a:rPr lang="en-US" dirty="0"/>
              <a:t>	EHDS 2029 tavoite: kansalainen voi vastata PROM-</a:t>
            </a:r>
            <a:r>
              <a:rPr lang="en-US" dirty="0" err="1"/>
              <a:t>kyselyihin</a:t>
            </a:r>
            <a:r>
              <a:rPr lang="en-US" dirty="0"/>
              <a:t> </a:t>
            </a:r>
            <a:r>
              <a:rPr lang="en-US" dirty="0" err="1"/>
              <a:t>Omakannassa</a:t>
            </a:r>
            <a:r>
              <a:rPr lang="en-US" dirty="0"/>
              <a:t> — </a:t>
            </a:r>
            <a:r>
              <a:rPr lang="en-US" dirty="0" err="1"/>
              <a:t>tieto</a:t>
            </a:r>
            <a:r>
              <a:rPr lang="en-US" dirty="0"/>
              <a:t> </a:t>
            </a:r>
            <a:r>
              <a:rPr lang="en-US" dirty="0" err="1"/>
              <a:t>tallentuu</a:t>
            </a:r>
            <a:r>
              <a:rPr lang="en-US" dirty="0"/>
              <a:t> </a:t>
            </a:r>
            <a:r>
              <a:rPr lang="en-US" dirty="0" err="1"/>
              <a:t>automaattisesti</a:t>
            </a:r>
            <a:r>
              <a:rPr lang="en-US" dirty="0"/>
              <a:t> Kanta-</a:t>
            </a:r>
            <a:r>
              <a:rPr lang="en-US" dirty="0" err="1"/>
              <a:t>palveluihin</a:t>
            </a:r>
            <a:r>
              <a:rPr lang="en-US" dirty="0"/>
              <a:t> </a:t>
            </a:r>
            <a:r>
              <a:rPr lang="en-US" dirty="0" err="1"/>
              <a:t>ilman</a:t>
            </a:r>
            <a:r>
              <a:rPr lang="en-US" dirty="0"/>
              <a:t> </a:t>
            </a:r>
            <a:r>
              <a:rPr lang="en-US" dirty="0" err="1"/>
              <a:t>ammattihenkilön</a:t>
            </a:r>
            <a:r>
              <a:rPr lang="en-US" dirty="0"/>
              <a:t> </a:t>
            </a:r>
            <a:r>
              <a:rPr lang="en-US" dirty="0" err="1"/>
              <a:t>kuittausta</a:t>
            </a:r>
            <a:r>
              <a:rPr lang="en-US" dirty="0"/>
              <a:t>.</a:t>
            </a:r>
          </a:p>
        </p:txBody>
      </p:sp>
      <p:pic>
        <p:nvPicPr>
          <p:cNvPr id="9" name="Kuva 8" descr="Kättely tasaisella täytöllä">
            <a:extLst>
              <a:ext uri="{FF2B5EF4-FFF2-40B4-BE49-F238E27FC236}">
                <a16:creationId xmlns:a16="http://schemas.microsoft.com/office/drawing/2014/main" id="{33718728-120D-4007-5D80-6DEEDEBB809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570433" y="5862388"/>
            <a:ext cx="914400" cy="914400"/>
          </a:xfrm>
          <a:prstGeom prst="rect">
            <a:avLst/>
          </a:prstGeom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/>
              <a:t>Seuraavat askeleet hyvinvointialueil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fi-FI" dirty="0"/>
              <a:t>Tämä on täysin vapaaehtoista: </a:t>
            </a:r>
          </a:p>
          <a:p>
            <a:pPr marL="0" indent="0">
              <a:buNone/>
            </a:pPr>
            <a:r>
              <a:rPr lang="fi-FI" dirty="0"/>
              <a:t>1. Hae valtionavustusta EQ-5D-5L pilotoinnin käynnistämiseksi</a:t>
            </a:r>
          </a:p>
          <a:p>
            <a:pPr marL="0" indent="0">
              <a:buNone/>
            </a:pPr>
            <a:r>
              <a:rPr lang="fi-FI" dirty="0"/>
              <a:t>2. Kehitä asiointi- ja tietojärjestelmät sähköistä kyselyvastaamista varten (vaikka Omakanta-palvelu tulee 03/2029 lähtien)</a:t>
            </a:r>
          </a:p>
          <a:p>
            <a:pPr marL="0" indent="0">
              <a:buNone/>
            </a:pPr>
            <a:r>
              <a:rPr lang="fi-FI" dirty="0"/>
              <a:t>3. Ota käyttöön toimintakykytiedon FHIR-tietorakenteet 2027 alkaen</a:t>
            </a:r>
          </a:p>
          <a:p>
            <a:pPr marL="0" indent="0">
              <a:buNone/>
            </a:pPr>
            <a:r>
              <a:rPr lang="fi-FI" dirty="0"/>
              <a:t>4. Hyödynnä THL:n kirjaamisohjeet ja kouluta ammattilaiset toimintakykytiedon kirjaamiseen</a:t>
            </a:r>
          </a:p>
          <a:p>
            <a:pPr marL="0" indent="0">
              <a:buNone/>
            </a:pPr>
            <a:r>
              <a:rPr lang="fi-FI" dirty="0"/>
              <a:t>5. Käytä kyselyrakenteita </a:t>
            </a:r>
            <a:r>
              <a:rPr lang="fi-FI" dirty="0" err="1"/>
              <a:t>Toimiameta</a:t>
            </a:r>
            <a:r>
              <a:rPr lang="fi-FI" dirty="0"/>
              <a:t>-palvelusta 2028 alkaen.</a:t>
            </a: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7B20238A-3095-DAB5-E900-08F9358B4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fi-FI" dirty="0"/>
              <a:t>Valtionavustushaku hyvinvointialueille 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A0FDAB93-43FD-086E-AB82-508F324E21C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9940" y="1362456"/>
            <a:ext cx="10896601" cy="4507831"/>
          </a:xfrm>
        </p:spPr>
        <p:txBody>
          <a:bodyPr/>
          <a:lstStyle/>
          <a:p>
            <a:r>
              <a:rPr lang="fi-FI" sz="1800" dirty="0"/>
              <a:t>Hallitusohjelman vaikuttavuusrahoituksella on tarkoitus tukea alueita PROM-mittarin käyttöönotossa</a:t>
            </a:r>
          </a:p>
          <a:p>
            <a:r>
              <a:rPr lang="fi-FI" sz="1800" dirty="0"/>
              <a:t>Valtioavustukseen on tehty 2.3 miljoonan euroa budjettivaraus</a:t>
            </a:r>
          </a:p>
          <a:p>
            <a:r>
              <a:rPr lang="fi-FI" sz="1800" dirty="0"/>
              <a:t>Haku avataan maalis-huhtikuussa</a:t>
            </a:r>
          </a:p>
          <a:p>
            <a:r>
              <a:rPr lang="fi-FI" sz="1800" dirty="0"/>
              <a:t>Hyvinvointialueet ovat hyvin eri vaiheissa mittarin käyttöönotossa, joten avustusta voi käyttää seuraaviin mittarin käyttöönottoa edistäviin tarkoituksiin:  </a:t>
            </a:r>
          </a:p>
          <a:p>
            <a:pPr lvl="1"/>
            <a:r>
              <a:rPr lang="fi-FI" sz="1600" dirty="0"/>
              <a:t>Ratkaisun käyttöönoton suunnittelu ja valmistelu</a:t>
            </a:r>
          </a:p>
          <a:p>
            <a:pPr lvl="1"/>
            <a:r>
              <a:rPr lang="fi-FI" sz="1600" dirty="0"/>
              <a:t>FHIR-tietorakenteen valmistelut ja toteuttaminen</a:t>
            </a:r>
          </a:p>
          <a:p>
            <a:pPr lvl="1"/>
            <a:r>
              <a:rPr lang="fi-FI" sz="1600" dirty="0"/>
              <a:t>Tietojärjestelmäpäivityksiin tai -hankintoihin </a:t>
            </a:r>
          </a:p>
          <a:p>
            <a:pPr lvl="1"/>
            <a:r>
              <a:rPr lang="fi-FI" sz="1600" dirty="0"/>
              <a:t>Tietojärjestelmien, integraatioiden tai muiden ratkaisujen vaatimiin kuluihin, esim. mittariin liittyvät erityisvaatimukset, saavutettavuus  </a:t>
            </a:r>
          </a:p>
          <a:p>
            <a:pPr lvl="1"/>
            <a:r>
              <a:rPr lang="fi-FI" sz="1600" dirty="0"/>
              <a:t>Koulutuskuluihin</a:t>
            </a:r>
          </a:p>
          <a:p>
            <a:pPr lvl="1"/>
            <a:r>
              <a:rPr lang="fi-FI" sz="1600" dirty="0"/>
              <a:t>Raportoinnin kehittämiseen  </a:t>
            </a:r>
          </a:p>
          <a:p>
            <a:pPr lvl="1"/>
            <a:r>
              <a:rPr lang="fi-FI" sz="1600" dirty="0"/>
              <a:t>Ratkaisun käyttöönottomallien juurruttamiseen liittyviin kuluihin</a:t>
            </a:r>
          </a:p>
          <a:p>
            <a:r>
              <a:rPr lang="fi-FI" sz="2000" dirty="0"/>
              <a:t> Avustusta myönnetään enintään 100 000 euroa per hyvinvointialue. </a:t>
            </a:r>
          </a:p>
          <a:p>
            <a:r>
              <a:rPr lang="fi-FI" sz="2000" dirty="0"/>
              <a:t>Haettavana oleva erityisavustus on käytettävissä 1.5.2026 – 31.12.2027 välisenä aikana. </a:t>
            </a:r>
          </a:p>
        </p:txBody>
      </p:sp>
    </p:spTree>
    <p:extLst>
      <p:ext uri="{BB962C8B-B14F-4D97-AF65-F5344CB8AC3E}">
        <p14:creationId xmlns:p14="http://schemas.microsoft.com/office/powerpoint/2010/main" val="226685721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DB2CC73E-BA0D-0801-56FE-3D39A821F7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/>
              <a:t>Mihin geneerisen PROM –mittarin tietoa tullaan hyödyntämään tulevaisuudessa?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59D796F6-563A-F4E8-19D8-EF58F29B8C6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fi-FI" dirty="0"/>
              <a:t>Valtakunnallisten tavoitteiden vaikuttavuus-tavoitteen toteutumisen arvioinnissa</a:t>
            </a:r>
          </a:p>
          <a:p>
            <a:pPr marL="457200" indent="-457200">
              <a:buFont typeface="+mj-lt"/>
              <a:buAutoNum type="arabicPeriod"/>
            </a:pPr>
            <a:r>
              <a:rPr lang="fi-FI" dirty="0"/>
              <a:t>Vaikuttavien menetelmien ja toimintamallien arvioinnissa </a:t>
            </a:r>
          </a:p>
          <a:p>
            <a:pPr marL="457200" indent="-457200">
              <a:buFont typeface="+mj-lt"/>
              <a:buAutoNum type="arabicPeriod"/>
            </a:pPr>
            <a:r>
              <a:rPr lang="fi-FI" dirty="0"/>
              <a:t>Kansallisen palveluvalikoiman määrittelyssä ja suosituksissa</a:t>
            </a:r>
          </a:p>
          <a:p>
            <a:pPr marL="457200" indent="-457200">
              <a:buFont typeface="+mj-lt"/>
              <a:buAutoNum type="arabicPeriod"/>
            </a:pPr>
            <a:r>
              <a:rPr lang="fi-FI" dirty="0"/>
              <a:t>Osana palveluiden riittävyyden arviointia suhteessa yksilöiden palvelutarpeeseen</a:t>
            </a:r>
          </a:p>
          <a:p>
            <a:pPr marL="0" indent="0">
              <a:buNone/>
            </a:pPr>
            <a:endParaRPr lang="fi-FI" dirty="0"/>
          </a:p>
          <a:p>
            <a:pPr>
              <a:buFont typeface="Wingdings" panose="05000000000000000000" pitchFamily="2" charset="2"/>
              <a:buChar char="Ø"/>
            </a:pPr>
            <a:r>
              <a:rPr lang="fi-FI" dirty="0"/>
              <a:t> PROM-mittari tuottaa arvokasta tietoa asiakkaan kokemuksesta, mikä on tällä hetkellä puuttuva näkökulma arvioitaessa palvelujärjestelmän tuloksellisuutta!</a:t>
            </a:r>
          </a:p>
        </p:txBody>
      </p:sp>
    </p:spTree>
    <p:extLst>
      <p:ext uri="{BB962C8B-B14F-4D97-AF65-F5344CB8AC3E}">
        <p14:creationId xmlns:p14="http://schemas.microsoft.com/office/powerpoint/2010/main" val="395433184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 txBox="1">
            <a:spLocks noGrp="1"/>
          </p:cNvSpPr>
          <p:nvPr>
            <p:ph type="title" idx="4294967295"/>
          </p:nvPr>
        </p:nvSpPr>
        <p:spPr>
          <a:xfrm>
            <a:off x="3942735" y="4906297"/>
            <a:ext cx="4454013" cy="52322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2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Kiitos!</a:t>
            </a:r>
          </a:p>
        </p:txBody>
      </p:sp>
    </p:spTree>
    <p:extLst>
      <p:ext uri="{BB962C8B-B14F-4D97-AF65-F5344CB8AC3E}">
        <p14:creationId xmlns:p14="http://schemas.microsoft.com/office/powerpoint/2010/main" val="40240636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TM 2023">
  <a:themeElements>
    <a:clrScheme name="STM 1">
      <a:dk1>
        <a:srgbClr val="464646"/>
      </a:dk1>
      <a:lt1>
        <a:srgbClr val="FFFFFF"/>
      </a:lt1>
      <a:dk2>
        <a:srgbClr val="464646"/>
      </a:dk2>
      <a:lt2>
        <a:srgbClr val="F0EBE1"/>
      </a:lt2>
      <a:accent1>
        <a:srgbClr val="96B8F3"/>
      </a:accent1>
      <a:accent2>
        <a:srgbClr val="FA8C46"/>
      </a:accent2>
      <a:accent3>
        <a:srgbClr val="EDC353"/>
      </a:accent3>
      <a:accent4>
        <a:srgbClr val="5BA078"/>
      </a:accent4>
      <a:accent5>
        <a:srgbClr val="CD69DE"/>
      </a:accent5>
      <a:accent6>
        <a:srgbClr val="BC9E59"/>
      </a:accent6>
      <a:hlink>
        <a:srgbClr val="6E6E6E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C9A6ED8E-659F-AF45-8A40-6EEE4F3772DB}" vid="{8B30B74C-0472-E84E-9C39-531E644FF36E}"/>
    </a:ext>
  </a:extLst>
</a:theme>
</file>

<file path=ppt/theme/theme10.xml><?xml version="1.0" encoding="utf-8"?>
<a:theme xmlns:a="http://schemas.openxmlformats.org/drawingml/2006/main" name="8_STM 2023">
  <a:themeElements>
    <a:clrScheme name="STM 1">
      <a:dk1>
        <a:srgbClr val="464646"/>
      </a:dk1>
      <a:lt1>
        <a:srgbClr val="FFFFFF"/>
      </a:lt1>
      <a:dk2>
        <a:srgbClr val="464646"/>
      </a:dk2>
      <a:lt2>
        <a:srgbClr val="F0EBE1"/>
      </a:lt2>
      <a:accent1>
        <a:srgbClr val="96B8F3"/>
      </a:accent1>
      <a:accent2>
        <a:srgbClr val="FA8C46"/>
      </a:accent2>
      <a:accent3>
        <a:srgbClr val="EDC353"/>
      </a:accent3>
      <a:accent4>
        <a:srgbClr val="5BA078"/>
      </a:accent4>
      <a:accent5>
        <a:srgbClr val="CD69DE"/>
      </a:accent5>
      <a:accent6>
        <a:srgbClr val="BC9E59"/>
      </a:accent6>
      <a:hlink>
        <a:srgbClr val="6E6E6E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C9A6ED8E-659F-AF45-8A40-6EEE4F3772DB}" vid="{8B30B74C-0472-E84E-9C39-531E644FF36E}"/>
    </a:ext>
  </a:extLst>
</a:theme>
</file>

<file path=ppt/theme/theme11.xml><?xml version="1.0" encoding="utf-8"?>
<a:theme xmlns:a="http://schemas.openxmlformats.org/drawingml/2006/main" name="THL">
  <a:themeElements>
    <a:clrScheme name="THL2023">
      <a:dk1>
        <a:srgbClr val="1E1E1E"/>
      </a:dk1>
      <a:lt1>
        <a:sysClr val="window" lastClr="FFFFFF"/>
      </a:lt1>
      <a:dk2>
        <a:srgbClr val="005A1E"/>
      </a:dk2>
      <a:lt2>
        <a:srgbClr val="FFFAC3"/>
      </a:lt2>
      <a:accent1>
        <a:srgbClr val="7DFF78"/>
      </a:accent1>
      <a:accent2>
        <a:srgbClr val="FFA03C"/>
      </a:accent2>
      <a:accent3>
        <a:srgbClr val="FFEB46"/>
      </a:accent3>
      <a:accent4>
        <a:srgbClr val="AAA096"/>
      </a:accent4>
      <a:accent5>
        <a:srgbClr val="C84696"/>
      </a:accent5>
      <a:accent6>
        <a:srgbClr val="0064FF"/>
      </a:accent6>
      <a:hlink>
        <a:srgbClr val="0563C1"/>
      </a:hlink>
      <a:folHlink>
        <a:srgbClr val="954F72"/>
      </a:folHlink>
    </a:clrScheme>
    <a:fontScheme name="Work Sans">
      <a:majorFont>
        <a:latin typeface="Work Sans Medium"/>
        <a:ea typeface=""/>
        <a:cs typeface=""/>
      </a:majorFont>
      <a:minorFont>
        <a:latin typeface="Work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6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THL_Esityspohja_FI.potx" id="{BC4765E3-6CA0-4E56-9523-99B430DC3511}" vid="{1B22957D-917B-43F4-B9A5-67B3B6C2FA8C}"/>
    </a:ext>
  </a:extLst>
</a:theme>
</file>

<file path=ppt/theme/theme12.xml><?xml version="1.0" encoding="utf-8"?>
<a:theme xmlns:a="http://schemas.openxmlformats.org/drawingml/2006/main" name="1_THL">
  <a:themeElements>
    <a:clrScheme name="THL2023">
      <a:dk1>
        <a:srgbClr val="1E1E1E"/>
      </a:dk1>
      <a:lt1>
        <a:sysClr val="window" lastClr="FFFFFF"/>
      </a:lt1>
      <a:dk2>
        <a:srgbClr val="005A1E"/>
      </a:dk2>
      <a:lt2>
        <a:srgbClr val="FFFAC3"/>
      </a:lt2>
      <a:accent1>
        <a:srgbClr val="7DFF78"/>
      </a:accent1>
      <a:accent2>
        <a:srgbClr val="FFA03C"/>
      </a:accent2>
      <a:accent3>
        <a:srgbClr val="FFEB46"/>
      </a:accent3>
      <a:accent4>
        <a:srgbClr val="AAA096"/>
      </a:accent4>
      <a:accent5>
        <a:srgbClr val="C84696"/>
      </a:accent5>
      <a:accent6>
        <a:srgbClr val="0064FF"/>
      </a:accent6>
      <a:hlink>
        <a:srgbClr val="0563C1"/>
      </a:hlink>
      <a:folHlink>
        <a:srgbClr val="954F72"/>
      </a:folHlink>
    </a:clrScheme>
    <a:fontScheme name="Work Sans">
      <a:majorFont>
        <a:latin typeface="Work Sans Medium"/>
        <a:ea typeface=""/>
        <a:cs typeface=""/>
      </a:majorFont>
      <a:minorFont>
        <a:latin typeface="Work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6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THL_Esityspohja_FI.potx" id="{BC4765E3-6CA0-4E56-9523-99B430DC3511}" vid="{1B22957D-917B-43F4-B9A5-67B3B6C2FA8C}"/>
    </a:ext>
  </a:extLst>
</a:theme>
</file>

<file path=ppt/theme/theme13.xml><?xml version="1.0" encoding="utf-8"?>
<a:theme xmlns:a="http://schemas.openxmlformats.org/drawingml/2006/main" name="2_THL">
  <a:themeElements>
    <a:clrScheme name="THL2023">
      <a:dk1>
        <a:srgbClr val="1E1E1E"/>
      </a:dk1>
      <a:lt1>
        <a:sysClr val="window" lastClr="FFFFFF"/>
      </a:lt1>
      <a:dk2>
        <a:srgbClr val="005A1E"/>
      </a:dk2>
      <a:lt2>
        <a:srgbClr val="FFFAC3"/>
      </a:lt2>
      <a:accent1>
        <a:srgbClr val="7DFF78"/>
      </a:accent1>
      <a:accent2>
        <a:srgbClr val="FFA03C"/>
      </a:accent2>
      <a:accent3>
        <a:srgbClr val="FFEB46"/>
      </a:accent3>
      <a:accent4>
        <a:srgbClr val="AAA096"/>
      </a:accent4>
      <a:accent5>
        <a:srgbClr val="C84696"/>
      </a:accent5>
      <a:accent6>
        <a:srgbClr val="0064FF"/>
      </a:accent6>
      <a:hlink>
        <a:srgbClr val="0563C1"/>
      </a:hlink>
      <a:folHlink>
        <a:srgbClr val="954F72"/>
      </a:folHlink>
    </a:clrScheme>
    <a:fontScheme name="Work Sans">
      <a:majorFont>
        <a:latin typeface="Work Sans Medium"/>
        <a:ea typeface=""/>
        <a:cs typeface=""/>
      </a:majorFont>
      <a:minorFont>
        <a:latin typeface="Work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6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THL_Esityspohja_FI.potx" id="{BC4765E3-6CA0-4E56-9523-99B430DC3511}" vid="{1B22957D-917B-43F4-B9A5-67B3B6C2FA8C}"/>
    </a:ext>
  </a:extLst>
</a:theme>
</file>

<file path=ppt/theme/theme14.xml><?xml version="1.0" encoding="utf-8"?>
<a:theme xmlns:a="http://schemas.openxmlformats.org/drawingml/2006/main" name="5_STM 2023">
  <a:themeElements>
    <a:clrScheme name="STM 1">
      <a:dk1>
        <a:srgbClr val="464646"/>
      </a:dk1>
      <a:lt1>
        <a:srgbClr val="FFFFFF"/>
      </a:lt1>
      <a:dk2>
        <a:srgbClr val="464646"/>
      </a:dk2>
      <a:lt2>
        <a:srgbClr val="F0EBE1"/>
      </a:lt2>
      <a:accent1>
        <a:srgbClr val="96B8F3"/>
      </a:accent1>
      <a:accent2>
        <a:srgbClr val="FA8C46"/>
      </a:accent2>
      <a:accent3>
        <a:srgbClr val="EDC353"/>
      </a:accent3>
      <a:accent4>
        <a:srgbClr val="5BA078"/>
      </a:accent4>
      <a:accent5>
        <a:srgbClr val="CD69DE"/>
      </a:accent5>
      <a:accent6>
        <a:srgbClr val="BC9E59"/>
      </a:accent6>
      <a:hlink>
        <a:srgbClr val="6E6E6E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C9A6ED8E-659F-AF45-8A40-6EEE4F3772DB}" vid="{8B30B74C-0472-E84E-9C39-531E644FF36E}"/>
    </a:ext>
  </a:extLst>
</a:theme>
</file>

<file path=ppt/theme/theme1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STM 2023">
  <a:themeElements>
    <a:clrScheme name="STM">
      <a:dk1>
        <a:srgbClr val="464646"/>
      </a:dk1>
      <a:lt1>
        <a:srgbClr val="FFFFFF"/>
      </a:lt1>
      <a:dk2>
        <a:srgbClr val="464646"/>
      </a:dk2>
      <a:lt2>
        <a:srgbClr val="F0EBE1"/>
      </a:lt2>
      <a:accent1>
        <a:srgbClr val="96B8F3"/>
      </a:accent1>
      <a:accent2>
        <a:srgbClr val="FA8C46"/>
      </a:accent2>
      <a:accent3>
        <a:srgbClr val="EDC353"/>
      </a:accent3>
      <a:accent4>
        <a:srgbClr val="5BA078"/>
      </a:accent4>
      <a:accent5>
        <a:srgbClr val="CD69DE"/>
      </a:accent5>
      <a:accent6>
        <a:srgbClr val="BC9B55"/>
      </a:accent6>
      <a:hlink>
        <a:srgbClr val="000000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STM pohja UUSI.potx" id="{7CE279A0-2C40-4AA8-840D-757685D2A93F}" vid="{244051C1-D4F2-4AA3-8B7A-EED2C51FAB42}"/>
    </a:ext>
  </a:extLst>
</a:theme>
</file>

<file path=ppt/theme/theme3.xml><?xml version="1.0" encoding="utf-8"?>
<a:theme xmlns:a="http://schemas.openxmlformats.org/drawingml/2006/main" name="2_STM 2023">
  <a:themeElements>
    <a:clrScheme name="STM 1">
      <a:dk1>
        <a:srgbClr val="464646"/>
      </a:dk1>
      <a:lt1>
        <a:srgbClr val="FFFFFF"/>
      </a:lt1>
      <a:dk2>
        <a:srgbClr val="464646"/>
      </a:dk2>
      <a:lt2>
        <a:srgbClr val="F0EBE1"/>
      </a:lt2>
      <a:accent1>
        <a:srgbClr val="96B8F3"/>
      </a:accent1>
      <a:accent2>
        <a:srgbClr val="FA8C46"/>
      </a:accent2>
      <a:accent3>
        <a:srgbClr val="EDC353"/>
      </a:accent3>
      <a:accent4>
        <a:srgbClr val="5BA078"/>
      </a:accent4>
      <a:accent5>
        <a:srgbClr val="CD69DE"/>
      </a:accent5>
      <a:accent6>
        <a:srgbClr val="BC9E59"/>
      </a:accent6>
      <a:hlink>
        <a:srgbClr val="6E6E6E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C9A6ED8E-659F-AF45-8A40-6EEE4F3772DB}" vid="{8B30B74C-0472-E84E-9C39-531E644FF36E}"/>
    </a:ext>
  </a:extLst>
</a:theme>
</file>

<file path=ppt/theme/theme4.xml><?xml version="1.0" encoding="utf-8"?>
<a:theme xmlns:a="http://schemas.openxmlformats.org/drawingml/2006/main" name="3_STM 2023">
  <a:themeElements>
    <a:clrScheme name="STM 1">
      <a:dk1>
        <a:srgbClr val="464646"/>
      </a:dk1>
      <a:lt1>
        <a:srgbClr val="FFFFFF"/>
      </a:lt1>
      <a:dk2>
        <a:srgbClr val="464646"/>
      </a:dk2>
      <a:lt2>
        <a:srgbClr val="F0EBE1"/>
      </a:lt2>
      <a:accent1>
        <a:srgbClr val="96B8F3"/>
      </a:accent1>
      <a:accent2>
        <a:srgbClr val="FA8C46"/>
      </a:accent2>
      <a:accent3>
        <a:srgbClr val="EDC353"/>
      </a:accent3>
      <a:accent4>
        <a:srgbClr val="5BA078"/>
      </a:accent4>
      <a:accent5>
        <a:srgbClr val="CD69DE"/>
      </a:accent5>
      <a:accent6>
        <a:srgbClr val="BC9E59"/>
      </a:accent6>
      <a:hlink>
        <a:srgbClr val="6E6E6E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C9A6ED8E-659F-AF45-8A40-6EEE4F3772DB}" vid="{8B30B74C-0472-E84E-9C39-531E644FF36E}"/>
    </a:ext>
  </a:extLst>
</a:theme>
</file>

<file path=ppt/theme/theme5.xml><?xml version="1.0" encoding="utf-8"?>
<a:theme xmlns:a="http://schemas.openxmlformats.org/drawingml/2006/main" name="SHA Hallinto/Sininen">
  <a:themeElements>
    <a:clrScheme name="Satakunnan hyvinvointialue 2022">
      <a:dk1>
        <a:srgbClr val="000000"/>
      </a:dk1>
      <a:lt1>
        <a:srgbClr val="FFFFFF"/>
      </a:lt1>
      <a:dk2>
        <a:srgbClr val="3C1B44"/>
      </a:dk2>
      <a:lt2>
        <a:srgbClr val="EBEBEB"/>
      </a:lt2>
      <a:accent1>
        <a:srgbClr val="CF5CE6"/>
      </a:accent1>
      <a:accent2>
        <a:srgbClr val="1F57CC"/>
      </a:accent2>
      <a:accent3>
        <a:srgbClr val="D20A14"/>
      </a:accent3>
      <a:accent4>
        <a:srgbClr val="00B398"/>
      </a:accent4>
      <a:accent5>
        <a:srgbClr val="FFE500"/>
      </a:accent5>
      <a:accent6>
        <a:srgbClr val="FF4420"/>
      </a:accent6>
      <a:hlink>
        <a:srgbClr val="00584B"/>
      </a:hlink>
      <a:folHlink>
        <a:srgbClr val="32323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</a:spPr>
      <a:bodyPr rtlCol="0" anchor="ctr"/>
      <a:lstStyle>
        <a:defPPr algn="ctr">
          <a:defRPr dirty="0">
            <a:latin typeface="+mn-lt"/>
            <a:cs typeface="Poppins" pitchFamily="2" charset="77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defRPr dirty="0">
            <a:latin typeface="+mn-lt"/>
            <a:cs typeface="Poppins" pitchFamily="2" charset="77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ha_esityspohja_FI" id="{688E9963-8CA2-8E40-BF44-0AE8C6AD17C7}" vid="{6D90EAC8-937D-6347-A51A-E35764F87135}"/>
    </a:ext>
  </a:extLst>
</a:theme>
</file>

<file path=ppt/theme/theme6.xml><?xml version="1.0" encoding="utf-8"?>
<a:theme xmlns:a="http://schemas.openxmlformats.org/drawingml/2006/main" name="4_STM 2023">
  <a:themeElements>
    <a:clrScheme name="STM">
      <a:dk1>
        <a:srgbClr val="464646"/>
      </a:dk1>
      <a:lt1>
        <a:srgbClr val="FFFFFF"/>
      </a:lt1>
      <a:dk2>
        <a:srgbClr val="464646"/>
      </a:dk2>
      <a:lt2>
        <a:srgbClr val="F0EBE1"/>
      </a:lt2>
      <a:accent1>
        <a:srgbClr val="96B8F3"/>
      </a:accent1>
      <a:accent2>
        <a:srgbClr val="FA8C46"/>
      </a:accent2>
      <a:accent3>
        <a:srgbClr val="EDC353"/>
      </a:accent3>
      <a:accent4>
        <a:srgbClr val="5BA078"/>
      </a:accent4>
      <a:accent5>
        <a:srgbClr val="CD69DE"/>
      </a:accent5>
      <a:accent6>
        <a:srgbClr val="BC9B55"/>
      </a:accent6>
      <a:hlink>
        <a:srgbClr val="000000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STM pohja UUSI.potx" id="{7CE279A0-2C40-4AA8-840D-757685D2A93F}" vid="{244051C1-D4F2-4AA3-8B7A-EED2C51FAB42}"/>
    </a:ext>
  </a:extLst>
</a:theme>
</file>

<file path=ppt/theme/theme7.xml><?xml version="1.0" encoding="utf-8"?>
<a:theme xmlns:a="http://schemas.openxmlformats.org/drawingml/2006/main" name="6_STM 2023">
  <a:themeElements>
    <a:clrScheme name="STM 1">
      <a:dk1>
        <a:srgbClr val="464646"/>
      </a:dk1>
      <a:lt1>
        <a:srgbClr val="FFFFFF"/>
      </a:lt1>
      <a:dk2>
        <a:srgbClr val="464646"/>
      </a:dk2>
      <a:lt2>
        <a:srgbClr val="F0EBE1"/>
      </a:lt2>
      <a:accent1>
        <a:srgbClr val="96B8F3"/>
      </a:accent1>
      <a:accent2>
        <a:srgbClr val="FA8C46"/>
      </a:accent2>
      <a:accent3>
        <a:srgbClr val="EDC353"/>
      </a:accent3>
      <a:accent4>
        <a:srgbClr val="5BA078"/>
      </a:accent4>
      <a:accent5>
        <a:srgbClr val="CD69DE"/>
      </a:accent5>
      <a:accent6>
        <a:srgbClr val="BC9E59"/>
      </a:accent6>
      <a:hlink>
        <a:srgbClr val="6E6E6E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C9A6ED8E-659F-AF45-8A40-6EEE4F3772DB}" vid="{8B30B74C-0472-E84E-9C39-531E644FF36E}"/>
    </a:ext>
  </a:extLst>
</a:theme>
</file>

<file path=ppt/theme/theme8.xml><?xml version="1.0" encoding="utf-8"?>
<a:theme xmlns:a="http://schemas.openxmlformats.org/drawingml/2006/main" name="3_VN-FI/SV-01/2020">
  <a:themeElements>
    <a:clrScheme name="Custom 14">
      <a:dk1>
        <a:sysClr val="windowText" lastClr="000000"/>
      </a:dk1>
      <a:lt1>
        <a:srgbClr val="FFFFFF"/>
      </a:lt1>
      <a:dk2>
        <a:srgbClr val="365ABD"/>
      </a:dk2>
      <a:lt2>
        <a:srgbClr val="9B9183"/>
      </a:lt2>
      <a:accent1>
        <a:srgbClr val="2699D6"/>
      </a:accent1>
      <a:accent2>
        <a:srgbClr val="00A79F"/>
      </a:accent2>
      <a:accent3>
        <a:srgbClr val="F18700"/>
      </a:accent3>
      <a:accent4>
        <a:srgbClr val="D90066"/>
      </a:accent4>
      <a:accent5>
        <a:srgbClr val="8C4091"/>
      </a:accent5>
      <a:accent6>
        <a:srgbClr val="76B82A"/>
      </a:accent6>
      <a:hlink>
        <a:srgbClr val="3153AF"/>
      </a:hlink>
      <a:folHlink>
        <a:srgbClr val="002F6C"/>
      </a:folHlink>
    </a:clrScheme>
    <a:fontScheme name="V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oikkeli Ohjauksen ystävät 7.6.2023.potx" id="{0F42116D-0CCE-4F75-BFF3-E002F53DC056}" vid="{1F3BDA4B-0BF7-4C01-9353-FF4D1601F9C1}"/>
    </a:ext>
  </a:extLst>
</a:theme>
</file>

<file path=ppt/theme/theme9.xml><?xml version="1.0" encoding="utf-8"?>
<a:theme xmlns:a="http://schemas.openxmlformats.org/drawingml/2006/main" name="7_STM 2023">
  <a:themeElements>
    <a:clrScheme name="STM 1">
      <a:dk1>
        <a:srgbClr val="464646"/>
      </a:dk1>
      <a:lt1>
        <a:srgbClr val="FFFFFF"/>
      </a:lt1>
      <a:dk2>
        <a:srgbClr val="464646"/>
      </a:dk2>
      <a:lt2>
        <a:srgbClr val="F0EBE1"/>
      </a:lt2>
      <a:accent1>
        <a:srgbClr val="96B8F3"/>
      </a:accent1>
      <a:accent2>
        <a:srgbClr val="FA8C46"/>
      </a:accent2>
      <a:accent3>
        <a:srgbClr val="EDC353"/>
      </a:accent3>
      <a:accent4>
        <a:srgbClr val="5BA078"/>
      </a:accent4>
      <a:accent5>
        <a:srgbClr val="CD69DE"/>
      </a:accent5>
      <a:accent6>
        <a:srgbClr val="BC9E59"/>
      </a:accent6>
      <a:hlink>
        <a:srgbClr val="6E6E6E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C9A6ED8E-659F-AF45-8A40-6EEE4F3772DB}" vid="{8B30B74C-0472-E84E-9C39-531E644FF36E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46E375BB-BA66-4ACA-A928-62BA26B2E97A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Asiakirja" ma:contentTypeID="0x010100FF8E0E8FAA2D5C449608C00D48A977AC" ma:contentTypeVersion="" ma:contentTypeDescription="Luo uusi asiakirja." ma:contentTypeScope="" ma:versionID="fdffbb332f6b7469836406b499dacb6c">
  <xsd:schema xmlns:xsd="http://www.w3.org/2001/XMLSchema" xmlns:xs="http://www.w3.org/2001/XMLSchema" xmlns:p="http://schemas.microsoft.com/office/2006/metadata/properties" xmlns:ns2="ebb82943-49da-4504-a2f3-a33fb2eb95f1" targetNamespace="http://schemas.microsoft.com/office/2006/metadata/properties" ma:root="true" ma:fieldsID="b214f7a6d70a021e7c576fbf9d8f5ca5" ns2:_="">
    <xsd:import namespace="ebb82943-49da-4504-a2f3-a33fb2eb95f1"/>
    <xsd:element name="properties">
      <xsd:complexType>
        <xsd:sequence>
          <xsd:element name="documentManagement">
            <xsd:complexType>
              <xsd:all>
                <xsd:element ref="ns2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bb82943-49da-4504-a2f3-a33fb2eb95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Jaettu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Sisältölaji"/>
        <xsd:element ref="dc:title" minOccurs="0" maxOccurs="1" ma:index="4" ma:displayName="Otsikk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D6D2964-F046-466F-9DA4-05DAD18C2899}">
  <ds:schemaRefs>
    <ds:schemaRef ds:uri="http://schemas.microsoft.com/office/infopath/2007/PartnerControls"/>
    <ds:schemaRef ds:uri="ebb82943-49da-4504-a2f3-a33fb2eb95f1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842D3F47-743F-40A2-89AA-AAA7979D7B0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bb82943-49da-4504-a2f3-a33fb2eb95f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5D6E14CE-BC64-40B4-9AFF-C30B4424E07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552</TotalTime>
  <Words>399</Words>
  <Application>Microsoft Office PowerPoint</Application>
  <PresentationFormat>Laajakuva</PresentationFormat>
  <Paragraphs>70</Paragraphs>
  <Slides>9</Slides>
  <Notes>0</Notes>
  <HiddenSlides>0</HiddenSlides>
  <MMClips>0</MMClips>
  <ScaleCrop>false</ScaleCrop>
  <HeadingPairs>
    <vt:vector size="8" baseType="variant">
      <vt:variant>
        <vt:lpstr>Käytetyt fontit</vt:lpstr>
      </vt:variant>
      <vt:variant>
        <vt:i4>9</vt:i4>
      </vt:variant>
      <vt:variant>
        <vt:lpstr>Teema</vt:lpstr>
      </vt:variant>
      <vt:variant>
        <vt:i4>14</vt:i4>
      </vt:variant>
      <vt:variant>
        <vt:lpstr>Upotetut OLE-palvelimet</vt:lpstr>
      </vt:variant>
      <vt:variant>
        <vt:i4>1</vt:i4>
      </vt:variant>
      <vt:variant>
        <vt:lpstr>Dian otsikot</vt:lpstr>
      </vt:variant>
      <vt:variant>
        <vt:i4>9</vt:i4>
      </vt:variant>
    </vt:vector>
  </HeadingPairs>
  <TitlesOfParts>
    <vt:vector size="33" baseType="lpstr">
      <vt:lpstr>Arial</vt:lpstr>
      <vt:lpstr>Arial Narrow</vt:lpstr>
      <vt:lpstr>Calibri</vt:lpstr>
      <vt:lpstr>Helvetica</vt:lpstr>
      <vt:lpstr>Symbol</vt:lpstr>
      <vt:lpstr>Times New Roman</vt:lpstr>
      <vt:lpstr>Wingdings</vt:lpstr>
      <vt:lpstr>Work Sans Light</vt:lpstr>
      <vt:lpstr>Work Sans Medium</vt:lpstr>
      <vt:lpstr>STM 2023</vt:lpstr>
      <vt:lpstr>1_STM 2023</vt:lpstr>
      <vt:lpstr>2_STM 2023</vt:lpstr>
      <vt:lpstr>3_STM 2023</vt:lpstr>
      <vt:lpstr>SHA Hallinto/Sininen</vt:lpstr>
      <vt:lpstr>4_STM 2023</vt:lpstr>
      <vt:lpstr>6_STM 2023</vt:lpstr>
      <vt:lpstr>3_VN-FI/SV-01/2020</vt:lpstr>
      <vt:lpstr>7_STM 2023</vt:lpstr>
      <vt:lpstr>8_STM 2023</vt:lpstr>
      <vt:lpstr>THL</vt:lpstr>
      <vt:lpstr>1_THL</vt:lpstr>
      <vt:lpstr>2_THL</vt:lpstr>
      <vt:lpstr>5_STM 2023</vt:lpstr>
      <vt:lpstr>think-cell Slide</vt:lpstr>
      <vt:lpstr>Geneerinen PROM-mittari</vt:lpstr>
      <vt:lpstr>Tausta ja tavoitteet</vt:lpstr>
      <vt:lpstr>Tehtäväjako — STM, Kela ja THL</vt:lpstr>
      <vt:lpstr>Valtionavustus hyvinvointialueille</vt:lpstr>
      <vt:lpstr>Siirtymävaiheen aikataulu</vt:lpstr>
      <vt:lpstr>Seuraavat askeleet hyvinvointialueille</vt:lpstr>
      <vt:lpstr>Valtionavustushaku hyvinvointialueille </vt:lpstr>
      <vt:lpstr>Mihin geneerisen PROM –mittarin tietoa tullaan hyödyntämään tulevaisuudessa?</vt:lpstr>
      <vt:lpstr>Kiitos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aikuttavuuden lisäämisen prosessi ja KPR</dc:title>
  <dc:creator>Helena Tolkki</dc:creator>
  <cp:lastModifiedBy>Leena-Kaisa Nikkarinen</cp:lastModifiedBy>
  <cp:revision>44</cp:revision>
  <dcterms:created xsi:type="dcterms:W3CDTF">2024-02-07T07:47:32Z</dcterms:created>
  <dcterms:modified xsi:type="dcterms:W3CDTF">2026-03-12T09:20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F8E0E8FAA2D5C449608C00D48A977AC</vt:lpwstr>
  </property>
</Properties>
</file>